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6" r:id="rId1"/>
  </p:sldMasterIdLst>
  <p:notesMasterIdLst>
    <p:notesMasterId r:id="rId31"/>
  </p:notesMasterIdLst>
  <p:sldIdLst>
    <p:sldId id="1141" r:id="rId2"/>
    <p:sldId id="1140" r:id="rId3"/>
    <p:sldId id="1142" r:id="rId4"/>
    <p:sldId id="1143" r:id="rId5"/>
    <p:sldId id="1144" r:id="rId6"/>
    <p:sldId id="1145" r:id="rId7"/>
    <p:sldId id="1146" r:id="rId8"/>
    <p:sldId id="1147" r:id="rId9"/>
    <p:sldId id="924" r:id="rId10"/>
    <p:sldId id="1150" r:id="rId11"/>
    <p:sldId id="918" r:id="rId12"/>
    <p:sldId id="917" r:id="rId13"/>
    <p:sldId id="1148" r:id="rId14"/>
    <p:sldId id="909" r:id="rId15"/>
    <p:sldId id="907" r:id="rId16"/>
    <p:sldId id="920" r:id="rId17"/>
    <p:sldId id="908" r:id="rId18"/>
    <p:sldId id="910" r:id="rId19"/>
    <p:sldId id="911" r:id="rId20"/>
    <p:sldId id="912" r:id="rId21"/>
    <p:sldId id="913" r:id="rId22"/>
    <p:sldId id="914" r:id="rId23"/>
    <p:sldId id="926" r:id="rId24"/>
    <p:sldId id="928" r:id="rId25"/>
    <p:sldId id="929" r:id="rId26"/>
    <p:sldId id="930" r:id="rId27"/>
    <p:sldId id="931" r:id="rId28"/>
    <p:sldId id="932" r:id="rId29"/>
    <p:sldId id="925" r:id="rId3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Пустой шаблон" id="{69A7313E-002B-9345-A1D1-2CE376D8FA06}">
          <p14:sldIdLst>
            <p14:sldId id="1141"/>
            <p14:sldId id="1140"/>
            <p14:sldId id="1142"/>
            <p14:sldId id="1143"/>
            <p14:sldId id="1144"/>
            <p14:sldId id="1145"/>
            <p14:sldId id="1146"/>
            <p14:sldId id="1147"/>
            <p14:sldId id="924"/>
            <p14:sldId id="1150"/>
            <p14:sldId id="918"/>
            <p14:sldId id="917"/>
            <p14:sldId id="1148"/>
            <p14:sldId id="909"/>
            <p14:sldId id="907"/>
            <p14:sldId id="920"/>
            <p14:sldId id="908"/>
            <p14:sldId id="910"/>
            <p14:sldId id="911"/>
            <p14:sldId id="912"/>
            <p14:sldId id="913"/>
            <p14:sldId id="914"/>
            <p14:sldId id="926"/>
            <p14:sldId id="928"/>
            <p14:sldId id="929"/>
            <p14:sldId id="930"/>
            <p14:sldId id="931"/>
            <p14:sldId id="932"/>
            <p14:sldId id="92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41C2F"/>
    <a:srgbClr val="BFBFBF"/>
    <a:srgbClr val="EDF4FF"/>
    <a:srgbClr val="FC6568"/>
    <a:srgbClr val="FFFFFF"/>
    <a:srgbClr val="3AB47A"/>
    <a:srgbClr val="DBEFF1"/>
    <a:srgbClr val="000000"/>
    <a:srgbClr val="36A671"/>
    <a:srgbClr val="4F4F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3555" autoAdjust="0"/>
    <p:restoredTop sz="88682" autoAdjust="0"/>
  </p:normalViewPr>
  <p:slideViewPr>
    <p:cSldViewPr snapToGrid="0" snapToObjects="1" showGuides="1">
      <p:cViewPr varScale="1">
        <p:scale>
          <a:sx n="79" d="100"/>
          <a:sy n="79" d="100"/>
        </p:scale>
        <p:origin x="232" y="984"/>
      </p:cViewPr>
      <p:guideLst/>
    </p:cSldViewPr>
  </p:slideViewPr>
  <p:outlineViewPr>
    <p:cViewPr>
      <p:scale>
        <a:sx n="75" d="100"/>
        <a:sy n="75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FA1CAA-9BFC-8545-B872-81E9FAF40E0C}" type="datetimeFigureOut">
              <a:rPr lang="ru-RU" smtClean="0"/>
              <a:t>03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705870-CBD7-3649-841C-437152CE0B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82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http://4EE7A5F6F9E76E58F816F1D71987E80C.dms.sberbank.ru/4EE7A5F6F9E76E58F816F1D71987E80C-9609B0E1BED8AEBD9CC162954DDDEF77-02BCB7CCFB4D9155276F510BA633678E/1.png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http://4EE7A5F6F9E76E58F816F1D71987E80C.dms.sberbank.ru/4EE7A5F6F9E76E58F816F1D71987E80C-9609B0E1BED8AEBD9CC162954DDDEF77-02BCB7CCFB4D9155276F510BA633678E/1.png" TargetMode="Externa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bg>
      <p:bgPr>
        <a:solidFill>
          <a:srgbClr val="1E28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A892141C-7A3E-704C-A6D2-8A99BB5D37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</a:blip>
          <a:srcRect l="10047" t="394" b="9653"/>
          <a:stretch/>
        </p:blipFill>
        <p:spPr>
          <a:xfrm flipH="1" flipV="1">
            <a:off x="-6" y="0"/>
            <a:ext cx="12192003" cy="6858000"/>
          </a:xfrm>
          <a:prstGeom prst="rect">
            <a:avLst/>
          </a:prstGeom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4979ED03-E725-D14C-AAFE-5123446C0B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441" y="6014859"/>
            <a:ext cx="1855215" cy="304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kumimoji="0" lang="ru-RU" sz="18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 Light" panose="020B0303040504020204" pitchFamily="34" charset="0"/>
                <a:ea typeface="+mn-ea"/>
                <a:cs typeface="SB Sans Text Light" panose="020B0303040504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tabLst/>
              <a:defRPr/>
            </a:pPr>
            <a:r>
              <a:rPr lang="ru-RU" dirty="0"/>
              <a:t>МЕСЯЦ 2023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4144F0B8-FC4F-7643-962A-4B32EC77E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3441" y="3040904"/>
            <a:ext cx="9171578" cy="27084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algn="l" defTabSz="554218" rtl="0" eaLnBrk="1" latinLnBrk="0" hangingPunct="1">
              <a:defRPr kumimoji="0" lang="ru-RU" sz="8800" b="1" i="0" u="none" strike="noStrike" kern="1200" cap="none" spc="-30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ea typeface="Helvetica Neue"/>
                <a:cs typeface="SB Sans Display" panose="020B0503040504020204" pitchFamily="34" charset="0"/>
              </a:defRPr>
            </a:lvl1pPr>
          </a:lstStyle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44" name="Рисунок 43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5" name="Рисунок 44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6" name="Рисунок 45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7" name="Рисунок 46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8" name="Рисунок 47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9" name="Рисунок 48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sp>
        <p:nvSpPr>
          <p:cNvPr id="17" name="Овал 16">
            <a:extLst>
              <a:ext uri="{FF2B5EF4-FFF2-40B4-BE49-F238E27FC236}">
                <a16:creationId xmlns:a16="http://schemas.microsoft.com/office/drawing/2014/main" id="{B6697A25-7B1E-8C4E-AB25-90F4794408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9A625B55-B138-1B43-80F7-204692DACA23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754B26C0-AB4A-4C4C-88B8-7C588A8BEDE6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D2161CD2-E42B-6643-9E49-93E234928D5B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19C493A8-8E5A-E04D-B356-9C7A90716EC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27E30A5-3532-374E-97B8-6BB9325F9275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7CB6D99F-8C62-3B45-8C92-95BE13B2BFA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D12EE39F-B1EB-F94C-A0ED-2AF404A7DDE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9713" y="1064019"/>
            <a:ext cx="586861" cy="574583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5AC6FDC0-D676-154D-9842-22B83B08F9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026" y="917730"/>
            <a:ext cx="3642078" cy="86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6516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_2">
    <p:bg>
      <p:bgPr>
        <a:solidFill>
          <a:srgbClr val="1E28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62688CB9-AB65-704E-B86A-87EE786555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 flipV="1">
            <a:off x="0" y="0"/>
            <a:ext cx="12192000" cy="6869288"/>
          </a:xfrm>
          <a:prstGeom prst="rect">
            <a:avLst/>
          </a:prstGeom>
        </p:spPr>
      </p:pic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4144F0B8-FC4F-7643-962A-4B32EC77E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42003"/>
            <a:ext cx="9171578" cy="24622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algn="l" defTabSz="554218" rtl="0" eaLnBrk="1" latinLnBrk="0" hangingPunct="1">
              <a:defRPr kumimoji="0" lang="ru-RU" sz="8000" b="1" i="0" u="none" strike="noStrike" kern="1200" cap="none" spc="-30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ea typeface="Helvetica Neue"/>
                <a:cs typeface="SB Sans Display" panose="020B0503040504020204" pitchFamily="34" charset="0"/>
              </a:defRPr>
            </a:lvl1pPr>
          </a:lstStyle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ИТЕЛЯ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A6578BD1-9C86-5641-B0E3-6F67EFD037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9713" y="1064019"/>
            <a:ext cx="586861" cy="574583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1A91243B-5EE5-6448-8E0B-D660D4AE957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026" y="917730"/>
            <a:ext cx="3642078" cy="867161"/>
          </a:xfrm>
          <a:prstGeom prst="rect">
            <a:avLst/>
          </a:prstGeom>
        </p:spPr>
      </p:pic>
      <p:sp>
        <p:nvSpPr>
          <p:cNvPr id="26" name="Овал 25">
            <a:extLst>
              <a:ext uri="{FF2B5EF4-FFF2-40B4-BE49-F238E27FC236}">
                <a16:creationId xmlns:a16="http://schemas.microsoft.com/office/drawing/2014/main" id="{B2DC1449-5BAE-024B-9D2D-62CB914CF42D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9EE1C6A6-B81A-514B-AB6E-2575C5E0B907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431EB27A-7185-B846-8ED3-144365427381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25F75212-3D51-E146-809C-4D6FEEE79B78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91CDF131-781F-CB45-B73D-503ADE3BED91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9D5B60B0-554B-C149-B2C2-3456B88A70FC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78718088-BB45-CD41-B490-CB7B516A57AC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8099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в 1 строк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CB8A27FB-A882-F542-8049-2E2043B95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D1E5861-85F9-2842-86D6-62464C2AC1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52A2138-8234-5B40-8A67-A8AC7E01A8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0EB4FFB-9336-4E44-8C32-A9C555A9A3AF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D77C44EC-C1EA-C74E-93DE-1B186F1D6AB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D96FBA2D-2EF3-4E47-B64D-E6DC0C237E9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91976D6-4AF5-4143-8739-540D3CFC101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3EF2BF5-6659-904A-9505-7340FDC3AA1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7CCF64-EAE1-834B-BCFA-3798FA434B15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811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в 2 стро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Рисунок 43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5" name="Рисунок 44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6" name="Рисунок 45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7" name="Рисунок 46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8" name="Рисунок 47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9" name="Рисунок 48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CB8A27FB-A882-F542-8049-2E2043B95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7863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82075B4-C9EC-5A40-B928-6732F1730298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8861C63-FDA8-AF44-863A-CC00433073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17D80DA3-15A3-2842-9F20-B0514A2DEB9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7CF4FC1B-B2F4-3349-A599-A4EA5EC4D6C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112AEA44-5113-A245-9866-CF2D4CA93976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5348EBE7-201C-4B47-8D29-BB6BF82817C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8F718351-C36C-0B41-A140-4B3EC83D7A23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2A57201-78E5-D846-B6AC-553D313069A7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294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ля кейса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с двумя скругленными соседними углами 12">
            <a:extLst>
              <a:ext uri="{FF2B5EF4-FFF2-40B4-BE49-F238E27FC236}">
                <a16:creationId xmlns:a16="http://schemas.microsoft.com/office/drawing/2014/main" id="{313458DD-9792-BF42-885C-CA04996EE8E2}"/>
              </a:ext>
            </a:extLst>
          </p:cNvPr>
          <p:cNvSpPr/>
          <p:nvPr userDrawn="1"/>
        </p:nvSpPr>
        <p:spPr>
          <a:xfrm>
            <a:off x="0" y="3010829"/>
            <a:ext cx="12192000" cy="3847171"/>
          </a:xfrm>
          <a:prstGeom prst="round2SameRect">
            <a:avLst>
              <a:gd name="adj1" fmla="val 815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35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D1E5861-85F9-2842-86D6-62464C2AC1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52A2138-8234-5B40-8A67-A8AC7E01A8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0EB4FFB-9336-4E44-8C32-A9C555A9A3AF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D77C44EC-C1EA-C74E-93DE-1B186F1D6AB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D96FBA2D-2EF3-4E47-B64D-E6DC0C237E9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91976D6-4AF5-4143-8739-540D3CFC101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3EF2BF5-6659-904A-9505-7340FDC3AA1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7CCF64-EAE1-834B-BCFA-3798FA434B15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bg1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bg1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bg1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bg1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id="{5488931B-6652-4A4A-977B-025F9D9F0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0618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ля кейса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D1E5861-85F9-2842-86D6-62464C2AC1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52A2138-8234-5B40-8A67-A8AC7E01A8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0EB4FFB-9336-4E44-8C32-A9C555A9A3AF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D77C44EC-C1EA-C74E-93DE-1B186F1D6AB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D96FBA2D-2EF3-4E47-B64D-E6DC0C237E9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91976D6-4AF5-4143-8739-540D3CFC101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3EF2BF5-6659-904A-9505-7340FDC3AA1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с двумя скругленными соседними углами 13">
            <a:extLst>
              <a:ext uri="{FF2B5EF4-FFF2-40B4-BE49-F238E27FC236}">
                <a16:creationId xmlns:a16="http://schemas.microsoft.com/office/drawing/2014/main" id="{079F3ED1-0F64-2947-8838-8E16C9346755}"/>
              </a:ext>
            </a:extLst>
          </p:cNvPr>
          <p:cNvSpPr/>
          <p:nvPr userDrawn="1"/>
        </p:nvSpPr>
        <p:spPr>
          <a:xfrm rot="16200000">
            <a:off x="4838699" y="-495301"/>
            <a:ext cx="6858001" cy="7848600"/>
          </a:xfrm>
          <a:prstGeom prst="round2SameRect">
            <a:avLst>
              <a:gd name="adj1" fmla="val 2901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FA6854-CEBF-8C44-87E3-6E8FF923753C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accent2"/>
              </a:solidFill>
            </a:endParaRPr>
          </a:p>
        </p:txBody>
      </p:sp>
      <p:sp>
        <p:nvSpPr>
          <p:cNvPr id="16" name="Номер слайда 5">
            <a:extLst>
              <a:ext uri="{FF2B5EF4-FFF2-40B4-BE49-F238E27FC236}">
                <a16:creationId xmlns:a16="http://schemas.microsoft.com/office/drawing/2014/main" id="{1008DAE5-5162-5D49-86C5-58495B044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5763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 компан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CB8A27FB-A882-F542-8049-2E2043B95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D1E5861-85F9-2842-86D6-62464C2AC1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52A2138-8234-5B40-8A67-A8AC7E01A8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0EB4FFB-9336-4E44-8C32-A9C555A9A3AF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D77C44EC-C1EA-C74E-93DE-1B186F1D6AB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D96FBA2D-2EF3-4E47-B64D-E6DC0C237E9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91976D6-4AF5-4143-8739-540D3CFC101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3EF2BF5-6659-904A-9505-7340FDC3AA1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7CCF64-EAE1-834B-BCFA-3798FA434B15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accent2"/>
              </a:solidFill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2D75BC4-8BCB-7244-9EE5-13E0FF64CB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66491" y="1126989"/>
            <a:ext cx="7090356" cy="5511572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EAFB95CD-A364-A244-BBF0-7BC453201F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973243" y="1310803"/>
            <a:ext cx="7090356" cy="5511572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A1C68CC-581B-3E43-B228-CAA0B17DBB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6624" y="641095"/>
            <a:ext cx="7090356" cy="5511572"/>
          </a:xfrm>
          <a:prstGeom prst="rect">
            <a:avLst/>
          </a:prstGeom>
        </p:spPr>
      </p:pic>
      <p:sp>
        <p:nvSpPr>
          <p:cNvPr id="16" name="Рисунок 22">
            <a:extLst>
              <a:ext uri="{FF2B5EF4-FFF2-40B4-BE49-F238E27FC236}">
                <a16:creationId xmlns:a16="http://schemas.microsoft.com/office/drawing/2014/main" id="{924549B3-0C92-2348-B5BF-C05399C3B9F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2353" y="2069260"/>
            <a:ext cx="1846729" cy="3946807"/>
          </a:xfrm>
          <a:custGeom>
            <a:avLst/>
            <a:gdLst>
              <a:gd name="connsiteX0" fmla="*/ 221049 w 2700000"/>
              <a:gd name="connsiteY0" fmla="*/ 0 h 5832000"/>
              <a:gd name="connsiteX1" fmla="*/ 586207 w 2700000"/>
              <a:gd name="connsiteY1" fmla="*/ 0 h 5832000"/>
              <a:gd name="connsiteX2" fmla="*/ 586207 w 2700000"/>
              <a:gd name="connsiteY2" fmla="*/ 35332 h 5832000"/>
              <a:gd name="connsiteX3" fmla="*/ 748819 w 2700000"/>
              <a:gd name="connsiteY3" fmla="*/ 197944 h 5832000"/>
              <a:gd name="connsiteX4" fmla="*/ 1951181 w 2700000"/>
              <a:gd name="connsiteY4" fmla="*/ 197944 h 5832000"/>
              <a:gd name="connsiteX5" fmla="*/ 2113793 w 2700000"/>
              <a:gd name="connsiteY5" fmla="*/ 35332 h 5832000"/>
              <a:gd name="connsiteX6" fmla="*/ 2113793 w 2700000"/>
              <a:gd name="connsiteY6" fmla="*/ 0 h 5832000"/>
              <a:gd name="connsiteX7" fmla="*/ 2478951 w 2700000"/>
              <a:gd name="connsiteY7" fmla="*/ 0 h 5832000"/>
              <a:gd name="connsiteX8" fmla="*/ 2700000 w 2700000"/>
              <a:gd name="connsiteY8" fmla="*/ 221049 h 5832000"/>
              <a:gd name="connsiteX9" fmla="*/ 2700000 w 2700000"/>
              <a:gd name="connsiteY9" fmla="*/ 5610951 h 5832000"/>
              <a:gd name="connsiteX10" fmla="*/ 2478951 w 2700000"/>
              <a:gd name="connsiteY10" fmla="*/ 5832000 h 5832000"/>
              <a:gd name="connsiteX11" fmla="*/ 221049 w 2700000"/>
              <a:gd name="connsiteY11" fmla="*/ 5832000 h 5832000"/>
              <a:gd name="connsiteX12" fmla="*/ 0 w 2700000"/>
              <a:gd name="connsiteY12" fmla="*/ 5610951 h 5832000"/>
              <a:gd name="connsiteX13" fmla="*/ 0 w 2700000"/>
              <a:gd name="connsiteY13" fmla="*/ 221049 h 5832000"/>
              <a:gd name="connsiteX14" fmla="*/ 221049 w 2700000"/>
              <a:gd name="connsiteY14" fmla="*/ 0 h 58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00000" h="5832000">
                <a:moveTo>
                  <a:pt x="221049" y="0"/>
                </a:moveTo>
                <a:lnTo>
                  <a:pt x="586207" y="0"/>
                </a:lnTo>
                <a:lnTo>
                  <a:pt x="586207" y="35332"/>
                </a:lnTo>
                <a:cubicBezTo>
                  <a:pt x="586207" y="125140"/>
                  <a:pt x="659011" y="197944"/>
                  <a:pt x="748819" y="197944"/>
                </a:cubicBezTo>
                <a:lnTo>
                  <a:pt x="1951181" y="197944"/>
                </a:lnTo>
                <a:cubicBezTo>
                  <a:pt x="2040989" y="197944"/>
                  <a:pt x="2113793" y="125140"/>
                  <a:pt x="2113793" y="35332"/>
                </a:cubicBezTo>
                <a:lnTo>
                  <a:pt x="2113793" y="0"/>
                </a:lnTo>
                <a:lnTo>
                  <a:pt x="2478951" y="0"/>
                </a:lnTo>
                <a:cubicBezTo>
                  <a:pt x="2601033" y="0"/>
                  <a:pt x="2700000" y="98967"/>
                  <a:pt x="2700000" y="221049"/>
                </a:cubicBezTo>
                <a:lnTo>
                  <a:pt x="2700000" y="5610951"/>
                </a:lnTo>
                <a:cubicBezTo>
                  <a:pt x="2700000" y="5733033"/>
                  <a:pt x="2601033" y="5832000"/>
                  <a:pt x="2478951" y="5832000"/>
                </a:cubicBezTo>
                <a:lnTo>
                  <a:pt x="221049" y="5832000"/>
                </a:lnTo>
                <a:cubicBezTo>
                  <a:pt x="98967" y="5832000"/>
                  <a:pt x="0" y="5733033"/>
                  <a:pt x="0" y="5610951"/>
                </a:cubicBezTo>
                <a:lnTo>
                  <a:pt x="0" y="221049"/>
                </a:lnTo>
                <a:cubicBezTo>
                  <a:pt x="0" y="98967"/>
                  <a:pt x="98967" y="0"/>
                  <a:pt x="22104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endParaRPr lang="ru-RU" dirty="0"/>
          </a:p>
        </p:txBody>
      </p:sp>
      <p:sp>
        <p:nvSpPr>
          <p:cNvPr id="17" name="Рисунок 22">
            <a:extLst>
              <a:ext uri="{FF2B5EF4-FFF2-40B4-BE49-F238E27FC236}">
                <a16:creationId xmlns:a16="http://schemas.microsoft.com/office/drawing/2014/main" id="{A5962096-5F36-1840-8ECD-2921DE85C48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2220" y="1406297"/>
            <a:ext cx="1846729" cy="3946807"/>
          </a:xfrm>
          <a:custGeom>
            <a:avLst/>
            <a:gdLst>
              <a:gd name="connsiteX0" fmla="*/ 221049 w 2700000"/>
              <a:gd name="connsiteY0" fmla="*/ 0 h 5832000"/>
              <a:gd name="connsiteX1" fmla="*/ 586207 w 2700000"/>
              <a:gd name="connsiteY1" fmla="*/ 0 h 5832000"/>
              <a:gd name="connsiteX2" fmla="*/ 586207 w 2700000"/>
              <a:gd name="connsiteY2" fmla="*/ 35332 h 5832000"/>
              <a:gd name="connsiteX3" fmla="*/ 748819 w 2700000"/>
              <a:gd name="connsiteY3" fmla="*/ 197944 h 5832000"/>
              <a:gd name="connsiteX4" fmla="*/ 1951181 w 2700000"/>
              <a:gd name="connsiteY4" fmla="*/ 197944 h 5832000"/>
              <a:gd name="connsiteX5" fmla="*/ 2113793 w 2700000"/>
              <a:gd name="connsiteY5" fmla="*/ 35332 h 5832000"/>
              <a:gd name="connsiteX6" fmla="*/ 2113793 w 2700000"/>
              <a:gd name="connsiteY6" fmla="*/ 0 h 5832000"/>
              <a:gd name="connsiteX7" fmla="*/ 2478951 w 2700000"/>
              <a:gd name="connsiteY7" fmla="*/ 0 h 5832000"/>
              <a:gd name="connsiteX8" fmla="*/ 2700000 w 2700000"/>
              <a:gd name="connsiteY8" fmla="*/ 221049 h 5832000"/>
              <a:gd name="connsiteX9" fmla="*/ 2700000 w 2700000"/>
              <a:gd name="connsiteY9" fmla="*/ 5610951 h 5832000"/>
              <a:gd name="connsiteX10" fmla="*/ 2478951 w 2700000"/>
              <a:gd name="connsiteY10" fmla="*/ 5832000 h 5832000"/>
              <a:gd name="connsiteX11" fmla="*/ 221049 w 2700000"/>
              <a:gd name="connsiteY11" fmla="*/ 5832000 h 5832000"/>
              <a:gd name="connsiteX12" fmla="*/ 0 w 2700000"/>
              <a:gd name="connsiteY12" fmla="*/ 5610951 h 5832000"/>
              <a:gd name="connsiteX13" fmla="*/ 0 w 2700000"/>
              <a:gd name="connsiteY13" fmla="*/ 221049 h 5832000"/>
              <a:gd name="connsiteX14" fmla="*/ 221049 w 2700000"/>
              <a:gd name="connsiteY14" fmla="*/ 0 h 58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00000" h="5832000">
                <a:moveTo>
                  <a:pt x="221049" y="0"/>
                </a:moveTo>
                <a:lnTo>
                  <a:pt x="586207" y="0"/>
                </a:lnTo>
                <a:lnTo>
                  <a:pt x="586207" y="35332"/>
                </a:lnTo>
                <a:cubicBezTo>
                  <a:pt x="586207" y="125140"/>
                  <a:pt x="659011" y="197944"/>
                  <a:pt x="748819" y="197944"/>
                </a:cubicBezTo>
                <a:lnTo>
                  <a:pt x="1951181" y="197944"/>
                </a:lnTo>
                <a:cubicBezTo>
                  <a:pt x="2040989" y="197944"/>
                  <a:pt x="2113793" y="125140"/>
                  <a:pt x="2113793" y="35332"/>
                </a:cubicBezTo>
                <a:lnTo>
                  <a:pt x="2113793" y="0"/>
                </a:lnTo>
                <a:lnTo>
                  <a:pt x="2478951" y="0"/>
                </a:lnTo>
                <a:cubicBezTo>
                  <a:pt x="2601033" y="0"/>
                  <a:pt x="2700000" y="98967"/>
                  <a:pt x="2700000" y="221049"/>
                </a:cubicBezTo>
                <a:lnTo>
                  <a:pt x="2700000" y="5610951"/>
                </a:lnTo>
                <a:cubicBezTo>
                  <a:pt x="2700000" y="5733033"/>
                  <a:pt x="2601033" y="5832000"/>
                  <a:pt x="2478951" y="5832000"/>
                </a:cubicBezTo>
                <a:lnTo>
                  <a:pt x="221049" y="5832000"/>
                </a:lnTo>
                <a:cubicBezTo>
                  <a:pt x="98967" y="5832000"/>
                  <a:pt x="0" y="5733033"/>
                  <a:pt x="0" y="5610951"/>
                </a:cubicBezTo>
                <a:lnTo>
                  <a:pt x="0" y="221049"/>
                </a:lnTo>
                <a:cubicBezTo>
                  <a:pt x="0" y="98967"/>
                  <a:pt x="98967" y="0"/>
                  <a:pt x="22104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400" b="1"/>
            </a:lvl1pPr>
          </a:lstStyle>
          <a:p>
            <a:endParaRPr lang="ru-RU" dirty="0"/>
          </a:p>
        </p:txBody>
      </p:sp>
      <p:sp>
        <p:nvSpPr>
          <p:cNvPr id="29" name="Рисунок 22">
            <a:extLst>
              <a:ext uri="{FF2B5EF4-FFF2-40B4-BE49-F238E27FC236}">
                <a16:creationId xmlns:a16="http://schemas.microsoft.com/office/drawing/2014/main" id="{6E92CCA8-520F-BA42-90E7-461BF3E5B0E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12087" y="1892191"/>
            <a:ext cx="1846729" cy="3946807"/>
          </a:xfrm>
          <a:custGeom>
            <a:avLst/>
            <a:gdLst>
              <a:gd name="connsiteX0" fmla="*/ 221049 w 2700000"/>
              <a:gd name="connsiteY0" fmla="*/ 0 h 5832000"/>
              <a:gd name="connsiteX1" fmla="*/ 586207 w 2700000"/>
              <a:gd name="connsiteY1" fmla="*/ 0 h 5832000"/>
              <a:gd name="connsiteX2" fmla="*/ 586207 w 2700000"/>
              <a:gd name="connsiteY2" fmla="*/ 35332 h 5832000"/>
              <a:gd name="connsiteX3" fmla="*/ 748819 w 2700000"/>
              <a:gd name="connsiteY3" fmla="*/ 197944 h 5832000"/>
              <a:gd name="connsiteX4" fmla="*/ 1951181 w 2700000"/>
              <a:gd name="connsiteY4" fmla="*/ 197944 h 5832000"/>
              <a:gd name="connsiteX5" fmla="*/ 2113793 w 2700000"/>
              <a:gd name="connsiteY5" fmla="*/ 35332 h 5832000"/>
              <a:gd name="connsiteX6" fmla="*/ 2113793 w 2700000"/>
              <a:gd name="connsiteY6" fmla="*/ 0 h 5832000"/>
              <a:gd name="connsiteX7" fmla="*/ 2478951 w 2700000"/>
              <a:gd name="connsiteY7" fmla="*/ 0 h 5832000"/>
              <a:gd name="connsiteX8" fmla="*/ 2700000 w 2700000"/>
              <a:gd name="connsiteY8" fmla="*/ 221049 h 5832000"/>
              <a:gd name="connsiteX9" fmla="*/ 2700000 w 2700000"/>
              <a:gd name="connsiteY9" fmla="*/ 5610951 h 5832000"/>
              <a:gd name="connsiteX10" fmla="*/ 2478951 w 2700000"/>
              <a:gd name="connsiteY10" fmla="*/ 5832000 h 5832000"/>
              <a:gd name="connsiteX11" fmla="*/ 221049 w 2700000"/>
              <a:gd name="connsiteY11" fmla="*/ 5832000 h 5832000"/>
              <a:gd name="connsiteX12" fmla="*/ 0 w 2700000"/>
              <a:gd name="connsiteY12" fmla="*/ 5610951 h 5832000"/>
              <a:gd name="connsiteX13" fmla="*/ 0 w 2700000"/>
              <a:gd name="connsiteY13" fmla="*/ 221049 h 5832000"/>
              <a:gd name="connsiteX14" fmla="*/ 221049 w 2700000"/>
              <a:gd name="connsiteY14" fmla="*/ 0 h 58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00000" h="5832000">
                <a:moveTo>
                  <a:pt x="221049" y="0"/>
                </a:moveTo>
                <a:lnTo>
                  <a:pt x="586207" y="0"/>
                </a:lnTo>
                <a:lnTo>
                  <a:pt x="586207" y="35332"/>
                </a:lnTo>
                <a:cubicBezTo>
                  <a:pt x="586207" y="125140"/>
                  <a:pt x="659011" y="197944"/>
                  <a:pt x="748819" y="197944"/>
                </a:cubicBezTo>
                <a:lnTo>
                  <a:pt x="1951181" y="197944"/>
                </a:lnTo>
                <a:cubicBezTo>
                  <a:pt x="2040989" y="197944"/>
                  <a:pt x="2113793" y="125140"/>
                  <a:pt x="2113793" y="35332"/>
                </a:cubicBezTo>
                <a:lnTo>
                  <a:pt x="2113793" y="0"/>
                </a:lnTo>
                <a:lnTo>
                  <a:pt x="2478951" y="0"/>
                </a:lnTo>
                <a:cubicBezTo>
                  <a:pt x="2601033" y="0"/>
                  <a:pt x="2700000" y="98967"/>
                  <a:pt x="2700000" y="221049"/>
                </a:cubicBezTo>
                <a:lnTo>
                  <a:pt x="2700000" y="5610951"/>
                </a:lnTo>
                <a:cubicBezTo>
                  <a:pt x="2700000" y="5733033"/>
                  <a:pt x="2601033" y="5832000"/>
                  <a:pt x="2478951" y="5832000"/>
                </a:cubicBezTo>
                <a:lnTo>
                  <a:pt x="221049" y="5832000"/>
                </a:lnTo>
                <a:cubicBezTo>
                  <a:pt x="98967" y="5832000"/>
                  <a:pt x="0" y="5733033"/>
                  <a:pt x="0" y="5610951"/>
                </a:cubicBezTo>
                <a:lnTo>
                  <a:pt x="0" y="221049"/>
                </a:lnTo>
                <a:cubicBezTo>
                  <a:pt x="0" y="98967"/>
                  <a:pt x="98967" y="0"/>
                  <a:pt x="22104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400" b="1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646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-up ноу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CB8A27FB-A882-F542-8049-2E2043B95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D1E5861-85F9-2842-86D6-62464C2AC1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52A2138-8234-5B40-8A67-A8AC7E01A8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0EB4FFB-9336-4E44-8C32-A9C555A9A3AF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D77C44EC-C1EA-C74E-93DE-1B186F1D6AB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D96FBA2D-2EF3-4E47-B64D-E6DC0C237E9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91976D6-4AF5-4143-8739-540D3CFC101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3EF2BF5-6659-904A-9505-7340FDC3AA1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7CCF64-EAE1-834B-BCFA-3798FA434B15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accent2"/>
              </a:solidFill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CF5F8C69-BC3F-0D40-ADFC-4AEA1AB05E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17324" t="1618" r="17324" b="33028"/>
          <a:stretch/>
        </p:blipFill>
        <p:spPr>
          <a:xfrm>
            <a:off x="1244619" y="-473073"/>
            <a:ext cx="9702763" cy="7277073"/>
          </a:xfrm>
          <a:prstGeom prst="rect">
            <a:avLst/>
          </a:prstGeom>
        </p:spPr>
      </p:pic>
      <p:sp>
        <p:nvSpPr>
          <p:cNvPr id="31" name="Рисунок 4">
            <a:extLst>
              <a:ext uri="{FF2B5EF4-FFF2-40B4-BE49-F238E27FC236}">
                <a16:creationId xmlns:a16="http://schemas.microsoft.com/office/drawing/2014/main" id="{9CED4EC2-D5A2-AE4A-A8B2-45880FE1F8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891612" y="1576482"/>
            <a:ext cx="6547403" cy="4089112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4702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ывод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Овал 12">
            <a:extLst>
              <a:ext uri="{FF2B5EF4-FFF2-40B4-BE49-F238E27FC236}">
                <a16:creationId xmlns:a16="http://schemas.microsoft.com/office/drawing/2014/main" id="{7C70899F-24D9-AB42-AAF5-F8CEC8EF7E9D}"/>
              </a:ext>
            </a:extLst>
          </p:cNvPr>
          <p:cNvSpPr/>
          <p:nvPr userDrawn="1"/>
        </p:nvSpPr>
        <p:spPr>
          <a:xfrm>
            <a:off x="-4528052" y="-957435"/>
            <a:ext cx="8772871" cy="8772871"/>
          </a:xfrm>
          <a:prstGeom prst="ellipse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35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D1E5861-85F9-2842-86D6-62464C2AC1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52A2138-8234-5B40-8A67-A8AC7E01A8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0EB4FFB-9336-4E44-8C32-A9C555A9A3AF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D77C44EC-C1EA-C74E-93DE-1B186F1D6AB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D96FBA2D-2EF3-4E47-B64D-E6DC0C237E9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91976D6-4AF5-4143-8739-540D3CFC101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3EF2BF5-6659-904A-9505-7340FDC3AA1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7CCF64-EAE1-834B-BCFA-3798FA434B15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bg1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bg1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bg1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bg1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id="{31D791A1-95EB-AF40-8516-F7EA58722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bg2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6636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555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Слайд think-cell" r:id="rId13" imgW="395" imgH="394" progId="TCLayout.ActiveDocument.1">
                  <p:embed/>
                </p:oleObj>
              </mc:Choice>
              <mc:Fallback>
                <p:oleObj name="Слайд think-cell" r:id="rId13" imgW="395" imgH="39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вал 2">
            <a:extLst>
              <a:ext uri="{FF2B5EF4-FFF2-40B4-BE49-F238E27FC236}">
                <a16:creationId xmlns:a16="http://schemas.microsoft.com/office/drawing/2014/main" id="{F71C34A1-6625-E046-B627-F0FF3BB67CF3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74D37193-3CA4-8647-BCEE-E90D2A1AC11C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5E9063FB-121B-AF43-BCB5-D852A1F710A1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E578F8B8-7D28-6746-B9FD-D881D4580616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1342DCA4-7310-F64A-8787-01B52E5DEA68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F097175E-004E-D14B-8230-B4A11D767DA8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8BEE9EC2-1656-544F-9300-99675DD8A03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4942000"/>
            <a:ext cx="504000" cy="504000"/>
          </a:xfrm>
          <a:prstGeom prst="ellipse">
            <a:avLst/>
          </a:prstGeom>
          <a:solidFill>
            <a:srgbClr val="DE9D8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B2387A49-742C-7A4A-A8B4-0C8F508ED417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5648000"/>
            <a:ext cx="504000" cy="504000"/>
          </a:xfrm>
          <a:prstGeom prst="ellipse">
            <a:avLst/>
          </a:prstGeom>
          <a:solidFill>
            <a:srgbClr val="CEAAB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0140545D-7621-5044-BE18-1FF4E9FE7E6C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6354000"/>
            <a:ext cx="504000" cy="504000"/>
          </a:xfrm>
          <a:prstGeom prst="ellipse">
            <a:avLst/>
          </a:prstGeom>
          <a:solidFill>
            <a:srgbClr val="F5DD9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AB838634-3A2F-B94A-9035-A444C11207B3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5B8C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2430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01" r:id="rId2"/>
    <p:sldLayoutId id="2147483708" r:id="rId3"/>
    <p:sldLayoutId id="2147483709" r:id="rId4"/>
    <p:sldLayoutId id="2147483712" r:id="rId5"/>
    <p:sldLayoutId id="2147483713" r:id="rId6"/>
    <p:sldLayoutId id="2147483715" r:id="rId7"/>
    <p:sldLayoutId id="2147483716" r:id="rId8"/>
    <p:sldLayoutId id="2147483714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pos="7333">
          <p15:clr>
            <a:srgbClr val="F26B43"/>
          </p15:clr>
        </p15:guide>
        <p15:guide id="6" pos="347">
          <p15:clr>
            <a:srgbClr val="F26B43"/>
          </p15:clr>
        </p15:guide>
        <p15:guide id="7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2.png"/><Relationship Id="rId39" Type="http://schemas.openxmlformats.org/officeDocument/2006/relationships/image" Target="../media/image55.png"/><Relationship Id="rId21" Type="http://schemas.openxmlformats.org/officeDocument/2006/relationships/image" Target="../media/image37.png"/><Relationship Id="rId34" Type="http://schemas.openxmlformats.org/officeDocument/2006/relationships/image" Target="../media/image50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29" Type="http://schemas.openxmlformats.org/officeDocument/2006/relationships/image" Target="../media/image45.png"/><Relationship Id="rId41" Type="http://schemas.openxmlformats.org/officeDocument/2006/relationships/image" Target="../media/image5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24" Type="http://schemas.openxmlformats.org/officeDocument/2006/relationships/image" Target="../media/image40.png"/><Relationship Id="rId32" Type="http://schemas.openxmlformats.org/officeDocument/2006/relationships/image" Target="../media/image48.png"/><Relationship Id="rId37" Type="http://schemas.openxmlformats.org/officeDocument/2006/relationships/image" Target="../media/image53.png"/><Relationship Id="rId40" Type="http://schemas.openxmlformats.org/officeDocument/2006/relationships/image" Target="../media/image56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4.png"/><Relationship Id="rId36" Type="http://schemas.openxmlformats.org/officeDocument/2006/relationships/image" Target="../media/image52.pn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31" Type="http://schemas.openxmlformats.org/officeDocument/2006/relationships/image" Target="../media/image47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Relationship Id="rId27" Type="http://schemas.openxmlformats.org/officeDocument/2006/relationships/image" Target="../media/image43.png"/><Relationship Id="rId30" Type="http://schemas.openxmlformats.org/officeDocument/2006/relationships/image" Target="../media/image46.png"/><Relationship Id="rId35" Type="http://schemas.openxmlformats.org/officeDocument/2006/relationships/image" Target="../media/image51.png"/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33" Type="http://schemas.openxmlformats.org/officeDocument/2006/relationships/image" Target="../media/image49.png"/><Relationship Id="rId38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9.png"/><Relationship Id="rId18" Type="http://schemas.openxmlformats.org/officeDocument/2006/relationships/image" Target="../media/image74.png"/><Relationship Id="rId26" Type="http://schemas.openxmlformats.org/officeDocument/2006/relationships/image" Target="../media/image82.png"/><Relationship Id="rId39" Type="http://schemas.openxmlformats.org/officeDocument/2006/relationships/image" Target="../media/image95.png"/><Relationship Id="rId21" Type="http://schemas.openxmlformats.org/officeDocument/2006/relationships/image" Target="../media/image77.png"/><Relationship Id="rId34" Type="http://schemas.openxmlformats.org/officeDocument/2006/relationships/image" Target="../media/image90.png"/><Relationship Id="rId7" Type="http://schemas.openxmlformats.org/officeDocument/2006/relationships/image" Target="../media/image63.png"/><Relationship Id="rId2" Type="http://schemas.openxmlformats.org/officeDocument/2006/relationships/image" Target="../media/image58.png"/><Relationship Id="rId16" Type="http://schemas.openxmlformats.org/officeDocument/2006/relationships/image" Target="../media/image72.png"/><Relationship Id="rId20" Type="http://schemas.openxmlformats.org/officeDocument/2006/relationships/image" Target="../media/image76.png"/><Relationship Id="rId29" Type="http://schemas.openxmlformats.org/officeDocument/2006/relationships/image" Target="../media/image85.png"/><Relationship Id="rId41" Type="http://schemas.openxmlformats.org/officeDocument/2006/relationships/image" Target="../media/image9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2.png"/><Relationship Id="rId11" Type="http://schemas.openxmlformats.org/officeDocument/2006/relationships/image" Target="../media/image67.png"/><Relationship Id="rId24" Type="http://schemas.openxmlformats.org/officeDocument/2006/relationships/image" Target="../media/image80.png"/><Relationship Id="rId32" Type="http://schemas.openxmlformats.org/officeDocument/2006/relationships/image" Target="../media/image88.png"/><Relationship Id="rId37" Type="http://schemas.openxmlformats.org/officeDocument/2006/relationships/image" Target="../media/image93.png"/><Relationship Id="rId40" Type="http://schemas.openxmlformats.org/officeDocument/2006/relationships/image" Target="../media/image96.png"/><Relationship Id="rId5" Type="http://schemas.openxmlformats.org/officeDocument/2006/relationships/image" Target="../media/image61.png"/><Relationship Id="rId15" Type="http://schemas.openxmlformats.org/officeDocument/2006/relationships/image" Target="../media/image71.png"/><Relationship Id="rId23" Type="http://schemas.openxmlformats.org/officeDocument/2006/relationships/image" Target="../media/image79.png"/><Relationship Id="rId28" Type="http://schemas.openxmlformats.org/officeDocument/2006/relationships/image" Target="../media/image84.png"/><Relationship Id="rId36" Type="http://schemas.openxmlformats.org/officeDocument/2006/relationships/image" Target="../media/image92.png"/><Relationship Id="rId10" Type="http://schemas.openxmlformats.org/officeDocument/2006/relationships/image" Target="../media/image66.png"/><Relationship Id="rId19" Type="http://schemas.openxmlformats.org/officeDocument/2006/relationships/image" Target="../media/image75.png"/><Relationship Id="rId31" Type="http://schemas.openxmlformats.org/officeDocument/2006/relationships/image" Target="../media/image87.png"/><Relationship Id="rId4" Type="http://schemas.openxmlformats.org/officeDocument/2006/relationships/image" Target="../media/image60.png"/><Relationship Id="rId9" Type="http://schemas.openxmlformats.org/officeDocument/2006/relationships/image" Target="../media/image65.png"/><Relationship Id="rId14" Type="http://schemas.openxmlformats.org/officeDocument/2006/relationships/image" Target="../media/image70.png"/><Relationship Id="rId22" Type="http://schemas.openxmlformats.org/officeDocument/2006/relationships/image" Target="../media/image78.png"/><Relationship Id="rId27" Type="http://schemas.openxmlformats.org/officeDocument/2006/relationships/image" Target="../media/image83.png"/><Relationship Id="rId30" Type="http://schemas.openxmlformats.org/officeDocument/2006/relationships/image" Target="../media/image86.png"/><Relationship Id="rId35" Type="http://schemas.openxmlformats.org/officeDocument/2006/relationships/image" Target="../media/image91.png"/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12" Type="http://schemas.openxmlformats.org/officeDocument/2006/relationships/image" Target="../media/image68.png"/><Relationship Id="rId17" Type="http://schemas.openxmlformats.org/officeDocument/2006/relationships/image" Target="../media/image73.png"/><Relationship Id="rId25" Type="http://schemas.openxmlformats.org/officeDocument/2006/relationships/image" Target="../media/image81.png"/><Relationship Id="rId33" Type="http://schemas.openxmlformats.org/officeDocument/2006/relationships/image" Target="../media/image89.png"/><Relationship Id="rId38" Type="http://schemas.openxmlformats.org/officeDocument/2006/relationships/image" Target="../media/image94.png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9.png"/><Relationship Id="rId18" Type="http://schemas.openxmlformats.org/officeDocument/2006/relationships/image" Target="../media/image114.png"/><Relationship Id="rId26" Type="http://schemas.openxmlformats.org/officeDocument/2006/relationships/image" Target="../media/image122.png"/><Relationship Id="rId39" Type="http://schemas.openxmlformats.org/officeDocument/2006/relationships/image" Target="../media/image135.png"/><Relationship Id="rId21" Type="http://schemas.openxmlformats.org/officeDocument/2006/relationships/image" Target="../media/image117.png"/><Relationship Id="rId34" Type="http://schemas.openxmlformats.org/officeDocument/2006/relationships/image" Target="../media/image130.png"/><Relationship Id="rId7" Type="http://schemas.openxmlformats.org/officeDocument/2006/relationships/image" Target="../media/image103.png"/><Relationship Id="rId2" Type="http://schemas.openxmlformats.org/officeDocument/2006/relationships/image" Target="../media/image98.png"/><Relationship Id="rId16" Type="http://schemas.openxmlformats.org/officeDocument/2006/relationships/image" Target="../media/image112.png"/><Relationship Id="rId20" Type="http://schemas.openxmlformats.org/officeDocument/2006/relationships/image" Target="../media/image116.png"/><Relationship Id="rId29" Type="http://schemas.openxmlformats.org/officeDocument/2006/relationships/image" Target="../media/image125.png"/><Relationship Id="rId41" Type="http://schemas.openxmlformats.org/officeDocument/2006/relationships/image" Target="../media/image13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2.png"/><Relationship Id="rId11" Type="http://schemas.openxmlformats.org/officeDocument/2006/relationships/image" Target="../media/image107.png"/><Relationship Id="rId24" Type="http://schemas.openxmlformats.org/officeDocument/2006/relationships/image" Target="../media/image120.png"/><Relationship Id="rId32" Type="http://schemas.openxmlformats.org/officeDocument/2006/relationships/image" Target="../media/image128.png"/><Relationship Id="rId37" Type="http://schemas.openxmlformats.org/officeDocument/2006/relationships/image" Target="../media/image133.png"/><Relationship Id="rId40" Type="http://schemas.openxmlformats.org/officeDocument/2006/relationships/image" Target="../media/image136.png"/><Relationship Id="rId5" Type="http://schemas.openxmlformats.org/officeDocument/2006/relationships/image" Target="../media/image101.png"/><Relationship Id="rId15" Type="http://schemas.openxmlformats.org/officeDocument/2006/relationships/image" Target="../media/image111.png"/><Relationship Id="rId23" Type="http://schemas.openxmlformats.org/officeDocument/2006/relationships/image" Target="../media/image119.png"/><Relationship Id="rId28" Type="http://schemas.openxmlformats.org/officeDocument/2006/relationships/image" Target="../media/image124.png"/><Relationship Id="rId36" Type="http://schemas.openxmlformats.org/officeDocument/2006/relationships/image" Target="../media/image132.png"/><Relationship Id="rId10" Type="http://schemas.openxmlformats.org/officeDocument/2006/relationships/image" Target="../media/image106.png"/><Relationship Id="rId19" Type="http://schemas.openxmlformats.org/officeDocument/2006/relationships/image" Target="../media/image115.png"/><Relationship Id="rId31" Type="http://schemas.openxmlformats.org/officeDocument/2006/relationships/image" Target="../media/image127.png"/><Relationship Id="rId4" Type="http://schemas.openxmlformats.org/officeDocument/2006/relationships/image" Target="../media/image100.png"/><Relationship Id="rId9" Type="http://schemas.openxmlformats.org/officeDocument/2006/relationships/image" Target="../media/image105.png"/><Relationship Id="rId14" Type="http://schemas.openxmlformats.org/officeDocument/2006/relationships/image" Target="../media/image110.png"/><Relationship Id="rId22" Type="http://schemas.openxmlformats.org/officeDocument/2006/relationships/image" Target="../media/image118.png"/><Relationship Id="rId27" Type="http://schemas.openxmlformats.org/officeDocument/2006/relationships/image" Target="../media/image123.png"/><Relationship Id="rId30" Type="http://schemas.openxmlformats.org/officeDocument/2006/relationships/image" Target="../media/image126.png"/><Relationship Id="rId35" Type="http://schemas.openxmlformats.org/officeDocument/2006/relationships/image" Target="../media/image131.png"/><Relationship Id="rId8" Type="http://schemas.openxmlformats.org/officeDocument/2006/relationships/image" Target="../media/image104.png"/><Relationship Id="rId3" Type="http://schemas.openxmlformats.org/officeDocument/2006/relationships/image" Target="../media/image99.png"/><Relationship Id="rId12" Type="http://schemas.openxmlformats.org/officeDocument/2006/relationships/image" Target="../media/image108.png"/><Relationship Id="rId17" Type="http://schemas.openxmlformats.org/officeDocument/2006/relationships/image" Target="../media/image113.png"/><Relationship Id="rId25" Type="http://schemas.openxmlformats.org/officeDocument/2006/relationships/image" Target="../media/image121.png"/><Relationship Id="rId33" Type="http://schemas.openxmlformats.org/officeDocument/2006/relationships/image" Target="../media/image129.png"/><Relationship Id="rId38" Type="http://schemas.openxmlformats.org/officeDocument/2006/relationships/image" Target="../media/image134.png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9.png"/><Relationship Id="rId18" Type="http://schemas.openxmlformats.org/officeDocument/2006/relationships/image" Target="../media/image154.png"/><Relationship Id="rId26" Type="http://schemas.openxmlformats.org/officeDocument/2006/relationships/image" Target="../media/image162.png"/><Relationship Id="rId39" Type="http://schemas.openxmlformats.org/officeDocument/2006/relationships/image" Target="../media/image173.png"/><Relationship Id="rId21" Type="http://schemas.openxmlformats.org/officeDocument/2006/relationships/image" Target="../media/image157.png"/><Relationship Id="rId34" Type="http://schemas.openxmlformats.org/officeDocument/2006/relationships/image" Target="../media/image169.png"/><Relationship Id="rId7" Type="http://schemas.openxmlformats.org/officeDocument/2006/relationships/image" Target="../media/image143.png"/><Relationship Id="rId2" Type="http://schemas.openxmlformats.org/officeDocument/2006/relationships/image" Target="../media/image138.png"/><Relationship Id="rId16" Type="http://schemas.openxmlformats.org/officeDocument/2006/relationships/image" Target="../media/image152.png"/><Relationship Id="rId20" Type="http://schemas.openxmlformats.org/officeDocument/2006/relationships/image" Target="../media/image156.png"/><Relationship Id="rId29" Type="http://schemas.openxmlformats.org/officeDocument/2006/relationships/image" Target="../media/image165.png"/><Relationship Id="rId41" Type="http://schemas.openxmlformats.org/officeDocument/2006/relationships/image" Target="../media/image17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2.png"/><Relationship Id="rId11" Type="http://schemas.openxmlformats.org/officeDocument/2006/relationships/image" Target="../media/image147.png"/><Relationship Id="rId24" Type="http://schemas.openxmlformats.org/officeDocument/2006/relationships/image" Target="../media/image160.png"/><Relationship Id="rId32" Type="http://schemas.openxmlformats.org/officeDocument/2006/relationships/image" Target="../media/image24.png"/><Relationship Id="rId37" Type="http://schemas.openxmlformats.org/officeDocument/2006/relationships/image" Target="../media/image171.png"/><Relationship Id="rId40" Type="http://schemas.openxmlformats.org/officeDocument/2006/relationships/image" Target="../media/image174.png"/><Relationship Id="rId5" Type="http://schemas.openxmlformats.org/officeDocument/2006/relationships/image" Target="../media/image141.png"/><Relationship Id="rId15" Type="http://schemas.openxmlformats.org/officeDocument/2006/relationships/image" Target="../media/image151.png"/><Relationship Id="rId23" Type="http://schemas.openxmlformats.org/officeDocument/2006/relationships/image" Target="../media/image159.png"/><Relationship Id="rId28" Type="http://schemas.openxmlformats.org/officeDocument/2006/relationships/image" Target="../media/image164.png"/><Relationship Id="rId36" Type="http://schemas.openxmlformats.org/officeDocument/2006/relationships/image" Target="../media/image170.png"/><Relationship Id="rId10" Type="http://schemas.openxmlformats.org/officeDocument/2006/relationships/image" Target="../media/image146.png"/><Relationship Id="rId19" Type="http://schemas.openxmlformats.org/officeDocument/2006/relationships/image" Target="../media/image155.png"/><Relationship Id="rId31" Type="http://schemas.openxmlformats.org/officeDocument/2006/relationships/image" Target="../media/image167.png"/><Relationship Id="rId4" Type="http://schemas.openxmlformats.org/officeDocument/2006/relationships/image" Target="../media/image140.png"/><Relationship Id="rId9" Type="http://schemas.openxmlformats.org/officeDocument/2006/relationships/image" Target="../media/image145.png"/><Relationship Id="rId14" Type="http://schemas.openxmlformats.org/officeDocument/2006/relationships/image" Target="../media/image150.png"/><Relationship Id="rId22" Type="http://schemas.openxmlformats.org/officeDocument/2006/relationships/image" Target="../media/image158.png"/><Relationship Id="rId27" Type="http://schemas.openxmlformats.org/officeDocument/2006/relationships/image" Target="../media/image163.png"/><Relationship Id="rId30" Type="http://schemas.openxmlformats.org/officeDocument/2006/relationships/image" Target="../media/image166.png"/><Relationship Id="rId35" Type="http://schemas.openxmlformats.org/officeDocument/2006/relationships/image" Target="../media/image14.png"/><Relationship Id="rId8" Type="http://schemas.openxmlformats.org/officeDocument/2006/relationships/image" Target="../media/image144.png"/><Relationship Id="rId3" Type="http://schemas.openxmlformats.org/officeDocument/2006/relationships/image" Target="../media/image139.png"/><Relationship Id="rId12" Type="http://schemas.openxmlformats.org/officeDocument/2006/relationships/image" Target="../media/image148.png"/><Relationship Id="rId17" Type="http://schemas.openxmlformats.org/officeDocument/2006/relationships/image" Target="../media/image153.png"/><Relationship Id="rId25" Type="http://schemas.openxmlformats.org/officeDocument/2006/relationships/image" Target="../media/image161.png"/><Relationship Id="rId33" Type="http://schemas.openxmlformats.org/officeDocument/2006/relationships/image" Target="../media/image168.png"/><Relationship Id="rId38" Type="http://schemas.openxmlformats.org/officeDocument/2006/relationships/image" Target="../media/image172.png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7.png"/><Relationship Id="rId18" Type="http://schemas.openxmlformats.org/officeDocument/2006/relationships/image" Target="../media/image192.png"/><Relationship Id="rId26" Type="http://schemas.openxmlformats.org/officeDocument/2006/relationships/image" Target="../media/image200.png"/><Relationship Id="rId39" Type="http://schemas.openxmlformats.org/officeDocument/2006/relationships/image" Target="../media/image213.png"/><Relationship Id="rId21" Type="http://schemas.openxmlformats.org/officeDocument/2006/relationships/image" Target="../media/image195.png"/><Relationship Id="rId34" Type="http://schemas.openxmlformats.org/officeDocument/2006/relationships/image" Target="../media/image208.png"/><Relationship Id="rId42" Type="http://schemas.openxmlformats.org/officeDocument/2006/relationships/image" Target="../media/image216.png"/><Relationship Id="rId7" Type="http://schemas.openxmlformats.org/officeDocument/2006/relationships/image" Target="../media/image181.png"/><Relationship Id="rId2" Type="http://schemas.openxmlformats.org/officeDocument/2006/relationships/image" Target="../media/image176.png"/><Relationship Id="rId16" Type="http://schemas.openxmlformats.org/officeDocument/2006/relationships/image" Target="../media/image190.png"/><Relationship Id="rId20" Type="http://schemas.openxmlformats.org/officeDocument/2006/relationships/image" Target="../media/image194.svg"/><Relationship Id="rId29" Type="http://schemas.openxmlformats.org/officeDocument/2006/relationships/image" Target="../media/image203.png"/><Relationship Id="rId41" Type="http://schemas.openxmlformats.org/officeDocument/2006/relationships/image" Target="../media/image21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0.png"/><Relationship Id="rId11" Type="http://schemas.openxmlformats.org/officeDocument/2006/relationships/image" Target="../media/image185.png"/><Relationship Id="rId24" Type="http://schemas.openxmlformats.org/officeDocument/2006/relationships/image" Target="../media/image198.png"/><Relationship Id="rId32" Type="http://schemas.openxmlformats.org/officeDocument/2006/relationships/image" Target="../media/image206.png"/><Relationship Id="rId37" Type="http://schemas.openxmlformats.org/officeDocument/2006/relationships/image" Target="../media/image211.png"/><Relationship Id="rId40" Type="http://schemas.openxmlformats.org/officeDocument/2006/relationships/image" Target="../media/image214.png"/><Relationship Id="rId5" Type="http://schemas.openxmlformats.org/officeDocument/2006/relationships/image" Target="../media/image179.png"/><Relationship Id="rId15" Type="http://schemas.openxmlformats.org/officeDocument/2006/relationships/image" Target="../media/image189.png"/><Relationship Id="rId23" Type="http://schemas.openxmlformats.org/officeDocument/2006/relationships/image" Target="../media/image197.png"/><Relationship Id="rId28" Type="http://schemas.openxmlformats.org/officeDocument/2006/relationships/image" Target="../media/image202.png"/><Relationship Id="rId36" Type="http://schemas.openxmlformats.org/officeDocument/2006/relationships/image" Target="../media/image210.png"/><Relationship Id="rId10" Type="http://schemas.openxmlformats.org/officeDocument/2006/relationships/image" Target="../media/image184.png"/><Relationship Id="rId19" Type="http://schemas.openxmlformats.org/officeDocument/2006/relationships/image" Target="../media/image193.png"/><Relationship Id="rId31" Type="http://schemas.openxmlformats.org/officeDocument/2006/relationships/image" Target="../media/image205.png"/><Relationship Id="rId4" Type="http://schemas.openxmlformats.org/officeDocument/2006/relationships/image" Target="../media/image178.png"/><Relationship Id="rId9" Type="http://schemas.openxmlformats.org/officeDocument/2006/relationships/image" Target="../media/image183.png"/><Relationship Id="rId14" Type="http://schemas.openxmlformats.org/officeDocument/2006/relationships/image" Target="../media/image188.png"/><Relationship Id="rId22" Type="http://schemas.openxmlformats.org/officeDocument/2006/relationships/image" Target="../media/image196.png"/><Relationship Id="rId27" Type="http://schemas.openxmlformats.org/officeDocument/2006/relationships/image" Target="../media/image201.png"/><Relationship Id="rId30" Type="http://schemas.openxmlformats.org/officeDocument/2006/relationships/image" Target="../media/image204.png"/><Relationship Id="rId35" Type="http://schemas.openxmlformats.org/officeDocument/2006/relationships/image" Target="../media/image209.png"/><Relationship Id="rId8" Type="http://schemas.openxmlformats.org/officeDocument/2006/relationships/image" Target="../media/image182.png"/><Relationship Id="rId3" Type="http://schemas.openxmlformats.org/officeDocument/2006/relationships/image" Target="../media/image177.png"/><Relationship Id="rId12" Type="http://schemas.openxmlformats.org/officeDocument/2006/relationships/image" Target="../media/image186.png"/><Relationship Id="rId17" Type="http://schemas.openxmlformats.org/officeDocument/2006/relationships/image" Target="../media/image191.png"/><Relationship Id="rId25" Type="http://schemas.openxmlformats.org/officeDocument/2006/relationships/image" Target="../media/image199.png"/><Relationship Id="rId33" Type="http://schemas.openxmlformats.org/officeDocument/2006/relationships/image" Target="../media/image207.png"/><Relationship Id="rId38" Type="http://schemas.openxmlformats.org/officeDocument/2006/relationships/image" Target="../media/image21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2.png"/><Relationship Id="rId13" Type="http://schemas.openxmlformats.org/officeDocument/2006/relationships/image" Target="../media/image227.png"/><Relationship Id="rId3" Type="http://schemas.openxmlformats.org/officeDocument/2006/relationships/image" Target="../media/image217.png"/><Relationship Id="rId7" Type="http://schemas.openxmlformats.org/officeDocument/2006/relationships/image" Target="../media/image221.png"/><Relationship Id="rId12" Type="http://schemas.openxmlformats.org/officeDocument/2006/relationships/image" Target="../media/image226.png"/><Relationship Id="rId17" Type="http://schemas.openxmlformats.org/officeDocument/2006/relationships/image" Target="../media/image230.png"/><Relationship Id="rId2" Type="http://schemas.openxmlformats.org/officeDocument/2006/relationships/image" Target="../media/image171.png"/><Relationship Id="rId16" Type="http://schemas.openxmlformats.org/officeDocument/2006/relationships/image" Target="../media/image22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0.png"/><Relationship Id="rId11" Type="http://schemas.openxmlformats.org/officeDocument/2006/relationships/image" Target="../media/image225.png"/><Relationship Id="rId5" Type="http://schemas.openxmlformats.org/officeDocument/2006/relationships/image" Target="../media/image219.png"/><Relationship Id="rId15" Type="http://schemas.openxmlformats.org/officeDocument/2006/relationships/image" Target="../media/image112.png"/><Relationship Id="rId10" Type="http://schemas.openxmlformats.org/officeDocument/2006/relationships/image" Target="../media/image224.png"/><Relationship Id="rId4" Type="http://schemas.openxmlformats.org/officeDocument/2006/relationships/image" Target="../media/image218.png"/><Relationship Id="rId9" Type="http://schemas.openxmlformats.org/officeDocument/2006/relationships/image" Target="../media/image223.png"/><Relationship Id="rId14" Type="http://schemas.openxmlformats.org/officeDocument/2006/relationships/image" Target="../media/image22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mwlite/company/allinone-media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7E95511-A913-FE48-B986-454711394F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376F0A2-2C55-2B45-8C35-FAFE96D2C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53365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A6A54CF-8FFC-104D-8D23-8A24703645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084" y="473865"/>
            <a:ext cx="10945813" cy="398571"/>
          </a:xfrm>
          <a:prstGeom prst="rect">
            <a:avLst/>
          </a:prstGeom>
        </p:spPr>
        <p:txBody>
          <a:bodyPr/>
          <a:lstStyle/>
          <a:p>
            <a:r>
              <a:rPr lang="en" dirty="0"/>
              <a:t>Quicken</a:t>
            </a:r>
            <a:r>
              <a:rPr lang="ru-RU" dirty="0"/>
              <a:t> _ 1 вариант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56FC3DF-03D5-F149-A01B-1300214E880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/>
          <a:srcRect t="166" b="166"/>
          <a:stretch/>
        </p:blipFill>
        <p:spPr/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5695FCC-81AA-0342-831C-3EEA1BF4FBBD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/>
          <a:srcRect l="3775" r="3775"/>
          <a:stretch/>
        </p:blipFill>
        <p:spPr/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6AA984A7-08D8-0C45-B78E-3B6A2549236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3B22EC2-7B2E-624F-84C7-80A90D294A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302" y="405406"/>
            <a:ext cx="724081" cy="453175"/>
          </a:xfrm>
          <a:prstGeom prst="rect">
            <a:avLst/>
          </a:prstGeom>
        </p:spPr>
      </p:pic>
      <p:sp>
        <p:nvSpPr>
          <p:cNvPr id="22" name="Номер слайда 1">
            <a:extLst>
              <a:ext uri="{FF2B5EF4-FFF2-40B4-BE49-F238E27FC236}">
                <a16:creationId xmlns:a16="http://schemas.microsoft.com/office/drawing/2014/main" id="{433A6728-F064-9D48-BBFE-21B4A024B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23" name="Прямоугольник: скругленные углы 13">
            <a:extLst>
              <a:ext uri="{FF2B5EF4-FFF2-40B4-BE49-F238E27FC236}">
                <a16:creationId xmlns:a16="http://schemas.microsoft.com/office/drawing/2014/main" id="{71DB22B8-766B-3341-9ECF-F178CBDA48E8}"/>
              </a:ext>
            </a:extLst>
          </p:cNvPr>
          <p:cNvSpPr/>
          <p:nvPr/>
        </p:nvSpPr>
        <p:spPr>
          <a:xfrm>
            <a:off x="7672576" y="2069260"/>
            <a:ext cx="3968562" cy="4239465"/>
          </a:xfrm>
          <a:prstGeom prst="roundRect">
            <a:avLst>
              <a:gd name="adj" fmla="val 2154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35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50769514-A9B6-2A42-81BC-E75373275369}"/>
              </a:ext>
            </a:extLst>
          </p:cNvPr>
          <p:cNvSpPr txBox="1">
            <a:spLocks/>
          </p:cNvSpPr>
          <p:nvPr/>
        </p:nvSpPr>
        <p:spPr>
          <a:xfrm>
            <a:off x="7848554" y="2505211"/>
            <a:ext cx="3708163" cy="19697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sz="1200" dirty="0"/>
              <a:t>Функции: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Подключение аккаунтов банков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Финансовые цели 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Аналитика расходов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История транзакций 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Прогноз бюджета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Разделение по категориям</a:t>
            </a:r>
            <a:endParaRPr lang="en-US" sz="1200" dirty="0">
              <a:latin typeface="+mn-lt"/>
            </a:endParaRP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Автоматическая отписка от платных услуг 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Общие советы по управлению финансами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322E511A-2CC8-6244-A4BC-58B45AD4D487}"/>
              </a:ext>
            </a:extLst>
          </p:cNvPr>
          <p:cNvSpPr txBox="1">
            <a:spLocks/>
          </p:cNvSpPr>
          <p:nvPr/>
        </p:nvSpPr>
        <p:spPr>
          <a:xfrm>
            <a:off x="7848554" y="4891442"/>
            <a:ext cx="3708163" cy="12234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sz="1200" b="1" dirty="0"/>
              <a:t>Дополнительно:</a:t>
            </a:r>
            <a:endParaRPr lang="en-US" sz="1200" dirty="0"/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</a:rPr>
              <a:t>Продвинутая аналитика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Find Savings</a:t>
            </a:r>
            <a:r>
              <a:rPr lang="ru-RU" sz="1200" dirty="0">
                <a:latin typeface="+mn-lt"/>
              </a:rPr>
              <a:t> – портал </a:t>
            </a:r>
            <a:br>
              <a:rPr lang="en-US" sz="1200" dirty="0">
                <a:latin typeface="+mn-lt"/>
              </a:rPr>
            </a:br>
            <a:r>
              <a:rPr lang="ru-RU" sz="1200" dirty="0">
                <a:latin typeface="+mn-lt"/>
              </a:rPr>
              <a:t>по расчету экономии сбережений</a:t>
            </a:r>
            <a:endParaRPr lang="en-US" sz="1200" dirty="0">
              <a:latin typeface="+mn-lt"/>
            </a:endParaRP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Bill Negotiation – </a:t>
            </a:r>
            <a:r>
              <a:rPr lang="ru-RU" sz="1200" dirty="0">
                <a:latin typeface="+mn-lt"/>
              </a:rPr>
              <a:t>услуга по контролю </a:t>
            </a:r>
            <a:br>
              <a:rPr lang="en-US" sz="1200" dirty="0">
                <a:latin typeface="+mn-lt"/>
              </a:rPr>
            </a:br>
            <a:r>
              <a:rPr lang="ru-RU" sz="1200" dirty="0">
                <a:latin typeface="+mn-lt"/>
              </a:rPr>
              <a:t>подписок и платежей </a:t>
            </a:r>
          </a:p>
        </p:txBody>
      </p:sp>
      <p:sp>
        <p:nvSpPr>
          <p:cNvPr id="29" name="Прямоугольник: скругленные углы 5">
            <a:extLst>
              <a:ext uri="{FF2B5EF4-FFF2-40B4-BE49-F238E27FC236}">
                <a16:creationId xmlns:a16="http://schemas.microsoft.com/office/drawing/2014/main" id="{641BA8DF-B408-E641-93BF-8F1E3DAE8A16}"/>
              </a:ext>
            </a:extLst>
          </p:cNvPr>
          <p:cNvSpPr/>
          <p:nvPr/>
        </p:nvSpPr>
        <p:spPr>
          <a:xfrm>
            <a:off x="7672576" y="1067252"/>
            <a:ext cx="3968562" cy="1223412"/>
          </a:xfrm>
          <a:prstGeom prst="roundRect">
            <a:avLst>
              <a:gd name="adj" fmla="val 8289"/>
            </a:avLst>
          </a:prstGeom>
          <a:solidFill>
            <a:schemeClr val="bg1"/>
          </a:solidFill>
          <a:ln w="9525">
            <a:gradFill>
              <a:gsLst>
                <a:gs pos="69000">
                  <a:schemeClr val="bg1">
                    <a:lumMod val="75000"/>
                  </a:schemeClr>
                </a:gs>
                <a:gs pos="100000">
                  <a:schemeClr val="accent2"/>
                </a:gs>
              </a:gsLst>
              <a:lin ang="2700000" scaled="0"/>
            </a:gradFill>
          </a:ln>
          <a:effectLst>
            <a:outerShdw blurRad="114300" dist="63500" dir="27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F0FC0327-BEDE-134B-A152-E965816C402D}"/>
              </a:ext>
            </a:extLst>
          </p:cNvPr>
          <p:cNvCxnSpPr/>
          <p:nvPr/>
        </p:nvCxnSpPr>
        <p:spPr>
          <a:xfrm>
            <a:off x="7672576" y="4683211"/>
            <a:ext cx="3968562" cy="0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B4E4104B-B94A-9542-B09F-4C13889508FE}"/>
              </a:ext>
            </a:extLst>
          </p:cNvPr>
          <p:cNvSpPr txBox="1">
            <a:spLocks/>
          </p:cNvSpPr>
          <p:nvPr/>
        </p:nvSpPr>
        <p:spPr>
          <a:xfrm>
            <a:off x="7826474" y="1227527"/>
            <a:ext cx="516167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C</a:t>
            </a:r>
            <a:r>
              <a:rPr lang="ru-RU" sz="1200" dirty="0" err="1">
                <a:solidFill>
                  <a:schemeClr val="tx2"/>
                </a:solidFill>
                <a:latin typeface="+mn-lt"/>
              </a:rPr>
              <a:t>трана</a:t>
            </a:r>
            <a:endParaRPr lang="en-US" sz="12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2" name="Заголовок 1">
            <a:extLst>
              <a:ext uri="{FF2B5EF4-FFF2-40B4-BE49-F238E27FC236}">
                <a16:creationId xmlns:a16="http://schemas.microsoft.com/office/drawing/2014/main" id="{4FAD0687-D6C8-4142-8BB0-B9C8A574A33C}"/>
              </a:ext>
            </a:extLst>
          </p:cNvPr>
          <p:cNvSpPr txBox="1">
            <a:spLocks/>
          </p:cNvSpPr>
          <p:nvPr/>
        </p:nvSpPr>
        <p:spPr>
          <a:xfrm>
            <a:off x="8987798" y="1227527"/>
            <a:ext cx="804707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Год </a:t>
            </a:r>
            <a:br>
              <a:rPr lang="en-US" sz="1200" dirty="0">
                <a:solidFill>
                  <a:schemeClr val="tx2"/>
                </a:solidFill>
                <a:latin typeface="+mn-lt"/>
              </a:rPr>
            </a:br>
            <a:r>
              <a:rPr lang="ru-RU" sz="1200" dirty="0">
                <a:solidFill>
                  <a:schemeClr val="tx2"/>
                </a:solidFill>
                <a:latin typeface="+mn-lt"/>
              </a:rPr>
              <a:t>основания:</a:t>
            </a:r>
            <a:endParaRPr lang="en-US" sz="12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3EECB2F8-D612-E64A-86F9-4297A489A630}"/>
              </a:ext>
            </a:extLst>
          </p:cNvPr>
          <p:cNvSpPr txBox="1">
            <a:spLocks/>
          </p:cNvSpPr>
          <p:nvPr/>
        </p:nvSpPr>
        <p:spPr>
          <a:xfrm>
            <a:off x="10304941" y="1227527"/>
            <a:ext cx="1107739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Кол-во </a:t>
            </a:r>
            <a:br>
              <a:rPr lang="en-US" sz="1200" dirty="0">
                <a:solidFill>
                  <a:schemeClr val="tx2"/>
                </a:solidFill>
                <a:latin typeface="+mn-lt"/>
              </a:rPr>
            </a:br>
            <a:r>
              <a:rPr lang="ru-RU" sz="1200" dirty="0">
                <a:solidFill>
                  <a:schemeClr val="tx2"/>
                </a:solidFill>
                <a:latin typeface="+mn-lt"/>
              </a:rPr>
              <a:t>пользователей</a:t>
            </a:r>
            <a:endParaRPr lang="en-US" sz="12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4" name="Заголовок 1">
            <a:extLst>
              <a:ext uri="{FF2B5EF4-FFF2-40B4-BE49-F238E27FC236}">
                <a16:creationId xmlns:a16="http://schemas.microsoft.com/office/drawing/2014/main" id="{1387B639-6EE7-1843-9188-D81E885D7F62}"/>
              </a:ext>
            </a:extLst>
          </p:cNvPr>
          <p:cNvSpPr txBox="1">
            <a:spLocks/>
          </p:cNvSpPr>
          <p:nvPr/>
        </p:nvSpPr>
        <p:spPr>
          <a:xfrm>
            <a:off x="8987798" y="1789356"/>
            <a:ext cx="891270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>
                <a:solidFill>
                  <a:schemeClr val="accent2"/>
                </a:solidFill>
              </a:rPr>
              <a:t>2009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830CFB6E-2350-A24D-98D3-EC6D9A4AC5D6}"/>
              </a:ext>
            </a:extLst>
          </p:cNvPr>
          <p:cNvSpPr txBox="1">
            <a:spLocks/>
          </p:cNvSpPr>
          <p:nvPr/>
        </p:nvSpPr>
        <p:spPr>
          <a:xfrm>
            <a:off x="10304941" y="1771782"/>
            <a:ext cx="908903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>
                <a:solidFill>
                  <a:schemeClr val="accent2"/>
                </a:solidFill>
              </a:rPr>
              <a:t>25 </a:t>
            </a:r>
            <a:r>
              <a:rPr lang="ru-RU" sz="1600" dirty="0">
                <a:solidFill>
                  <a:schemeClr val="accent2"/>
                </a:solidFill>
              </a:rPr>
              <a:t>млн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433539A7-EDA2-0A4D-BEAD-6F1C5B260F0A}"/>
              </a:ext>
            </a:extLst>
          </p:cNvPr>
          <p:cNvSpPr txBox="1">
            <a:spLocks/>
          </p:cNvSpPr>
          <p:nvPr/>
        </p:nvSpPr>
        <p:spPr>
          <a:xfrm>
            <a:off x="7848554" y="1952505"/>
            <a:ext cx="537648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200" b="1" dirty="0">
                <a:solidFill>
                  <a:schemeClr val="accent2"/>
                </a:solidFill>
              </a:rPr>
              <a:t>Россия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161ABEBC-6CE9-5444-A527-7A697F1812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55220" y="1481461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2139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12">
            <a:extLst>
              <a:ext uri="{FF2B5EF4-FFF2-40B4-BE49-F238E27FC236}">
                <a16:creationId xmlns:a16="http://schemas.microsoft.com/office/drawing/2014/main" id="{1FC1C782-A972-244A-A752-D863A3F86819}"/>
              </a:ext>
            </a:extLst>
          </p:cNvPr>
          <p:cNvSpPr/>
          <p:nvPr/>
        </p:nvSpPr>
        <p:spPr>
          <a:xfrm>
            <a:off x="544317" y="1052513"/>
            <a:ext cx="11103360" cy="5256212"/>
          </a:xfrm>
          <a:prstGeom prst="roundRect">
            <a:avLst>
              <a:gd name="adj" fmla="val 1958"/>
            </a:avLst>
          </a:prstGeom>
          <a:solidFill>
            <a:schemeClr val="bg1"/>
          </a:solidFill>
          <a:ln w="9525">
            <a:gradFill>
              <a:gsLst>
                <a:gs pos="69000">
                  <a:schemeClr val="bg1">
                    <a:lumMod val="75000"/>
                  </a:schemeClr>
                </a:gs>
                <a:gs pos="100000">
                  <a:schemeClr val="accent2"/>
                </a:gs>
              </a:gsLst>
              <a:lin ang="2700000" scaled="0"/>
            </a:gradFill>
          </a:ln>
          <a:effectLst>
            <a:outerShdw blurRad="114300" dist="63500" dir="27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с двумя скругленными соседними углами 4">
            <a:extLst>
              <a:ext uri="{FF2B5EF4-FFF2-40B4-BE49-F238E27FC236}">
                <a16:creationId xmlns:a16="http://schemas.microsoft.com/office/drawing/2014/main" id="{D14B2560-6983-B943-AADE-DB4808767686}"/>
              </a:ext>
            </a:extLst>
          </p:cNvPr>
          <p:cNvSpPr/>
          <p:nvPr/>
        </p:nvSpPr>
        <p:spPr>
          <a:xfrm>
            <a:off x="543000" y="1052514"/>
            <a:ext cx="11106000" cy="398571"/>
          </a:xfrm>
          <a:prstGeom prst="round2SameRect">
            <a:avLst>
              <a:gd name="adj1" fmla="val 815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35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аблица №1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7C81267-9E8D-3948-8515-ECEB869D54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2874380"/>
              </p:ext>
            </p:extLst>
          </p:nvPr>
        </p:nvGraphicFramePr>
        <p:xfrm>
          <a:off x="550862" y="1052514"/>
          <a:ext cx="11096822" cy="525621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6662">
                  <a:extLst>
                    <a:ext uri="{9D8B030D-6E8A-4147-A177-3AD203B41FA5}">
                      <a16:colId xmlns:a16="http://schemas.microsoft.com/office/drawing/2014/main" val="1634866800"/>
                    </a:ext>
                  </a:extLst>
                </a:gridCol>
                <a:gridCol w="1014016">
                  <a:extLst>
                    <a:ext uri="{9D8B030D-6E8A-4147-A177-3AD203B41FA5}">
                      <a16:colId xmlns:a16="http://schemas.microsoft.com/office/drawing/2014/main" val="3605043241"/>
                    </a:ext>
                  </a:extLst>
                </a:gridCol>
                <a:gridCol w="1014016">
                  <a:extLst>
                    <a:ext uri="{9D8B030D-6E8A-4147-A177-3AD203B41FA5}">
                      <a16:colId xmlns:a16="http://schemas.microsoft.com/office/drawing/2014/main" val="4179940191"/>
                    </a:ext>
                  </a:extLst>
                </a:gridCol>
                <a:gridCol w="1014016">
                  <a:extLst>
                    <a:ext uri="{9D8B030D-6E8A-4147-A177-3AD203B41FA5}">
                      <a16:colId xmlns:a16="http://schemas.microsoft.com/office/drawing/2014/main" val="515096225"/>
                    </a:ext>
                  </a:extLst>
                </a:gridCol>
                <a:gridCol w="1014016">
                  <a:extLst>
                    <a:ext uri="{9D8B030D-6E8A-4147-A177-3AD203B41FA5}">
                      <a16:colId xmlns:a16="http://schemas.microsoft.com/office/drawing/2014/main" val="4198216905"/>
                    </a:ext>
                  </a:extLst>
                </a:gridCol>
                <a:gridCol w="1014016">
                  <a:extLst>
                    <a:ext uri="{9D8B030D-6E8A-4147-A177-3AD203B41FA5}">
                      <a16:colId xmlns:a16="http://schemas.microsoft.com/office/drawing/2014/main" val="898545487"/>
                    </a:ext>
                  </a:extLst>
                </a:gridCol>
                <a:gridCol w="1014016">
                  <a:extLst>
                    <a:ext uri="{9D8B030D-6E8A-4147-A177-3AD203B41FA5}">
                      <a16:colId xmlns:a16="http://schemas.microsoft.com/office/drawing/2014/main" val="1221073178"/>
                    </a:ext>
                  </a:extLst>
                </a:gridCol>
                <a:gridCol w="1014016">
                  <a:extLst>
                    <a:ext uri="{9D8B030D-6E8A-4147-A177-3AD203B41FA5}">
                      <a16:colId xmlns:a16="http://schemas.microsoft.com/office/drawing/2014/main" val="766522185"/>
                    </a:ext>
                  </a:extLst>
                </a:gridCol>
                <a:gridCol w="1014016">
                  <a:extLst>
                    <a:ext uri="{9D8B030D-6E8A-4147-A177-3AD203B41FA5}">
                      <a16:colId xmlns:a16="http://schemas.microsoft.com/office/drawing/2014/main" val="3219905595"/>
                    </a:ext>
                  </a:extLst>
                </a:gridCol>
                <a:gridCol w="1014016">
                  <a:extLst>
                    <a:ext uri="{9D8B030D-6E8A-4147-A177-3AD203B41FA5}">
                      <a16:colId xmlns:a16="http://schemas.microsoft.com/office/drawing/2014/main" val="4199028934"/>
                    </a:ext>
                  </a:extLst>
                </a:gridCol>
                <a:gridCol w="1014016">
                  <a:extLst>
                    <a:ext uri="{9D8B030D-6E8A-4147-A177-3AD203B41FA5}">
                      <a16:colId xmlns:a16="http://schemas.microsoft.com/office/drawing/2014/main" val="961332615"/>
                    </a:ext>
                  </a:extLst>
                </a:gridCol>
              </a:tblGrid>
              <a:tr h="42503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050" b="1" i="0" dirty="0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Критерии</a:t>
                      </a:r>
                    </a:p>
                  </a:txBody>
                  <a:tcPr marL="108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1" i="0" kern="1200" dirty="0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All in One</a:t>
                      </a:r>
                      <a:endParaRPr lang="ru-RU" sz="105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1" i="0" kern="1200" dirty="0" err="1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Astralab</a:t>
                      </a:r>
                      <a:endParaRPr lang="en-US" sz="105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1" i="0" kern="1200" dirty="0" err="1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BeGroup</a:t>
                      </a:r>
                      <a:endParaRPr lang="ru-RU" sz="105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1" i="0" kern="1200" dirty="0" err="1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Buzzoola</a:t>
                      </a:r>
                      <a:endParaRPr lang="ru-RU" sz="105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1" i="0" kern="1200" dirty="0" err="1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GetShopTV</a:t>
                      </a:r>
                      <a:endParaRPr lang="ru-RU" sz="105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1" i="0" kern="1200" dirty="0" err="1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Relap</a:t>
                      </a:r>
                      <a:endParaRPr lang="ru-RU" sz="105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1" i="0" kern="1200" dirty="0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Scanners</a:t>
                      </a:r>
                      <a:endParaRPr lang="ru-RU" sz="105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1" i="0" kern="1200" dirty="0" err="1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SlickJump</a:t>
                      </a:r>
                      <a:endParaRPr lang="ru-RU" sz="105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1" i="0" kern="1200" dirty="0" err="1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SocialJet</a:t>
                      </a:r>
                      <a:endParaRPr lang="ru-RU" sz="105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1" i="0" kern="1200" dirty="0" err="1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VoxExchange</a:t>
                      </a:r>
                      <a:endParaRPr lang="ru-RU" sz="105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marR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4727554"/>
                  </a:ext>
                </a:extLst>
              </a:tr>
              <a:tr h="4345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dirty="0"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Дата основания</a:t>
                      </a:r>
                      <a:endParaRPr lang="ru-RU" sz="1000" b="1" i="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108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</a:t>
                      </a: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</a:t>
                      </a: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</a:t>
                      </a: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</a:t>
                      </a: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</a:t>
                      </a: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</a:t>
                      </a: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</a:t>
                      </a: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9003500"/>
                  </a:ext>
                </a:extLst>
              </a:tr>
              <a:tr h="4345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 dirty="0"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Локация</a:t>
                      </a:r>
                      <a:endParaRPr lang="ru-RU" sz="10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108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осква/</a:t>
                      </a:r>
                      <a:b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Лондон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осква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осква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осква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осква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осква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осква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осква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осква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осква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330810"/>
                  </a:ext>
                </a:extLst>
              </a:tr>
              <a:tr h="72957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b="1" i="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Чистая прибыль (руб.) за посл. год</a:t>
                      </a:r>
                      <a:endParaRPr lang="ru-RU" sz="1000" b="1" i="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108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40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\a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7 490 00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27 093 000 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11 716 000 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rgbClr val="FF0000"/>
                          </a:solidFill>
                          <a:latin typeface="+mn-lt"/>
                        </a:rPr>
                        <a:t>- 6 398</a:t>
                      </a:r>
                      <a:r>
                        <a:rPr lang="en-US" sz="1000" b="0" dirty="0">
                          <a:solidFill>
                            <a:srgbClr val="FF0000"/>
                          </a:solidFill>
                          <a:latin typeface="+mn-lt"/>
                        </a:rPr>
                        <a:t> 000 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accent2"/>
                          </a:solidFill>
                          <a:latin typeface="+mn-lt"/>
                        </a:rPr>
                        <a:t>-</a:t>
                      </a:r>
                      <a:r>
                        <a:rPr lang="en-US" sz="1000" b="0" dirty="0">
                          <a:solidFill>
                            <a:schemeClr val="accent2"/>
                          </a:solidFill>
                          <a:latin typeface="+mn-lt"/>
                        </a:rPr>
                        <a:t>18 471 000</a:t>
                      </a:r>
                      <a:endParaRPr lang="ru-RU" sz="1000" b="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40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\a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rgbClr val="FF0000"/>
                          </a:solidFill>
                          <a:latin typeface="+mn-lt"/>
                        </a:rPr>
                        <a:t>-</a:t>
                      </a:r>
                      <a:r>
                        <a:rPr lang="en-US" sz="1000" b="0" dirty="0">
                          <a:solidFill>
                            <a:srgbClr val="FF0000"/>
                          </a:solidFill>
                          <a:latin typeface="+mn-lt"/>
                        </a:rPr>
                        <a:t> </a:t>
                      </a:r>
                      <a:r>
                        <a:rPr lang="ru-RU" sz="1000" b="0" dirty="0">
                          <a:solidFill>
                            <a:srgbClr val="FF0000"/>
                          </a:solidFill>
                          <a:latin typeface="+mn-lt"/>
                        </a:rPr>
                        <a:t>1 943 000 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24 887 000 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40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\a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6467943"/>
                  </a:ext>
                </a:extLst>
              </a:tr>
              <a:tr h="2648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dirty="0"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Сотрудники</a:t>
                      </a:r>
                    </a:p>
                  </a:txBody>
                  <a:tcPr marL="108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51-200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40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\a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51-200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150641"/>
                  </a:ext>
                </a:extLst>
              </a:tr>
              <a:tr h="77398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000" b="1" i="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Сегмент</a:t>
                      </a:r>
                    </a:p>
                  </a:txBody>
                  <a:tcPr marL="108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рекламная сеть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in-image 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реклама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рекламная сеть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рекламная сеть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Ad platform for IPTV 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и </a:t>
                      </a:r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OTT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рекламная сеть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2"/>
                          </a:solidFill>
                          <a:latin typeface="+mn-lt"/>
                        </a:rPr>
                        <a:t>таргетинг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 и сегментация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рекламная сеть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рекламная сеть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in-image 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реклама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6984"/>
                  </a:ext>
                </a:extLst>
              </a:tr>
              <a:tr h="74077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dirty="0">
                          <a:solidFill>
                            <a:schemeClr val="tx2"/>
                          </a:solidFill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Количество реклам. площадок</a:t>
                      </a:r>
                      <a:endParaRPr lang="ru-RU" sz="1000" b="1" i="0" dirty="0">
                        <a:solidFill>
                          <a:schemeClr val="tx1"/>
                        </a:solidFill>
                        <a:latin typeface="SB Sans Display Semibold" panose="020B050304050402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108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00+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40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\a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45 тыс.+ 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40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\a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100 млн.+ уник. польз-й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40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\a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2350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40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\a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5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 </a:t>
                      </a: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тыс.+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9 тыс.+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40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\a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502566"/>
                  </a:ext>
                </a:extLst>
              </a:tr>
              <a:tr h="14528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Основные форматы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SB Sans Display Semibold" panose="020B050304050402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108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AIO: Fullscreen, </a:t>
                      </a:r>
                      <a:r>
                        <a:rPr lang="en" sz="1000" b="0" dirty="0" err="1">
                          <a:solidFill>
                            <a:schemeClr val="tx2"/>
                          </a:solidFill>
                          <a:latin typeface="+mn-lt"/>
                        </a:rPr>
                        <a:t>InText</a:t>
                      </a:r>
                      <a:r>
                        <a:rPr lang="en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, Rollup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; </a:t>
                      </a:r>
                      <a:r>
                        <a:rPr lang="en" sz="1000" b="0" dirty="0" err="1">
                          <a:solidFill>
                            <a:schemeClr val="tx2"/>
                          </a:solidFill>
                          <a:latin typeface="+mn-lt"/>
                        </a:rPr>
                        <a:t>Multiroll</a:t>
                      </a:r>
                      <a:r>
                        <a:rPr lang="en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: </a:t>
                      </a:r>
                      <a:r>
                        <a:rPr lang="en" sz="1000" b="0" dirty="0" err="1">
                          <a:solidFill>
                            <a:schemeClr val="tx2"/>
                          </a:solidFill>
                          <a:latin typeface="+mn-lt"/>
                        </a:rPr>
                        <a:t>Preroll</a:t>
                      </a:r>
                      <a:r>
                        <a:rPr lang="en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, Midroll 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и </a:t>
                      </a:r>
                      <a:r>
                        <a:rPr lang="en" sz="1000" b="0" dirty="0" err="1">
                          <a:solidFill>
                            <a:schemeClr val="tx2"/>
                          </a:solidFill>
                          <a:latin typeface="+mn-lt"/>
                        </a:rPr>
                        <a:t>Postroll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In-Image, Max In-Image 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Outstream, In-Stream 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видео, промо-посты в </a:t>
                      </a:r>
                      <a:r>
                        <a:rPr lang="ru-RU" sz="1000" b="0" dirty="0" err="1">
                          <a:solidFill>
                            <a:schemeClr val="tx2"/>
                          </a:solidFill>
                          <a:latin typeface="+mn-lt"/>
                        </a:rPr>
                        <a:t>соц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 сетях, реклама в </a:t>
                      </a:r>
                      <a:r>
                        <a:rPr lang="en-US" sz="1000" b="0" dirty="0" err="1">
                          <a:solidFill>
                            <a:schemeClr val="tx2"/>
                          </a:solidFill>
                          <a:latin typeface="+mn-lt"/>
                        </a:rPr>
                        <a:t>youtube</a:t>
                      </a:r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 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видео, 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Outstream Video, Mobile Native Unit, Carousel, Scroller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40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\a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In-Read, TGB In-Read, Out-Stream Video, In-Stream Video, Action Video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>
                          <a:solidFill>
                            <a:schemeClr val="tx2"/>
                          </a:solidFill>
                          <a:latin typeface="+mn-lt"/>
                        </a:rPr>
                        <a:t>Текстово-графич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. блок в </a:t>
                      </a:r>
                      <a:r>
                        <a:rPr lang="ru-RU" sz="1000" b="0" dirty="0" err="1">
                          <a:solidFill>
                            <a:schemeClr val="tx2"/>
                          </a:solidFill>
                          <a:latin typeface="+mn-lt"/>
                        </a:rPr>
                        <a:t>соц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 сетях, баннеры, видео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" sz="1000" b="0" dirty="0" err="1">
                          <a:solidFill>
                            <a:schemeClr val="tx2"/>
                          </a:solidFill>
                          <a:latin typeface="+mn-lt"/>
                        </a:rPr>
                        <a:t>SlickJump</a:t>
                      </a:r>
                      <a:r>
                        <a:rPr lang="en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 Video Plus, Assemble, Media, Video,</a:t>
                      </a:r>
                    </a:p>
                    <a:p>
                      <a:pPr algn="l"/>
                      <a:r>
                        <a:rPr lang="en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Native Articles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Видео, </a:t>
                      </a:r>
                      <a:r>
                        <a:rPr lang="en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In-App, In-Stream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, посты/</a:t>
                      </a:r>
                      <a:r>
                        <a:rPr lang="ru-RU" sz="1000" b="0" dirty="0" err="1">
                          <a:solidFill>
                            <a:schemeClr val="tx2"/>
                          </a:solidFill>
                          <a:latin typeface="+mn-lt"/>
                        </a:rPr>
                        <a:t>репосты</a:t>
                      </a:r>
                      <a:r>
                        <a:rPr lang="ru-RU" sz="1000" b="0" dirty="0">
                          <a:solidFill>
                            <a:schemeClr val="tx2"/>
                          </a:solidFill>
                          <a:latin typeface="+mn-lt"/>
                        </a:rPr>
                        <a:t> в соц. сетях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In-Image </a:t>
                      </a: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7609059"/>
                  </a:ext>
                </a:extLst>
              </a:tr>
            </a:tbl>
          </a:graphicData>
        </a:graphic>
      </p:graphicFrame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D6DBBD0E-65F2-8A4D-B1F2-77DB741D3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63600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12">
            <a:extLst>
              <a:ext uri="{FF2B5EF4-FFF2-40B4-BE49-F238E27FC236}">
                <a16:creationId xmlns:a16="http://schemas.microsoft.com/office/drawing/2014/main" id="{1FC1C782-A972-244A-A752-D863A3F86819}"/>
              </a:ext>
            </a:extLst>
          </p:cNvPr>
          <p:cNvSpPr/>
          <p:nvPr/>
        </p:nvSpPr>
        <p:spPr>
          <a:xfrm>
            <a:off x="544317" y="1052513"/>
            <a:ext cx="11103360" cy="4194003"/>
          </a:xfrm>
          <a:prstGeom prst="roundRect">
            <a:avLst>
              <a:gd name="adj" fmla="val 1958"/>
            </a:avLst>
          </a:prstGeom>
          <a:solidFill>
            <a:schemeClr val="bg1"/>
          </a:solidFill>
          <a:ln w="9525">
            <a:gradFill>
              <a:gsLst>
                <a:gs pos="69000">
                  <a:schemeClr val="bg1">
                    <a:lumMod val="75000"/>
                  </a:schemeClr>
                </a:gs>
                <a:gs pos="100000">
                  <a:schemeClr val="accent2"/>
                </a:gs>
              </a:gsLst>
              <a:lin ang="2700000" scaled="0"/>
            </a:gradFill>
          </a:ln>
          <a:effectLst>
            <a:outerShdw blurRad="114300" dist="63500" dir="27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с двумя скругленными соседними углами 4">
            <a:extLst>
              <a:ext uri="{FF2B5EF4-FFF2-40B4-BE49-F238E27FC236}">
                <a16:creationId xmlns:a16="http://schemas.microsoft.com/office/drawing/2014/main" id="{D14B2560-6983-B943-AADE-DB4808767686}"/>
              </a:ext>
            </a:extLst>
          </p:cNvPr>
          <p:cNvSpPr/>
          <p:nvPr/>
        </p:nvSpPr>
        <p:spPr>
          <a:xfrm>
            <a:off x="543000" y="1052514"/>
            <a:ext cx="11106000" cy="398571"/>
          </a:xfrm>
          <a:prstGeom prst="round2SameRect">
            <a:avLst>
              <a:gd name="adj1" fmla="val 815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35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аблица №2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7C81267-9E8D-3948-8515-ECEB869D54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7958186"/>
              </p:ext>
            </p:extLst>
          </p:nvPr>
        </p:nvGraphicFramePr>
        <p:xfrm>
          <a:off x="550862" y="1052514"/>
          <a:ext cx="11090273" cy="419400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3303">
                  <a:extLst>
                    <a:ext uri="{9D8B030D-6E8A-4147-A177-3AD203B41FA5}">
                      <a16:colId xmlns:a16="http://schemas.microsoft.com/office/drawing/2014/main" val="1634866800"/>
                    </a:ext>
                  </a:extLst>
                </a:gridCol>
                <a:gridCol w="1835394">
                  <a:extLst>
                    <a:ext uri="{9D8B030D-6E8A-4147-A177-3AD203B41FA5}">
                      <a16:colId xmlns:a16="http://schemas.microsoft.com/office/drawing/2014/main" val="3605043241"/>
                    </a:ext>
                  </a:extLst>
                </a:gridCol>
                <a:gridCol w="1835394">
                  <a:extLst>
                    <a:ext uri="{9D8B030D-6E8A-4147-A177-3AD203B41FA5}">
                      <a16:colId xmlns:a16="http://schemas.microsoft.com/office/drawing/2014/main" val="4179940191"/>
                    </a:ext>
                  </a:extLst>
                </a:gridCol>
                <a:gridCol w="1835394">
                  <a:extLst>
                    <a:ext uri="{9D8B030D-6E8A-4147-A177-3AD203B41FA5}">
                      <a16:colId xmlns:a16="http://schemas.microsoft.com/office/drawing/2014/main" val="515096225"/>
                    </a:ext>
                  </a:extLst>
                </a:gridCol>
                <a:gridCol w="1835394">
                  <a:extLst>
                    <a:ext uri="{9D8B030D-6E8A-4147-A177-3AD203B41FA5}">
                      <a16:colId xmlns:a16="http://schemas.microsoft.com/office/drawing/2014/main" val="4198216905"/>
                    </a:ext>
                  </a:extLst>
                </a:gridCol>
                <a:gridCol w="1835394">
                  <a:extLst>
                    <a:ext uri="{9D8B030D-6E8A-4147-A177-3AD203B41FA5}">
                      <a16:colId xmlns:a16="http://schemas.microsoft.com/office/drawing/2014/main" val="898545487"/>
                    </a:ext>
                  </a:extLst>
                </a:gridCol>
              </a:tblGrid>
              <a:tr h="414003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i="0" kern="1200" dirty="0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Критерии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Chase</a:t>
                      </a:r>
                      <a:endParaRPr lang="ru-RU" sz="110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Capital One</a:t>
                      </a:r>
                      <a:endParaRPr lang="ru-RU" sz="110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Bank of America</a:t>
                      </a:r>
                      <a:endParaRPr lang="ru-RU" sz="110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PNC</a:t>
                      </a:r>
                      <a:endParaRPr lang="ru-RU" sz="110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Huntington</a:t>
                      </a:r>
                      <a:endParaRPr lang="ru-RU" sz="1100" b="1" i="0" kern="1200" dirty="0">
                        <a:solidFill>
                          <a:schemeClr val="bg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472755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Финансовые </a:t>
                      </a:r>
                      <a:b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</a:b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цели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9003500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Аналитика </a:t>
                      </a:r>
                      <a:b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</a:b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расходов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330810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Разделение </a:t>
                      </a:r>
                      <a:b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</a:b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по категориям 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6467943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Прогноз бюджета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15064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Совместное </a:t>
                      </a:r>
                      <a:endParaRPr lang="en-US" sz="1100" b="1" i="0" kern="1200" dirty="0">
                        <a:solidFill>
                          <a:schemeClr val="tx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польз</a:t>
                      </a:r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-</a:t>
                      </a: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е счетами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698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Голосовой </a:t>
                      </a:r>
                      <a:b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</a:b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ассистент 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50256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Программа </a:t>
                      </a:r>
                      <a:b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</a:b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для подростков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7609059"/>
                  </a:ext>
                </a:extLst>
              </a:tr>
            </a:tbl>
          </a:graphicData>
        </a:graphic>
      </p:graphicFrame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A946F544-0E36-EC44-B9C6-C4DE930AC3B0}"/>
              </a:ext>
            </a:extLst>
          </p:cNvPr>
          <p:cNvGrpSpPr/>
          <p:nvPr/>
        </p:nvGrpSpPr>
        <p:grpSpPr>
          <a:xfrm>
            <a:off x="3201966" y="2600762"/>
            <a:ext cx="396000" cy="396000"/>
            <a:chOff x="4240497" y="5570577"/>
            <a:chExt cx="396000" cy="396000"/>
          </a:xfrm>
        </p:grpSpPr>
        <p:grpSp>
          <p:nvGrpSpPr>
            <p:cNvPr id="43" name="Рисунок 21">
              <a:extLst>
                <a:ext uri="{FF2B5EF4-FFF2-40B4-BE49-F238E27FC236}">
                  <a16:creationId xmlns:a16="http://schemas.microsoft.com/office/drawing/2014/main" id="{0A8E456C-4804-5346-B9EE-3D3778348723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45" name="Полилиния 44">
                <a:extLst>
                  <a:ext uri="{FF2B5EF4-FFF2-40B4-BE49-F238E27FC236}">
                    <a16:creationId xmlns:a16="http://schemas.microsoft.com/office/drawing/2014/main" id="{187DCADF-BFA7-E041-B403-191875DFEABA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" name="Полилиния 45">
                <a:extLst>
                  <a:ext uri="{FF2B5EF4-FFF2-40B4-BE49-F238E27FC236}">
                    <a16:creationId xmlns:a16="http://schemas.microsoft.com/office/drawing/2014/main" id="{F7C13115-4B76-DE4E-A2C0-F833042F5524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47" name="Группа 46">
              <a:extLst>
                <a:ext uri="{FF2B5EF4-FFF2-40B4-BE49-F238E27FC236}">
                  <a16:creationId xmlns:a16="http://schemas.microsoft.com/office/drawing/2014/main" id="{A7E86AE5-26BC-F445-887D-FEE3D689B8AB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40" name="Полилиния 39">
                <a:extLst>
                  <a:ext uri="{FF2B5EF4-FFF2-40B4-BE49-F238E27FC236}">
                    <a16:creationId xmlns:a16="http://schemas.microsoft.com/office/drawing/2014/main" id="{B940E0D2-EDD7-FA47-B826-60A431A22A8D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" name="Полилиния 40">
                <a:extLst>
                  <a:ext uri="{FF2B5EF4-FFF2-40B4-BE49-F238E27FC236}">
                    <a16:creationId xmlns:a16="http://schemas.microsoft.com/office/drawing/2014/main" id="{0C8D8B8B-4F9B-2141-8D89-5AB1552D2188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297CE88E-3729-084E-B82B-0FEB7C5CF81B}"/>
              </a:ext>
            </a:extLst>
          </p:cNvPr>
          <p:cNvGrpSpPr>
            <a:grpSpLocks noChangeAspect="1"/>
          </p:cNvGrpSpPr>
          <p:nvPr/>
        </p:nvGrpSpPr>
        <p:grpSpPr>
          <a:xfrm>
            <a:off x="3201966" y="1516652"/>
            <a:ext cx="396000" cy="396000"/>
            <a:chOff x="10390997" y="5660295"/>
            <a:chExt cx="360000" cy="360000"/>
          </a:xfrm>
        </p:grpSpPr>
        <p:grpSp>
          <p:nvGrpSpPr>
            <p:cNvPr id="23" name="Рисунок 21">
              <a:extLst>
                <a:ext uri="{FF2B5EF4-FFF2-40B4-BE49-F238E27FC236}">
                  <a16:creationId xmlns:a16="http://schemas.microsoft.com/office/drawing/2014/main" id="{E17F9C9D-43A9-E742-93F2-0721B6D70076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24" name="Полилиния 23">
                <a:extLst>
                  <a:ext uri="{FF2B5EF4-FFF2-40B4-BE49-F238E27FC236}">
                    <a16:creationId xmlns:a16="http://schemas.microsoft.com/office/drawing/2014/main" id="{1C14454B-A947-6342-BF7F-937F50842D68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Полилиния 24">
                <a:extLst>
                  <a:ext uri="{FF2B5EF4-FFF2-40B4-BE49-F238E27FC236}">
                    <a16:creationId xmlns:a16="http://schemas.microsoft.com/office/drawing/2014/main" id="{2FE98526-7E02-D74C-AE1A-2A139674796B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3E482D59-4CDF-CE47-9A86-250CE2B2AD86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9ED24C37-7DC1-0743-BBA2-35DA5278DC9F}"/>
              </a:ext>
            </a:extLst>
          </p:cNvPr>
          <p:cNvGrpSpPr/>
          <p:nvPr/>
        </p:nvGrpSpPr>
        <p:grpSpPr>
          <a:xfrm>
            <a:off x="3201966" y="4226927"/>
            <a:ext cx="396000" cy="396000"/>
            <a:chOff x="4240497" y="5570577"/>
            <a:chExt cx="396000" cy="396000"/>
          </a:xfrm>
        </p:grpSpPr>
        <p:grpSp>
          <p:nvGrpSpPr>
            <p:cNvPr id="50" name="Рисунок 21">
              <a:extLst>
                <a:ext uri="{FF2B5EF4-FFF2-40B4-BE49-F238E27FC236}">
                  <a16:creationId xmlns:a16="http://schemas.microsoft.com/office/drawing/2014/main" id="{A210ABE8-5118-4744-A3B1-5B1513985494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54" name="Полилиния 53">
                <a:extLst>
                  <a:ext uri="{FF2B5EF4-FFF2-40B4-BE49-F238E27FC236}">
                    <a16:creationId xmlns:a16="http://schemas.microsoft.com/office/drawing/2014/main" id="{0A0871BF-DD2D-984E-AC56-CD7CB5247ABF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" name="Полилиния 54">
                <a:extLst>
                  <a:ext uri="{FF2B5EF4-FFF2-40B4-BE49-F238E27FC236}">
                    <a16:creationId xmlns:a16="http://schemas.microsoft.com/office/drawing/2014/main" id="{5BDC0D3D-AC22-DA4B-9FC7-0225DA0ED290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51" name="Группа 50">
              <a:extLst>
                <a:ext uri="{FF2B5EF4-FFF2-40B4-BE49-F238E27FC236}">
                  <a16:creationId xmlns:a16="http://schemas.microsoft.com/office/drawing/2014/main" id="{EDF920DB-7608-6F47-89D6-D6A74CA0AB98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52" name="Полилиния 51">
                <a:extLst>
                  <a:ext uri="{FF2B5EF4-FFF2-40B4-BE49-F238E27FC236}">
                    <a16:creationId xmlns:a16="http://schemas.microsoft.com/office/drawing/2014/main" id="{9163A927-0F08-874F-990F-EC227707AB95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" name="Полилиния 52">
                <a:extLst>
                  <a:ext uri="{FF2B5EF4-FFF2-40B4-BE49-F238E27FC236}">
                    <a16:creationId xmlns:a16="http://schemas.microsoft.com/office/drawing/2014/main" id="{71C79CFF-DBF0-5145-8046-05F51888507F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CE72D4EB-A775-5442-8464-88BAC44D3B01}"/>
              </a:ext>
            </a:extLst>
          </p:cNvPr>
          <p:cNvGrpSpPr/>
          <p:nvPr/>
        </p:nvGrpSpPr>
        <p:grpSpPr>
          <a:xfrm>
            <a:off x="3201966" y="4768984"/>
            <a:ext cx="396000" cy="396000"/>
            <a:chOff x="4240497" y="5570577"/>
            <a:chExt cx="396000" cy="396000"/>
          </a:xfrm>
        </p:grpSpPr>
        <p:grpSp>
          <p:nvGrpSpPr>
            <p:cNvPr id="67" name="Рисунок 21">
              <a:extLst>
                <a:ext uri="{FF2B5EF4-FFF2-40B4-BE49-F238E27FC236}">
                  <a16:creationId xmlns:a16="http://schemas.microsoft.com/office/drawing/2014/main" id="{97EF4FDE-C97F-2B4C-8209-94362348E3D0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71" name="Полилиния 70">
                <a:extLst>
                  <a:ext uri="{FF2B5EF4-FFF2-40B4-BE49-F238E27FC236}">
                    <a16:creationId xmlns:a16="http://schemas.microsoft.com/office/drawing/2014/main" id="{8B91B8E5-9A07-CD4D-A311-7DFF398CCFC8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" name="Полилиния 71">
                <a:extLst>
                  <a:ext uri="{FF2B5EF4-FFF2-40B4-BE49-F238E27FC236}">
                    <a16:creationId xmlns:a16="http://schemas.microsoft.com/office/drawing/2014/main" id="{7EA22DFE-2BD1-3947-A9DF-B40751477800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68" name="Группа 67">
              <a:extLst>
                <a:ext uri="{FF2B5EF4-FFF2-40B4-BE49-F238E27FC236}">
                  <a16:creationId xmlns:a16="http://schemas.microsoft.com/office/drawing/2014/main" id="{E1BB0ADE-8FB1-714F-8489-CE77ECCEC638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69" name="Полилиния 68">
                <a:extLst>
                  <a:ext uri="{FF2B5EF4-FFF2-40B4-BE49-F238E27FC236}">
                    <a16:creationId xmlns:a16="http://schemas.microsoft.com/office/drawing/2014/main" id="{BEE5CD50-4221-064E-B048-E10E0BC5CBFC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" name="Полилиния 69">
                <a:extLst>
                  <a:ext uri="{FF2B5EF4-FFF2-40B4-BE49-F238E27FC236}">
                    <a16:creationId xmlns:a16="http://schemas.microsoft.com/office/drawing/2014/main" id="{C2B51059-5BB5-9C40-8B94-18636529A330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0060DD7D-AA62-0745-B4F6-8DB1B2EA89C8}"/>
              </a:ext>
            </a:extLst>
          </p:cNvPr>
          <p:cNvGrpSpPr/>
          <p:nvPr/>
        </p:nvGrpSpPr>
        <p:grpSpPr>
          <a:xfrm>
            <a:off x="5034404" y="2600762"/>
            <a:ext cx="396000" cy="396000"/>
            <a:chOff x="4240497" y="5570577"/>
            <a:chExt cx="396000" cy="396000"/>
          </a:xfrm>
        </p:grpSpPr>
        <p:grpSp>
          <p:nvGrpSpPr>
            <p:cNvPr id="74" name="Рисунок 21">
              <a:extLst>
                <a:ext uri="{FF2B5EF4-FFF2-40B4-BE49-F238E27FC236}">
                  <a16:creationId xmlns:a16="http://schemas.microsoft.com/office/drawing/2014/main" id="{061FE14B-B370-E244-B5D9-E094D44E4B0B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78" name="Полилиния 77">
                <a:extLst>
                  <a:ext uri="{FF2B5EF4-FFF2-40B4-BE49-F238E27FC236}">
                    <a16:creationId xmlns:a16="http://schemas.microsoft.com/office/drawing/2014/main" id="{C5A0D91C-B379-4E49-A74C-A72E8A5772A0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" name="Полилиния 78">
                <a:extLst>
                  <a:ext uri="{FF2B5EF4-FFF2-40B4-BE49-F238E27FC236}">
                    <a16:creationId xmlns:a16="http://schemas.microsoft.com/office/drawing/2014/main" id="{030C45D2-4A6C-CA47-BED7-0763E534B8E6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75" name="Группа 74">
              <a:extLst>
                <a:ext uri="{FF2B5EF4-FFF2-40B4-BE49-F238E27FC236}">
                  <a16:creationId xmlns:a16="http://schemas.microsoft.com/office/drawing/2014/main" id="{C5117915-97E8-6745-BCFA-38BD44C16AC8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76" name="Полилиния 75">
                <a:extLst>
                  <a:ext uri="{FF2B5EF4-FFF2-40B4-BE49-F238E27FC236}">
                    <a16:creationId xmlns:a16="http://schemas.microsoft.com/office/drawing/2014/main" id="{18B2F8DB-51FB-C94B-9780-AE79C42DACEA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" name="Полилиния 76">
                <a:extLst>
                  <a:ext uri="{FF2B5EF4-FFF2-40B4-BE49-F238E27FC236}">
                    <a16:creationId xmlns:a16="http://schemas.microsoft.com/office/drawing/2014/main" id="{5E257DDE-1EDB-A94F-A6A7-81F9F04E5A78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90" name="Группа 89">
            <a:extLst>
              <a:ext uri="{FF2B5EF4-FFF2-40B4-BE49-F238E27FC236}">
                <a16:creationId xmlns:a16="http://schemas.microsoft.com/office/drawing/2014/main" id="{38579250-5810-CA46-88F3-E61A43CC824B}"/>
              </a:ext>
            </a:extLst>
          </p:cNvPr>
          <p:cNvGrpSpPr/>
          <p:nvPr/>
        </p:nvGrpSpPr>
        <p:grpSpPr>
          <a:xfrm>
            <a:off x="5034404" y="4226927"/>
            <a:ext cx="396000" cy="396000"/>
            <a:chOff x="4240497" y="5570577"/>
            <a:chExt cx="396000" cy="396000"/>
          </a:xfrm>
        </p:grpSpPr>
        <p:grpSp>
          <p:nvGrpSpPr>
            <p:cNvPr id="91" name="Рисунок 21">
              <a:extLst>
                <a:ext uri="{FF2B5EF4-FFF2-40B4-BE49-F238E27FC236}">
                  <a16:creationId xmlns:a16="http://schemas.microsoft.com/office/drawing/2014/main" id="{0C6D45F7-3196-4A4C-9408-4EE784FEAB0D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95" name="Полилиния 94">
                <a:extLst>
                  <a:ext uri="{FF2B5EF4-FFF2-40B4-BE49-F238E27FC236}">
                    <a16:creationId xmlns:a16="http://schemas.microsoft.com/office/drawing/2014/main" id="{7FA56795-AE8A-FC4F-80E0-BC1684BD6E46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6" name="Полилиния 95">
                <a:extLst>
                  <a:ext uri="{FF2B5EF4-FFF2-40B4-BE49-F238E27FC236}">
                    <a16:creationId xmlns:a16="http://schemas.microsoft.com/office/drawing/2014/main" id="{1355E84C-35F0-AB45-B46B-627A7740EC7A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92" name="Группа 91">
              <a:extLst>
                <a:ext uri="{FF2B5EF4-FFF2-40B4-BE49-F238E27FC236}">
                  <a16:creationId xmlns:a16="http://schemas.microsoft.com/office/drawing/2014/main" id="{08C082EE-094D-EC45-A11B-FAB1D501775A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93" name="Полилиния 92">
                <a:extLst>
                  <a:ext uri="{FF2B5EF4-FFF2-40B4-BE49-F238E27FC236}">
                    <a16:creationId xmlns:a16="http://schemas.microsoft.com/office/drawing/2014/main" id="{AE3E8345-9F96-964A-8F5B-B82C7D0EC8C1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4" name="Полилиния 93">
                <a:extLst>
                  <a:ext uri="{FF2B5EF4-FFF2-40B4-BE49-F238E27FC236}">
                    <a16:creationId xmlns:a16="http://schemas.microsoft.com/office/drawing/2014/main" id="{C23AE55F-A6D1-7444-833C-4E7231C06542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CE50F89E-B17D-E746-AF97-A2413BFB3FB7}"/>
              </a:ext>
            </a:extLst>
          </p:cNvPr>
          <p:cNvGrpSpPr/>
          <p:nvPr/>
        </p:nvGrpSpPr>
        <p:grpSpPr>
          <a:xfrm>
            <a:off x="5034404" y="4768984"/>
            <a:ext cx="396000" cy="396000"/>
            <a:chOff x="4240497" y="5570577"/>
            <a:chExt cx="396000" cy="396000"/>
          </a:xfrm>
        </p:grpSpPr>
        <p:grpSp>
          <p:nvGrpSpPr>
            <p:cNvPr id="108" name="Рисунок 21">
              <a:extLst>
                <a:ext uri="{FF2B5EF4-FFF2-40B4-BE49-F238E27FC236}">
                  <a16:creationId xmlns:a16="http://schemas.microsoft.com/office/drawing/2014/main" id="{E900B4AC-5A33-D94A-8675-A1BE2552B7FA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112" name="Полилиния 111">
                <a:extLst>
                  <a:ext uri="{FF2B5EF4-FFF2-40B4-BE49-F238E27FC236}">
                    <a16:creationId xmlns:a16="http://schemas.microsoft.com/office/drawing/2014/main" id="{63A7F036-FA84-F747-AAB7-583BA190DB29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3" name="Полилиния 112">
                <a:extLst>
                  <a:ext uri="{FF2B5EF4-FFF2-40B4-BE49-F238E27FC236}">
                    <a16:creationId xmlns:a16="http://schemas.microsoft.com/office/drawing/2014/main" id="{BC407ABD-C77C-EC40-ADD5-E57CFD29EFAA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09" name="Группа 108">
              <a:extLst>
                <a:ext uri="{FF2B5EF4-FFF2-40B4-BE49-F238E27FC236}">
                  <a16:creationId xmlns:a16="http://schemas.microsoft.com/office/drawing/2014/main" id="{EC1CEFD6-3367-5649-893F-0A005147E0D5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110" name="Полилиния 109">
                <a:extLst>
                  <a:ext uri="{FF2B5EF4-FFF2-40B4-BE49-F238E27FC236}">
                    <a16:creationId xmlns:a16="http://schemas.microsoft.com/office/drawing/2014/main" id="{2E6E6DA2-DC89-5B4B-B772-84160313F484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1" name="Полилиния 110">
                <a:extLst>
                  <a:ext uri="{FF2B5EF4-FFF2-40B4-BE49-F238E27FC236}">
                    <a16:creationId xmlns:a16="http://schemas.microsoft.com/office/drawing/2014/main" id="{1B3A3AEC-47D4-6345-9024-26D2950A401D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9935E4A7-34A0-194D-8718-57DDDB721775}"/>
              </a:ext>
            </a:extLst>
          </p:cNvPr>
          <p:cNvGrpSpPr/>
          <p:nvPr/>
        </p:nvGrpSpPr>
        <p:grpSpPr>
          <a:xfrm>
            <a:off x="6860300" y="2600762"/>
            <a:ext cx="396000" cy="396000"/>
            <a:chOff x="4240497" y="5570577"/>
            <a:chExt cx="396000" cy="396000"/>
          </a:xfrm>
        </p:grpSpPr>
        <p:grpSp>
          <p:nvGrpSpPr>
            <p:cNvPr id="115" name="Рисунок 21">
              <a:extLst>
                <a:ext uri="{FF2B5EF4-FFF2-40B4-BE49-F238E27FC236}">
                  <a16:creationId xmlns:a16="http://schemas.microsoft.com/office/drawing/2014/main" id="{A7D9760B-926C-7E4D-A4BC-0B6CFA9E03D8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119" name="Полилиния 118">
                <a:extLst>
                  <a:ext uri="{FF2B5EF4-FFF2-40B4-BE49-F238E27FC236}">
                    <a16:creationId xmlns:a16="http://schemas.microsoft.com/office/drawing/2014/main" id="{9211412B-276B-7E4F-8605-8FC0D4D21038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0" name="Полилиния 119">
                <a:extLst>
                  <a:ext uri="{FF2B5EF4-FFF2-40B4-BE49-F238E27FC236}">
                    <a16:creationId xmlns:a16="http://schemas.microsoft.com/office/drawing/2014/main" id="{E2CD110F-D710-0542-A73E-4AC87C8ECE50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16" name="Группа 115">
              <a:extLst>
                <a:ext uri="{FF2B5EF4-FFF2-40B4-BE49-F238E27FC236}">
                  <a16:creationId xmlns:a16="http://schemas.microsoft.com/office/drawing/2014/main" id="{81495A6F-26CD-F84D-8062-A3ACF4E96240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117" name="Полилиния 116">
                <a:extLst>
                  <a:ext uri="{FF2B5EF4-FFF2-40B4-BE49-F238E27FC236}">
                    <a16:creationId xmlns:a16="http://schemas.microsoft.com/office/drawing/2014/main" id="{24437B47-DB1C-A74E-A93A-31D8E8C2FA30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8" name="Полилиния 117">
                <a:extLst>
                  <a:ext uri="{FF2B5EF4-FFF2-40B4-BE49-F238E27FC236}">
                    <a16:creationId xmlns:a16="http://schemas.microsoft.com/office/drawing/2014/main" id="{8315E845-D7EA-124E-87E1-C8DEA4BA87A2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31" name="Группа 130">
            <a:extLst>
              <a:ext uri="{FF2B5EF4-FFF2-40B4-BE49-F238E27FC236}">
                <a16:creationId xmlns:a16="http://schemas.microsoft.com/office/drawing/2014/main" id="{9E254C79-6F88-024C-8DD0-F50ABBD33C6F}"/>
              </a:ext>
            </a:extLst>
          </p:cNvPr>
          <p:cNvGrpSpPr/>
          <p:nvPr/>
        </p:nvGrpSpPr>
        <p:grpSpPr>
          <a:xfrm>
            <a:off x="6860300" y="4226927"/>
            <a:ext cx="396000" cy="396000"/>
            <a:chOff x="4240497" y="5570577"/>
            <a:chExt cx="396000" cy="396000"/>
          </a:xfrm>
        </p:grpSpPr>
        <p:grpSp>
          <p:nvGrpSpPr>
            <p:cNvPr id="132" name="Рисунок 21">
              <a:extLst>
                <a:ext uri="{FF2B5EF4-FFF2-40B4-BE49-F238E27FC236}">
                  <a16:creationId xmlns:a16="http://schemas.microsoft.com/office/drawing/2014/main" id="{5E9853FB-5626-1549-892D-6D55EB546981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136" name="Полилиния 135">
                <a:extLst>
                  <a:ext uri="{FF2B5EF4-FFF2-40B4-BE49-F238E27FC236}">
                    <a16:creationId xmlns:a16="http://schemas.microsoft.com/office/drawing/2014/main" id="{B1C23950-ACD5-1441-A6AE-94E5C4E75712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7" name="Полилиния 136">
                <a:extLst>
                  <a:ext uri="{FF2B5EF4-FFF2-40B4-BE49-F238E27FC236}">
                    <a16:creationId xmlns:a16="http://schemas.microsoft.com/office/drawing/2014/main" id="{9D7DAD65-0EC3-0E4D-B0BC-7A868949D13E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33" name="Группа 132">
              <a:extLst>
                <a:ext uri="{FF2B5EF4-FFF2-40B4-BE49-F238E27FC236}">
                  <a16:creationId xmlns:a16="http://schemas.microsoft.com/office/drawing/2014/main" id="{16B4B038-CC96-D340-94E1-41873C8CE9BB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134" name="Полилиния 133">
                <a:extLst>
                  <a:ext uri="{FF2B5EF4-FFF2-40B4-BE49-F238E27FC236}">
                    <a16:creationId xmlns:a16="http://schemas.microsoft.com/office/drawing/2014/main" id="{6CB2E5F1-257D-A54E-9604-6F2ECEBFB149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5" name="Полилиния 134">
                <a:extLst>
                  <a:ext uri="{FF2B5EF4-FFF2-40B4-BE49-F238E27FC236}">
                    <a16:creationId xmlns:a16="http://schemas.microsoft.com/office/drawing/2014/main" id="{E8F8345C-55EF-BD40-9F19-2787F821C466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48" name="Группа 147">
            <a:extLst>
              <a:ext uri="{FF2B5EF4-FFF2-40B4-BE49-F238E27FC236}">
                <a16:creationId xmlns:a16="http://schemas.microsoft.com/office/drawing/2014/main" id="{2A223378-3CAB-D349-856D-1DCEAB335D13}"/>
              </a:ext>
            </a:extLst>
          </p:cNvPr>
          <p:cNvGrpSpPr/>
          <p:nvPr/>
        </p:nvGrpSpPr>
        <p:grpSpPr>
          <a:xfrm>
            <a:off x="6860300" y="4768984"/>
            <a:ext cx="396000" cy="396000"/>
            <a:chOff x="4240497" y="5570577"/>
            <a:chExt cx="396000" cy="396000"/>
          </a:xfrm>
        </p:grpSpPr>
        <p:grpSp>
          <p:nvGrpSpPr>
            <p:cNvPr id="149" name="Рисунок 21">
              <a:extLst>
                <a:ext uri="{FF2B5EF4-FFF2-40B4-BE49-F238E27FC236}">
                  <a16:creationId xmlns:a16="http://schemas.microsoft.com/office/drawing/2014/main" id="{551213B8-CE2C-FB45-82BB-6C45BD68017E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153" name="Полилиния 152">
                <a:extLst>
                  <a:ext uri="{FF2B5EF4-FFF2-40B4-BE49-F238E27FC236}">
                    <a16:creationId xmlns:a16="http://schemas.microsoft.com/office/drawing/2014/main" id="{88B1B273-1DA2-F442-9DAE-0A67F4BA9B8A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4" name="Полилиния 153">
                <a:extLst>
                  <a:ext uri="{FF2B5EF4-FFF2-40B4-BE49-F238E27FC236}">
                    <a16:creationId xmlns:a16="http://schemas.microsoft.com/office/drawing/2014/main" id="{C9C3FFF8-A9D7-D44E-961F-C0C999DCFAC4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50" name="Группа 149">
              <a:extLst>
                <a:ext uri="{FF2B5EF4-FFF2-40B4-BE49-F238E27FC236}">
                  <a16:creationId xmlns:a16="http://schemas.microsoft.com/office/drawing/2014/main" id="{F7C5BA6E-F38C-AF48-B909-C8EA5B1AF84B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151" name="Полилиния 150">
                <a:extLst>
                  <a:ext uri="{FF2B5EF4-FFF2-40B4-BE49-F238E27FC236}">
                    <a16:creationId xmlns:a16="http://schemas.microsoft.com/office/drawing/2014/main" id="{1D22CCD6-D3EA-3645-82C9-3773826F24AB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2" name="Полилиния 151">
                <a:extLst>
                  <a:ext uri="{FF2B5EF4-FFF2-40B4-BE49-F238E27FC236}">
                    <a16:creationId xmlns:a16="http://schemas.microsoft.com/office/drawing/2014/main" id="{B7CD19E8-E421-C94F-B497-9A012EBA3044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55" name="Группа 154">
            <a:extLst>
              <a:ext uri="{FF2B5EF4-FFF2-40B4-BE49-F238E27FC236}">
                <a16:creationId xmlns:a16="http://schemas.microsoft.com/office/drawing/2014/main" id="{5827DAB4-79AB-484B-9E14-6C0CB40C2845}"/>
              </a:ext>
            </a:extLst>
          </p:cNvPr>
          <p:cNvGrpSpPr/>
          <p:nvPr/>
        </p:nvGrpSpPr>
        <p:grpSpPr>
          <a:xfrm>
            <a:off x="8692737" y="2600762"/>
            <a:ext cx="396000" cy="396000"/>
            <a:chOff x="4240497" y="5570577"/>
            <a:chExt cx="396000" cy="396000"/>
          </a:xfrm>
        </p:grpSpPr>
        <p:grpSp>
          <p:nvGrpSpPr>
            <p:cNvPr id="156" name="Рисунок 21">
              <a:extLst>
                <a:ext uri="{FF2B5EF4-FFF2-40B4-BE49-F238E27FC236}">
                  <a16:creationId xmlns:a16="http://schemas.microsoft.com/office/drawing/2014/main" id="{6901AD63-40D2-DF49-9284-D22F376E72D9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160" name="Полилиния 159">
                <a:extLst>
                  <a:ext uri="{FF2B5EF4-FFF2-40B4-BE49-F238E27FC236}">
                    <a16:creationId xmlns:a16="http://schemas.microsoft.com/office/drawing/2014/main" id="{1CB9B7F3-B8BE-A74F-80C5-150EAA8B95F8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1" name="Полилиния 160">
                <a:extLst>
                  <a:ext uri="{FF2B5EF4-FFF2-40B4-BE49-F238E27FC236}">
                    <a16:creationId xmlns:a16="http://schemas.microsoft.com/office/drawing/2014/main" id="{DCB49164-306F-3A46-85C2-6152D4EDF53E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57" name="Группа 156">
              <a:extLst>
                <a:ext uri="{FF2B5EF4-FFF2-40B4-BE49-F238E27FC236}">
                  <a16:creationId xmlns:a16="http://schemas.microsoft.com/office/drawing/2014/main" id="{B396F90E-F23F-F24C-AC07-E3F87EAFFFCF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158" name="Полилиния 157">
                <a:extLst>
                  <a:ext uri="{FF2B5EF4-FFF2-40B4-BE49-F238E27FC236}">
                    <a16:creationId xmlns:a16="http://schemas.microsoft.com/office/drawing/2014/main" id="{AC9EA9E4-A093-4F4A-8176-8B8CE96CA2B1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9" name="Полилиния 158">
                <a:extLst>
                  <a:ext uri="{FF2B5EF4-FFF2-40B4-BE49-F238E27FC236}">
                    <a16:creationId xmlns:a16="http://schemas.microsoft.com/office/drawing/2014/main" id="{C2FABC7A-2548-F740-BCBC-1D599F3A3A4F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43B80320-A66F-4F48-887B-613F515D87CC}"/>
              </a:ext>
            </a:extLst>
          </p:cNvPr>
          <p:cNvGrpSpPr/>
          <p:nvPr/>
        </p:nvGrpSpPr>
        <p:grpSpPr>
          <a:xfrm>
            <a:off x="8692737" y="4226927"/>
            <a:ext cx="396000" cy="396000"/>
            <a:chOff x="4240497" y="5570577"/>
            <a:chExt cx="396000" cy="396000"/>
          </a:xfrm>
        </p:grpSpPr>
        <p:grpSp>
          <p:nvGrpSpPr>
            <p:cNvPr id="173" name="Рисунок 21">
              <a:extLst>
                <a:ext uri="{FF2B5EF4-FFF2-40B4-BE49-F238E27FC236}">
                  <a16:creationId xmlns:a16="http://schemas.microsoft.com/office/drawing/2014/main" id="{151DF0DE-D505-9741-A39A-4F6AA472971F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177" name="Полилиния 176">
                <a:extLst>
                  <a:ext uri="{FF2B5EF4-FFF2-40B4-BE49-F238E27FC236}">
                    <a16:creationId xmlns:a16="http://schemas.microsoft.com/office/drawing/2014/main" id="{042DA110-96A1-7547-BF59-A8E605E3A6BB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8" name="Полилиния 177">
                <a:extLst>
                  <a:ext uri="{FF2B5EF4-FFF2-40B4-BE49-F238E27FC236}">
                    <a16:creationId xmlns:a16="http://schemas.microsoft.com/office/drawing/2014/main" id="{B4582FF4-4AFC-2F40-85DC-70D3DC642524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74" name="Группа 173">
              <a:extLst>
                <a:ext uri="{FF2B5EF4-FFF2-40B4-BE49-F238E27FC236}">
                  <a16:creationId xmlns:a16="http://schemas.microsoft.com/office/drawing/2014/main" id="{90A46FE3-6461-8546-BEAE-79DD4C27C2D4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175" name="Полилиния 174">
                <a:extLst>
                  <a:ext uri="{FF2B5EF4-FFF2-40B4-BE49-F238E27FC236}">
                    <a16:creationId xmlns:a16="http://schemas.microsoft.com/office/drawing/2014/main" id="{2E137611-C683-6E4E-991F-E0F1C13E5273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6" name="Полилиния 175">
                <a:extLst>
                  <a:ext uri="{FF2B5EF4-FFF2-40B4-BE49-F238E27FC236}">
                    <a16:creationId xmlns:a16="http://schemas.microsoft.com/office/drawing/2014/main" id="{49145D07-60A3-CA4B-AB06-1F9D0AEA2967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89" name="Группа 188">
            <a:extLst>
              <a:ext uri="{FF2B5EF4-FFF2-40B4-BE49-F238E27FC236}">
                <a16:creationId xmlns:a16="http://schemas.microsoft.com/office/drawing/2014/main" id="{2F1447EE-C43D-9441-B884-C4EF9F37A348}"/>
              </a:ext>
            </a:extLst>
          </p:cNvPr>
          <p:cNvGrpSpPr/>
          <p:nvPr/>
        </p:nvGrpSpPr>
        <p:grpSpPr>
          <a:xfrm>
            <a:off x="8692737" y="4768984"/>
            <a:ext cx="396000" cy="396000"/>
            <a:chOff x="4240497" y="5570577"/>
            <a:chExt cx="396000" cy="396000"/>
          </a:xfrm>
        </p:grpSpPr>
        <p:grpSp>
          <p:nvGrpSpPr>
            <p:cNvPr id="190" name="Рисунок 21">
              <a:extLst>
                <a:ext uri="{FF2B5EF4-FFF2-40B4-BE49-F238E27FC236}">
                  <a16:creationId xmlns:a16="http://schemas.microsoft.com/office/drawing/2014/main" id="{C8D6BEB2-07DE-6B43-BCCC-4677640A66B4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194" name="Полилиния 193">
                <a:extLst>
                  <a:ext uri="{FF2B5EF4-FFF2-40B4-BE49-F238E27FC236}">
                    <a16:creationId xmlns:a16="http://schemas.microsoft.com/office/drawing/2014/main" id="{1643C570-DA27-0E4B-B2F5-70C0BFF72EDE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5" name="Полилиния 194">
                <a:extLst>
                  <a:ext uri="{FF2B5EF4-FFF2-40B4-BE49-F238E27FC236}">
                    <a16:creationId xmlns:a16="http://schemas.microsoft.com/office/drawing/2014/main" id="{226DCCF2-C530-4C41-8EFE-6876520D0A7F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91" name="Группа 190">
              <a:extLst>
                <a:ext uri="{FF2B5EF4-FFF2-40B4-BE49-F238E27FC236}">
                  <a16:creationId xmlns:a16="http://schemas.microsoft.com/office/drawing/2014/main" id="{1D272A41-940D-3441-AB95-9FF2D756932A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192" name="Полилиния 191">
                <a:extLst>
                  <a:ext uri="{FF2B5EF4-FFF2-40B4-BE49-F238E27FC236}">
                    <a16:creationId xmlns:a16="http://schemas.microsoft.com/office/drawing/2014/main" id="{4A340D68-9274-C14B-A695-EFFEDBB93979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3" name="Полилиния 192">
                <a:extLst>
                  <a:ext uri="{FF2B5EF4-FFF2-40B4-BE49-F238E27FC236}">
                    <a16:creationId xmlns:a16="http://schemas.microsoft.com/office/drawing/2014/main" id="{38DA0ABA-DB2D-D84F-A24E-87F84E962E88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96" name="Группа 195">
            <a:extLst>
              <a:ext uri="{FF2B5EF4-FFF2-40B4-BE49-F238E27FC236}">
                <a16:creationId xmlns:a16="http://schemas.microsoft.com/office/drawing/2014/main" id="{2C7B6D22-4F8A-8F4E-B8F1-1685B3D7C533}"/>
              </a:ext>
            </a:extLst>
          </p:cNvPr>
          <p:cNvGrpSpPr/>
          <p:nvPr/>
        </p:nvGrpSpPr>
        <p:grpSpPr>
          <a:xfrm>
            <a:off x="10531717" y="2600762"/>
            <a:ext cx="396000" cy="396000"/>
            <a:chOff x="4240497" y="5570577"/>
            <a:chExt cx="396000" cy="396000"/>
          </a:xfrm>
        </p:grpSpPr>
        <p:grpSp>
          <p:nvGrpSpPr>
            <p:cNvPr id="197" name="Рисунок 21">
              <a:extLst>
                <a:ext uri="{FF2B5EF4-FFF2-40B4-BE49-F238E27FC236}">
                  <a16:creationId xmlns:a16="http://schemas.microsoft.com/office/drawing/2014/main" id="{3E7385FD-6B86-3946-9143-6CB8F7C7A359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201" name="Полилиния 200">
                <a:extLst>
                  <a:ext uri="{FF2B5EF4-FFF2-40B4-BE49-F238E27FC236}">
                    <a16:creationId xmlns:a16="http://schemas.microsoft.com/office/drawing/2014/main" id="{5F4B7FA6-DBC3-4647-A34A-DE9A386DE074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2" name="Полилиния 201">
                <a:extLst>
                  <a:ext uri="{FF2B5EF4-FFF2-40B4-BE49-F238E27FC236}">
                    <a16:creationId xmlns:a16="http://schemas.microsoft.com/office/drawing/2014/main" id="{66456AE7-EB5D-5748-98F0-DE6B666DC03E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98" name="Группа 197">
              <a:extLst>
                <a:ext uri="{FF2B5EF4-FFF2-40B4-BE49-F238E27FC236}">
                  <a16:creationId xmlns:a16="http://schemas.microsoft.com/office/drawing/2014/main" id="{2E827506-4E12-564B-9F51-554E2D94BC4A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199" name="Полилиния 198">
                <a:extLst>
                  <a:ext uri="{FF2B5EF4-FFF2-40B4-BE49-F238E27FC236}">
                    <a16:creationId xmlns:a16="http://schemas.microsoft.com/office/drawing/2014/main" id="{3AA57AA6-F174-C249-A4A6-558D79FCADE8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0" name="Полилиния 199">
                <a:extLst>
                  <a:ext uri="{FF2B5EF4-FFF2-40B4-BE49-F238E27FC236}">
                    <a16:creationId xmlns:a16="http://schemas.microsoft.com/office/drawing/2014/main" id="{A907955B-5B2C-D841-93C5-CC0BF3AA64FC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213" name="Группа 212">
            <a:extLst>
              <a:ext uri="{FF2B5EF4-FFF2-40B4-BE49-F238E27FC236}">
                <a16:creationId xmlns:a16="http://schemas.microsoft.com/office/drawing/2014/main" id="{A2452844-1CCF-4345-8812-FC184AB2C583}"/>
              </a:ext>
            </a:extLst>
          </p:cNvPr>
          <p:cNvGrpSpPr/>
          <p:nvPr/>
        </p:nvGrpSpPr>
        <p:grpSpPr>
          <a:xfrm>
            <a:off x="10531717" y="4226927"/>
            <a:ext cx="396000" cy="396000"/>
            <a:chOff x="4240497" y="5570577"/>
            <a:chExt cx="396000" cy="396000"/>
          </a:xfrm>
        </p:grpSpPr>
        <p:grpSp>
          <p:nvGrpSpPr>
            <p:cNvPr id="214" name="Рисунок 21">
              <a:extLst>
                <a:ext uri="{FF2B5EF4-FFF2-40B4-BE49-F238E27FC236}">
                  <a16:creationId xmlns:a16="http://schemas.microsoft.com/office/drawing/2014/main" id="{2E164A51-2D88-BA49-8C78-633144F4B469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218" name="Полилиния 217">
                <a:extLst>
                  <a:ext uri="{FF2B5EF4-FFF2-40B4-BE49-F238E27FC236}">
                    <a16:creationId xmlns:a16="http://schemas.microsoft.com/office/drawing/2014/main" id="{EA576D3B-CAC3-1A41-8F2A-45E5043845DC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9" name="Полилиния 218">
                <a:extLst>
                  <a:ext uri="{FF2B5EF4-FFF2-40B4-BE49-F238E27FC236}">
                    <a16:creationId xmlns:a16="http://schemas.microsoft.com/office/drawing/2014/main" id="{F79A0FEF-C523-A444-9D0C-73ABD8AC67AF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215" name="Группа 214">
              <a:extLst>
                <a:ext uri="{FF2B5EF4-FFF2-40B4-BE49-F238E27FC236}">
                  <a16:creationId xmlns:a16="http://schemas.microsoft.com/office/drawing/2014/main" id="{6C2CCD96-9D88-4E4E-8FCC-3E4B54E3DE90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216" name="Полилиния 215">
                <a:extLst>
                  <a:ext uri="{FF2B5EF4-FFF2-40B4-BE49-F238E27FC236}">
                    <a16:creationId xmlns:a16="http://schemas.microsoft.com/office/drawing/2014/main" id="{F988BD18-B318-9C40-9047-6DCEDFB8099C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7" name="Полилиния 216">
                <a:extLst>
                  <a:ext uri="{FF2B5EF4-FFF2-40B4-BE49-F238E27FC236}">
                    <a16:creationId xmlns:a16="http://schemas.microsoft.com/office/drawing/2014/main" id="{ADD190E7-7E96-2B44-A34B-E2EE94DA536E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230" name="Группа 229">
            <a:extLst>
              <a:ext uri="{FF2B5EF4-FFF2-40B4-BE49-F238E27FC236}">
                <a16:creationId xmlns:a16="http://schemas.microsoft.com/office/drawing/2014/main" id="{8F597500-7EE7-9D40-ABBA-54EC456EF4B7}"/>
              </a:ext>
            </a:extLst>
          </p:cNvPr>
          <p:cNvGrpSpPr/>
          <p:nvPr/>
        </p:nvGrpSpPr>
        <p:grpSpPr>
          <a:xfrm>
            <a:off x="10531717" y="4768984"/>
            <a:ext cx="396000" cy="396000"/>
            <a:chOff x="4240497" y="5570577"/>
            <a:chExt cx="396000" cy="396000"/>
          </a:xfrm>
        </p:grpSpPr>
        <p:grpSp>
          <p:nvGrpSpPr>
            <p:cNvPr id="231" name="Рисунок 21">
              <a:extLst>
                <a:ext uri="{FF2B5EF4-FFF2-40B4-BE49-F238E27FC236}">
                  <a16:creationId xmlns:a16="http://schemas.microsoft.com/office/drawing/2014/main" id="{FD6C319D-A927-7D47-B1F9-F0BF801E7A3D}"/>
                </a:ext>
              </a:extLst>
            </p:cNvPr>
            <p:cNvGrpSpPr/>
            <p:nvPr/>
          </p:nvGrpSpPr>
          <p:grpSpPr>
            <a:xfrm>
              <a:off x="4240497" y="5570577"/>
              <a:ext cx="396000" cy="396000"/>
              <a:chOff x="9508495" y="5510083"/>
              <a:chExt cx="360000" cy="360000"/>
            </a:xfrm>
          </p:grpSpPr>
          <p:sp>
            <p:nvSpPr>
              <p:cNvPr id="235" name="Полилиния 234">
                <a:extLst>
                  <a:ext uri="{FF2B5EF4-FFF2-40B4-BE49-F238E27FC236}">
                    <a16:creationId xmlns:a16="http://schemas.microsoft.com/office/drawing/2014/main" id="{112A264A-2A96-1942-AEE0-CD8FC542B804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6" name="Полилиния 235">
                <a:extLst>
                  <a:ext uri="{FF2B5EF4-FFF2-40B4-BE49-F238E27FC236}">
                    <a16:creationId xmlns:a16="http://schemas.microsoft.com/office/drawing/2014/main" id="{E131B28B-3E4F-E54E-A06F-698BDF1488A4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rgbClr val="FC6568">
                  <a:alpha val="30000"/>
                </a:srgb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232" name="Группа 231">
              <a:extLst>
                <a:ext uri="{FF2B5EF4-FFF2-40B4-BE49-F238E27FC236}">
                  <a16:creationId xmlns:a16="http://schemas.microsoft.com/office/drawing/2014/main" id="{79043C4A-CB25-E948-B1AD-4332A4C9B94F}"/>
                </a:ext>
              </a:extLst>
            </p:cNvPr>
            <p:cNvGrpSpPr/>
            <p:nvPr/>
          </p:nvGrpSpPr>
          <p:grpSpPr>
            <a:xfrm>
              <a:off x="4383471" y="5713551"/>
              <a:ext cx="110052" cy="110052"/>
              <a:chOff x="5387689" y="5677937"/>
              <a:chExt cx="145279" cy="145279"/>
            </a:xfrm>
            <a:solidFill>
              <a:srgbClr val="FC6568"/>
            </a:solidFill>
          </p:grpSpPr>
          <p:sp>
            <p:nvSpPr>
              <p:cNvPr id="233" name="Полилиния 232">
                <a:extLst>
                  <a:ext uri="{FF2B5EF4-FFF2-40B4-BE49-F238E27FC236}">
                    <a16:creationId xmlns:a16="http://schemas.microsoft.com/office/drawing/2014/main" id="{ADA128B9-40AC-B242-8B90-DFF4168075D8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142643 h 145279"/>
                  <a:gd name="connsiteX1" fmla="*/ 2636 w 145279"/>
                  <a:gd name="connsiteY1" fmla="*/ 129916 h 145279"/>
                  <a:gd name="connsiteX2" fmla="*/ 129916 w 145279"/>
                  <a:gd name="connsiteY2" fmla="*/ 2636 h 145279"/>
                  <a:gd name="connsiteX3" fmla="*/ 142643 w 145279"/>
                  <a:gd name="connsiteY3" fmla="*/ 2636 h 145279"/>
                  <a:gd name="connsiteX4" fmla="*/ 142643 w 145279"/>
                  <a:gd name="connsiteY4" fmla="*/ 15364 h 145279"/>
                  <a:gd name="connsiteX5" fmla="*/ 15365 w 145279"/>
                  <a:gd name="connsiteY5" fmla="*/ 142643 h 145279"/>
                  <a:gd name="connsiteX6" fmla="*/ 2636 w 145279"/>
                  <a:gd name="connsiteY6" fmla="*/ 142643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142643"/>
                    </a:moveTo>
                    <a:cubicBezTo>
                      <a:pt x="-879" y="139129"/>
                      <a:pt x="-879" y="133430"/>
                      <a:pt x="2636" y="129916"/>
                    </a:cubicBezTo>
                    <a:lnTo>
                      <a:pt x="129916" y="2636"/>
                    </a:lnTo>
                    <a:cubicBezTo>
                      <a:pt x="133430" y="-879"/>
                      <a:pt x="139129" y="-879"/>
                      <a:pt x="142643" y="2636"/>
                    </a:cubicBezTo>
                    <a:cubicBezTo>
                      <a:pt x="146158" y="6151"/>
                      <a:pt x="146158" y="11849"/>
                      <a:pt x="142643" y="15364"/>
                    </a:cubicBezTo>
                    <a:lnTo>
                      <a:pt x="15365" y="142643"/>
                    </a:lnTo>
                    <a:cubicBezTo>
                      <a:pt x="11849" y="146158"/>
                      <a:pt x="6151" y="146158"/>
                      <a:pt x="2636" y="142643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4" name="Полилиния 233">
                <a:extLst>
                  <a:ext uri="{FF2B5EF4-FFF2-40B4-BE49-F238E27FC236}">
                    <a16:creationId xmlns:a16="http://schemas.microsoft.com/office/drawing/2014/main" id="{0E2D0101-AD5A-EA47-BBB8-8F449A4BCFE4}"/>
                  </a:ext>
                </a:extLst>
              </p:cNvPr>
              <p:cNvSpPr/>
              <p:nvPr/>
            </p:nvSpPr>
            <p:spPr>
              <a:xfrm>
                <a:off x="5387689" y="5677937"/>
                <a:ext cx="145279" cy="145279"/>
              </a:xfrm>
              <a:custGeom>
                <a:avLst/>
                <a:gdLst>
                  <a:gd name="connsiteX0" fmla="*/ 2636 w 145279"/>
                  <a:gd name="connsiteY0" fmla="*/ 2636 h 145279"/>
                  <a:gd name="connsiteX1" fmla="*/ 15364 w 145279"/>
                  <a:gd name="connsiteY1" fmla="*/ 2636 h 145279"/>
                  <a:gd name="connsiteX2" fmla="*/ 142643 w 145279"/>
                  <a:gd name="connsiteY2" fmla="*/ 129916 h 145279"/>
                  <a:gd name="connsiteX3" fmla="*/ 142643 w 145279"/>
                  <a:gd name="connsiteY3" fmla="*/ 142643 h 145279"/>
                  <a:gd name="connsiteX4" fmla="*/ 129916 w 145279"/>
                  <a:gd name="connsiteY4" fmla="*/ 142643 h 145279"/>
                  <a:gd name="connsiteX5" fmla="*/ 2636 w 145279"/>
                  <a:gd name="connsiteY5" fmla="*/ 15364 h 145279"/>
                  <a:gd name="connsiteX6" fmla="*/ 2636 w 145279"/>
                  <a:gd name="connsiteY6" fmla="*/ 2636 h 145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279" h="145279">
                    <a:moveTo>
                      <a:pt x="2636" y="2636"/>
                    </a:moveTo>
                    <a:cubicBezTo>
                      <a:pt x="6151" y="-879"/>
                      <a:pt x="11849" y="-879"/>
                      <a:pt x="15364" y="2636"/>
                    </a:cubicBezTo>
                    <a:lnTo>
                      <a:pt x="142643" y="129916"/>
                    </a:lnTo>
                    <a:cubicBezTo>
                      <a:pt x="146158" y="133430"/>
                      <a:pt x="146158" y="139128"/>
                      <a:pt x="142643" y="142643"/>
                    </a:cubicBezTo>
                    <a:cubicBezTo>
                      <a:pt x="139129" y="146158"/>
                      <a:pt x="133430" y="146158"/>
                      <a:pt x="129916" y="142643"/>
                    </a:cubicBezTo>
                    <a:lnTo>
                      <a:pt x="2636" y="15364"/>
                    </a:lnTo>
                    <a:cubicBezTo>
                      <a:pt x="-879" y="11849"/>
                      <a:pt x="-879" y="6150"/>
                      <a:pt x="2636" y="2636"/>
                    </a:cubicBezTo>
                    <a:close/>
                  </a:path>
                </a:pathLst>
              </a:custGeom>
              <a:grpFill/>
              <a:ln w="89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237" name="Группа 236">
            <a:extLst>
              <a:ext uri="{FF2B5EF4-FFF2-40B4-BE49-F238E27FC236}">
                <a16:creationId xmlns:a16="http://schemas.microsoft.com/office/drawing/2014/main" id="{89FB9AC5-5E58-4843-A06C-DD307B290236}"/>
              </a:ext>
            </a:extLst>
          </p:cNvPr>
          <p:cNvGrpSpPr>
            <a:grpSpLocks noChangeAspect="1"/>
          </p:cNvGrpSpPr>
          <p:nvPr/>
        </p:nvGrpSpPr>
        <p:grpSpPr>
          <a:xfrm>
            <a:off x="3201966" y="2058707"/>
            <a:ext cx="396000" cy="396000"/>
            <a:chOff x="10390997" y="5660295"/>
            <a:chExt cx="360000" cy="360000"/>
          </a:xfrm>
        </p:grpSpPr>
        <p:grpSp>
          <p:nvGrpSpPr>
            <p:cNvPr id="238" name="Рисунок 21">
              <a:extLst>
                <a:ext uri="{FF2B5EF4-FFF2-40B4-BE49-F238E27FC236}">
                  <a16:creationId xmlns:a16="http://schemas.microsoft.com/office/drawing/2014/main" id="{EF5C662F-2FE4-3940-9954-959BEB0C8633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240" name="Полилиния 239">
                <a:extLst>
                  <a:ext uri="{FF2B5EF4-FFF2-40B4-BE49-F238E27FC236}">
                    <a16:creationId xmlns:a16="http://schemas.microsoft.com/office/drawing/2014/main" id="{A1CA1E6A-58C7-104F-9570-2F2E56F10CD1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1" name="Полилиния 240">
                <a:extLst>
                  <a:ext uri="{FF2B5EF4-FFF2-40B4-BE49-F238E27FC236}">
                    <a16:creationId xmlns:a16="http://schemas.microsoft.com/office/drawing/2014/main" id="{CF3F08FD-3E69-B045-A50D-8B4385EE2A8E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39" name="Полилиния 238">
              <a:extLst>
                <a:ext uri="{FF2B5EF4-FFF2-40B4-BE49-F238E27FC236}">
                  <a16:creationId xmlns:a16="http://schemas.microsoft.com/office/drawing/2014/main" id="{6CF80717-FF34-C24A-BADE-0E7ACF617FC1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42" name="Группа 241">
            <a:extLst>
              <a:ext uri="{FF2B5EF4-FFF2-40B4-BE49-F238E27FC236}">
                <a16:creationId xmlns:a16="http://schemas.microsoft.com/office/drawing/2014/main" id="{909B20DB-0965-3D40-B77C-F6460B6BC93B}"/>
              </a:ext>
            </a:extLst>
          </p:cNvPr>
          <p:cNvGrpSpPr>
            <a:grpSpLocks noChangeAspect="1"/>
          </p:cNvGrpSpPr>
          <p:nvPr/>
        </p:nvGrpSpPr>
        <p:grpSpPr>
          <a:xfrm>
            <a:off x="3201966" y="3684872"/>
            <a:ext cx="396000" cy="396000"/>
            <a:chOff x="10390997" y="5660295"/>
            <a:chExt cx="360000" cy="360000"/>
          </a:xfrm>
        </p:grpSpPr>
        <p:grpSp>
          <p:nvGrpSpPr>
            <p:cNvPr id="243" name="Рисунок 21">
              <a:extLst>
                <a:ext uri="{FF2B5EF4-FFF2-40B4-BE49-F238E27FC236}">
                  <a16:creationId xmlns:a16="http://schemas.microsoft.com/office/drawing/2014/main" id="{BF017736-BE55-F64D-98D7-1E8A8CD43231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245" name="Полилиния 244">
                <a:extLst>
                  <a:ext uri="{FF2B5EF4-FFF2-40B4-BE49-F238E27FC236}">
                    <a16:creationId xmlns:a16="http://schemas.microsoft.com/office/drawing/2014/main" id="{C439E4F2-D8A4-B246-9248-6FE09FF510EF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6" name="Полилиния 245">
                <a:extLst>
                  <a:ext uri="{FF2B5EF4-FFF2-40B4-BE49-F238E27FC236}">
                    <a16:creationId xmlns:a16="http://schemas.microsoft.com/office/drawing/2014/main" id="{28AA1740-AAF1-2B44-AB79-050CE05BEEE9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44" name="Полилиния 243">
              <a:extLst>
                <a:ext uri="{FF2B5EF4-FFF2-40B4-BE49-F238E27FC236}">
                  <a16:creationId xmlns:a16="http://schemas.microsoft.com/office/drawing/2014/main" id="{635113BD-1F50-294C-BA3C-00EDC9043DD8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47" name="Группа 246">
            <a:extLst>
              <a:ext uri="{FF2B5EF4-FFF2-40B4-BE49-F238E27FC236}">
                <a16:creationId xmlns:a16="http://schemas.microsoft.com/office/drawing/2014/main" id="{C09A2604-B634-084B-8D03-8DAA3C3CA2C9}"/>
              </a:ext>
            </a:extLst>
          </p:cNvPr>
          <p:cNvGrpSpPr>
            <a:grpSpLocks noChangeAspect="1"/>
          </p:cNvGrpSpPr>
          <p:nvPr/>
        </p:nvGrpSpPr>
        <p:grpSpPr>
          <a:xfrm>
            <a:off x="3201966" y="3142817"/>
            <a:ext cx="396000" cy="396000"/>
            <a:chOff x="10390997" y="5660295"/>
            <a:chExt cx="360000" cy="360000"/>
          </a:xfrm>
        </p:grpSpPr>
        <p:grpSp>
          <p:nvGrpSpPr>
            <p:cNvPr id="248" name="Рисунок 21">
              <a:extLst>
                <a:ext uri="{FF2B5EF4-FFF2-40B4-BE49-F238E27FC236}">
                  <a16:creationId xmlns:a16="http://schemas.microsoft.com/office/drawing/2014/main" id="{05A6DCB3-4CDE-7E4A-90EC-A4534163E744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250" name="Полилиния 249">
                <a:extLst>
                  <a:ext uri="{FF2B5EF4-FFF2-40B4-BE49-F238E27FC236}">
                    <a16:creationId xmlns:a16="http://schemas.microsoft.com/office/drawing/2014/main" id="{D4F908EA-FAD5-124B-A14E-ED347AA6B1E0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1" name="Полилиния 250">
                <a:extLst>
                  <a:ext uri="{FF2B5EF4-FFF2-40B4-BE49-F238E27FC236}">
                    <a16:creationId xmlns:a16="http://schemas.microsoft.com/office/drawing/2014/main" id="{7C230342-5766-364F-9BEE-6DCA0BA44B1F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AD972A2D-42B7-AC48-BE3F-8710BF6B9AFC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52" name="Группа 251">
            <a:extLst>
              <a:ext uri="{FF2B5EF4-FFF2-40B4-BE49-F238E27FC236}">
                <a16:creationId xmlns:a16="http://schemas.microsoft.com/office/drawing/2014/main" id="{2E8CCB55-E69F-C94C-A2F8-C66E780D56FF}"/>
              </a:ext>
            </a:extLst>
          </p:cNvPr>
          <p:cNvGrpSpPr>
            <a:grpSpLocks noChangeAspect="1"/>
          </p:cNvGrpSpPr>
          <p:nvPr/>
        </p:nvGrpSpPr>
        <p:grpSpPr>
          <a:xfrm>
            <a:off x="5034404" y="1516652"/>
            <a:ext cx="396000" cy="396000"/>
            <a:chOff x="10390997" y="5660295"/>
            <a:chExt cx="360000" cy="360000"/>
          </a:xfrm>
        </p:grpSpPr>
        <p:grpSp>
          <p:nvGrpSpPr>
            <p:cNvPr id="253" name="Рисунок 21">
              <a:extLst>
                <a:ext uri="{FF2B5EF4-FFF2-40B4-BE49-F238E27FC236}">
                  <a16:creationId xmlns:a16="http://schemas.microsoft.com/office/drawing/2014/main" id="{F0C8A411-88FC-2644-AEA9-BC755D3429D0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255" name="Полилиния 254">
                <a:extLst>
                  <a:ext uri="{FF2B5EF4-FFF2-40B4-BE49-F238E27FC236}">
                    <a16:creationId xmlns:a16="http://schemas.microsoft.com/office/drawing/2014/main" id="{05A03DE2-4B80-A940-A13E-591D94A45322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6" name="Полилиния 255">
                <a:extLst>
                  <a:ext uri="{FF2B5EF4-FFF2-40B4-BE49-F238E27FC236}">
                    <a16:creationId xmlns:a16="http://schemas.microsoft.com/office/drawing/2014/main" id="{0B06782E-4E78-5C4F-B7D9-DDC2D8F4F766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54" name="Полилиния 253">
              <a:extLst>
                <a:ext uri="{FF2B5EF4-FFF2-40B4-BE49-F238E27FC236}">
                  <a16:creationId xmlns:a16="http://schemas.microsoft.com/office/drawing/2014/main" id="{CD42C3B7-F960-3B45-B0AB-C4F839B31B43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57" name="Группа 256">
            <a:extLst>
              <a:ext uri="{FF2B5EF4-FFF2-40B4-BE49-F238E27FC236}">
                <a16:creationId xmlns:a16="http://schemas.microsoft.com/office/drawing/2014/main" id="{FE8555C6-DFFD-B748-9A14-B03869C75325}"/>
              </a:ext>
            </a:extLst>
          </p:cNvPr>
          <p:cNvGrpSpPr>
            <a:grpSpLocks noChangeAspect="1"/>
          </p:cNvGrpSpPr>
          <p:nvPr/>
        </p:nvGrpSpPr>
        <p:grpSpPr>
          <a:xfrm>
            <a:off x="5034404" y="2058707"/>
            <a:ext cx="396000" cy="396000"/>
            <a:chOff x="10390997" y="5660295"/>
            <a:chExt cx="360000" cy="360000"/>
          </a:xfrm>
        </p:grpSpPr>
        <p:grpSp>
          <p:nvGrpSpPr>
            <p:cNvPr id="258" name="Рисунок 21">
              <a:extLst>
                <a:ext uri="{FF2B5EF4-FFF2-40B4-BE49-F238E27FC236}">
                  <a16:creationId xmlns:a16="http://schemas.microsoft.com/office/drawing/2014/main" id="{40FAA6B7-390A-B146-A79E-14A4E2D33CE8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260" name="Полилиния 259">
                <a:extLst>
                  <a:ext uri="{FF2B5EF4-FFF2-40B4-BE49-F238E27FC236}">
                    <a16:creationId xmlns:a16="http://schemas.microsoft.com/office/drawing/2014/main" id="{F86DF341-B1F1-544B-AB60-994D2F3CBDF3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1" name="Полилиния 260">
                <a:extLst>
                  <a:ext uri="{FF2B5EF4-FFF2-40B4-BE49-F238E27FC236}">
                    <a16:creationId xmlns:a16="http://schemas.microsoft.com/office/drawing/2014/main" id="{13FC1FFB-05D8-EA43-94D5-7D7DE0D2FF7B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6B5E9EF3-AEA7-3246-BD00-D2D8DDCCBECB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2" name="Группа 261">
            <a:extLst>
              <a:ext uri="{FF2B5EF4-FFF2-40B4-BE49-F238E27FC236}">
                <a16:creationId xmlns:a16="http://schemas.microsoft.com/office/drawing/2014/main" id="{F242B245-F9C2-C145-8BB9-345EF271B4F0}"/>
              </a:ext>
            </a:extLst>
          </p:cNvPr>
          <p:cNvGrpSpPr>
            <a:grpSpLocks noChangeAspect="1"/>
          </p:cNvGrpSpPr>
          <p:nvPr/>
        </p:nvGrpSpPr>
        <p:grpSpPr>
          <a:xfrm>
            <a:off x="5034404" y="3684872"/>
            <a:ext cx="396000" cy="396000"/>
            <a:chOff x="10390997" y="5660295"/>
            <a:chExt cx="360000" cy="360000"/>
          </a:xfrm>
        </p:grpSpPr>
        <p:grpSp>
          <p:nvGrpSpPr>
            <p:cNvPr id="263" name="Рисунок 21">
              <a:extLst>
                <a:ext uri="{FF2B5EF4-FFF2-40B4-BE49-F238E27FC236}">
                  <a16:creationId xmlns:a16="http://schemas.microsoft.com/office/drawing/2014/main" id="{176C4469-769F-3E42-AAF0-DF7D4EC0EA12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265" name="Полилиния 264">
                <a:extLst>
                  <a:ext uri="{FF2B5EF4-FFF2-40B4-BE49-F238E27FC236}">
                    <a16:creationId xmlns:a16="http://schemas.microsoft.com/office/drawing/2014/main" id="{C655EC56-7D85-C346-93F5-F07457A2ED58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6" name="Полилиния 265">
                <a:extLst>
                  <a:ext uri="{FF2B5EF4-FFF2-40B4-BE49-F238E27FC236}">
                    <a16:creationId xmlns:a16="http://schemas.microsoft.com/office/drawing/2014/main" id="{9FB02EAD-A0D7-1341-8115-3E2D369BCC6A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64" name="Полилиния 263">
              <a:extLst>
                <a:ext uri="{FF2B5EF4-FFF2-40B4-BE49-F238E27FC236}">
                  <a16:creationId xmlns:a16="http://schemas.microsoft.com/office/drawing/2014/main" id="{778EBC6B-9AE4-BD47-AB23-1D0F613D04F4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7" name="Группа 266">
            <a:extLst>
              <a:ext uri="{FF2B5EF4-FFF2-40B4-BE49-F238E27FC236}">
                <a16:creationId xmlns:a16="http://schemas.microsoft.com/office/drawing/2014/main" id="{DA99EF7E-7313-F74A-BE78-2A33B6F5F02D}"/>
              </a:ext>
            </a:extLst>
          </p:cNvPr>
          <p:cNvGrpSpPr>
            <a:grpSpLocks noChangeAspect="1"/>
          </p:cNvGrpSpPr>
          <p:nvPr/>
        </p:nvGrpSpPr>
        <p:grpSpPr>
          <a:xfrm>
            <a:off x="5034404" y="3142817"/>
            <a:ext cx="396000" cy="396000"/>
            <a:chOff x="10390997" y="5660295"/>
            <a:chExt cx="360000" cy="360000"/>
          </a:xfrm>
        </p:grpSpPr>
        <p:grpSp>
          <p:nvGrpSpPr>
            <p:cNvPr id="268" name="Рисунок 21">
              <a:extLst>
                <a:ext uri="{FF2B5EF4-FFF2-40B4-BE49-F238E27FC236}">
                  <a16:creationId xmlns:a16="http://schemas.microsoft.com/office/drawing/2014/main" id="{21665EA1-29FD-3143-B898-982B72237E99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270" name="Полилиния 269">
                <a:extLst>
                  <a:ext uri="{FF2B5EF4-FFF2-40B4-BE49-F238E27FC236}">
                    <a16:creationId xmlns:a16="http://schemas.microsoft.com/office/drawing/2014/main" id="{9C46CE1B-0278-4E4D-94D8-398B3CD80B8E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1" name="Полилиния 270">
                <a:extLst>
                  <a:ext uri="{FF2B5EF4-FFF2-40B4-BE49-F238E27FC236}">
                    <a16:creationId xmlns:a16="http://schemas.microsoft.com/office/drawing/2014/main" id="{CC488D7A-3BC6-B746-8671-1081A2BE1E67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69" name="Полилиния 268">
              <a:extLst>
                <a:ext uri="{FF2B5EF4-FFF2-40B4-BE49-F238E27FC236}">
                  <a16:creationId xmlns:a16="http://schemas.microsoft.com/office/drawing/2014/main" id="{997938BF-3A30-AE40-BD3E-B6AB491F89B1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12" name="Группа 311">
            <a:extLst>
              <a:ext uri="{FF2B5EF4-FFF2-40B4-BE49-F238E27FC236}">
                <a16:creationId xmlns:a16="http://schemas.microsoft.com/office/drawing/2014/main" id="{5FEE363C-90EF-D049-89A4-D97052D9D62D}"/>
              </a:ext>
            </a:extLst>
          </p:cNvPr>
          <p:cNvGrpSpPr>
            <a:grpSpLocks noChangeAspect="1"/>
          </p:cNvGrpSpPr>
          <p:nvPr/>
        </p:nvGrpSpPr>
        <p:grpSpPr>
          <a:xfrm>
            <a:off x="6860300" y="1516652"/>
            <a:ext cx="396000" cy="396000"/>
            <a:chOff x="10390997" y="5660295"/>
            <a:chExt cx="360000" cy="360000"/>
          </a:xfrm>
        </p:grpSpPr>
        <p:grpSp>
          <p:nvGrpSpPr>
            <p:cNvPr id="313" name="Рисунок 21">
              <a:extLst>
                <a:ext uri="{FF2B5EF4-FFF2-40B4-BE49-F238E27FC236}">
                  <a16:creationId xmlns:a16="http://schemas.microsoft.com/office/drawing/2014/main" id="{B3CBB032-5E29-D449-B41F-A9D43B72849A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315" name="Полилиния 314">
                <a:extLst>
                  <a:ext uri="{FF2B5EF4-FFF2-40B4-BE49-F238E27FC236}">
                    <a16:creationId xmlns:a16="http://schemas.microsoft.com/office/drawing/2014/main" id="{DC72B97E-E8A2-1341-90DC-4B2E73B8773C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6" name="Полилиния 315">
                <a:extLst>
                  <a:ext uri="{FF2B5EF4-FFF2-40B4-BE49-F238E27FC236}">
                    <a16:creationId xmlns:a16="http://schemas.microsoft.com/office/drawing/2014/main" id="{970F8E42-121F-5F4A-8108-7F434D1E0A56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14" name="Полилиния 313">
              <a:extLst>
                <a:ext uri="{FF2B5EF4-FFF2-40B4-BE49-F238E27FC236}">
                  <a16:creationId xmlns:a16="http://schemas.microsoft.com/office/drawing/2014/main" id="{97160CBB-269C-A84B-B118-47E6459BB9E8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17" name="Группа 316">
            <a:extLst>
              <a:ext uri="{FF2B5EF4-FFF2-40B4-BE49-F238E27FC236}">
                <a16:creationId xmlns:a16="http://schemas.microsoft.com/office/drawing/2014/main" id="{EBCA6E5A-AEA9-5C42-8353-0E57A8ED9A7E}"/>
              </a:ext>
            </a:extLst>
          </p:cNvPr>
          <p:cNvGrpSpPr>
            <a:grpSpLocks noChangeAspect="1"/>
          </p:cNvGrpSpPr>
          <p:nvPr/>
        </p:nvGrpSpPr>
        <p:grpSpPr>
          <a:xfrm>
            <a:off x="6860300" y="2058707"/>
            <a:ext cx="396000" cy="396000"/>
            <a:chOff x="10390997" y="5660295"/>
            <a:chExt cx="360000" cy="360000"/>
          </a:xfrm>
        </p:grpSpPr>
        <p:grpSp>
          <p:nvGrpSpPr>
            <p:cNvPr id="318" name="Рисунок 21">
              <a:extLst>
                <a:ext uri="{FF2B5EF4-FFF2-40B4-BE49-F238E27FC236}">
                  <a16:creationId xmlns:a16="http://schemas.microsoft.com/office/drawing/2014/main" id="{A87CF509-21B6-4740-8B08-998904C07AF2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320" name="Полилиния 319">
                <a:extLst>
                  <a:ext uri="{FF2B5EF4-FFF2-40B4-BE49-F238E27FC236}">
                    <a16:creationId xmlns:a16="http://schemas.microsoft.com/office/drawing/2014/main" id="{4B8B0A8B-FA6A-3C43-BA8B-5F679220301E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1" name="Полилиния 320">
                <a:extLst>
                  <a:ext uri="{FF2B5EF4-FFF2-40B4-BE49-F238E27FC236}">
                    <a16:creationId xmlns:a16="http://schemas.microsoft.com/office/drawing/2014/main" id="{3B53FB5D-8429-E940-9A92-F34C50A57072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19" name="Полилиния 318">
              <a:extLst>
                <a:ext uri="{FF2B5EF4-FFF2-40B4-BE49-F238E27FC236}">
                  <a16:creationId xmlns:a16="http://schemas.microsoft.com/office/drawing/2014/main" id="{C21535BF-2D4F-A74A-A562-6EB034F9DDD1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22" name="Группа 321">
            <a:extLst>
              <a:ext uri="{FF2B5EF4-FFF2-40B4-BE49-F238E27FC236}">
                <a16:creationId xmlns:a16="http://schemas.microsoft.com/office/drawing/2014/main" id="{DC4CDFDD-26EE-0042-A38B-17B58FFA97AA}"/>
              </a:ext>
            </a:extLst>
          </p:cNvPr>
          <p:cNvGrpSpPr>
            <a:grpSpLocks noChangeAspect="1"/>
          </p:cNvGrpSpPr>
          <p:nvPr/>
        </p:nvGrpSpPr>
        <p:grpSpPr>
          <a:xfrm>
            <a:off x="6860300" y="3684872"/>
            <a:ext cx="396000" cy="396000"/>
            <a:chOff x="10390997" y="5660295"/>
            <a:chExt cx="360000" cy="360000"/>
          </a:xfrm>
        </p:grpSpPr>
        <p:grpSp>
          <p:nvGrpSpPr>
            <p:cNvPr id="323" name="Рисунок 21">
              <a:extLst>
                <a:ext uri="{FF2B5EF4-FFF2-40B4-BE49-F238E27FC236}">
                  <a16:creationId xmlns:a16="http://schemas.microsoft.com/office/drawing/2014/main" id="{055842D8-9DC9-5B47-A629-CDD347240E1C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325" name="Полилиния 324">
                <a:extLst>
                  <a:ext uri="{FF2B5EF4-FFF2-40B4-BE49-F238E27FC236}">
                    <a16:creationId xmlns:a16="http://schemas.microsoft.com/office/drawing/2014/main" id="{6CCE6EE7-9867-8D4A-9055-12345A1DCDA2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6" name="Полилиния 325">
                <a:extLst>
                  <a:ext uri="{FF2B5EF4-FFF2-40B4-BE49-F238E27FC236}">
                    <a16:creationId xmlns:a16="http://schemas.microsoft.com/office/drawing/2014/main" id="{95C6E416-4B08-0F45-BE8F-230011AA5835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24" name="Полилиния 323">
              <a:extLst>
                <a:ext uri="{FF2B5EF4-FFF2-40B4-BE49-F238E27FC236}">
                  <a16:creationId xmlns:a16="http://schemas.microsoft.com/office/drawing/2014/main" id="{3E1071E4-107A-ED48-A616-E04732DE7A35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27" name="Группа 326">
            <a:extLst>
              <a:ext uri="{FF2B5EF4-FFF2-40B4-BE49-F238E27FC236}">
                <a16:creationId xmlns:a16="http://schemas.microsoft.com/office/drawing/2014/main" id="{D5BCB474-D11C-7246-8677-8EC8735E71D7}"/>
              </a:ext>
            </a:extLst>
          </p:cNvPr>
          <p:cNvGrpSpPr>
            <a:grpSpLocks noChangeAspect="1"/>
          </p:cNvGrpSpPr>
          <p:nvPr/>
        </p:nvGrpSpPr>
        <p:grpSpPr>
          <a:xfrm>
            <a:off x="6860300" y="3142817"/>
            <a:ext cx="396000" cy="396000"/>
            <a:chOff x="10390997" y="5660295"/>
            <a:chExt cx="360000" cy="360000"/>
          </a:xfrm>
        </p:grpSpPr>
        <p:grpSp>
          <p:nvGrpSpPr>
            <p:cNvPr id="328" name="Рисунок 21">
              <a:extLst>
                <a:ext uri="{FF2B5EF4-FFF2-40B4-BE49-F238E27FC236}">
                  <a16:creationId xmlns:a16="http://schemas.microsoft.com/office/drawing/2014/main" id="{C92475BE-6278-4044-A114-AFCEA0322827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330" name="Полилиния 329">
                <a:extLst>
                  <a:ext uri="{FF2B5EF4-FFF2-40B4-BE49-F238E27FC236}">
                    <a16:creationId xmlns:a16="http://schemas.microsoft.com/office/drawing/2014/main" id="{E83D55B7-3664-2942-B513-026C02C11D05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1" name="Полилиния 330">
                <a:extLst>
                  <a:ext uri="{FF2B5EF4-FFF2-40B4-BE49-F238E27FC236}">
                    <a16:creationId xmlns:a16="http://schemas.microsoft.com/office/drawing/2014/main" id="{E71F16C5-2E29-E84C-B884-798C6D6C92A9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29" name="Полилиния 328">
              <a:extLst>
                <a:ext uri="{FF2B5EF4-FFF2-40B4-BE49-F238E27FC236}">
                  <a16:creationId xmlns:a16="http://schemas.microsoft.com/office/drawing/2014/main" id="{59D2AC9B-6823-5D4C-97D0-5C6E5AE87ACE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32" name="Группа 331">
            <a:extLst>
              <a:ext uri="{FF2B5EF4-FFF2-40B4-BE49-F238E27FC236}">
                <a16:creationId xmlns:a16="http://schemas.microsoft.com/office/drawing/2014/main" id="{FE3D0A60-7505-4E47-A1C3-E6906A955F28}"/>
              </a:ext>
            </a:extLst>
          </p:cNvPr>
          <p:cNvGrpSpPr>
            <a:grpSpLocks noChangeAspect="1"/>
          </p:cNvGrpSpPr>
          <p:nvPr/>
        </p:nvGrpSpPr>
        <p:grpSpPr>
          <a:xfrm>
            <a:off x="8692737" y="1516652"/>
            <a:ext cx="396000" cy="396000"/>
            <a:chOff x="10390997" y="5660295"/>
            <a:chExt cx="360000" cy="360000"/>
          </a:xfrm>
        </p:grpSpPr>
        <p:grpSp>
          <p:nvGrpSpPr>
            <p:cNvPr id="333" name="Рисунок 21">
              <a:extLst>
                <a:ext uri="{FF2B5EF4-FFF2-40B4-BE49-F238E27FC236}">
                  <a16:creationId xmlns:a16="http://schemas.microsoft.com/office/drawing/2014/main" id="{ECFC79A1-F6C1-B042-8E9E-71AF3B53794E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335" name="Полилиния 334">
                <a:extLst>
                  <a:ext uri="{FF2B5EF4-FFF2-40B4-BE49-F238E27FC236}">
                    <a16:creationId xmlns:a16="http://schemas.microsoft.com/office/drawing/2014/main" id="{5612BBC0-4590-564C-BEF4-DF339C5FF3E8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6" name="Полилиния 335">
                <a:extLst>
                  <a:ext uri="{FF2B5EF4-FFF2-40B4-BE49-F238E27FC236}">
                    <a16:creationId xmlns:a16="http://schemas.microsoft.com/office/drawing/2014/main" id="{621F26A3-7163-DE4E-BADB-76F952244E98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34" name="Полилиния 333">
              <a:extLst>
                <a:ext uri="{FF2B5EF4-FFF2-40B4-BE49-F238E27FC236}">
                  <a16:creationId xmlns:a16="http://schemas.microsoft.com/office/drawing/2014/main" id="{51A7E109-18E7-BE43-8575-87337193C486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37" name="Группа 336">
            <a:extLst>
              <a:ext uri="{FF2B5EF4-FFF2-40B4-BE49-F238E27FC236}">
                <a16:creationId xmlns:a16="http://schemas.microsoft.com/office/drawing/2014/main" id="{AF536D7A-14AF-934A-B662-9D94FD9989F8}"/>
              </a:ext>
            </a:extLst>
          </p:cNvPr>
          <p:cNvGrpSpPr>
            <a:grpSpLocks noChangeAspect="1"/>
          </p:cNvGrpSpPr>
          <p:nvPr/>
        </p:nvGrpSpPr>
        <p:grpSpPr>
          <a:xfrm>
            <a:off x="8692737" y="2058707"/>
            <a:ext cx="396000" cy="396000"/>
            <a:chOff x="10390997" y="5660295"/>
            <a:chExt cx="360000" cy="360000"/>
          </a:xfrm>
        </p:grpSpPr>
        <p:grpSp>
          <p:nvGrpSpPr>
            <p:cNvPr id="338" name="Рисунок 21">
              <a:extLst>
                <a:ext uri="{FF2B5EF4-FFF2-40B4-BE49-F238E27FC236}">
                  <a16:creationId xmlns:a16="http://schemas.microsoft.com/office/drawing/2014/main" id="{ABEA608A-3299-2A4A-8DB6-0AA430A8C964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340" name="Полилиния 339">
                <a:extLst>
                  <a:ext uri="{FF2B5EF4-FFF2-40B4-BE49-F238E27FC236}">
                    <a16:creationId xmlns:a16="http://schemas.microsoft.com/office/drawing/2014/main" id="{FA6F85E6-EFE2-604C-83E7-2877AC15CAE9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1" name="Полилиния 340">
                <a:extLst>
                  <a:ext uri="{FF2B5EF4-FFF2-40B4-BE49-F238E27FC236}">
                    <a16:creationId xmlns:a16="http://schemas.microsoft.com/office/drawing/2014/main" id="{B85A6270-EC2D-6E4F-B091-1004CCF2A3E0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39" name="Полилиния 338">
              <a:extLst>
                <a:ext uri="{FF2B5EF4-FFF2-40B4-BE49-F238E27FC236}">
                  <a16:creationId xmlns:a16="http://schemas.microsoft.com/office/drawing/2014/main" id="{5B1851AB-BEDB-FE4A-BFF5-D60156EAC3A5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42" name="Группа 341">
            <a:extLst>
              <a:ext uri="{FF2B5EF4-FFF2-40B4-BE49-F238E27FC236}">
                <a16:creationId xmlns:a16="http://schemas.microsoft.com/office/drawing/2014/main" id="{6E55E97B-A118-DE42-995C-6828DB63AADA}"/>
              </a:ext>
            </a:extLst>
          </p:cNvPr>
          <p:cNvGrpSpPr>
            <a:grpSpLocks noChangeAspect="1"/>
          </p:cNvGrpSpPr>
          <p:nvPr/>
        </p:nvGrpSpPr>
        <p:grpSpPr>
          <a:xfrm>
            <a:off x="8692737" y="3684872"/>
            <a:ext cx="396000" cy="396000"/>
            <a:chOff x="10390997" y="5660295"/>
            <a:chExt cx="360000" cy="360000"/>
          </a:xfrm>
        </p:grpSpPr>
        <p:grpSp>
          <p:nvGrpSpPr>
            <p:cNvPr id="343" name="Рисунок 21">
              <a:extLst>
                <a:ext uri="{FF2B5EF4-FFF2-40B4-BE49-F238E27FC236}">
                  <a16:creationId xmlns:a16="http://schemas.microsoft.com/office/drawing/2014/main" id="{A794A742-82E7-9545-87E4-CED316AB0421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345" name="Полилиния 344">
                <a:extLst>
                  <a:ext uri="{FF2B5EF4-FFF2-40B4-BE49-F238E27FC236}">
                    <a16:creationId xmlns:a16="http://schemas.microsoft.com/office/drawing/2014/main" id="{7800C45B-A6A0-4849-BBBF-FD093BE7B761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6" name="Полилиния 345">
                <a:extLst>
                  <a:ext uri="{FF2B5EF4-FFF2-40B4-BE49-F238E27FC236}">
                    <a16:creationId xmlns:a16="http://schemas.microsoft.com/office/drawing/2014/main" id="{57F7664B-E88E-554A-BB7F-1329F607589F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44" name="Полилиния 343">
              <a:extLst>
                <a:ext uri="{FF2B5EF4-FFF2-40B4-BE49-F238E27FC236}">
                  <a16:creationId xmlns:a16="http://schemas.microsoft.com/office/drawing/2014/main" id="{E095FE87-F9B3-CA43-9D18-4DE988CDD92C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47" name="Группа 346">
            <a:extLst>
              <a:ext uri="{FF2B5EF4-FFF2-40B4-BE49-F238E27FC236}">
                <a16:creationId xmlns:a16="http://schemas.microsoft.com/office/drawing/2014/main" id="{BBBAD692-5636-614B-A5FB-12B4AF475E85}"/>
              </a:ext>
            </a:extLst>
          </p:cNvPr>
          <p:cNvGrpSpPr>
            <a:grpSpLocks noChangeAspect="1"/>
          </p:cNvGrpSpPr>
          <p:nvPr/>
        </p:nvGrpSpPr>
        <p:grpSpPr>
          <a:xfrm>
            <a:off x="8692737" y="3142817"/>
            <a:ext cx="396000" cy="396000"/>
            <a:chOff x="10390997" y="5660295"/>
            <a:chExt cx="360000" cy="360000"/>
          </a:xfrm>
        </p:grpSpPr>
        <p:grpSp>
          <p:nvGrpSpPr>
            <p:cNvPr id="348" name="Рисунок 21">
              <a:extLst>
                <a:ext uri="{FF2B5EF4-FFF2-40B4-BE49-F238E27FC236}">
                  <a16:creationId xmlns:a16="http://schemas.microsoft.com/office/drawing/2014/main" id="{C37702DF-532B-9648-BDE5-6E6AE94473CC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350" name="Полилиния 349">
                <a:extLst>
                  <a:ext uri="{FF2B5EF4-FFF2-40B4-BE49-F238E27FC236}">
                    <a16:creationId xmlns:a16="http://schemas.microsoft.com/office/drawing/2014/main" id="{C4CC574F-22F2-B441-8A36-24D45018EE36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1" name="Полилиния 350">
                <a:extLst>
                  <a:ext uri="{FF2B5EF4-FFF2-40B4-BE49-F238E27FC236}">
                    <a16:creationId xmlns:a16="http://schemas.microsoft.com/office/drawing/2014/main" id="{B8987920-B6F3-C645-9847-0AB595F167B5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49" name="Полилиния 348">
              <a:extLst>
                <a:ext uri="{FF2B5EF4-FFF2-40B4-BE49-F238E27FC236}">
                  <a16:creationId xmlns:a16="http://schemas.microsoft.com/office/drawing/2014/main" id="{01A3299A-0D52-044F-B079-1675F0BC9DFA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52" name="Группа 351">
            <a:extLst>
              <a:ext uri="{FF2B5EF4-FFF2-40B4-BE49-F238E27FC236}">
                <a16:creationId xmlns:a16="http://schemas.microsoft.com/office/drawing/2014/main" id="{9EF32C6F-0B0A-5B4F-BEB2-C0C1A83CD18E}"/>
              </a:ext>
            </a:extLst>
          </p:cNvPr>
          <p:cNvGrpSpPr>
            <a:grpSpLocks noChangeAspect="1"/>
          </p:cNvGrpSpPr>
          <p:nvPr/>
        </p:nvGrpSpPr>
        <p:grpSpPr>
          <a:xfrm>
            <a:off x="10531717" y="1516652"/>
            <a:ext cx="396000" cy="396000"/>
            <a:chOff x="10390997" y="5660295"/>
            <a:chExt cx="360000" cy="360000"/>
          </a:xfrm>
        </p:grpSpPr>
        <p:grpSp>
          <p:nvGrpSpPr>
            <p:cNvPr id="353" name="Рисунок 21">
              <a:extLst>
                <a:ext uri="{FF2B5EF4-FFF2-40B4-BE49-F238E27FC236}">
                  <a16:creationId xmlns:a16="http://schemas.microsoft.com/office/drawing/2014/main" id="{519D7696-3A8A-0E41-8A09-A535C2DC0642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355" name="Полилиния 354">
                <a:extLst>
                  <a:ext uri="{FF2B5EF4-FFF2-40B4-BE49-F238E27FC236}">
                    <a16:creationId xmlns:a16="http://schemas.microsoft.com/office/drawing/2014/main" id="{E65D4375-E2BF-3148-9707-CA5B7B8919E5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6" name="Полилиния 355">
                <a:extLst>
                  <a:ext uri="{FF2B5EF4-FFF2-40B4-BE49-F238E27FC236}">
                    <a16:creationId xmlns:a16="http://schemas.microsoft.com/office/drawing/2014/main" id="{1AC76A5A-1875-444D-8AC0-66014A6C665A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54" name="Полилиния 353">
              <a:extLst>
                <a:ext uri="{FF2B5EF4-FFF2-40B4-BE49-F238E27FC236}">
                  <a16:creationId xmlns:a16="http://schemas.microsoft.com/office/drawing/2014/main" id="{FC35136B-B958-E64C-865A-69F9DB09CB69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57" name="Группа 356">
            <a:extLst>
              <a:ext uri="{FF2B5EF4-FFF2-40B4-BE49-F238E27FC236}">
                <a16:creationId xmlns:a16="http://schemas.microsoft.com/office/drawing/2014/main" id="{31A97181-C96F-854D-BA55-E64C419989E6}"/>
              </a:ext>
            </a:extLst>
          </p:cNvPr>
          <p:cNvGrpSpPr>
            <a:grpSpLocks noChangeAspect="1"/>
          </p:cNvGrpSpPr>
          <p:nvPr/>
        </p:nvGrpSpPr>
        <p:grpSpPr>
          <a:xfrm>
            <a:off x="10531717" y="2058707"/>
            <a:ext cx="396000" cy="396000"/>
            <a:chOff x="10390997" y="5660295"/>
            <a:chExt cx="360000" cy="360000"/>
          </a:xfrm>
        </p:grpSpPr>
        <p:grpSp>
          <p:nvGrpSpPr>
            <p:cNvPr id="358" name="Рисунок 21">
              <a:extLst>
                <a:ext uri="{FF2B5EF4-FFF2-40B4-BE49-F238E27FC236}">
                  <a16:creationId xmlns:a16="http://schemas.microsoft.com/office/drawing/2014/main" id="{B94C59F0-6661-624D-BE19-5F66145A718F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360" name="Полилиния 359">
                <a:extLst>
                  <a:ext uri="{FF2B5EF4-FFF2-40B4-BE49-F238E27FC236}">
                    <a16:creationId xmlns:a16="http://schemas.microsoft.com/office/drawing/2014/main" id="{6CD39314-5B4D-9646-A51E-7329B4AFBA9E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1" name="Полилиния 360">
                <a:extLst>
                  <a:ext uri="{FF2B5EF4-FFF2-40B4-BE49-F238E27FC236}">
                    <a16:creationId xmlns:a16="http://schemas.microsoft.com/office/drawing/2014/main" id="{37CC7A72-7832-F644-B2FA-FAC8BF591103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59" name="Полилиния 358">
              <a:extLst>
                <a:ext uri="{FF2B5EF4-FFF2-40B4-BE49-F238E27FC236}">
                  <a16:creationId xmlns:a16="http://schemas.microsoft.com/office/drawing/2014/main" id="{C1AB5B5F-E662-4049-9EFD-683965DEA173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62" name="Группа 361">
            <a:extLst>
              <a:ext uri="{FF2B5EF4-FFF2-40B4-BE49-F238E27FC236}">
                <a16:creationId xmlns:a16="http://schemas.microsoft.com/office/drawing/2014/main" id="{444FAB06-5242-2A4D-BAE3-F7691086F0B2}"/>
              </a:ext>
            </a:extLst>
          </p:cNvPr>
          <p:cNvGrpSpPr>
            <a:grpSpLocks noChangeAspect="1"/>
          </p:cNvGrpSpPr>
          <p:nvPr/>
        </p:nvGrpSpPr>
        <p:grpSpPr>
          <a:xfrm>
            <a:off x="10531717" y="3684872"/>
            <a:ext cx="396000" cy="396000"/>
            <a:chOff x="10390997" y="5660295"/>
            <a:chExt cx="360000" cy="360000"/>
          </a:xfrm>
        </p:grpSpPr>
        <p:grpSp>
          <p:nvGrpSpPr>
            <p:cNvPr id="363" name="Рисунок 21">
              <a:extLst>
                <a:ext uri="{FF2B5EF4-FFF2-40B4-BE49-F238E27FC236}">
                  <a16:creationId xmlns:a16="http://schemas.microsoft.com/office/drawing/2014/main" id="{6A30BFE8-A5D4-2945-85AE-35C745E9BA7D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365" name="Полилиния 364">
                <a:extLst>
                  <a:ext uri="{FF2B5EF4-FFF2-40B4-BE49-F238E27FC236}">
                    <a16:creationId xmlns:a16="http://schemas.microsoft.com/office/drawing/2014/main" id="{B0DAB91B-397F-1D4D-BE01-2F2488CF6004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6" name="Полилиния 365">
                <a:extLst>
                  <a:ext uri="{FF2B5EF4-FFF2-40B4-BE49-F238E27FC236}">
                    <a16:creationId xmlns:a16="http://schemas.microsoft.com/office/drawing/2014/main" id="{405851DF-0C1B-2046-82FA-0865E12C04AE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64" name="Полилиния 363">
              <a:extLst>
                <a:ext uri="{FF2B5EF4-FFF2-40B4-BE49-F238E27FC236}">
                  <a16:creationId xmlns:a16="http://schemas.microsoft.com/office/drawing/2014/main" id="{CEBB8041-5C50-024E-8EE8-E8BBE226C4B6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67" name="Группа 366">
            <a:extLst>
              <a:ext uri="{FF2B5EF4-FFF2-40B4-BE49-F238E27FC236}">
                <a16:creationId xmlns:a16="http://schemas.microsoft.com/office/drawing/2014/main" id="{33AEE12E-55B4-744C-B23B-22DBD2A06E79}"/>
              </a:ext>
            </a:extLst>
          </p:cNvPr>
          <p:cNvGrpSpPr>
            <a:grpSpLocks noChangeAspect="1"/>
          </p:cNvGrpSpPr>
          <p:nvPr/>
        </p:nvGrpSpPr>
        <p:grpSpPr>
          <a:xfrm>
            <a:off x="10531717" y="3142817"/>
            <a:ext cx="396000" cy="396000"/>
            <a:chOff x="10390997" y="5660295"/>
            <a:chExt cx="360000" cy="360000"/>
          </a:xfrm>
        </p:grpSpPr>
        <p:grpSp>
          <p:nvGrpSpPr>
            <p:cNvPr id="368" name="Рисунок 21">
              <a:extLst>
                <a:ext uri="{FF2B5EF4-FFF2-40B4-BE49-F238E27FC236}">
                  <a16:creationId xmlns:a16="http://schemas.microsoft.com/office/drawing/2014/main" id="{8882192B-B627-1C40-B8B5-A3C932A0E24C}"/>
                </a:ext>
              </a:extLst>
            </p:cNvPr>
            <p:cNvGrpSpPr/>
            <p:nvPr/>
          </p:nvGrpSpPr>
          <p:grpSpPr>
            <a:xfrm>
              <a:off x="10390997" y="5660295"/>
              <a:ext cx="360000" cy="360000"/>
              <a:chOff x="9508495" y="5510083"/>
              <a:chExt cx="360000" cy="360000"/>
            </a:xfrm>
          </p:grpSpPr>
          <p:sp>
            <p:nvSpPr>
              <p:cNvPr id="370" name="Полилиния 369">
                <a:extLst>
                  <a:ext uri="{FF2B5EF4-FFF2-40B4-BE49-F238E27FC236}">
                    <a16:creationId xmlns:a16="http://schemas.microsoft.com/office/drawing/2014/main" id="{6159C0F9-D90E-644D-AEBA-9522FCD12059}"/>
                  </a:ext>
                </a:extLst>
              </p:cNvPr>
              <p:cNvSpPr/>
              <p:nvPr/>
            </p:nvSpPr>
            <p:spPr>
              <a:xfrm>
                <a:off x="9508495" y="55100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1" name="Полилиния 370">
                <a:extLst>
                  <a:ext uri="{FF2B5EF4-FFF2-40B4-BE49-F238E27FC236}">
                    <a16:creationId xmlns:a16="http://schemas.microsoft.com/office/drawing/2014/main" id="{0DA238B4-08D6-3149-9355-32B7C5120CAD}"/>
                  </a:ext>
                </a:extLst>
              </p:cNvPr>
              <p:cNvSpPr/>
              <p:nvPr/>
            </p:nvSpPr>
            <p:spPr>
              <a:xfrm>
                <a:off x="9553495" y="5555083"/>
                <a:ext cx="270000" cy="270000"/>
              </a:xfrm>
              <a:custGeom>
                <a:avLst/>
                <a:gdLst>
                  <a:gd name="connsiteX0" fmla="*/ 270000 w 270000"/>
                  <a:gd name="connsiteY0" fmla="*/ 135000 h 270000"/>
                  <a:gd name="connsiteX1" fmla="*/ 135000 w 270000"/>
                  <a:gd name="connsiteY1" fmla="*/ 270000 h 270000"/>
                  <a:gd name="connsiteX2" fmla="*/ 0 w 270000"/>
                  <a:gd name="connsiteY2" fmla="*/ 135000 h 270000"/>
                  <a:gd name="connsiteX3" fmla="*/ 135000 w 270000"/>
                  <a:gd name="connsiteY3" fmla="*/ 0 h 270000"/>
                  <a:gd name="connsiteX4" fmla="*/ 270000 w 270000"/>
                  <a:gd name="connsiteY4" fmla="*/ 135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0000">
                    <a:moveTo>
                      <a:pt x="270000" y="135000"/>
                    </a:moveTo>
                    <a:cubicBezTo>
                      <a:pt x="270000" y="209558"/>
                      <a:pt x="209558" y="270000"/>
                      <a:pt x="135000" y="270000"/>
                    </a:cubicBezTo>
                    <a:cubicBezTo>
                      <a:pt x="60442" y="270000"/>
                      <a:pt x="0" y="209558"/>
                      <a:pt x="0" y="135000"/>
                    </a:cubicBezTo>
                    <a:cubicBezTo>
                      <a:pt x="0" y="60442"/>
                      <a:pt x="60442" y="0"/>
                      <a:pt x="135000" y="0"/>
                    </a:cubicBezTo>
                    <a:cubicBezTo>
                      <a:pt x="209558" y="0"/>
                      <a:pt x="270000" y="60442"/>
                      <a:pt x="270000" y="135000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69" name="Полилиния 368">
              <a:extLst>
                <a:ext uri="{FF2B5EF4-FFF2-40B4-BE49-F238E27FC236}">
                  <a16:creationId xmlns:a16="http://schemas.microsoft.com/office/drawing/2014/main" id="{A5A4C16D-4C7E-6C42-9986-1D0D4A62AD7F}"/>
                </a:ext>
              </a:extLst>
            </p:cNvPr>
            <p:cNvSpPr/>
            <p:nvPr/>
          </p:nvSpPr>
          <p:spPr>
            <a:xfrm rot="10800000">
              <a:off x="10513430" y="5794241"/>
              <a:ext cx="115134" cy="92108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72" name="Номер слайда 1">
            <a:extLst>
              <a:ext uri="{FF2B5EF4-FFF2-40B4-BE49-F238E27FC236}">
                <a16:creationId xmlns:a16="http://schemas.microsoft.com/office/drawing/2014/main" id="{4697D0AA-8C53-B24C-9DCD-692CA036C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21756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B9C0CFD-48A3-9940-9807-C84BFA489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5AD32895-1112-6647-A314-1F2D48D6D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ыводы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687E7E9D-4762-E548-9234-6B869C1EDA49}"/>
              </a:ext>
            </a:extLst>
          </p:cNvPr>
          <p:cNvCxnSpPr>
            <a:cxnSpLocks/>
          </p:cNvCxnSpPr>
          <p:nvPr/>
        </p:nvCxnSpPr>
        <p:spPr>
          <a:xfrm>
            <a:off x="3154318" y="6308725"/>
            <a:ext cx="7868792" cy="0"/>
          </a:xfrm>
          <a:prstGeom prst="line">
            <a:avLst/>
          </a:prstGeom>
          <a:ln>
            <a:gradFill>
              <a:gsLst>
                <a:gs pos="2000">
                  <a:schemeClr val="accent1">
                    <a:alpha val="0"/>
                  </a:schemeClr>
                </a:gs>
                <a:gs pos="31000">
                  <a:schemeClr val="accent1">
                    <a:alpha val="45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F3DA7E75-EDB6-C64C-BD23-9D406D1354A3}"/>
              </a:ext>
            </a:extLst>
          </p:cNvPr>
          <p:cNvCxnSpPr>
            <a:cxnSpLocks/>
          </p:cNvCxnSpPr>
          <p:nvPr/>
        </p:nvCxnSpPr>
        <p:spPr>
          <a:xfrm>
            <a:off x="3243937" y="1070138"/>
            <a:ext cx="8136256" cy="0"/>
          </a:xfrm>
          <a:prstGeom prst="line">
            <a:avLst/>
          </a:prstGeom>
          <a:ln>
            <a:gradFill>
              <a:gsLst>
                <a:gs pos="2000">
                  <a:schemeClr val="accent1">
                    <a:alpha val="0"/>
                  </a:schemeClr>
                </a:gs>
                <a:gs pos="31000">
                  <a:schemeClr val="accent1">
                    <a:alpha val="45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130C1B02-C7CF-F743-AB97-55C4592096F9}"/>
              </a:ext>
            </a:extLst>
          </p:cNvPr>
          <p:cNvGrpSpPr/>
          <p:nvPr/>
        </p:nvGrpSpPr>
        <p:grpSpPr>
          <a:xfrm>
            <a:off x="-97295" y="2106244"/>
            <a:ext cx="11738431" cy="3151860"/>
            <a:chOff x="-97294" y="2106244"/>
            <a:chExt cx="11096814" cy="3151860"/>
          </a:xfrm>
        </p:grpSpPr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id="{B902C94C-93C4-2F4B-8AAB-7D85D8590DFF}"/>
                </a:ext>
              </a:extLst>
            </p:cNvPr>
            <p:cNvCxnSpPr/>
            <p:nvPr/>
          </p:nvCxnSpPr>
          <p:spPr>
            <a:xfrm>
              <a:off x="-97294" y="2106244"/>
              <a:ext cx="11096814" cy="0"/>
            </a:xfrm>
            <a:prstGeom prst="line">
              <a:avLst/>
            </a:prstGeom>
            <a:ln>
              <a:gradFill>
                <a:gsLst>
                  <a:gs pos="0">
                    <a:schemeClr val="bg1">
                      <a:alpha val="0"/>
                    </a:schemeClr>
                  </a:gs>
                  <a:gs pos="8000">
                    <a:schemeClr val="bg1"/>
                  </a:gs>
                  <a:gs pos="27000">
                    <a:schemeClr val="bg1"/>
                  </a:gs>
                  <a:gs pos="62000">
                    <a:schemeClr val="accent1">
                      <a:alpha val="60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7CCCEAF8-B8E0-CE4B-8943-3F0E738FE2CD}"/>
                </a:ext>
              </a:extLst>
            </p:cNvPr>
            <p:cNvCxnSpPr/>
            <p:nvPr/>
          </p:nvCxnSpPr>
          <p:spPr>
            <a:xfrm>
              <a:off x="-97294" y="3156864"/>
              <a:ext cx="11096814" cy="0"/>
            </a:xfrm>
            <a:prstGeom prst="line">
              <a:avLst/>
            </a:prstGeom>
            <a:ln>
              <a:gradFill>
                <a:gsLst>
                  <a:gs pos="0">
                    <a:schemeClr val="bg1">
                      <a:alpha val="0"/>
                    </a:schemeClr>
                  </a:gs>
                  <a:gs pos="8000">
                    <a:schemeClr val="bg1"/>
                  </a:gs>
                  <a:gs pos="27000">
                    <a:schemeClr val="bg1"/>
                  </a:gs>
                  <a:gs pos="62000">
                    <a:schemeClr val="accent1">
                      <a:alpha val="60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9E4405FF-9EF5-0A43-B3E2-92AD7F3BCAF8}"/>
                </a:ext>
              </a:extLst>
            </p:cNvPr>
            <p:cNvCxnSpPr/>
            <p:nvPr/>
          </p:nvCxnSpPr>
          <p:spPr>
            <a:xfrm>
              <a:off x="-97294" y="4207484"/>
              <a:ext cx="11096814" cy="0"/>
            </a:xfrm>
            <a:prstGeom prst="line">
              <a:avLst/>
            </a:prstGeom>
            <a:ln>
              <a:gradFill>
                <a:gsLst>
                  <a:gs pos="0">
                    <a:schemeClr val="bg1">
                      <a:alpha val="0"/>
                    </a:schemeClr>
                  </a:gs>
                  <a:gs pos="8000">
                    <a:schemeClr val="bg1"/>
                  </a:gs>
                  <a:gs pos="27000">
                    <a:schemeClr val="bg1"/>
                  </a:gs>
                  <a:gs pos="62000">
                    <a:schemeClr val="accent1">
                      <a:alpha val="60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8F7BC771-9AC0-F644-8022-1FDF5BE9E366}"/>
                </a:ext>
              </a:extLst>
            </p:cNvPr>
            <p:cNvCxnSpPr/>
            <p:nvPr/>
          </p:nvCxnSpPr>
          <p:spPr>
            <a:xfrm>
              <a:off x="-97294" y="5258104"/>
              <a:ext cx="11096814" cy="0"/>
            </a:xfrm>
            <a:prstGeom prst="line">
              <a:avLst/>
            </a:prstGeom>
            <a:ln>
              <a:gradFill>
                <a:gsLst>
                  <a:gs pos="0">
                    <a:schemeClr val="bg1">
                      <a:alpha val="0"/>
                    </a:schemeClr>
                  </a:gs>
                  <a:gs pos="8000">
                    <a:schemeClr val="bg1"/>
                  </a:gs>
                  <a:gs pos="27000">
                    <a:schemeClr val="bg1"/>
                  </a:gs>
                  <a:gs pos="62000">
                    <a:schemeClr val="accent1">
                      <a:alpha val="60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9439F5A-1219-F54B-8B6E-8E6A6CB0F682}"/>
              </a:ext>
            </a:extLst>
          </p:cNvPr>
          <p:cNvSpPr txBox="1"/>
          <p:nvPr/>
        </p:nvSpPr>
        <p:spPr>
          <a:xfrm>
            <a:off x="1122351" y="1292614"/>
            <a:ext cx="1898918" cy="61555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lvl="0"/>
            <a:r>
              <a:rPr lang="en-US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Hyper </a:t>
            </a:r>
            <a:br>
              <a:rPr lang="ru-RU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</a:br>
            <a:r>
              <a:rPr lang="en-US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Personalization</a:t>
            </a:r>
            <a:endParaRPr lang="ru-RU" sz="2000" b="1" dirty="0">
              <a:solidFill>
                <a:schemeClr val="bg1"/>
              </a:solidFill>
              <a:latin typeface="SB Sans Display Semibold" panose="020B0503040504020204" pitchFamily="34" charset="0"/>
              <a:cs typeface="SB Sans Display Semibold" panose="020B0503040504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881FB6-08A5-0D40-BB88-EE2FC183C74C}"/>
              </a:ext>
            </a:extLst>
          </p:cNvPr>
          <p:cNvSpPr txBox="1"/>
          <p:nvPr/>
        </p:nvSpPr>
        <p:spPr>
          <a:xfrm>
            <a:off x="1122351" y="2343233"/>
            <a:ext cx="1317668" cy="61555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lvl="0"/>
            <a:r>
              <a:rPr lang="en-US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All-in-one </a:t>
            </a:r>
            <a:br>
              <a:rPr lang="ru-RU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</a:br>
            <a:r>
              <a:rPr lang="en-US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Solution</a:t>
            </a:r>
            <a:endParaRPr lang="ru-RU" sz="2000" b="1" dirty="0">
              <a:solidFill>
                <a:schemeClr val="bg1"/>
              </a:solidFill>
              <a:latin typeface="SB Sans Display Semibold" panose="020B0503040504020204" pitchFamily="34" charset="0"/>
              <a:cs typeface="SB Sans Display Semibold" panose="020B0503040504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07DBE0C-F538-D840-8457-91F3E2003928}"/>
              </a:ext>
            </a:extLst>
          </p:cNvPr>
          <p:cNvSpPr txBox="1"/>
          <p:nvPr/>
        </p:nvSpPr>
        <p:spPr>
          <a:xfrm>
            <a:off x="1122351" y="3390373"/>
            <a:ext cx="1168077" cy="61555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lvl="0"/>
            <a:r>
              <a:rPr lang="en-US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Junior </a:t>
            </a:r>
            <a:br>
              <a:rPr lang="en-US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</a:br>
            <a:r>
              <a:rPr lang="en-US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Programs</a:t>
            </a:r>
            <a:endParaRPr lang="ru-RU" sz="2000" b="1" dirty="0">
              <a:solidFill>
                <a:schemeClr val="bg1"/>
              </a:solidFill>
              <a:latin typeface="SB Sans Display Semibold" panose="020B0503040504020204" pitchFamily="34" charset="0"/>
              <a:cs typeface="SB Sans Display Semibold" panose="020B050304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32CBCB-9285-6546-A8F1-FDB728EDD98E}"/>
              </a:ext>
            </a:extLst>
          </p:cNvPr>
          <p:cNvSpPr txBox="1"/>
          <p:nvPr/>
        </p:nvSpPr>
        <p:spPr>
          <a:xfrm>
            <a:off x="1122351" y="4473469"/>
            <a:ext cx="997068" cy="61555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lvl="0"/>
            <a:r>
              <a:rPr lang="en-US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Green </a:t>
            </a:r>
            <a:br>
              <a:rPr lang="en-US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</a:br>
            <a:r>
              <a:rPr lang="en-US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Banking</a:t>
            </a:r>
            <a:endParaRPr lang="ru-RU" sz="2000" b="1" dirty="0">
              <a:solidFill>
                <a:schemeClr val="bg1"/>
              </a:solidFill>
              <a:latin typeface="SB Sans Display Semibold" panose="020B0503040504020204" pitchFamily="34" charset="0"/>
              <a:cs typeface="SB Sans Display Semibold" panose="020B0503040504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A133256-5722-D843-96AF-EEAEEE012966}"/>
              </a:ext>
            </a:extLst>
          </p:cNvPr>
          <p:cNvSpPr txBox="1"/>
          <p:nvPr/>
        </p:nvSpPr>
        <p:spPr>
          <a:xfrm>
            <a:off x="1122351" y="5495094"/>
            <a:ext cx="2031967" cy="61555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lvl="0"/>
            <a:r>
              <a:rPr lang="en-US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Smart Analytics </a:t>
            </a:r>
            <a:br>
              <a:rPr lang="ru-RU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</a:br>
            <a:r>
              <a:rPr lang="en-US" sz="20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and Reporting</a:t>
            </a:r>
            <a:endParaRPr lang="ru-RU" sz="2000" b="1" dirty="0">
              <a:solidFill>
                <a:schemeClr val="bg1"/>
              </a:solidFill>
              <a:latin typeface="SB Sans Display Semibold" panose="020B0503040504020204" pitchFamily="34" charset="0"/>
              <a:cs typeface="SB Sans Display Semibold" panose="020B0503040504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E8949F-35C5-5048-BC05-A9827E7D5650}"/>
              </a:ext>
            </a:extLst>
          </p:cNvPr>
          <p:cNvSpPr txBox="1"/>
          <p:nvPr/>
        </p:nvSpPr>
        <p:spPr>
          <a:xfrm>
            <a:off x="7179862" y="720447"/>
            <a:ext cx="913712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lvl="0"/>
            <a:r>
              <a:rPr lang="ru-RU" sz="1600" b="1" dirty="0"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Функции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3D20C8-2194-CC47-B2C4-1B1A71015703}"/>
              </a:ext>
            </a:extLst>
          </p:cNvPr>
          <p:cNvSpPr txBox="1"/>
          <p:nvPr/>
        </p:nvSpPr>
        <p:spPr>
          <a:xfrm>
            <a:off x="7179862" y="1164746"/>
            <a:ext cx="4336583" cy="8720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Включение классических банковских услуг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одключение  аккаунтов сторонних банков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Встроенные услуги (</a:t>
            </a:r>
            <a:r>
              <a:rPr lang="ru-RU" sz="1000" dirty="0" err="1">
                <a:solidFill>
                  <a:schemeClr val="tx2"/>
                </a:solidFill>
              </a:rPr>
              <a:t>напр.,страхование</a:t>
            </a:r>
            <a:r>
              <a:rPr lang="ru-RU" sz="1000" dirty="0">
                <a:solidFill>
                  <a:schemeClr val="tx2"/>
                </a:solidFill>
              </a:rPr>
              <a:t>)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родвинутые инструменты аналитики бюджета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рограмма для подростков и др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7C42E4-4D50-534C-9586-AE132170CB28}"/>
              </a:ext>
            </a:extLst>
          </p:cNvPr>
          <p:cNvSpPr txBox="1"/>
          <p:nvPr/>
        </p:nvSpPr>
        <p:spPr>
          <a:xfrm>
            <a:off x="7179862" y="2303954"/>
            <a:ext cx="4295017" cy="666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Дорожная карта финансов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ерсональный финансовый тренер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Индивидуальные финансовые консультации </a:t>
            </a:r>
            <a:br>
              <a:rPr lang="ru-RU" sz="1000" dirty="0">
                <a:solidFill>
                  <a:schemeClr val="tx2"/>
                </a:solidFill>
              </a:rPr>
            </a:br>
            <a:r>
              <a:rPr lang="ru-RU" sz="1000" dirty="0">
                <a:solidFill>
                  <a:schemeClr val="tx2"/>
                </a:solidFill>
              </a:rPr>
              <a:t>на основе расходов пользователя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A1212-E091-F140-B549-CBD917A22741}"/>
              </a:ext>
            </a:extLst>
          </p:cNvPr>
          <p:cNvSpPr txBox="1"/>
          <p:nvPr/>
        </p:nvSpPr>
        <p:spPr>
          <a:xfrm>
            <a:off x="7179862" y="3274853"/>
            <a:ext cx="4343124" cy="8720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Включение классических банковских услуг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одключение  аккаунтов сторонних банков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Встроенные услуги (</a:t>
            </a:r>
            <a:r>
              <a:rPr lang="ru-RU" sz="1000" dirty="0" err="1">
                <a:solidFill>
                  <a:schemeClr val="tx2"/>
                </a:solidFill>
              </a:rPr>
              <a:t>напр.,страхование</a:t>
            </a:r>
            <a:r>
              <a:rPr lang="ru-RU" sz="1000" dirty="0">
                <a:solidFill>
                  <a:schemeClr val="tx2"/>
                </a:solidFill>
              </a:rPr>
              <a:t>)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родвинутые инструменты аналитики бюджета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рограмма для подростков и др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D8AC69F-C494-E74B-BC66-8A3F36DB5C0C}"/>
              </a:ext>
            </a:extLst>
          </p:cNvPr>
          <p:cNvSpPr txBox="1"/>
          <p:nvPr/>
        </p:nvSpPr>
        <p:spPr>
          <a:xfrm>
            <a:off x="7179862" y="4422173"/>
            <a:ext cx="4343124" cy="666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Дорожная карта финансов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ерсональный финансовый тренер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Индивидуальные финансовые консультации </a:t>
            </a:r>
            <a:br>
              <a:rPr lang="ru-RU" sz="1000" dirty="0">
                <a:solidFill>
                  <a:schemeClr val="tx2"/>
                </a:solidFill>
              </a:rPr>
            </a:br>
            <a:r>
              <a:rPr lang="ru-RU" sz="1000" dirty="0">
                <a:solidFill>
                  <a:schemeClr val="tx2"/>
                </a:solidFill>
              </a:rPr>
              <a:t>на основе расходов пользователя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AD416E0-9D09-484E-9E15-235A8908AB45}"/>
              </a:ext>
            </a:extLst>
          </p:cNvPr>
          <p:cNvSpPr txBox="1"/>
          <p:nvPr/>
        </p:nvSpPr>
        <p:spPr>
          <a:xfrm>
            <a:off x="7179862" y="5376093"/>
            <a:ext cx="4343124" cy="8720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Включение классических банковских услуг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одключение  аккаунтов сторонних банков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Встроенные услуги (</a:t>
            </a:r>
            <a:r>
              <a:rPr lang="ru-RU" sz="1000" dirty="0" err="1">
                <a:solidFill>
                  <a:schemeClr val="tx2"/>
                </a:solidFill>
              </a:rPr>
              <a:t>напр.,страхование</a:t>
            </a:r>
            <a:r>
              <a:rPr lang="ru-RU" sz="1000" dirty="0">
                <a:solidFill>
                  <a:schemeClr val="tx2"/>
                </a:solidFill>
              </a:rPr>
              <a:t>)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родвинутые инструменты аналитики бюджета</a:t>
            </a:r>
          </a:p>
          <a:p>
            <a:pPr marL="136800" indent="-136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рограмма для подростков и др.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8CE21A24-AE63-F041-94CC-85B3E96E79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451" y="1069000"/>
            <a:ext cx="1519523" cy="1013015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0B0B2B90-CAAC-9A41-86BC-6F878DC906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374" y="1163608"/>
            <a:ext cx="1167572" cy="358328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B8BEF104-AA43-8B4D-8BA6-BD1CC2456C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2053" y="1598757"/>
            <a:ext cx="987893" cy="282476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9C30FC62-7D17-194A-8FEB-118C3ED5D4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451" y="2155753"/>
            <a:ext cx="1519523" cy="1013015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529673C0-E78C-9C41-A54C-8D633ADBA6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374" y="2250361"/>
            <a:ext cx="1167572" cy="358328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44CE12FA-E24F-CF44-BF08-C05DC8D352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2053" y="2685510"/>
            <a:ext cx="987893" cy="282476"/>
          </a:xfrm>
          <a:prstGeom prst="rect">
            <a:avLst/>
          </a:prstGeom>
        </p:spPr>
      </p:pic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6E4BE298-8E49-B44B-B78A-64DA9BFA9297}"/>
              </a:ext>
            </a:extLst>
          </p:cNvPr>
          <p:cNvCxnSpPr/>
          <p:nvPr/>
        </p:nvCxnSpPr>
        <p:spPr>
          <a:xfrm>
            <a:off x="6954982" y="897393"/>
            <a:ext cx="0" cy="5543615"/>
          </a:xfrm>
          <a:prstGeom prst="line">
            <a:avLst/>
          </a:prstGeom>
          <a:ln w="165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941FD2F3-55F9-E140-98CE-3A0D67FFA3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451" y="3242251"/>
            <a:ext cx="1519523" cy="1013015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B406E180-6635-DE42-946B-1BADFF7D9D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374" y="3336859"/>
            <a:ext cx="1167572" cy="358328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9A11B228-31E3-5A4E-BE31-C968AE8A52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2053" y="3772008"/>
            <a:ext cx="987893" cy="282476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B653DA65-31C9-764D-96CF-8411016861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451" y="4250229"/>
            <a:ext cx="1519523" cy="1013015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9FCD4ED5-5BD7-D04B-9C29-D802B4F94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9314" y="4344837"/>
            <a:ext cx="1167572" cy="358328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2520070B-3356-4C46-9A3D-65B4D8C8E7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8993" y="4779986"/>
            <a:ext cx="987893" cy="282476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6F04C9A1-D815-4841-B851-3D0CE4D69A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451" y="5319054"/>
            <a:ext cx="1519523" cy="1013015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FF3855EA-2136-C94F-B8FA-F680A0C4E4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374" y="5413662"/>
            <a:ext cx="1167572" cy="358328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0751029B-A8E5-E845-9769-0A0148D24C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2053" y="5848811"/>
            <a:ext cx="987893" cy="282476"/>
          </a:xfrm>
          <a:prstGeom prst="rect">
            <a:avLst/>
          </a:prstGeom>
        </p:spPr>
      </p:pic>
      <p:grpSp>
        <p:nvGrpSpPr>
          <p:cNvPr id="38" name="Рисунок 255">
            <a:extLst>
              <a:ext uri="{FF2B5EF4-FFF2-40B4-BE49-F238E27FC236}">
                <a16:creationId xmlns:a16="http://schemas.microsoft.com/office/drawing/2014/main" id="{06F04E98-AF0B-C44D-B81D-355CB66A91DF}"/>
              </a:ext>
            </a:extLst>
          </p:cNvPr>
          <p:cNvGrpSpPr>
            <a:grpSpLocks noChangeAspect="1"/>
          </p:cNvGrpSpPr>
          <p:nvPr/>
        </p:nvGrpSpPr>
        <p:grpSpPr>
          <a:xfrm>
            <a:off x="507372" y="1323004"/>
            <a:ext cx="504000" cy="504000"/>
            <a:chOff x="3715855" y="5451199"/>
            <a:chExt cx="360000" cy="360000"/>
          </a:xfrm>
        </p:grpSpPr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B79AFB5F-6EF8-EA47-AA77-3C6A4312AB28}"/>
                </a:ext>
              </a:extLst>
            </p:cNvPr>
            <p:cNvSpPr/>
            <p:nvPr/>
          </p:nvSpPr>
          <p:spPr>
            <a:xfrm>
              <a:off x="3715856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F0442DA5-950A-5140-8F27-8213D96F1394}"/>
                </a:ext>
              </a:extLst>
            </p:cNvPr>
            <p:cNvSpPr/>
            <p:nvPr/>
          </p:nvSpPr>
          <p:spPr>
            <a:xfrm>
              <a:off x="3790856" y="5496199"/>
              <a:ext cx="240000" cy="165000"/>
            </a:xfrm>
            <a:custGeom>
              <a:avLst/>
              <a:gdLst>
                <a:gd name="connsiteX0" fmla="*/ 195000 w 240000"/>
                <a:gd name="connsiteY0" fmla="*/ 165000 h 165000"/>
                <a:gd name="connsiteX1" fmla="*/ 150000 w 240000"/>
                <a:gd name="connsiteY1" fmla="*/ 120000 h 165000"/>
                <a:gd name="connsiteX2" fmla="*/ 195000 w 240000"/>
                <a:gd name="connsiteY2" fmla="*/ 75000 h 165000"/>
                <a:gd name="connsiteX3" fmla="*/ 240000 w 240000"/>
                <a:gd name="connsiteY3" fmla="*/ 120000 h 165000"/>
                <a:gd name="connsiteX4" fmla="*/ 195000 w 240000"/>
                <a:gd name="connsiteY4" fmla="*/ 165000 h 165000"/>
                <a:gd name="connsiteX5" fmla="*/ 60000 w 240000"/>
                <a:gd name="connsiteY5" fmla="*/ 120000 h 165000"/>
                <a:gd name="connsiteX6" fmla="*/ 0 w 240000"/>
                <a:gd name="connsiteY6" fmla="*/ 60000 h 165000"/>
                <a:gd name="connsiteX7" fmla="*/ 60000 w 240000"/>
                <a:gd name="connsiteY7" fmla="*/ 0 h 165000"/>
                <a:gd name="connsiteX8" fmla="*/ 120000 w 240000"/>
                <a:gd name="connsiteY8" fmla="*/ 60000 h 165000"/>
                <a:gd name="connsiteX9" fmla="*/ 60000 w 240000"/>
                <a:gd name="connsiteY9" fmla="*/ 120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0000" h="165000">
                  <a:moveTo>
                    <a:pt x="195000" y="165000"/>
                  </a:moveTo>
                  <a:cubicBezTo>
                    <a:pt x="170147" y="165000"/>
                    <a:pt x="150000" y="144854"/>
                    <a:pt x="150000" y="120000"/>
                  </a:cubicBezTo>
                  <a:cubicBezTo>
                    <a:pt x="150000" y="95147"/>
                    <a:pt x="170147" y="75000"/>
                    <a:pt x="195000" y="75000"/>
                  </a:cubicBezTo>
                  <a:cubicBezTo>
                    <a:pt x="219854" y="75000"/>
                    <a:pt x="240000" y="95147"/>
                    <a:pt x="240000" y="120000"/>
                  </a:cubicBezTo>
                  <a:cubicBezTo>
                    <a:pt x="240000" y="144854"/>
                    <a:pt x="219854" y="165000"/>
                    <a:pt x="195000" y="165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D463263D-3963-614F-9488-F6ED20DBEE13}"/>
                </a:ext>
              </a:extLst>
            </p:cNvPr>
            <p:cNvSpPr/>
            <p:nvPr/>
          </p:nvSpPr>
          <p:spPr>
            <a:xfrm>
              <a:off x="3715855" y="5646199"/>
              <a:ext cx="359999" cy="120000"/>
            </a:xfrm>
            <a:custGeom>
              <a:avLst/>
              <a:gdLst>
                <a:gd name="connsiteX0" fmla="*/ 264018 w 359999"/>
                <a:gd name="connsiteY0" fmla="*/ 30009 h 120000"/>
                <a:gd name="connsiteX1" fmla="*/ 359978 w 359999"/>
                <a:gd name="connsiteY1" fmla="*/ 111000 h 120000"/>
                <a:gd name="connsiteX2" fmla="*/ 351839 w 359999"/>
                <a:gd name="connsiteY2" fmla="*/ 120000 h 120000"/>
                <a:gd name="connsiteX3" fmla="*/ 294000 w 359999"/>
                <a:gd name="connsiteY3" fmla="*/ 120000 h 120000"/>
                <a:gd name="connsiteX4" fmla="*/ 264018 w 359999"/>
                <a:gd name="connsiteY4" fmla="*/ 30009 h 120000"/>
                <a:gd name="connsiteX5" fmla="*/ 10 w 359999"/>
                <a:gd name="connsiteY5" fmla="*/ 107988 h 120000"/>
                <a:gd name="connsiteX6" fmla="*/ 134750 w 359999"/>
                <a:gd name="connsiteY6" fmla="*/ 0 h 120000"/>
                <a:gd name="connsiteX7" fmla="*/ 269969 w 359999"/>
                <a:gd name="connsiteY7" fmla="*/ 108000 h 120000"/>
                <a:gd name="connsiteX8" fmla="*/ 258701 w 359999"/>
                <a:gd name="connsiteY8" fmla="*/ 120000 h 120000"/>
                <a:gd name="connsiteX9" fmla="*/ 10913 w 359999"/>
                <a:gd name="connsiteY9" fmla="*/ 120000 h 120000"/>
                <a:gd name="connsiteX10" fmla="*/ 10 w 359999"/>
                <a:gd name="connsiteY10" fmla="*/ 107988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9999" h="120000">
                  <a:moveTo>
                    <a:pt x="264018" y="30009"/>
                  </a:moveTo>
                  <a:cubicBezTo>
                    <a:pt x="315116" y="30569"/>
                    <a:pt x="356838" y="56401"/>
                    <a:pt x="359978" y="111000"/>
                  </a:cubicBezTo>
                  <a:cubicBezTo>
                    <a:pt x="360104" y="113199"/>
                    <a:pt x="359978" y="120000"/>
                    <a:pt x="351839" y="120000"/>
                  </a:cubicBezTo>
                  <a:lnTo>
                    <a:pt x="294000" y="120000"/>
                  </a:lnTo>
                  <a:cubicBezTo>
                    <a:pt x="294000" y="86236"/>
                    <a:pt x="282845" y="55077"/>
                    <a:pt x="264018" y="30009"/>
                  </a:cubicBezTo>
                  <a:close/>
                  <a:moveTo>
                    <a:pt x="10" y="107988"/>
                  </a:moveTo>
                  <a:cubicBezTo>
                    <a:pt x="5824" y="36398"/>
                    <a:pt x="63929" y="0"/>
                    <a:pt x="134750" y="0"/>
                  </a:cubicBezTo>
                  <a:cubicBezTo>
                    <a:pt x="206568" y="0"/>
                    <a:pt x="265574" y="34398"/>
                    <a:pt x="269969" y="108000"/>
                  </a:cubicBezTo>
                  <a:cubicBezTo>
                    <a:pt x="270144" y="110933"/>
                    <a:pt x="269969" y="120000"/>
                    <a:pt x="258701" y="120000"/>
                  </a:cubicBezTo>
                  <a:cubicBezTo>
                    <a:pt x="203117" y="120000"/>
                    <a:pt x="120521" y="120000"/>
                    <a:pt x="10913" y="120000"/>
                  </a:cubicBezTo>
                  <a:cubicBezTo>
                    <a:pt x="7151" y="120000"/>
                    <a:pt x="-307" y="111888"/>
                    <a:pt x="10" y="107988"/>
                  </a:cubicBezTo>
                  <a:close/>
                </a:path>
              </a:pathLst>
            </a:custGeom>
            <a:solidFill>
              <a:schemeClr val="bg1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2" name="Рисунок 251">
            <a:extLst>
              <a:ext uri="{FF2B5EF4-FFF2-40B4-BE49-F238E27FC236}">
                <a16:creationId xmlns:a16="http://schemas.microsoft.com/office/drawing/2014/main" id="{6A719EA0-4C8A-5847-8D11-0EBB1C483CD9}"/>
              </a:ext>
            </a:extLst>
          </p:cNvPr>
          <p:cNvGrpSpPr>
            <a:grpSpLocks noChangeAspect="1"/>
          </p:cNvGrpSpPr>
          <p:nvPr/>
        </p:nvGrpSpPr>
        <p:grpSpPr>
          <a:xfrm>
            <a:off x="507372" y="2348670"/>
            <a:ext cx="504000" cy="504000"/>
            <a:chOff x="5981255" y="5451199"/>
            <a:chExt cx="360000" cy="360000"/>
          </a:xfrm>
        </p:grpSpPr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22C7B0DE-FC1D-9840-99AE-6F890C741B4B}"/>
                </a:ext>
              </a:extLst>
            </p:cNvPr>
            <p:cNvSpPr/>
            <p:nvPr/>
          </p:nvSpPr>
          <p:spPr>
            <a:xfrm>
              <a:off x="5981255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8D359B23-D3D8-F44C-9506-1687AFB1F6F6}"/>
                </a:ext>
              </a:extLst>
            </p:cNvPr>
            <p:cNvSpPr/>
            <p:nvPr/>
          </p:nvSpPr>
          <p:spPr>
            <a:xfrm>
              <a:off x="6056255" y="5571199"/>
              <a:ext cx="210000" cy="120000"/>
            </a:xfrm>
            <a:custGeom>
              <a:avLst/>
              <a:gdLst>
                <a:gd name="connsiteX0" fmla="*/ 30000 w 210000"/>
                <a:gd name="connsiteY0" fmla="*/ 45000 h 120000"/>
                <a:gd name="connsiteX1" fmla="*/ 150000 w 210000"/>
                <a:gd name="connsiteY1" fmla="*/ 45000 h 120000"/>
                <a:gd name="connsiteX2" fmla="*/ 180000 w 210000"/>
                <a:gd name="connsiteY2" fmla="*/ 15000 h 120000"/>
                <a:gd name="connsiteX3" fmla="*/ 180000 w 210000"/>
                <a:gd name="connsiteY3" fmla="*/ 0 h 120000"/>
                <a:gd name="connsiteX4" fmla="*/ 210000 w 210000"/>
                <a:gd name="connsiteY4" fmla="*/ 0 h 120000"/>
                <a:gd name="connsiteX5" fmla="*/ 210000 w 210000"/>
                <a:gd name="connsiteY5" fmla="*/ 15000 h 120000"/>
                <a:gd name="connsiteX6" fmla="*/ 150000 w 210000"/>
                <a:gd name="connsiteY6" fmla="*/ 75000 h 120000"/>
                <a:gd name="connsiteX7" fmla="*/ 30000 w 210000"/>
                <a:gd name="connsiteY7" fmla="*/ 75000 h 120000"/>
                <a:gd name="connsiteX8" fmla="*/ 30000 w 210000"/>
                <a:gd name="connsiteY8" fmla="*/ 105000 h 120000"/>
                <a:gd name="connsiteX9" fmla="*/ 15000 w 210000"/>
                <a:gd name="connsiteY9" fmla="*/ 120000 h 120000"/>
                <a:gd name="connsiteX10" fmla="*/ 0 w 210000"/>
                <a:gd name="connsiteY10" fmla="*/ 105000 h 120000"/>
                <a:gd name="connsiteX11" fmla="*/ 0 w 210000"/>
                <a:gd name="connsiteY11" fmla="*/ 15000 h 120000"/>
                <a:gd name="connsiteX12" fmla="*/ 15000 w 210000"/>
                <a:gd name="connsiteY12" fmla="*/ 0 h 120000"/>
                <a:gd name="connsiteX13" fmla="*/ 30000 w 210000"/>
                <a:gd name="connsiteY13" fmla="*/ 15000 h 120000"/>
                <a:gd name="connsiteX14" fmla="*/ 30000 w 210000"/>
                <a:gd name="connsiteY14" fmla="*/ 4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0000" h="120000">
                  <a:moveTo>
                    <a:pt x="30000" y="45000"/>
                  </a:moveTo>
                  <a:lnTo>
                    <a:pt x="150000" y="45000"/>
                  </a:lnTo>
                  <a:cubicBezTo>
                    <a:pt x="166569" y="45000"/>
                    <a:pt x="180000" y="31569"/>
                    <a:pt x="180000" y="15000"/>
                  </a:cubicBezTo>
                  <a:lnTo>
                    <a:pt x="180000" y="0"/>
                  </a:lnTo>
                  <a:lnTo>
                    <a:pt x="210000" y="0"/>
                  </a:lnTo>
                  <a:lnTo>
                    <a:pt x="210000" y="15000"/>
                  </a:lnTo>
                  <a:cubicBezTo>
                    <a:pt x="210000" y="48136"/>
                    <a:pt x="183137" y="75000"/>
                    <a:pt x="150000" y="75000"/>
                  </a:cubicBezTo>
                  <a:lnTo>
                    <a:pt x="30000" y="75000"/>
                  </a:lnTo>
                  <a:lnTo>
                    <a:pt x="30000" y="105000"/>
                  </a:lnTo>
                  <a:cubicBezTo>
                    <a:pt x="30000" y="113285"/>
                    <a:pt x="23284" y="120000"/>
                    <a:pt x="15000" y="120000"/>
                  </a:cubicBezTo>
                  <a:cubicBezTo>
                    <a:pt x="6716" y="120000"/>
                    <a:pt x="0" y="113285"/>
                    <a:pt x="0" y="10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ubicBezTo>
                    <a:pt x="23284" y="0"/>
                    <a:pt x="30000" y="6716"/>
                    <a:pt x="30000" y="15000"/>
                  </a:cubicBezTo>
                  <a:lnTo>
                    <a:pt x="30000" y="45000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6AA12693-60AD-AD46-AB8F-BB5E6E5B2467}"/>
                </a:ext>
              </a:extLst>
            </p:cNvPr>
            <p:cNvSpPr/>
            <p:nvPr/>
          </p:nvSpPr>
          <p:spPr>
            <a:xfrm>
              <a:off x="6011255" y="567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bg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9B3FD8E4-7E7B-9A4B-9032-E867505BDA25}"/>
                </a:ext>
              </a:extLst>
            </p:cNvPr>
            <p:cNvSpPr/>
            <p:nvPr/>
          </p:nvSpPr>
          <p:spPr>
            <a:xfrm>
              <a:off x="6191255" y="546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4" y="120000"/>
                    <a:pt x="0" y="93137"/>
                    <a:pt x="0" y="60000"/>
                  </a:cubicBezTo>
                  <a:cubicBezTo>
                    <a:pt x="0" y="26863"/>
                    <a:pt x="26864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bg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C2EEF1F0-D9E6-184C-B61C-3A8BC4C5DF12}"/>
                </a:ext>
              </a:extLst>
            </p:cNvPr>
            <p:cNvSpPr/>
            <p:nvPr/>
          </p:nvSpPr>
          <p:spPr>
            <a:xfrm>
              <a:off x="6011255" y="546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bg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8" name="Рисунок 202">
            <a:extLst>
              <a:ext uri="{FF2B5EF4-FFF2-40B4-BE49-F238E27FC236}">
                <a16:creationId xmlns:a16="http://schemas.microsoft.com/office/drawing/2014/main" id="{70AEAD74-D905-A645-B3BD-7CB22236653A}"/>
              </a:ext>
            </a:extLst>
          </p:cNvPr>
          <p:cNvGrpSpPr>
            <a:grpSpLocks noChangeAspect="1"/>
          </p:cNvGrpSpPr>
          <p:nvPr/>
        </p:nvGrpSpPr>
        <p:grpSpPr>
          <a:xfrm>
            <a:off x="507372" y="4476874"/>
            <a:ext cx="504000" cy="504000"/>
            <a:chOff x="9756920" y="5451199"/>
            <a:chExt cx="360000" cy="360000"/>
          </a:xfrm>
        </p:grpSpPr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3A71F5D1-150F-964E-BC92-49D649F64E16}"/>
                </a:ext>
              </a:extLst>
            </p:cNvPr>
            <p:cNvSpPr/>
            <p:nvPr/>
          </p:nvSpPr>
          <p:spPr>
            <a:xfrm>
              <a:off x="9756920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45F995CA-7D88-8046-899C-A2DC2B3C6C13}"/>
                </a:ext>
              </a:extLst>
            </p:cNvPr>
            <p:cNvSpPr/>
            <p:nvPr/>
          </p:nvSpPr>
          <p:spPr>
            <a:xfrm>
              <a:off x="9801920" y="5496199"/>
              <a:ext cx="270000" cy="270000"/>
            </a:xfrm>
            <a:custGeom>
              <a:avLst/>
              <a:gdLst>
                <a:gd name="connsiteX0" fmla="*/ 270000 w 270000"/>
                <a:gd name="connsiteY0" fmla="*/ 135000 h 270000"/>
                <a:gd name="connsiteX1" fmla="*/ 135000 w 270000"/>
                <a:gd name="connsiteY1" fmla="*/ 270000 h 270000"/>
                <a:gd name="connsiteX2" fmla="*/ 0 w 270000"/>
                <a:gd name="connsiteY2" fmla="*/ 135000 h 270000"/>
                <a:gd name="connsiteX3" fmla="*/ 135000 w 270000"/>
                <a:gd name="connsiteY3" fmla="*/ 0 h 270000"/>
                <a:gd name="connsiteX4" fmla="*/ 270000 w 270000"/>
                <a:gd name="connsiteY4" fmla="*/ 135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000" h="270000">
                  <a:moveTo>
                    <a:pt x="270000" y="135000"/>
                  </a:moveTo>
                  <a:cubicBezTo>
                    <a:pt x="270000" y="209558"/>
                    <a:pt x="209558" y="270000"/>
                    <a:pt x="135000" y="270000"/>
                  </a:cubicBezTo>
                  <a:cubicBezTo>
                    <a:pt x="60442" y="270000"/>
                    <a:pt x="0" y="209558"/>
                    <a:pt x="0" y="135000"/>
                  </a:cubicBezTo>
                  <a:cubicBezTo>
                    <a:pt x="0" y="60442"/>
                    <a:pt x="60442" y="0"/>
                    <a:pt x="135000" y="0"/>
                  </a:cubicBezTo>
                  <a:cubicBezTo>
                    <a:pt x="209558" y="0"/>
                    <a:pt x="270000" y="60442"/>
                    <a:pt x="270000" y="13500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9E6D348C-A80A-634E-BEE4-305B84D46AEB}"/>
                </a:ext>
              </a:extLst>
            </p:cNvPr>
            <p:cNvSpPr/>
            <p:nvPr/>
          </p:nvSpPr>
          <p:spPr>
            <a:xfrm>
              <a:off x="9801920" y="5496199"/>
              <a:ext cx="270000" cy="269993"/>
            </a:xfrm>
            <a:custGeom>
              <a:avLst/>
              <a:gdLst>
                <a:gd name="connsiteX0" fmla="*/ 131037 w 270000"/>
                <a:gd name="connsiteY0" fmla="*/ 269943 h 269993"/>
                <a:gd name="connsiteX1" fmla="*/ 0 w 270000"/>
                <a:gd name="connsiteY1" fmla="*/ 135000 h 269993"/>
                <a:gd name="connsiteX2" fmla="*/ 51 w 270000"/>
                <a:gd name="connsiteY2" fmla="*/ 131270 h 269993"/>
                <a:gd name="connsiteX3" fmla="*/ 28689 w 270000"/>
                <a:gd name="connsiteY3" fmla="*/ 141306 h 269993"/>
                <a:gd name="connsiteX4" fmla="*/ 36871 w 270000"/>
                <a:gd name="connsiteY4" fmla="*/ 166527 h 269993"/>
                <a:gd name="connsiteX5" fmla="*/ 54401 w 270000"/>
                <a:gd name="connsiteY5" fmla="*/ 156920 h 269993"/>
                <a:gd name="connsiteX6" fmla="*/ 80113 w 270000"/>
                <a:gd name="connsiteY6" fmla="*/ 174843 h 269993"/>
                <a:gd name="connsiteX7" fmla="*/ 80113 w 270000"/>
                <a:gd name="connsiteY7" fmla="*/ 198954 h 269993"/>
                <a:gd name="connsiteX8" fmla="*/ 97638 w 270000"/>
                <a:gd name="connsiteY8" fmla="*/ 220572 h 269993"/>
                <a:gd name="connsiteX9" fmla="*/ 101106 w 270000"/>
                <a:gd name="connsiteY9" fmla="*/ 239861 h 269993"/>
                <a:gd name="connsiteX10" fmla="*/ 87759 w 270000"/>
                <a:gd name="connsiteY10" fmla="*/ 261219 h 269993"/>
                <a:gd name="connsiteX11" fmla="*/ 131037 w 270000"/>
                <a:gd name="connsiteY11" fmla="*/ 269942 h 269993"/>
                <a:gd name="connsiteX12" fmla="*/ 131037 w 270000"/>
                <a:gd name="connsiteY12" fmla="*/ 269943 h 269993"/>
                <a:gd name="connsiteX13" fmla="*/ 79241 w 270000"/>
                <a:gd name="connsiteY13" fmla="*/ 12017 h 269993"/>
                <a:gd name="connsiteX14" fmla="*/ 135000 w 270000"/>
                <a:gd name="connsiteY14" fmla="*/ 0 h 269993"/>
                <a:gd name="connsiteX15" fmla="*/ 255546 w 270000"/>
                <a:gd name="connsiteY15" fmla="*/ 74161 h 269993"/>
                <a:gd name="connsiteX16" fmla="*/ 258541 w 270000"/>
                <a:gd name="connsiteY16" fmla="*/ 99491 h 269993"/>
                <a:gd name="connsiteX17" fmla="*/ 233360 w 270000"/>
                <a:gd name="connsiteY17" fmla="*/ 158408 h 269993"/>
                <a:gd name="connsiteX18" fmla="*/ 195210 w 270000"/>
                <a:gd name="connsiteY18" fmla="*/ 178296 h 269993"/>
                <a:gd name="connsiteX19" fmla="*/ 162780 w 270000"/>
                <a:gd name="connsiteY19" fmla="*/ 179858 h 269993"/>
                <a:gd name="connsiteX20" fmla="*/ 142184 w 270000"/>
                <a:gd name="connsiteY20" fmla="*/ 172493 h 269993"/>
                <a:gd name="connsiteX21" fmla="*/ 165834 w 270000"/>
                <a:gd name="connsiteY21" fmla="*/ 154080 h 269993"/>
                <a:gd name="connsiteX22" fmla="*/ 185673 w 270000"/>
                <a:gd name="connsiteY22" fmla="*/ 129570 h 269993"/>
                <a:gd name="connsiteX23" fmla="*/ 134457 w 270000"/>
                <a:gd name="connsiteY23" fmla="*/ 82178 h 269993"/>
                <a:gd name="connsiteX24" fmla="*/ 122826 w 270000"/>
                <a:gd name="connsiteY24" fmla="*/ 55381 h 269993"/>
                <a:gd name="connsiteX25" fmla="*/ 93065 w 270000"/>
                <a:gd name="connsiteY25" fmla="*/ 55381 h 269993"/>
                <a:gd name="connsiteX26" fmla="*/ 79331 w 270000"/>
                <a:gd name="connsiteY26" fmla="*/ 22238 h 269993"/>
                <a:gd name="connsiteX27" fmla="*/ 79241 w 270000"/>
                <a:gd name="connsiteY27" fmla="*/ 12017 h 269993"/>
                <a:gd name="connsiteX28" fmla="*/ 269988 w 270000"/>
                <a:gd name="connsiteY28" fmla="*/ 133155 h 269993"/>
                <a:gd name="connsiteX29" fmla="*/ 270000 w 270000"/>
                <a:gd name="connsiteY29" fmla="*/ 135000 h 269993"/>
                <a:gd name="connsiteX30" fmla="*/ 136343 w 270000"/>
                <a:gd name="connsiteY30" fmla="*/ 269994 h 269993"/>
                <a:gd name="connsiteX31" fmla="*/ 269988 w 270000"/>
                <a:gd name="connsiteY31" fmla="*/ 133155 h 26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70000" h="269993">
                  <a:moveTo>
                    <a:pt x="131037" y="269943"/>
                  </a:moveTo>
                  <a:cubicBezTo>
                    <a:pt x="58311" y="267846"/>
                    <a:pt x="0" y="208233"/>
                    <a:pt x="0" y="135000"/>
                  </a:cubicBezTo>
                  <a:cubicBezTo>
                    <a:pt x="0" y="133752"/>
                    <a:pt x="17" y="132509"/>
                    <a:pt x="51" y="131270"/>
                  </a:cubicBezTo>
                  <a:cubicBezTo>
                    <a:pt x="9935" y="132215"/>
                    <a:pt x="27846" y="134361"/>
                    <a:pt x="28689" y="141306"/>
                  </a:cubicBezTo>
                  <a:cubicBezTo>
                    <a:pt x="29857" y="150914"/>
                    <a:pt x="28689" y="162924"/>
                    <a:pt x="36871" y="166527"/>
                  </a:cubicBezTo>
                  <a:cubicBezTo>
                    <a:pt x="45052" y="170129"/>
                    <a:pt x="47390" y="152114"/>
                    <a:pt x="54401" y="156920"/>
                  </a:cubicBezTo>
                  <a:cubicBezTo>
                    <a:pt x="61413" y="161724"/>
                    <a:pt x="80113" y="166349"/>
                    <a:pt x="80113" y="174843"/>
                  </a:cubicBezTo>
                  <a:cubicBezTo>
                    <a:pt x="80113" y="183336"/>
                    <a:pt x="76607" y="196553"/>
                    <a:pt x="80113" y="198954"/>
                  </a:cubicBezTo>
                  <a:cubicBezTo>
                    <a:pt x="83619" y="201357"/>
                    <a:pt x="97635" y="218169"/>
                    <a:pt x="97638" y="220572"/>
                  </a:cubicBezTo>
                  <a:cubicBezTo>
                    <a:pt x="97644" y="222975"/>
                    <a:pt x="102579" y="235191"/>
                    <a:pt x="101106" y="239861"/>
                  </a:cubicBezTo>
                  <a:cubicBezTo>
                    <a:pt x="99886" y="243730"/>
                    <a:pt x="93729" y="255753"/>
                    <a:pt x="87759" y="261219"/>
                  </a:cubicBezTo>
                  <a:cubicBezTo>
                    <a:pt x="101297" y="266432"/>
                    <a:pt x="115854" y="269487"/>
                    <a:pt x="131037" y="269942"/>
                  </a:cubicBezTo>
                  <a:lnTo>
                    <a:pt x="131037" y="269943"/>
                  </a:lnTo>
                  <a:close/>
                  <a:moveTo>
                    <a:pt x="79241" y="12017"/>
                  </a:moveTo>
                  <a:cubicBezTo>
                    <a:pt x="96238" y="4298"/>
                    <a:pt x="115118" y="0"/>
                    <a:pt x="135000" y="0"/>
                  </a:cubicBezTo>
                  <a:cubicBezTo>
                    <a:pt x="187673" y="0"/>
                    <a:pt x="233298" y="30165"/>
                    <a:pt x="255546" y="74161"/>
                  </a:cubicBezTo>
                  <a:cubicBezTo>
                    <a:pt x="256046" y="85862"/>
                    <a:pt x="255957" y="95870"/>
                    <a:pt x="258541" y="99491"/>
                  </a:cubicBezTo>
                  <a:cubicBezTo>
                    <a:pt x="271698" y="117902"/>
                    <a:pt x="226493" y="130565"/>
                    <a:pt x="233360" y="158408"/>
                  </a:cubicBezTo>
                  <a:cubicBezTo>
                    <a:pt x="236385" y="170693"/>
                    <a:pt x="203292" y="166796"/>
                    <a:pt x="195210" y="178296"/>
                  </a:cubicBezTo>
                  <a:cubicBezTo>
                    <a:pt x="187122" y="189791"/>
                    <a:pt x="167363" y="182067"/>
                    <a:pt x="162780" y="179858"/>
                  </a:cubicBezTo>
                  <a:cubicBezTo>
                    <a:pt x="158199" y="177648"/>
                    <a:pt x="140649" y="185012"/>
                    <a:pt x="142184" y="172493"/>
                  </a:cubicBezTo>
                  <a:cubicBezTo>
                    <a:pt x="143709" y="159969"/>
                    <a:pt x="154385" y="159234"/>
                    <a:pt x="165834" y="154080"/>
                  </a:cubicBezTo>
                  <a:cubicBezTo>
                    <a:pt x="177278" y="148931"/>
                    <a:pt x="193784" y="131808"/>
                    <a:pt x="185673" y="129570"/>
                  </a:cubicBezTo>
                  <a:cubicBezTo>
                    <a:pt x="147485" y="119043"/>
                    <a:pt x="134457" y="82178"/>
                    <a:pt x="134457" y="82178"/>
                  </a:cubicBezTo>
                  <a:cubicBezTo>
                    <a:pt x="132165" y="81735"/>
                    <a:pt x="132741" y="56116"/>
                    <a:pt x="122826" y="55381"/>
                  </a:cubicBezTo>
                  <a:cubicBezTo>
                    <a:pt x="112901" y="54642"/>
                    <a:pt x="107558" y="58326"/>
                    <a:pt x="93065" y="55381"/>
                  </a:cubicBezTo>
                  <a:cubicBezTo>
                    <a:pt x="78565" y="52436"/>
                    <a:pt x="81622" y="42862"/>
                    <a:pt x="79331" y="22238"/>
                  </a:cubicBezTo>
                  <a:cubicBezTo>
                    <a:pt x="78818" y="17612"/>
                    <a:pt x="78843" y="14358"/>
                    <a:pt x="79241" y="12017"/>
                  </a:cubicBezTo>
                  <a:close/>
                  <a:moveTo>
                    <a:pt x="269988" y="133155"/>
                  </a:moveTo>
                  <a:cubicBezTo>
                    <a:pt x="269996" y="133770"/>
                    <a:pt x="270000" y="134384"/>
                    <a:pt x="270000" y="135000"/>
                  </a:cubicBezTo>
                  <a:cubicBezTo>
                    <a:pt x="270000" y="209111"/>
                    <a:pt x="210282" y="269273"/>
                    <a:pt x="136343" y="269994"/>
                  </a:cubicBezTo>
                  <a:cubicBezTo>
                    <a:pt x="209553" y="269255"/>
                    <a:pt x="269006" y="208326"/>
                    <a:pt x="269988" y="133155"/>
                  </a:cubicBezTo>
                  <a:close/>
                </a:path>
              </a:pathLst>
            </a:custGeom>
            <a:solidFill>
              <a:schemeClr val="bg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52" name="Рисунок 282">
            <a:extLst>
              <a:ext uri="{FF2B5EF4-FFF2-40B4-BE49-F238E27FC236}">
                <a16:creationId xmlns:a16="http://schemas.microsoft.com/office/drawing/2014/main" id="{A5345472-9705-A149-873E-534A019B7EE5}"/>
              </a:ext>
            </a:extLst>
          </p:cNvPr>
          <p:cNvGrpSpPr>
            <a:grpSpLocks noChangeAspect="1"/>
          </p:cNvGrpSpPr>
          <p:nvPr/>
        </p:nvGrpSpPr>
        <p:grpSpPr>
          <a:xfrm>
            <a:off x="507372" y="3401726"/>
            <a:ext cx="504000" cy="504000"/>
            <a:chOff x="2960723" y="4105091"/>
            <a:chExt cx="360000" cy="360000"/>
          </a:xfrm>
        </p:grpSpPr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DA10C254-79E8-B141-B03D-5D4377520967}"/>
                </a:ext>
              </a:extLst>
            </p:cNvPr>
            <p:cNvSpPr/>
            <p:nvPr/>
          </p:nvSpPr>
          <p:spPr>
            <a:xfrm>
              <a:off x="2960723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8022E4E5-AA3F-B44F-81BC-B4B7883A5AD0}"/>
                </a:ext>
              </a:extLst>
            </p:cNvPr>
            <p:cNvSpPr/>
            <p:nvPr/>
          </p:nvSpPr>
          <p:spPr>
            <a:xfrm>
              <a:off x="3005723" y="4165091"/>
              <a:ext cx="255000" cy="255000"/>
            </a:xfrm>
            <a:custGeom>
              <a:avLst/>
              <a:gdLst>
                <a:gd name="connsiteX0" fmla="*/ 45000 w 255000"/>
                <a:gd name="connsiteY0" fmla="*/ 75000 h 255000"/>
                <a:gd name="connsiteX1" fmla="*/ 45000 w 255000"/>
                <a:gd name="connsiteY1" fmla="*/ 165000 h 255000"/>
                <a:gd name="connsiteX2" fmla="*/ 90000 w 255000"/>
                <a:gd name="connsiteY2" fmla="*/ 210000 h 255000"/>
                <a:gd name="connsiteX3" fmla="*/ 180000 w 255000"/>
                <a:gd name="connsiteY3" fmla="*/ 210000 h 255000"/>
                <a:gd name="connsiteX4" fmla="*/ 180000 w 255000"/>
                <a:gd name="connsiteY4" fmla="*/ 222273 h 255000"/>
                <a:gd name="connsiteX5" fmla="*/ 147273 w 255000"/>
                <a:gd name="connsiteY5" fmla="*/ 255000 h 255000"/>
                <a:gd name="connsiteX6" fmla="*/ 32727 w 255000"/>
                <a:gd name="connsiteY6" fmla="*/ 255000 h 255000"/>
                <a:gd name="connsiteX7" fmla="*/ 0 w 255000"/>
                <a:gd name="connsiteY7" fmla="*/ 222273 h 255000"/>
                <a:gd name="connsiteX8" fmla="*/ 0 w 255000"/>
                <a:gd name="connsiteY8" fmla="*/ 107727 h 255000"/>
                <a:gd name="connsiteX9" fmla="*/ 32727 w 255000"/>
                <a:gd name="connsiteY9" fmla="*/ 75000 h 255000"/>
                <a:gd name="connsiteX10" fmla="*/ 45000 w 255000"/>
                <a:gd name="connsiteY10" fmla="*/ 75000 h 255000"/>
                <a:gd name="connsiteX11" fmla="*/ 210000 w 255000"/>
                <a:gd name="connsiteY11" fmla="*/ 180000 h 255000"/>
                <a:gd name="connsiteX12" fmla="*/ 210000 w 255000"/>
                <a:gd name="connsiteY12" fmla="*/ 90000 h 255000"/>
                <a:gd name="connsiteX13" fmla="*/ 165000 w 255000"/>
                <a:gd name="connsiteY13" fmla="*/ 45000 h 255000"/>
                <a:gd name="connsiteX14" fmla="*/ 75000 w 255000"/>
                <a:gd name="connsiteY14" fmla="*/ 45000 h 255000"/>
                <a:gd name="connsiteX15" fmla="*/ 75000 w 255000"/>
                <a:gd name="connsiteY15" fmla="*/ 32727 h 255000"/>
                <a:gd name="connsiteX16" fmla="*/ 107727 w 255000"/>
                <a:gd name="connsiteY16" fmla="*/ 0 h 255000"/>
                <a:gd name="connsiteX17" fmla="*/ 222273 w 255000"/>
                <a:gd name="connsiteY17" fmla="*/ 0 h 255000"/>
                <a:gd name="connsiteX18" fmla="*/ 255000 w 255000"/>
                <a:gd name="connsiteY18" fmla="*/ 32727 h 255000"/>
                <a:gd name="connsiteX19" fmla="*/ 255000 w 255000"/>
                <a:gd name="connsiteY19" fmla="*/ 147273 h 255000"/>
                <a:gd name="connsiteX20" fmla="*/ 222273 w 255000"/>
                <a:gd name="connsiteY20" fmla="*/ 180000 h 255000"/>
                <a:gd name="connsiteX21" fmla="*/ 210000 w 255000"/>
                <a:gd name="connsiteY21" fmla="*/ 180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5000" h="255000">
                  <a:moveTo>
                    <a:pt x="45000" y="75000"/>
                  </a:moveTo>
                  <a:lnTo>
                    <a:pt x="45000" y="165000"/>
                  </a:lnTo>
                  <a:cubicBezTo>
                    <a:pt x="45000" y="189854"/>
                    <a:pt x="65147" y="210000"/>
                    <a:pt x="90000" y="210000"/>
                  </a:cubicBezTo>
                  <a:lnTo>
                    <a:pt x="180000" y="210000"/>
                  </a:lnTo>
                  <a:lnTo>
                    <a:pt x="180000" y="222273"/>
                  </a:lnTo>
                  <a:cubicBezTo>
                    <a:pt x="180000" y="243488"/>
                    <a:pt x="168488" y="255000"/>
                    <a:pt x="147273" y="255000"/>
                  </a:cubicBezTo>
                  <a:lnTo>
                    <a:pt x="32727" y="255000"/>
                  </a:lnTo>
                  <a:cubicBezTo>
                    <a:pt x="11513" y="255000"/>
                    <a:pt x="0" y="243488"/>
                    <a:pt x="0" y="222273"/>
                  </a:cubicBezTo>
                  <a:lnTo>
                    <a:pt x="0" y="107727"/>
                  </a:lnTo>
                  <a:cubicBezTo>
                    <a:pt x="0" y="86513"/>
                    <a:pt x="11513" y="75000"/>
                    <a:pt x="32727" y="75000"/>
                  </a:cubicBezTo>
                  <a:lnTo>
                    <a:pt x="45000" y="75000"/>
                  </a:lnTo>
                  <a:close/>
                  <a:moveTo>
                    <a:pt x="210000" y="180000"/>
                  </a:moveTo>
                  <a:lnTo>
                    <a:pt x="210000" y="90000"/>
                  </a:lnTo>
                  <a:cubicBezTo>
                    <a:pt x="210000" y="65147"/>
                    <a:pt x="189854" y="45000"/>
                    <a:pt x="165000" y="45000"/>
                  </a:cubicBezTo>
                  <a:lnTo>
                    <a:pt x="75000" y="45000"/>
                  </a:lnTo>
                  <a:lnTo>
                    <a:pt x="75000" y="32727"/>
                  </a:lnTo>
                  <a:cubicBezTo>
                    <a:pt x="75000" y="11513"/>
                    <a:pt x="86513" y="0"/>
                    <a:pt x="107727" y="0"/>
                  </a:cubicBezTo>
                  <a:lnTo>
                    <a:pt x="222273" y="0"/>
                  </a:lnTo>
                  <a:cubicBezTo>
                    <a:pt x="243488" y="0"/>
                    <a:pt x="255000" y="11513"/>
                    <a:pt x="255000" y="32727"/>
                  </a:cubicBezTo>
                  <a:lnTo>
                    <a:pt x="255000" y="147273"/>
                  </a:lnTo>
                  <a:cubicBezTo>
                    <a:pt x="255000" y="168488"/>
                    <a:pt x="243488" y="180000"/>
                    <a:pt x="222273" y="180000"/>
                  </a:cubicBezTo>
                  <a:lnTo>
                    <a:pt x="210000" y="180000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Полилиния 54">
              <a:extLst>
                <a:ext uri="{FF2B5EF4-FFF2-40B4-BE49-F238E27FC236}">
                  <a16:creationId xmlns:a16="http://schemas.microsoft.com/office/drawing/2014/main" id="{C197CC65-8192-BD4A-ACC1-E052D93B623C}"/>
                </a:ext>
              </a:extLst>
            </p:cNvPr>
            <p:cNvSpPr/>
            <p:nvPr/>
          </p:nvSpPr>
          <p:spPr>
            <a:xfrm>
              <a:off x="3080723" y="4240091"/>
              <a:ext cx="105000" cy="105000"/>
            </a:xfrm>
            <a:custGeom>
              <a:avLst/>
              <a:gdLst>
                <a:gd name="connsiteX0" fmla="*/ 19091 w 105000"/>
                <a:gd name="connsiteY0" fmla="*/ 0 h 105000"/>
                <a:gd name="connsiteX1" fmla="*/ 85909 w 105000"/>
                <a:gd name="connsiteY1" fmla="*/ 0 h 105000"/>
                <a:gd name="connsiteX2" fmla="*/ 105000 w 105000"/>
                <a:gd name="connsiteY2" fmla="*/ 19091 h 105000"/>
                <a:gd name="connsiteX3" fmla="*/ 105000 w 105000"/>
                <a:gd name="connsiteY3" fmla="*/ 85909 h 105000"/>
                <a:gd name="connsiteX4" fmla="*/ 85909 w 105000"/>
                <a:gd name="connsiteY4" fmla="*/ 105000 h 105000"/>
                <a:gd name="connsiteX5" fmla="*/ 19091 w 105000"/>
                <a:gd name="connsiteY5" fmla="*/ 105000 h 105000"/>
                <a:gd name="connsiteX6" fmla="*/ 0 w 105000"/>
                <a:gd name="connsiteY6" fmla="*/ 85909 h 105000"/>
                <a:gd name="connsiteX7" fmla="*/ 0 w 105000"/>
                <a:gd name="connsiteY7" fmla="*/ 19091 h 105000"/>
                <a:gd name="connsiteX8" fmla="*/ 19091 w 105000"/>
                <a:gd name="connsiteY8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000" h="105000">
                  <a:moveTo>
                    <a:pt x="19091" y="0"/>
                  </a:moveTo>
                  <a:lnTo>
                    <a:pt x="85909" y="0"/>
                  </a:lnTo>
                  <a:cubicBezTo>
                    <a:pt x="98285" y="0"/>
                    <a:pt x="105000" y="6716"/>
                    <a:pt x="105000" y="19091"/>
                  </a:cubicBezTo>
                  <a:lnTo>
                    <a:pt x="105000" y="85909"/>
                  </a:lnTo>
                  <a:cubicBezTo>
                    <a:pt x="105000" y="98285"/>
                    <a:pt x="98285" y="105000"/>
                    <a:pt x="85909" y="105000"/>
                  </a:cubicBezTo>
                  <a:lnTo>
                    <a:pt x="19091" y="105000"/>
                  </a:lnTo>
                  <a:cubicBezTo>
                    <a:pt x="6716" y="105000"/>
                    <a:pt x="0" y="98285"/>
                    <a:pt x="0" y="85909"/>
                  </a:cubicBezTo>
                  <a:lnTo>
                    <a:pt x="0" y="19091"/>
                  </a:lnTo>
                  <a:cubicBezTo>
                    <a:pt x="0" y="6716"/>
                    <a:pt x="6716" y="0"/>
                    <a:pt x="19091" y="0"/>
                  </a:cubicBezTo>
                  <a:close/>
                </a:path>
              </a:pathLst>
            </a:custGeom>
            <a:solidFill>
              <a:schemeClr val="bg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6" name="Рисунок 351">
            <a:extLst>
              <a:ext uri="{FF2B5EF4-FFF2-40B4-BE49-F238E27FC236}">
                <a16:creationId xmlns:a16="http://schemas.microsoft.com/office/drawing/2014/main" id="{AACBA62B-A31D-2845-99AC-BCC5AA0D27BB}"/>
              </a:ext>
            </a:extLst>
          </p:cNvPr>
          <p:cNvGrpSpPr>
            <a:grpSpLocks noChangeAspect="1"/>
          </p:cNvGrpSpPr>
          <p:nvPr/>
        </p:nvGrpSpPr>
        <p:grpSpPr>
          <a:xfrm>
            <a:off x="507372" y="5520433"/>
            <a:ext cx="504000" cy="504000"/>
            <a:chOff x="4488819" y="6124256"/>
            <a:chExt cx="360000" cy="360000"/>
          </a:xfrm>
        </p:grpSpPr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F053838B-FB33-0042-A43A-C559B03BE990}"/>
                </a:ext>
              </a:extLst>
            </p:cNvPr>
            <p:cNvSpPr/>
            <p:nvPr/>
          </p:nvSpPr>
          <p:spPr>
            <a:xfrm>
              <a:off x="448881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BD92EA33-2519-684B-8400-1B9FC897F549}"/>
                </a:ext>
              </a:extLst>
            </p:cNvPr>
            <p:cNvSpPr/>
            <p:nvPr/>
          </p:nvSpPr>
          <p:spPr>
            <a:xfrm>
              <a:off x="4592576" y="6184256"/>
              <a:ext cx="196242" cy="240000"/>
            </a:xfrm>
            <a:custGeom>
              <a:avLst/>
              <a:gdLst>
                <a:gd name="connsiteX0" fmla="*/ 11369 w 196242"/>
                <a:gd name="connsiteY0" fmla="*/ 220971 h 240000"/>
                <a:gd name="connsiteX1" fmla="*/ 61242 w 196242"/>
                <a:gd name="connsiteY1" fmla="*/ 127500 h 240000"/>
                <a:gd name="connsiteX2" fmla="*/ 0 w 196242"/>
                <a:gd name="connsiteY2" fmla="*/ 27329 h 240000"/>
                <a:gd name="connsiteX3" fmla="*/ 76242 w 196242"/>
                <a:gd name="connsiteY3" fmla="*/ 0 h 240000"/>
                <a:gd name="connsiteX4" fmla="*/ 196242 w 196242"/>
                <a:gd name="connsiteY4" fmla="*/ 120000 h 240000"/>
                <a:gd name="connsiteX5" fmla="*/ 76242 w 196242"/>
                <a:gd name="connsiteY5" fmla="*/ 240000 h 240000"/>
                <a:gd name="connsiteX6" fmla="*/ 11369 w 196242"/>
                <a:gd name="connsiteY6" fmla="*/ 220971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242" h="240000">
                  <a:moveTo>
                    <a:pt x="11369" y="220971"/>
                  </a:moveTo>
                  <a:cubicBezTo>
                    <a:pt x="41448" y="200778"/>
                    <a:pt x="61242" y="166451"/>
                    <a:pt x="61242" y="127500"/>
                  </a:cubicBezTo>
                  <a:cubicBezTo>
                    <a:pt x="61242" y="83830"/>
                    <a:pt x="36360" y="45972"/>
                    <a:pt x="0" y="27329"/>
                  </a:cubicBezTo>
                  <a:cubicBezTo>
                    <a:pt x="20730" y="10254"/>
                    <a:pt x="47289" y="0"/>
                    <a:pt x="76242" y="0"/>
                  </a:cubicBezTo>
                  <a:cubicBezTo>
                    <a:pt x="142517" y="0"/>
                    <a:pt x="196242" y="53726"/>
                    <a:pt x="196242" y="120000"/>
                  </a:cubicBezTo>
                  <a:cubicBezTo>
                    <a:pt x="196242" y="186275"/>
                    <a:pt x="142517" y="240000"/>
                    <a:pt x="76242" y="240000"/>
                  </a:cubicBezTo>
                  <a:cubicBezTo>
                    <a:pt x="52343" y="240000"/>
                    <a:pt x="30074" y="233013"/>
                    <a:pt x="11369" y="220971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 58">
              <a:extLst>
                <a:ext uri="{FF2B5EF4-FFF2-40B4-BE49-F238E27FC236}">
                  <a16:creationId xmlns:a16="http://schemas.microsoft.com/office/drawing/2014/main" id="{0DE96267-B293-3049-9A2D-A13A9E4586D2}"/>
                </a:ext>
              </a:extLst>
            </p:cNvPr>
            <p:cNvSpPr/>
            <p:nvPr/>
          </p:nvSpPr>
          <p:spPr>
            <a:xfrm>
              <a:off x="4548819" y="6227959"/>
              <a:ext cx="75000" cy="161886"/>
            </a:xfrm>
            <a:custGeom>
              <a:avLst/>
              <a:gdLst>
                <a:gd name="connsiteX0" fmla="*/ 35890 w 75000"/>
                <a:gd name="connsiteY0" fmla="*/ 161886 h 161886"/>
                <a:gd name="connsiteX1" fmla="*/ 0 w 75000"/>
                <a:gd name="connsiteY1" fmla="*/ 76296 h 161886"/>
                <a:gd name="connsiteX2" fmla="*/ 27373 w 75000"/>
                <a:gd name="connsiteY2" fmla="*/ 0 h 161886"/>
                <a:gd name="connsiteX3" fmla="*/ 75000 w 75000"/>
                <a:gd name="connsiteY3" fmla="*/ 83796 h 161886"/>
                <a:gd name="connsiteX4" fmla="*/ 35890 w 75000"/>
                <a:gd name="connsiteY4" fmla="*/ 161886 h 161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00" h="161886">
                  <a:moveTo>
                    <a:pt x="35890" y="161886"/>
                  </a:moveTo>
                  <a:cubicBezTo>
                    <a:pt x="13738" y="140114"/>
                    <a:pt x="0" y="109809"/>
                    <a:pt x="0" y="76296"/>
                  </a:cubicBezTo>
                  <a:cubicBezTo>
                    <a:pt x="0" y="47318"/>
                    <a:pt x="10272" y="20738"/>
                    <a:pt x="27373" y="0"/>
                  </a:cubicBezTo>
                  <a:cubicBezTo>
                    <a:pt x="55896" y="17012"/>
                    <a:pt x="75000" y="48173"/>
                    <a:pt x="75000" y="83796"/>
                  </a:cubicBezTo>
                  <a:cubicBezTo>
                    <a:pt x="75000" y="115743"/>
                    <a:pt x="59634" y="144102"/>
                    <a:pt x="35890" y="161886"/>
                  </a:cubicBezTo>
                  <a:close/>
                </a:path>
              </a:pathLst>
            </a:custGeom>
            <a:solidFill>
              <a:schemeClr val="bg1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0514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Таймлайн</a:t>
            </a:r>
            <a:endParaRPr lang="ru-RU" dirty="0"/>
          </a:p>
        </p:txBody>
      </p:sp>
      <p:cxnSp>
        <p:nvCxnSpPr>
          <p:cNvPr id="4" name="Прямая со стрелкой 3">
            <a:extLst>
              <a:ext uri="{FF2B5EF4-FFF2-40B4-BE49-F238E27FC236}">
                <a16:creationId xmlns:a16="http://schemas.microsoft.com/office/drawing/2014/main" id="{9AC19A70-B066-5E4A-BE38-E8E4B594A4CA}"/>
              </a:ext>
            </a:extLst>
          </p:cNvPr>
          <p:cNvCxnSpPr>
            <a:cxnSpLocks/>
          </p:cNvCxnSpPr>
          <p:nvPr/>
        </p:nvCxnSpPr>
        <p:spPr>
          <a:xfrm>
            <a:off x="0" y="1935480"/>
            <a:ext cx="10958902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авая круглая скобка 4">
            <a:extLst>
              <a:ext uri="{FF2B5EF4-FFF2-40B4-BE49-F238E27FC236}">
                <a16:creationId xmlns:a16="http://schemas.microsoft.com/office/drawing/2014/main" id="{0D1C6C9B-63B2-E34A-9600-B9506EBE3A37}"/>
              </a:ext>
            </a:extLst>
          </p:cNvPr>
          <p:cNvSpPr/>
          <p:nvPr/>
        </p:nvSpPr>
        <p:spPr>
          <a:xfrm>
            <a:off x="10958902" y="1935480"/>
            <a:ext cx="790186" cy="1668779"/>
          </a:xfrm>
          <a:prstGeom prst="rightBracket">
            <a:avLst>
              <a:gd name="adj" fmla="val 439801"/>
            </a:avLst>
          </a:prstGeom>
          <a:ln>
            <a:solidFill>
              <a:schemeClr val="bg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" name="Прямая со стрелкой 5">
            <a:extLst>
              <a:ext uri="{FF2B5EF4-FFF2-40B4-BE49-F238E27FC236}">
                <a16:creationId xmlns:a16="http://schemas.microsoft.com/office/drawing/2014/main" id="{B195D983-DD63-A642-B0F6-FF98769D64F3}"/>
              </a:ext>
            </a:extLst>
          </p:cNvPr>
          <p:cNvCxnSpPr>
            <a:cxnSpLocks/>
            <a:stCxn id="7" idx="0"/>
            <a:endCxn id="5" idx="1"/>
          </p:cNvCxnSpPr>
          <p:nvPr/>
        </p:nvCxnSpPr>
        <p:spPr>
          <a:xfrm flipV="1">
            <a:off x="997982" y="3604259"/>
            <a:ext cx="9960920" cy="2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авая круглая скобка 6">
            <a:extLst>
              <a:ext uri="{FF2B5EF4-FFF2-40B4-BE49-F238E27FC236}">
                <a16:creationId xmlns:a16="http://schemas.microsoft.com/office/drawing/2014/main" id="{28F1CDE2-0CE3-2A4A-946F-06BB3BC42444}"/>
              </a:ext>
            </a:extLst>
          </p:cNvPr>
          <p:cNvSpPr/>
          <p:nvPr/>
        </p:nvSpPr>
        <p:spPr>
          <a:xfrm flipH="1">
            <a:off x="442913" y="3604261"/>
            <a:ext cx="555069" cy="1172240"/>
          </a:xfrm>
          <a:prstGeom prst="rightBracket">
            <a:avLst>
              <a:gd name="adj" fmla="val 439801"/>
            </a:avLst>
          </a:prstGeom>
          <a:ln>
            <a:solidFill>
              <a:schemeClr val="bg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370F7074-C41D-8946-878B-EB002C9A4DC5}"/>
              </a:ext>
            </a:extLst>
          </p:cNvPr>
          <p:cNvCxnSpPr>
            <a:cxnSpLocks/>
            <a:stCxn id="7" idx="1"/>
          </p:cNvCxnSpPr>
          <p:nvPr/>
        </p:nvCxnSpPr>
        <p:spPr>
          <a:xfrm>
            <a:off x="997982" y="4776501"/>
            <a:ext cx="11194018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FF3288D-27A2-D446-8C39-DB349D2FF438}"/>
              </a:ext>
            </a:extLst>
          </p:cNvPr>
          <p:cNvSpPr txBox="1"/>
          <p:nvPr/>
        </p:nvSpPr>
        <p:spPr>
          <a:xfrm flipH="1">
            <a:off x="997982" y="2159584"/>
            <a:ext cx="1362745" cy="553998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r>
              <a:rPr lang="en-US" dirty="0"/>
              <a:t>Lorem ipsum</a:t>
            </a:r>
          </a:p>
          <a:p>
            <a:r>
              <a:rPr lang="en-US" dirty="0"/>
              <a:t>Lorem ipsum</a:t>
            </a:r>
            <a:endParaRPr lang="ru-RU" dirty="0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5A927FD0-4A33-F844-B6B0-5A3EA1FA9B8A}"/>
              </a:ext>
            </a:extLst>
          </p:cNvPr>
          <p:cNvSpPr/>
          <p:nvPr/>
        </p:nvSpPr>
        <p:spPr>
          <a:xfrm>
            <a:off x="997982" y="1801723"/>
            <a:ext cx="267518" cy="267514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" bIns="0" rtlCol="0" anchor="ctr"/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+mj-lt"/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7B55DF-B376-3B42-9B1A-074E1C5ACEC0}"/>
              </a:ext>
            </a:extLst>
          </p:cNvPr>
          <p:cNvSpPr txBox="1"/>
          <p:nvPr/>
        </p:nvSpPr>
        <p:spPr>
          <a:xfrm flipH="1">
            <a:off x="4335070" y="2159584"/>
            <a:ext cx="1362745" cy="553998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r>
              <a:rPr lang="en-US" dirty="0"/>
              <a:t>Lorem ipsum</a:t>
            </a:r>
          </a:p>
          <a:p>
            <a:r>
              <a:rPr lang="en-US" dirty="0"/>
              <a:t>Lorem ipsum</a:t>
            </a:r>
            <a:endParaRPr lang="ru-RU" dirty="0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DB38E66D-8EB8-AE4D-B787-0C662C596943}"/>
              </a:ext>
            </a:extLst>
          </p:cNvPr>
          <p:cNvSpPr/>
          <p:nvPr/>
        </p:nvSpPr>
        <p:spPr>
          <a:xfrm>
            <a:off x="4335070" y="1801723"/>
            <a:ext cx="267518" cy="267514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" bIns="0" rtlCol="0" anchor="ctr"/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+mj-lt"/>
              </a:rPr>
              <a:t>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4AA53B-BF65-0947-9416-99D7DB28977E}"/>
              </a:ext>
            </a:extLst>
          </p:cNvPr>
          <p:cNvSpPr txBox="1"/>
          <p:nvPr/>
        </p:nvSpPr>
        <p:spPr>
          <a:xfrm flipH="1">
            <a:off x="7672158" y="2159584"/>
            <a:ext cx="1362745" cy="553998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r>
              <a:rPr lang="en-US" dirty="0"/>
              <a:t>Lorem ipsum</a:t>
            </a:r>
          </a:p>
          <a:p>
            <a:r>
              <a:rPr lang="en-US" dirty="0"/>
              <a:t>Lorem ipsum</a:t>
            </a:r>
            <a:endParaRPr lang="ru-RU" dirty="0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46215592-818F-8848-A59A-FA9D6BCAFDCF}"/>
              </a:ext>
            </a:extLst>
          </p:cNvPr>
          <p:cNvSpPr/>
          <p:nvPr/>
        </p:nvSpPr>
        <p:spPr>
          <a:xfrm>
            <a:off x="7672158" y="1801723"/>
            <a:ext cx="267518" cy="267514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" bIns="0" rtlCol="0" anchor="ctr"/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+mj-lt"/>
              </a:rPr>
              <a:t>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D79F4AA-80B6-F640-B150-65F5AD453DF2}"/>
              </a:ext>
            </a:extLst>
          </p:cNvPr>
          <p:cNvSpPr txBox="1"/>
          <p:nvPr/>
        </p:nvSpPr>
        <p:spPr>
          <a:xfrm flipH="1">
            <a:off x="997982" y="5006040"/>
            <a:ext cx="1362745" cy="553998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r>
              <a:rPr lang="en-US" dirty="0"/>
              <a:t>Lorem ipsum</a:t>
            </a:r>
          </a:p>
          <a:p>
            <a:r>
              <a:rPr lang="en-US" dirty="0"/>
              <a:t>Lorem ipsum</a:t>
            </a:r>
            <a:endParaRPr lang="ru-RU" dirty="0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414A28D5-3EDB-F748-9091-016F71B0DDBC}"/>
              </a:ext>
            </a:extLst>
          </p:cNvPr>
          <p:cNvSpPr/>
          <p:nvPr/>
        </p:nvSpPr>
        <p:spPr>
          <a:xfrm>
            <a:off x="997982" y="4648179"/>
            <a:ext cx="267518" cy="267514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" bIns="0" rtlCol="0" anchor="ctr"/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+mj-lt"/>
              </a:rPr>
              <a:t>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4943814-BABE-E041-ACD0-F5E96720168B}"/>
              </a:ext>
            </a:extLst>
          </p:cNvPr>
          <p:cNvSpPr txBox="1"/>
          <p:nvPr/>
        </p:nvSpPr>
        <p:spPr>
          <a:xfrm flipH="1">
            <a:off x="4335070" y="5006040"/>
            <a:ext cx="1362745" cy="553998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r>
              <a:rPr lang="en-US" dirty="0"/>
              <a:t>Lorem ipsum</a:t>
            </a:r>
          </a:p>
          <a:p>
            <a:r>
              <a:rPr lang="en-US" dirty="0"/>
              <a:t>Lorem ipsum</a:t>
            </a:r>
            <a:endParaRPr lang="ru-RU" dirty="0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579394E1-8C70-2445-BE27-69826BFADC1C}"/>
              </a:ext>
            </a:extLst>
          </p:cNvPr>
          <p:cNvSpPr/>
          <p:nvPr/>
        </p:nvSpPr>
        <p:spPr>
          <a:xfrm>
            <a:off x="4335070" y="4648179"/>
            <a:ext cx="267518" cy="267514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" bIns="0" rtlCol="0" anchor="ctr"/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+mj-lt"/>
              </a:rPr>
              <a:t>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CC7F59C-0B73-4B4A-85DA-4ADB05A0260D}"/>
              </a:ext>
            </a:extLst>
          </p:cNvPr>
          <p:cNvSpPr txBox="1"/>
          <p:nvPr/>
        </p:nvSpPr>
        <p:spPr>
          <a:xfrm flipH="1">
            <a:off x="7672158" y="5006040"/>
            <a:ext cx="1362745" cy="553998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r>
              <a:rPr lang="en-US" dirty="0"/>
              <a:t>Lorem ipsum</a:t>
            </a:r>
          </a:p>
          <a:p>
            <a:r>
              <a:rPr lang="en-US" dirty="0"/>
              <a:t>Lorem ipsum</a:t>
            </a:r>
            <a:endParaRPr lang="ru-RU" dirty="0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390F20E0-3996-A246-B5D7-3338CF3ED765}"/>
              </a:ext>
            </a:extLst>
          </p:cNvPr>
          <p:cNvSpPr/>
          <p:nvPr/>
        </p:nvSpPr>
        <p:spPr>
          <a:xfrm>
            <a:off x="7672158" y="4648179"/>
            <a:ext cx="267518" cy="267514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" bIns="0" rtlCol="0" anchor="ctr"/>
          <a:lstStyle/>
          <a:p>
            <a:pPr algn="ctr"/>
            <a:r>
              <a:rPr lang="ru-RU" sz="1400" dirty="0">
                <a:solidFill>
                  <a:schemeClr val="accent2"/>
                </a:solidFill>
                <a:latin typeface="+mj-lt"/>
              </a:rPr>
              <a:t>6</a:t>
            </a:r>
          </a:p>
        </p:txBody>
      </p: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31E5D73C-3D64-BC44-A6EB-ACC764AFB3BE}"/>
              </a:ext>
            </a:extLst>
          </p:cNvPr>
          <p:cNvCxnSpPr>
            <a:cxnSpLocks/>
          </p:cNvCxnSpPr>
          <p:nvPr/>
        </p:nvCxnSpPr>
        <p:spPr>
          <a:xfrm>
            <a:off x="1358987" y="1783084"/>
            <a:ext cx="548640" cy="0"/>
          </a:xfrm>
          <a:prstGeom prst="straightConnector1">
            <a:avLst/>
          </a:prstGeom>
          <a:ln w="12700"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0"/>
            </a:gra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81E11911-63E4-1A45-8CAC-03A66A951E46}"/>
              </a:ext>
            </a:extLst>
          </p:cNvPr>
          <p:cNvCxnSpPr>
            <a:cxnSpLocks/>
          </p:cNvCxnSpPr>
          <p:nvPr/>
        </p:nvCxnSpPr>
        <p:spPr>
          <a:xfrm>
            <a:off x="8168957" y="1783084"/>
            <a:ext cx="548640" cy="0"/>
          </a:xfrm>
          <a:prstGeom prst="straightConnector1">
            <a:avLst/>
          </a:prstGeom>
          <a:ln w="12700"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0"/>
            </a:gra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CEAE92A9-D962-A642-A264-F40321400FA6}"/>
              </a:ext>
            </a:extLst>
          </p:cNvPr>
          <p:cNvCxnSpPr>
            <a:cxnSpLocks/>
          </p:cNvCxnSpPr>
          <p:nvPr/>
        </p:nvCxnSpPr>
        <p:spPr>
          <a:xfrm flipH="1">
            <a:off x="5602692" y="3436786"/>
            <a:ext cx="548640" cy="0"/>
          </a:xfrm>
          <a:prstGeom prst="straightConnector1">
            <a:avLst/>
          </a:prstGeom>
          <a:ln w="12700"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0"/>
            </a:gra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F0F1D367-0D97-3A4F-A75A-A43890AE23BA}"/>
              </a:ext>
            </a:extLst>
          </p:cNvPr>
          <p:cNvCxnSpPr>
            <a:cxnSpLocks/>
          </p:cNvCxnSpPr>
          <p:nvPr/>
        </p:nvCxnSpPr>
        <p:spPr>
          <a:xfrm>
            <a:off x="1358987" y="4632457"/>
            <a:ext cx="548640" cy="0"/>
          </a:xfrm>
          <a:prstGeom prst="straightConnector1">
            <a:avLst/>
          </a:prstGeom>
          <a:ln w="12700"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0"/>
            </a:gra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D4DFD653-EBE7-3A4C-A968-2A6B44DE299A}"/>
              </a:ext>
            </a:extLst>
          </p:cNvPr>
          <p:cNvCxnSpPr>
            <a:cxnSpLocks/>
          </p:cNvCxnSpPr>
          <p:nvPr/>
        </p:nvCxnSpPr>
        <p:spPr>
          <a:xfrm>
            <a:off x="8168957" y="4632457"/>
            <a:ext cx="548640" cy="0"/>
          </a:xfrm>
          <a:prstGeom prst="straightConnector1">
            <a:avLst/>
          </a:prstGeom>
          <a:ln w="12700"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0"/>
            </a:gra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1">
            <a:extLst>
              <a:ext uri="{FF2B5EF4-FFF2-40B4-BE49-F238E27FC236}">
                <a16:creationId xmlns:a16="http://schemas.microsoft.com/office/drawing/2014/main" id="{02FBD606-3048-504A-A7AF-2CC3032DB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04238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6 </a:t>
            </a:r>
            <a:r>
              <a:rPr lang="ru-RU" dirty="0"/>
              <a:t>плашек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8636D42-C0A9-EE4C-844F-54DF92A496D5}"/>
              </a:ext>
            </a:extLst>
          </p:cNvPr>
          <p:cNvGrpSpPr/>
          <p:nvPr/>
        </p:nvGrpSpPr>
        <p:grpSpPr>
          <a:xfrm>
            <a:off x="550862" y="1052512"/>
            <a:ext cx="3536751" cy="2292853"/>
            <a:chOff x="550862" y="1052512"/>
            <a:chExt cx="3536751" cy="2292853"/>
          </a:xfrm>
        </p:grpSpPr>
        <p:sp>
          <p:nvSpPr>
            <p:cNvPr id="28" name="Прямоугольник: скругленные углы 13">
              <a:extLst>
                <a:ext uri="{FF2B5EF4-FFF2-40B4-BE49-F238E27FC236}">
                  <a16:creationId xmlns:a16="http://schemas.microsoft.com/office/drawing/2014/main" id="{F0F51E33-0017-2C42-8950-64833B823F2B}"/>
                </a:ext>
              </a:extLst>
            </p:cNvPr>
            <p:cNvSpPr/>
            <p:nvPr/>
          </p:nvSpPr>
          <p:spPr>
            <a:xfrm>
              <a:off x="550862" y="1052512"/>
              <a:ext cx="3536751" cy="2292853"/>
            </a:xfrm>
            <a:prstGeom prst="roundRect">
              <a:avLst>
                <a:gd name="adj" fmla="val 4334"/>
              </a:avLst>
            </a:prstGeom>
            <a:solidFill>
              <a:schemeClr val="bg1"/>
            </a:solidFill>
            <a:ln w="9525">
              <a:gradFill>
                <a:gsLst>
                  <a:gs pos="69000">
                    <a:schemeClr val="bg1">
                      <a:lumMod val="75000"/>
                    </a:schemeClr>
                  </a:gs>
                  <a:gs pos="100000">
                    <a:schemeClr val="accent2"/>
                  </a:gs>
                </a:gsLst>
                <a:lin ang="2700000" scaled="0"/>
              </a:gradFill>
            </a:ln>
            <a:effectLst>
              <a:outerShdw blurRad="114300" dist="63500" dir="2700000" algn="ctr" rotWithShape="0">
                <a:srgbClr val="000000">
                  <a:alpha val="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D7C45084-2654-2745-983A-EE8182356D56}"/>
                </a:ext>
              </a:extLst>
            </p:cNvPr>
            <p:cNvSpPr/>
            <p:nvPr/>
          </p:nvSpPr>
          <p:spPr>
            <a:xfrm>
              <a:off x="723310" y="1760250"/>
              <a:ext cx="3179617" cy="1405513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en-US" sz="1600" b="1" dirty="0">
                  <a:solidFill>
                    <a:schemeClr val="accent2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Lorem ipsum Lorem ipsum Lorem ipsum </a:t>
              </a:r>
              <a:endParaRPr lang="ru-RU" sz="1600" b="1" dirty="0">
                <a:solidFill>
                  <a:schemeClr val="accent2"/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  <a:p>
              <a:pPr>
                <a:spcAft>
                  <a:spcPts val="400"/>
                </a:spcAft>
              </a:pPr>
              <a:r>
                <a:rPr lang="en-US" sz="1400" dirty="0"/>
                <a:t>Lorem ipsum Lorem ipsum </a:t>
              </a:r>
              <a:br>
                <a:rPr lang="en-US" sz="1400" dirty="0"/>
              </a:br>
              <a:r>
                <a:rPr lang="en-US" sz="1400" dirty="0"/>
                <a:t>Lorem ipsum Lorem ipsum</a:t>
              </a:r>
              <a:br>
                <a:rPr lang="en-US" sz="1400" dirty="0"/>
              </a:br>
              <a:r>
                <a:rPr lang="en-US" sz="1400" dirty="0"/>
                <a:t>Lorem ipsum Lorem ipsum </a:t>
              </a:r>
              <a:br>
                <a:rPr lang="en-US" sz="1400" dirty="0"/>
              </a:br>
              <a:r>
                <a:rPr lang="en-US" sz="1400" dirty="0"/>
                <a:t>Lorem ipsum Lorem ipsum  </a:t>
              </a:r>
              <a:endParaRPr lang="ru-RU" sz="1400" dirty="0"/>
            </a:p>
          </p:txBody>
        </p:sp>
        <p:grpSp>
          <p:nvGrpSpPr>
            <p:cNvPr id="35" name="Рисунок 150">
              <a:extLst>
                <a:ext uri="{FF2B5EF4-FFF2-40B4-BE49-F238E27FC236}">
                  <a16:creationId xmlns:a16="http://schemas.microsoft.com/office/drawing/2014/main" id="{ED543CD7-D02B-C749-8055-C4F54948398E}"/>
                </a:ext>
              </a:extLst>
            </p:cNvPr>
            <p:cNvGrpSpPr/>
            <p:nvPr/>
          </p:nvGrpSpPr>
          <p:grpSpPr>
            <a:xfrm>
              <a:off x="723310" y="1268467"/>
              <a:ext cx="360000" cy="360000"/>
              <a:chOff x="1450457" y="2758983"/>
              <a:chExt cx="360000" cy="360000"/>
            </a:xfrm>
          </p:grpSpPr>
          <p:sp>
            <p:nvSpPr>
              <p:cNvPr id="36" name="Полилиния 35">
                <a:extLst>
                  <a:ext uri="{FF2B5EF4-FFF2-40B4-BE49-F238E27FC236}">
                    <a16:creationId xmlns:a16="http://schemas.microsoft.com/office/drawing/2014/main" id="{BD18F897-161F-1147-AC36-582E5EEEDFA1}"/>
                  </a:ext>
                </a:extLst>
              </p:cNvPr>
              <p:cNvSpPr/>
              <p:nvPr/>
            </p:nvSpPr>
            <p:spPr>
              <a:xfrm>
                <a:off x="1450457" y="27589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" name="Полилиния 36">
                <a:extLst>
                  <a:ext uri="{FF2B5EF4-FFF2-40B4-BE49-F238E27FC236}">
                    <a16:creationId xmlns:a16="http://schemas.microsoft.com/office/drawing/2014/main" id="{54AE51D1-B416-5648-B6F7-8E02EEDB0A26}"/>
                  </a:ext>
                </a:extLst>
              </p:cNvPr>
              <p:cNvSpPr/>
              <p:nvPr/>
            </p:nvSpPr>
            <p:spPr>
              <a:xfrm>
                <a:off x="1525457" y="2818983"/>
                <a:ext cx="270000" cy="180000"/>
              </a:xfrm>
              <a:custGeom>
                <a:avLst/>
                <a:gdLst>
                  <a:gd name="connsiteX0" fmla="*/ 41207 w 270000"/>
                  <a:gd name="connsiteY0" fmla="*/ 165639 h 180000"/>
                  <a:gd name="connsiteX1" fmla="*/ 0 w 270000"/>
                  <a:gd name="connsiteY1" fmla="*/ 90000 h 180000"/>
                  <a:gd name="connsiteX2" fmla="*/ 90000 w 270000"/>
                  <a:gd name="connsiteY2" fmla="*/ 0 h 180000"/>
                  <a:gd name="connsiteX3" fmla="*/ 177165 w 270000"/>
                  <a:gd name="connsiteY3" fmla="*/ 67500 h 180000"/>
                  <a:gd name="connsiteX4" fmla="*/ 213750 w 270000"/>
                  <a:gd name="connsiteY4" fmla="*/ 67500 h 180000"/>
                  <a:gd name="connsiteX5" fmla="*/ 270000 w 270000"/>
                  <a:gd name="connsiteY5" fmla="*/ 123750 h 180000"/>
                  <a:gd name="connsiteX6" fmla="*/ 213750 w 270000"/>
                  <a:gd name="connsiteY6" fmla="*/ 180000 h 180000"/>
                  <a:gd name="connsiteX7" fmla="*/ 78750 w 270000"/>
                  <a:gd name="connsiteY7" fmla="*/ 180000 h 180000"/>
                  <a:gd name="connsiteX8" fmla="*/ 41207 w 270000"/>
                  <a:gd name="connsiteY8" fmla="*/ 165639 h 1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000" h="180000">
                    <a:moveTo>
                      <a:pt x="41207" y="165639"/>
                    </a:moveTo>
                    <a:cubicBezTo>
                      <a:pt x="16412" y="149610"/>
                      <a:pt x="0" y="121722"/>
                      <a:pt x="0" y="90000"/>
                    </a:cubicBezTo>
                    <a:cubicBezTo>
                      <a:pt x="0" y="40294"/>
                      <a:pt x="40294" y="0"/>
                      <a:pt x="90000" y="0"/>
                    </a:cubicBezTo>
                    <a:cubicBezTo>
                      <a:pt x="131937" y="0"/>
                      <a:pt x="167173" y="28682"/>
                      <a:pt x="177165" y="67500"/>
                    </a:cubicBezTo>
                    <a:lnTo>
                      <a:pt x="213750" y="67500"/>
                    </a:lnTo>
                    <a:cubicBezTo>
                      <a:pt x="244817" y="67500"/>
                      <a:pt x="270000" y="92684"/>
                      <a:pt x="270000" y="123750"/>
                    </a:cubicBezTo>
                    <a:cubicBezTo>
                      <a:pt x="270000" y="154817"/>
                      <a:pt x="244817" y="180000"/>
                      <a:pt x="213750" y="180000"/>
                    </a:cubicBezTo>
                    <a:lnTo>
                      <a:pt x="78750" y="180000"/>
                    </a:lnTo>
                    <a:cubicBezTo>
                      <a:pt x="64323" y="180000"/>
                      <a:pt x="51164" y="174569"/>
                      <a:pt x="41207" y="165639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" name="Полилиния 37">
                <a:extLst>
                  <a:ext uri="{FF2B5EF4-FFF2-40B4-BE49-F238E27FC236}">
                    <a16:creationId xmlns:a16="http://schemas.microsoft.com/office/drawing/2014/main" id="{3084AA0D-23B3-ED49-81C3-300984D1752A}"/>
                  </a:ext>
                </a:extLst>
              </p:cNvPr>
              <p:cNvSpPr/>
              <p:nvPr/>
            </p:nvSpPr>
            <p:spPr>
              <a:xfrm>
                <a:off x="1465457" y="2878983"/>
                <a:ext cx="270000" cy="180000"/>
              </a:xfrm>
              <a:custGeom>
                <a:avLst/>
                <a:gdLst>
                  <a:gd name="connsiteX0" fmla="*/ 41207 w 270000"/>
                  <a:gd name="connsiteY0" fmla="*/ 165639 h 180000"/>
                  <a:gd name="connsiteX1" fmla="*/ 0 w 270000"/>
                  <a:gd name="connsiteY1" fmla="*/ 90000 h 180000"/>
                  <a:gd name="connsiteX2" fmla="*/ 90000 w 270000"/>
                  <a:gd name="connsiteY2" fmla="*/ 0 h 180000"/>
                  <a:gd name="connsiteX3" fmla="*/ 177165 w 270000"/>
                  <a:gd name="connsiteY3" fmla="*/ 67500 h 180000"/>
                  <a:gd name="connsiteX4" fmla="*/ 213750 w 270000"/>
                  <a:gd name="connsiteY4" fmla="*/ 67500 h 180000"/>
                  <a:gd name="connsiteX5" fmla="*/ 270000 w 270000"/>
                  <a:gd name="connsiteY5" fmla="*/ 123750 h 180000"/>
                  <a:gd name="connsiteX6" fmla="*/ 213750 w 270000"/>
                  <a:gd name="connsiteY6" fmla="*/ 180000 h 180000"/>
                  <a:gd name="connsiteX7" fmla="*/ 78750 w 270000"/>
                  <a:gd name="connsiteY7" fmla="*/ 180000 h 180000"/>
                  <a:gd name="connsiteX8" fmla="*/ 41207 w 270000"/>
                  <a:gd name="connsiteY8" fmla="*/ 165639 h 1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000" h="180000">
                    <a:moveTo>
                      <a:pt x="41207" y="165639"/>
                    </a:moveTo>
                    <a:cubicBezTo>
                      <a:pt x="16412" y="149610"/>
                      <a:pt x="0" y="121722"/>
                      <a:pt x="0" y="90000"/>
                    </a:cubicBezTo>
                    <a:cubicBezTo>
                      <a:pt x="0" y="40295"/>
                      <a:pt x="40294" y="0"/>
                      <a:pt x="90000" y="0"/>
                    </a:cubicBezTo>
                    <a:cubicBezTo>
                      <a:pt x="131936" y="0"/>
                      <a:pt x="167174" y="28682"/>
                      <a:pt x="177165" y="67500"/>
                    </a:cubicBezTo>
                    <a:lnTo>
                      <a:pt x="213750" y="67500"/>
                    </a:lnTo>
                    <a:cubicBezTo>
                      <a:pt x="244817" y="67500"/>
                      <a:pt x="270000" y="92684"/>
                      <a:pt x="270000" y="123750"/>
                    </a:cubicBezTo>
                    <a:cubicBezTo>
                      <a:pt x="270000" y="154817"/>
                      <a:pt x="244817" y="180000"/>
                      <a:pt x="213750" y="180000"/>
                    </a:cubicBezTo>
                    <a:lnTo>
                      <a:pt x="78750" y="180000"/>
                    </a:lnTo>
                    <a:cubicBezTo>
                      <a:pt x="64323" y="180000"/>
                      <a:pt x="51164" y="174568"/>
                      <a:pt x="41207" y="16563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A31FC339-150A-AF4A-B714-69DDB205FEF8}"/>
              </a:ext>
            </a:extLst>
          </p:cNvPr>
          <p:cNvGrpSpPr/>
          <p:nvPr/>
        </p:nvGrpSpPr>
        <p:grpSpPr>
          <a:xfrm>
            <a:off x="4330894" y="1064053"/>
            <a:ext cx="3536751" cy="2292853"/>
            <a:chOff x="550862" y="1052512"/>
            <a:chExt cx="3536751" cy="2292853"/>
          </a:xfrm>
        </p:grpSpPr>
        <p:sp>
          <p:nvSpPr>
            <p:cNvPr id="40" name="Прямоугольник: скругленные углы 13">
              <a:extLst>
                <a:ext uri="{FF2B5EF4-FFF2-40B4-BE49-F238E27FC236}">
                  <a16:creationId xmlns:a16="http://schemas.microsoft.com/office/drawing/2014/main" id="{0BF1D810-BAEF-5145-90A8-7A5247786DAA}"/>
                </a:ext>
              </a:extLst>
            </p:cNvPr>
            <p:cNvSpPr/>
            <p:nvPr/>
          </p:nvSpPr>
          <p:spPr>
            <a:xfrm>
              <a:off x="550862" y="1052512"/>
              <a:ext cx="3536751" cy="2292853"/>
            </a:xfrm>
            <a:prstGeom prst="roundRect">
              <a:avLst>
                <a:gd name="adj" fmla="val 4334"/>
              </a:avLst>
            </a:prstGeom>
            <a:solidFill>
              <a:schemeClr val="bg1"/>
            </a:solidFill>
            <a:ln w="9525">
              <a:gradFill>
                <a:gsLst>
                  <a:gs pos="69000">
                    <a:schemeClr val="bg1">
                      <a:lumMod val="75000"/>
                    </a:schemeClr>
                  </a:gs>
                  <a:gs pos="100000">
                    <a:schemeClr val="accent2"/>
                  </a:gs>
                </a:gsLst>
                <a:lin ang="2700000" scaled="0"/>
              </a:gradFill>
            </a:ln>
            <a:effectLst>
              <a:outerShdw blurRad="114300" dist="63500" dir="2700000" algn="ctr" rotWithShape="0">
                <a:srgbClr val="000000">
                  <a:alpha val="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EA6BCD51-C2FB-DE46-88BE-7DBE5A364417}"/>
                </a:ext>
              </a:extLst>
            </p:cNvPr>
            <p:cNvSpPr/>
            <p:nvPr/>
          </p:nvSpPr>
          <p:spPr>
            <a:xfrm>
              <a:off x="723310" y="1760250"/>
              <a:ext cx="3179617" cy="1405513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en-US" sz="1600" b="1" dirty="0">
                  <a:solidFill>
                    <a:schemeClr val="accent2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Lorem ipsum Lorem ipsum Lorem ipsum </a:t>
              </a:r>
              <a:endParaRPr lang="ru-RU" sz="1600" b="1" dirty="0">
                <a:solidFill>
                  <a:schemeClr val="accent2"/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  <a:p>
              <a:pPr>
                <a:spcAft>
                  <a:spcPts val="400"/>
                </a:spcAft>
              </a:pPr>
              <a:r>
                <a:rPr lang="en-US" sz="1400" dirty="0"/>
                <a:t>Lorem ipsum Lorem ipsum </a:t>
              </a:r>
              <a:br>
                <a:rPr lang="en-US" sz="1400" dirty="0"/>
              </a:br>
              <a:r>
                <a:rPr lang="en-US" sz="1400" dirty="0"/>
                <a:t>Lorem ipsum Lorem ipsum</a:t>
              </a:r>
              <a:br>
                <a:rPr lang="en-US" sz="1400" dirty="0"/>
              </a:br>
              <a:r>
                <a:rPr lang="en-US" sz="1400" dirty="0"/>
                <a:t>Lorem ipsum Lorem ipsum </a:t>
              </a:r>
              <a:br>
                <a:rPr lang="en-US" sz="1400" dirty="0"/>
              </a:br>
              <a:r>
                <a:rPr lang="en-US" sz="1400" dirty="0"/>
                <a:t>Lorem ipsum Lorem ipsum  </a:t>
              </a:r>
              <a:endParaRPr lang="ru-RU" sz="1400" dirty="0"/>
            </a:p>
          </p:txBody>
        </p:sp>
        <p:grpSp>
          <p:nvGrpSpPr>
            <p:cNvPr id="42" name="Рисунок 150">
              <a:extLst>
                <a:ext uri="{FF2B5EF4-FFF2-40B4-BE49-F238E27FC236}">
                  <a16:creationId xmlns:a16="http://schemas.microsoft.com/office/drawing/2014/main" id="{8A8261AA-AEBC-1E44-8E8B-37DCF3F67827}"/>
                </a:ext>
              </a:extLst>
            </p:cNvPr>
            <p:cNvGrpSpPr/>
            <p:nvPr/>
          </p:nvGrpSpPr>
          <p:grpSpPr>
            <a:xfrm>
              <a:off x="723310" y="1268467"/>
              <a:ext cx="360000" cy="360000"/>
              <a:chOff x="1450457" y="2758983"/>
              <a:chExt cx="360000" cy="360000"/>
            </a:xfrm>
          </p:grpSpPr>
          <p:sp>
            <p:nvSpPr>
              <p:cNvPr id="43" name="Полилиния 42">
                <a:extLst>
                  <a:ext uri="{FF2B5EF4-FFF2-40B4-BE49-F238E27FC236}">
                    <a16:creationId xmlns:a16="http://schemas.microsoft.com/office/drawing/2014/main" id="{2611A514-AC1B-B946-95B7-83C3981F922D}"/>
                  </a:ext>
                </a:extLst>
              </p:cNvPr>
              <p:cNvSpPr/>
              <p:nvPr/>
            </p:nvSpPr>
            <p:spPr>
              <a:xfrm>
                <a:off x="1450457" y="27589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" name="Полилиния 43">
                <a:extLst>
                  <a:ext uri="{FF2B5EF4-FFF2-40B4-BE49-F238E27FC236}">
                    <a16:creationId xmlns:a16="http://schemas.microsoft.com/office/drawing/2014/main" id="{5202BAE5-74D1-C84E-A77A-9BAEA2B9EAF7}"/>
                  </a:ext>
                </a:extLst>
              </p:cNvPr>
              <p:cNvSpPr/>
              <p:nvPr/>
            </p:nvSpPr>
            <p:spPr>
              <a:xfrm>
                <a:off x="1525457" y="2818983"/>
                <a:ext cx="270000" cy="180000"/>
              </a:xfrm>
              <a:custGeom>
                <a:avLst/>
                <a:gdLst>
                  <a:gd name="connsiteX0" fmla="*/ 41207 w 270000"/>
                  <a:gd name="connsiteY0" fmla="*/ 165639 h 180000"/>
                  <a:gd name="connsiteX1" fmla="*/ 0 w 270000"/>
                  <a:gd name="connsiteY1" fmla="*/ 90000 h 180000"/>
                  <a:gd name="connsiteX2" fmla="*/ 90000 w 270000"/>
                  <a:gd name="connsiteY2" fmla="*/ 0 h 180000"/>
                  <a:gd name="connsiteX3" fmla="*/ 177165 w 270000"/>
                  <a:gd name="connsiteY3" fmla="*/ 67500 h 180000"/>
                  <a:gd name="connsiteX4" fmla="*/ 213750 w 270000"/>
                  <a:gd name="connsiteY4" fmla="*/ 67500 h 180000"/>
                  <a:gd name="connsiteX5" fmla="*/ 270000 w 270000"/>
                  <a:gd name="connsiteY5" fmla="*/ 123750 h 180000"/>
                  <a:gd name="connsiteX6" fmla="*/ 213750 w 270000"/>
                  <a:gd name="connsiteY6" fmla="*/ 180000 h 180000"/>
                  <a:gd name="connsiteX7" fmla="*/ 78750 w 270000"/>
                  <a:gd name="connsiteY7" fmla="*/ 180000 h 180000"/>
                  <a:gd name="connsiteX8" fmla="*/ 41207 w 270000"/>
                  <a:gd name="connsiteY8" fmla="*/ 165639 h 1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000" h="180000">
                    <a:moveTo>
                      <a:pt x="41207" y="165639"/>
                    </a:moveTo>
                    <a:cubicBezTo>
                      <a:pt x="16412" y="149610"/>
                      <a:pt x="0" y="121722"/>
                      <a:pt x="0" y="90000"/>
                    </a:cubicBezTo>
                    <a:cubicBezTo>
                      <a:pt x="0" y="40294"/>
                      <a:pt x="40294" y="0"/>
                      <a:pt x="90000" y="0"/>
                    </a:cubicBezTo>
                    <a:cubicBezTo>
                      <a:pt x="131937" y="0"/>
                      <a:pt x="167173" y="28682"/>
                      <a:pt x="177165" y="67500"/>
                    </a:cubicBezTo>
                    <a:lnTo>
                      <a:pt x="213750" y="67500"/>
                    </a:lnTo>
                    <a:cubicBezTo>
                      <a:pt x="244817" y="67500"/>
                      <a:pt x="270000" y="92684"/>
                      <a:pt x="270000" y="123750"/>
                    </a:cubicBezTo>
                    <a:cubicBezTo>
                      <a:pt x="270000" y="154817"/>
                      <a:pt x="244817" y="180000"/>
                      <a:pt x="213750" y="180000"/>
                    </a:cubicBezTo>
                    <a:lnTo>
                      <a:pt x="78750" y="180000"/>
                    </a:lnTo>
                    <a:cubicBezTo>
                      <a:pt x="64323" y="180000"/>
                      <a:pt x="51164" y="174569"/>
                      <a:pt x="41207" y="165639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" name="Полилиния 44">
                <a:extLst>
                  <a:ext uri="{FF2B5EF4-FFF2-40B4-BE49-F238E27FC236}">
                    <a16:creationId xmlns:a16="http://schemas.microsoft.com/office/drawing/2014/main" id="{5A6ADE58-9836-9A4C-8B47-FB9B4BC61258}"/>
                  </a:ext>
                </a:extLst>
              </p:cNvPr>
              <p:cNvSpPr/>
              <p:nvPr/>
            </p:nvSpPr>
            <p:spPr>
              <a:xfrm>
                <a:off x="1465457" y="2878983"/>
                <a:ext cx="270000" cy="180000"/>
              </a:xfrm>
              <a:custGeom>
                <a:avLst/>
                <a:gdLst>
                  <a:gd name="connsiteX0" fmla="*/ 41207 w 270000"/>
                  <a:gd name="connsiteY0" fmla="*/ 165639 h 180000"/>
                  <a:gd name="connsiteX1" fmla="*/ 0 w 270000"/>
                  <a:gd name="connsiteY1" fmla="*/ 90000 h 180000"/>
                  <a:gd name="connsiteX2" fmla="*/ 90000 w 270000"/>
                  <a:gd name="connsiteY2" fmla="*/ 0 h 180000"/>
                  <a:gd name="connsiteX3" fmla="*/ 177165 w 270000"/>
                  <a:gd name="connsiteY3" fmla="*/ 67500 h 180000"/>
                  <a:gd name="connsiteX4" fmla="*/ 213750 w 270000"/>
                  <a:gd name="connsiteY4" fmla="*/ 67500 h 180000"/>
                  <a:gd name="connsiteX5" fmla="*/ 270000 w 270000"/>
                  <a:gd name="connsiteY5" fmla="*/ 123750 h 180000"/>
                  <a:gd name="connsiteX6" fmla="*/ 213750 w 270000"/>
                  <a:gd name="connsiteY6" fmla="*/ 180000 h 180000"/>
                  <a:gd name="connsiteX7" fmla="*/ 78750 w 270000"/>
                  <a:gd name="connsiteY7" fmla="*/ 180000 h 180000"/>
                  <a:gd name="connsiteX8" fmla="*/ 41207 w 270000"/>
                  <a:gd name="connsiteY8" fmla="*/ 165639 h 1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000" h="180000">
                    <a:moveTo>
                      <a:pt x="41207" y="165639"/>
                    </a:moveTo>
                    <a:cubicBezTo>
                      <a:pt x="16412" y="149610"/>
                      <a:pt x="0" y="121722"/>
                      <a:pt x="0" y="90000"/>
                    </a:cubicBezTo>
                    <a:cubicBezTo>
                      <a:pt x="0" y="40295"/>
                      <a:pt x="40294" y="0"/>
                      <a:pt x="90000" y="0"/>
                    </a:cubicBezTo>
                    <a:cubicBezTo>
                      <a:pt x="131936" y="0"/>
                      <a:pt x="167174" y="28682"/>
                      <a:pt x="177165" y="67500"/>
                    </a:cubicBezTo>
                    <a:lnTo>
                      <a:pt x="213750" y="67500"/>
                    </a:lnTo>
                    <a:cubicBezTo>
                      <a:pt x="244817" y="67500"/>
                      <a:pt x="270000" y="92684"/>
                      <a:pt x="270000" y="123750"/>
                    </a:cubicBezTo>
                    <a:cubicBezTo>
                      <a:pt x="270000" y="154817"/>
                      <a:pt x="244817" y="180000"/>
                      <a:pt x="213750" y="180000"/>
                    </a:cubicBezTo>
                    <a:lnTo>
                      <a:pt x="78750" y="180000"/>
                    </a:lnTo>
                    <a:cubicBezTo>
                      <a:pt x="64323" y="180000"/>
                      <a:pt x="51164" y="174568"/>
                      <a:pt x="41207" y="16563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9C827BBE-4A53-2D47-BD1C-C8FA47E36350}"/>
              </a:ext>
            </a:extLst>
          </p:cNvPr>
          <p:cNvGrpSpPr/>
          <p:nvPr/>
        </p:nvGrpSpPr>
        <p:grpSpPr>
          <a:xfrm>
            <a:off x="8110926" y="1064053"/>
            <a:ext cx="3536751" cy="2292853"/>
            <a:chOff x="550862" y="1052512"/>
            <a:chExt cx="3536751" cy="2292853"/>
          </a:xfrm>
        </p:grpSpPr>
        <p:sp>
          <p:nvSpPr>
            <p:cNvPr id="47" name="Прямоугольник: скругленные углы 13">
              <a:extLst>
                <a:ext uri="{FF2B5EF4-FFF2-40B4-BE49-F238E27FC236}">
                  <a16:creationId xmlns:a16="http://schemas.microsoft.com/office/drawing/2014/main" id="{977A5DD7-5F71-4D43-8336-CCF310622C1C}"/>
                </a:ext>
              </a:extLst>
            </p:cNvPr>
            <p:cNvSpPr/>
            <p:nvPr/>
          </p:nvSpPr>
          <p:spPr>
            <a:xfrm>
              <a:off x="550862" y="1052512"/>
              <a:ext cx="3536751" cy="2292853"/>
            </a:xfrm>
            <a:prstGeom prst="roundRect">
              <a:avLst>
                <a:gd name="adj" fmla="val 4334"/>
              </a:avLst>
            </a:prstGeom>
            <a:solidFill>
              <a:schemeClr val="bg1"/>
            </a:solidFill>
            <a:ln w="9525">
              <a:gradFill>
                <a:gsLst>
                  <a:gs pos="69000">
                    <a:schemeClr val="bg1">
                      <a:lumMod val="75000"/>
                    </a:schemeClr>
                  </a:gs>
                  <a:gs pos="100000">
                    <a:schemeClr val="accent2"/>
                  </a:gs>
                </a:gsLst>
                <a:lin ang="2700000" scaled="0"/>
              </a:gradFill>
            </a:ln>
            <a:effectLst>
              <a:outerShdw blurRad="114300" dist="63500" dir="2700000" algn="ctr" rotWithShape="0">
                <a:srgbClr val="000000">
                  <a:alpha val="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C1553888-2661-5144-9B1A-476766C05063}"/>
                </a:ext>
              </a:extLst>
            </p:cNvPr>
            <p:cNvSpPr/>
            <p:nvPr/>
          </p:nvSpPr>
          <p:spPr>
            <a:xfrm>
              <a:off x="723310" y="1760250"/>
              <a:ext cx="3179617" cy="1405513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en-US" sz="1600" b="1" dirty="0">
                  <a:solidFill>
                    <a:schemeClr val="accent2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Lorem ipsum Lorem ipsum Lorem ipsum </a:t>
              </a:r>
              <a:endParaRPr lang="ru-RU" sz="1600" b="1" dirty="0">
                <a:solidFill>
                  <a:schemeClr val="accent2"/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  <a:p>
              <a:pPr>
                <a:spcAft>
                  <a:spcPts val="400"/>
                </a:spcAft>
              </a:pPr>
              <a:r>
                <a:rPr lang="en-US" sz="1400" dirty="0"/>
                <a:t>Lorem ipsum Lorem ipsum </a:t>
              </a:r>
              <a:br>
                <a:rPr lang="en-US" sz="1400" dirty="0"/>
              </a:br>
              <a:r>
                <a:rPr lang="en-US" sz="1400" dirty="0"/>
                <a:t>Lorem ipsum Lorem ipsum</a:t>
              </a:r>
              <a:br>
                <a:rPr lang="en-US" sz="1400" dirty="0"/>
              </a:br>
              <a:r>
                <a:rPr lang="en-US" sz="1400" dirty="0"/>
                <a:t>Lorem ipsum Lorem ipsum </a:t>
              </a:r>
              <a:br>
                <a:rPr lang="en-US" sz="1400" dirty="0"/>
              </a:br>
              <a:r>
                <a:rPr lang="en-US" sz="1400" dirty="0"/>
                <a:t>Lorem ipsum Lorem ipsum  </a:t>
              </a:r>
              <a:endParaRPr lang="ru-RU" sz="1400" dirty="0"/>
            </a:p>
          </p:txBody>
        </p:sp>
        <p:grpSp>
          <p:nvGrpSpPr>
            <p:cNvPr id="49" name="Рисунок 150">
              <a:extLst>
                <a:ext uri="{FF2B5EF4-FFF2-40B4-BE49-F238E27FC236}">
                  <a16:creationId xmlns:a16="http://schemas.microsoft.com/office/drawing/2014/main" id="{562DD0DB-24DB-E34C-AD6F-39D454AF6501}"/>
                </a:ext>
              </a:extLst>
            </p:cNvPr>
            <p:cNvGrpSpPr/>
            <p:nvPr/>
          </p:nvGrpSpPr>
          <p:grpSpPr>
            <a:xfrm>
              <a:off x="723310" y="1268467"/>
              <a:ext cx="360000" cy="360000"/>
              <a:chOff x="1450457" y="2758983"/>
              <a:chExt cx="360000" cy="360000"/>
            </a:xfrm>
          </p:grpSpPr>
          <p:sp>
            <p:nvSpPr>
              <p:cNvPr id="50" name="Полилиния 49">
                <a:extLst>
                  <a:ext uri="{FF2B5EF4-FFF2-40B4-BE49-F238E27FC236}">
                    <a16:creationId xmlns:a16="http://schemas.microsoft.com/office/drawing/2014/main" id="{13741854-807B-8E4B-A135-C7C292FD33DA}"/>
                  </a:ext>
                </a:extLst>
              </p:cNvPr>
              <p:cNvSpPr/>
              <p:nvPr/>
            </p:nvSpPr>
            <p:spPr>
              <a:xfrm>
                <a:off x="1450457" y="27589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" name="Полилиния 50">
                <a:extLst>
                  <a:ext uri="{FF2B5EF4-FFF2-40B4-BE49-F238E27FC236}">
                    <a16:creationId xmlns:a16="http://schemas.microsoft.com/office/drawing/2014/main" id="{E5F436DA-A410-A146-A801-F0F7BD8A57C6}"/>
                  </a:ext>
                </a:extLst>
              </p:cNvPr>
              <p:cNvSpPr/>
              <p:nvPr/>
            </p:nvSpPr>
            <p:spPr>
              <a:xfrm>
                <a:off x="1525457" y="2818983"/>
                <a:ext cx="270000" cy="180000"/>
              </a:xfrm>
              <a:custGeom>
                <a:avLst/>
                <a:gdLst>
                  <a:gd name="connsiteX0" fmla="*/ 41207 w 270000"/>
                  <a:gd name="connsiteY0" fmla="*/ 165639 h 180000"/>
                  <a:gd name="connsiteX1" fmla="*/ 0 w 270000"/>
                  <a:gd name="connsiteY1" fmla="*/ 90000 h 180000"/>
                  <a:gd name="connsiteX2" fmla="*/ 90000 w 270000"/>
                  <a:gd name="connsiteY2" fmla="*/ 0 h 180000"/>
                  <a:gd name="connsiteX3" fmla="*/ 177165 w 270000"/>
                  <a:gd name="connsiteY3" fmla="*/ 67500 h 180000"/>
                  <a:gd name="connsiteX4" fmla="*/ 213750 w 270000"/>
                  <a:gd name="connsiteY4" fmla="*/ 67500 h 180000"/>
                  <a:gd name="connsiteX5" fmla="*/ 270000 w 270000"/>
                  <a:gd name="connsiteY5" fmla="*/ 123750 h 180000"/>
                  <a:gd name="connsiteX6" fmla="*/ 213750 w 270000"/>
                  <a:gd name="connsiteY6" fmla="*/ 180000 h 180000"/>
                  <a:gd name="connsiteX7" fmla="*/ 78750 w 270000"/>
                  <a:gd name="connsiteY7" fmla="*/ 180000 h 180000"/>
                  <a:gd name="connsiteX8" fmla="*/ 41207 w 270000"/>
                  <a:gd name="connsiteY8" fmla="*/ 165639 h 1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000" h="180000">
                    <a:moveTo>
                      <a:pt x="41207" y="165639"/>
                    </a:moveTo>
                    <a:cubicBezTo>
                      <a:pt x="16412" y="149610"/>
                      <a:pt x="0" y="121722"/>
                      <a:pt x="0" y="90000"/>
                    </a:cubicBezTo>
                    <a:cubicBezTo>
                      <a:pt x="0" y="40294"/>
                      <a:pt x="40294" y="0"/>
                      <a:pt x="90000" y="0"/>
                    </a:cubicBezTo>
                    <a:cubicBezTo>
                      <a:pt x="131937" y="0"/>
                      <a:pt x="167173" y="28682"/>
                      <a:pt x="177165" y="67500"/>
                    </a:cubicBezTo>
                    <a:lnTo>
                      <a:pt x="213750" y="67500"/>
                    </a:lnTo>
                    <a:cubicBezTo>
                      <a:pt x="244817" y="67500"/>
                      <a:pt x="270000" y="92684"/>
                      <a:pt x="270000" y="123750"/>
                    </a:cubicBezTo>
                    <a:cubicBezTo>
                      <a:pt x="270000" y="154817"/>
                      <a:pt x="244817" y="180000"/>
                      <a:pt x="213750" y="180000"/>
                    </a:cubicBezTo>
                    <a:lnTo>
                      <a:pt x="78750" y="180000"/>
                    </a:lnTo>
                    <a:cubicBezTo>
                      <a:pt x="64323" y="180000"/>
                      <a:pt x="51164" y="174569"/>
                      <a:pt x="41207" y="165639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" name="Полилиния 51">
                <a:extLst>
                  <a:ext uri="{FF2B5EF4-FFF2-40B4-BE49-F238E27FC236}">
                    <a16:creationId xmlns:a16="http://schemas.microsoft.com/office/drawing/2014/main" id="{6B672CCB-4834-D54E-B073-3850718544A8}"/>
                  </a:ext>
                </a:extLst>
              </p:cNvPr>
              <p:cNvSpPr/>
              <p:nvPr/>
            </p:nvSpPr>
            <p:spPr>
              <a:xfrm>
                <a:off x="1465457" y="2878983"/>
                <a:ext cx="270000" cy="180000"/>
              </a:xfrm>
              <a:custGeom>
                <a:avLst/>
                <a:gdLst>
                  <a:gd name="connsiteX0" fmla="*/ 41207 w 270000"/>
                  <a:gd name="connsiteY0" fmla="*/ 165639 h 180000"/>
                  <a:gd name="connsiteX1" fmla="*/ 0 w 270000"/>
                  <a:gd name="connsiteY1" fmla="*/ 90000 h 180000"/>
                  <a:gd name="connsiteX2" fmla="*/ 90000 w 270000"/>
                  <a:gd name="connsiteY2" fmla="*/ 0 h 180000"/>
                  <a:gd name="connsiteX3" fmla="*/ 177165 w 270000"/>
                  <a:gd name="connsiteY3" fmla="*/ 67500 h 180000"/>
                  <a:gd name="connsiteX4" fmla="*/ 213750 w 270000"/>
                  <a:gd name="connsiteY4" fmla="*/ 67500 h 180000"/>
                  <a:gd name="connsiteX5" fmla="*/ 270000 w 270000"/>
                  <a:gd name="connsiteY5" fmla="*/ 123750 h 180000"/>
                  <a:gd name="connsiteX6" fmla="*/ 213750 w 270000"/>
                  <a:gd name="connsiteY6" fmla="*/ 180000 h 180000"/>
                  <a:gd name="connsiteX7" fmla="*/ 78750 w 270000"/>
                  <a:gd name="connsiteY7" fmla="*/ 180000 h 180000"/>
                  <a:gd name="connsiteX8" fmla="*/ 41207 w 270000"/>
                  <a:gd name="connsiteY8" fmla="*/ 165639 h 1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000" h="180000">
                    <a:moveTo>
                      <a:pt x="41207" y="165639"/>
                    </a:moveTo>
                    <a:cubicBezTo>
                      <a:pt x="16412" y="149610"/>
                      <a:pt x="0" y="121722"/>
                      <a:pt x="0" y="90000"/>
                    </a:cubicBezTo>
                    <a:cubicBezTo>
                      <a:pt x="0" y="40295"/>
                      <a:pt x="40294" y="0"/>
                      <a:pt x="90000" y="0"/>
                    </a:cubicBezTo>
                    <a:cubicBezTo>
                      <a:pt x="131936" y="0"/>
                      <a:pt x="167174" y="28682"/>
                      <a:pt x="177165" y="67500"/>
                    </a:cubicBezTo>
                    <a:lnTo>
                      <a:pt x="213750" y="67500"/>
                    </a:lnTo>
                    <a:cubicBezTo>
                      <a:pt x="244817" y="67500"/>
                      <a:pt x="270000" y="92684"/>
                      <a:pt x="270000" y="123750"/>
                    </a:cubicBezTo>
                    <a:cubicBezTo>
                      <a:pt x="270000" y="154817"/>
                      <a:pt x="244817" y="180000"/>
                      <a:pt x="213750" y="180000"/>
                    </a:cubicBezTo>
                    <a:lnTo>
                      <a:pt x="78750" y="180000"/>
                    </a:lnTo>
                    <a:cubicBezTo>
                      <a:pt x="64323" y="180000"/>
                      <a:pt x="51164" y="174568"/>
                      <a:pt x="41207" y="16563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196FA1B5-75CF-3447-BE75-009EDDBAF612}"/>
              </a:ext>
            </a:extLst>
          </p:cNvPr>
          <p:cNvGrpSpPr/>
          <p:nvPr/>
        </p:nvGrpSpPr>
        <p:grpSpPr>
          <a:xfrm>
            <a:off x="544323" y="3599876"/>
            <a:ext cx="3536751" cy="2292853"/>
            <a:chOff x="550862" y="1052512"/>
            <a:chExt cx="3536751" cy="2292853"/>
          </a:xfrm>
        </p:grpSpPr>
        <p:sp>
          <p:nvSpPr>
            <p:cNvPr id="54" name="Прямоугольник: скругленные углы 13">
              <a:extLst>
                <a:ext uri="{FF2B5EF4-FFF2-40B4-BE49-F238E27FC236}">
                  <a16:creationId xmlns:a16="http://schemas.microsoft.com/office/drawing/2014/main" id="{7EEFB852-B718-6C4F-A2CD-F9C9A704FD2A}"/>
                </a:ext>
              </a:extLst>
            </p:cNvPr>
            <p:cNvSpPr/>
            <p:nvPr/>
          </p:nvSpPr>
          <p:spPr>
            <a:xfrm>
              <a:off x="550862" y="1052512"/>
              <a:ext cx="3536751" cy="2292853"/>
            </a:xfrm>
            <a:prstGeom prst="roundRect">
              <a:avLst>
                <a:gd name="adj" fmla="val 4334"/>
              </a:avLst>
            </a:prstGeom>
            <a:solidFill>
              <a:schemeClr val="bg1"/>
            </a:solidFill>
            <a:ln w="9525">
              <a:gradFill>
                <a:gsLst>
                  <a:gs pos="69000">
                    <a:schemeClr val="bg1">
                      <a:lumMod val="75000"/>
                    </a:schemeClr>
                  </a:gs>
                  <a:gs pos="100000">
                    <a:schemeClr val="accent2"/>
                  </a:gs>
                </a:gsLst>
                <a:lin ang="2700000" scaled="0"/>
              </a:gradFill>
            </a:ln>
            <a:effectLst>
              <a:outerShdw blurRad="114300" dist="63500" dir="2700000" algn="ctr" rotWithShape="0">
                <a:srgbClr val="000000">
                  <a:alpha val="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56F8E70C-E2AF-8F47-9AB6-4096DC4DD8A8}"/>
                </a:ext>
              </a:extLst>
            </p:cNvPr>
            <p:cNvSpPr/>
            <p:nvPr/>
          </p:nvSpPr>
          <p:spPr>
            <a:xfrm>
              <a:off x="723310" y="1760250"/>
              <a:ext cx="3179617" cy="1405513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en-US" sz="1600" b="1" dirty="0">
                  <a:solidFill>
                    <a:schemeClr val="accent2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Lorem ipsum Lorem ipsum Lorem ipsum </a:t>
              </a:r>
              <a:endParaRPr lang="ru-RU" sz="1600" b="1" dirty="0">
                <a:solidFill>
                  <a:schemeClr val="accent2"/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  <a:p>
              <a:pPr>
                <a:spcAft>
                  <a:spcPts val="400"/>
                </a:spcAft>
              </a:pPr>
              <a:r>
                <a:rPr lang="en-US" sz="1400" dirty="0"/>
                <a:t>Lorem ipsum Lorem ipsum </a:t>
              </a:r>
              <a:br>
                <a:rPr lang="en-US" sz="1400" dirty="0"/>
              </a:br>
              <a:r>
                <a:rPr lang="en-US" sz="1400" dirty="0"/>
                <a:t>Lorem ipsum Lorem ipsum</a:t>
              </a:r>
              <a:br>
                <a:rPr lang="en-US" sz="1400" dirty="0"/>
              </a:br>
              <a:r>
                <a:rPr lang="en-US" sz="1400" dirty="0"/>
                <a:t>Lorem ipsum Lorem ipsum </a:t>
              </a:r>
              <a:br>
                <a:rPr lang="en-US" sz="1400" dirty="0"/>
              </a:br>
              <a:r>
                <a:rPr lang="en-US" sz="1400" dirty="0"/>
                <a:t>Lorem ipsum Lorem ipsum  </a:t>
              </a:r>
              <a:endParaRPr lang="ru-RU" sz="1400" dirty="0"/>
            </a:p>
          </p:txBody>
        </p:sp>
        <p:grpSp>
          <p:nvGrpSpPr>
            <p:cNvPr id="56" name="Рисунок 150">
              <a:extLst>
                <a:ext uri="{FF2B5EF4-FFF2-40B4-BE49-F238E27FC236}">
                  <a16:creationId xmlns:a16="http://schemas.microsoft.com/office/drawing/2014/main" id="{C17EEC12-6774-2D42-B76D-FC37EBF44672}"/>
                </a:ext>
              </a:extLst>
            </p:cNvPr>
            <p:cNvGrpSpPr/>
            <p:nvPr/>
          </p:nvGrpSpPr>
          <p:grpSpPr>
            <a:xfrm>
              <a:off x="723310" y="1268467"/>
              <a:ext cx="360000" cy="360000"/>
              <a:chOff x="1450457" y="2758983"/>
              <a:chExt cx="360000" cy="360000"/>
            </a:xfrm>
          </p:grpSpPr>
          <p:sp>
            <p:nvSpPr>
              <p:cNvPr id="57" name="Полилиния 56">
                <a:extLst>
                  <a:ext uri="{FF2B5EF4-FFF2-40B4-BE49-F238E27FC236}">
                    <a16:creationId xmlns:a16="http://schemas.microsoft.com/office/drawing/2014/main" id="{B896DBB8-60B4-4546-9886-C30DAC289457}"/>
                  </a:ext>
                </a:extLst>
              </p:cNvPr>
              <p:cNvSpPr/>
              <p:nvPr/>
            </p:nvSpPr>
            <p:spPr>
              <a:xfrm>
                <a:off x="1450457" y="27589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" name="Полилиния 57">
                <a:extLst>
                  <a:ext uri="{FF2B5EF4-FFF2-40B4-BE49-F238E27FC236}">
                    <a16:creationId xmlns:a16="http://schemas.microsoft.com/office/drawing/2014/main" id="{9E617258-BF02-004C-B39B-7C7891AAFF15}"/>
                  </a:ext>
                </a:extLst>
              </p:cNvPr>
              <p:cNvSpPr/>
              <p:nvPr/>
            </p:nvSpPr>
            <p:spPr>
              <a:xfrm>
                <a:off x="1525457" y="2818983"/>
                <a:ext cx="270000" cy="180000"/>
              </a:xfrm>
              <a:custGeom>
                <a:avLst/>
                <a:gdLst>
                  <a:gd name="connsiteX0" fmla="*/ 41207 w 270000"/>
                  <a:gd name="connsiteY0" fmla="*/ 165639 h 180000"/>
                  <a:gd name="connsiteX1" fmla="*/ 0 w 270000"/>
                  <a:gd name="connsiteY1" fmla="*/ 90000 h 180000"/>
                  <a:gd name="connsiteX2" fmla="*/ 90000 w 270000"/>
                  <a:gd name="connsiteY2" fmla="*/ 0 h 180000"/>
                  <a:gd name="connsiteX3" fmla="*/ 177165 w 270000"/>
                  <a:gd name="connsiteY3" fmla="*/ 67500 h 180000"/>
                  <a:gd name="connsiteX4" fmla="*/ 213750 w 270000"/>
                  <a:gd name="connsiteY4" fmla="*/ 67500 h 180000"/>
                  <a:gd name="connsiteX5" fmla="*/ 270000 w 270000"/>
                  <a:gd name="connsiteY5" fmla="*/ 123750 h 180000"/>
                  <a:gd name="connsiteX6" fmla="*/ 213750 w 270000"/>
                  <a:gd name="connsiteY6" fmla="*/ 180000 h 180000"/>
                  <a:gd name="connsiteX7" fmla="*/ 78750 w 270000"/>
                  <a:gd name="connsiteY7" fmla="*/ 180000 h 180000"/>
                  <a:gd name="connsiteX8" fmla="*/ 41207 w 270000"/>
                  <a:gd name="connsiteY8" fmla="*/ 165639 h 1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000" h="180000">
                    <a:moveTo>
                      <a:pt x="41207" y="165639"/>
                    </a:moveTo>
                    <a:cubicBezTo>
                      <a:pt x="16412" y="149610"/>
                      <a:pt x="0" y="121722"/>
                      <a:pt x="0" y="90000"/>
                    </a:cubicBezTo>
                    <a:cubicBezTo>
                      <a:pt x="0" y="40294"/>
                      <a:pt x="40294" y="0"/>
                      <a:pt x="90000" y="0"/>
                    </a:cubicBezTo>
                    <a:cubicBezTo>
                      <a:pt x="131937" y="0"/>
                      <a:pt x="167173" y="28682"/>
                      <a:pt x="177165" y="67500"/>
                    </a:cubicBezTo>
                    <a:lnTo>
                      <a:pt x="213750" y="67500"/>
                    </a:lnTo>
                    <a:cubicBezTo>
                      <a:pt x="244817" y="67500"/>
                      <a:pt x="270000" y="92684"/>
                      <a:pt x="270000" y="123750"/>
                    </a:cubicBezTo>
                    <a:cubicBezTo>
                      <a:pt x="270000" y="154817"/>
                      <a:pt x="244817" y="180000"/>
                      <a:pt x="213750" y="180000"/>
                    </a:cubicBezTo>
                    <a:lnTo>
                      <a:pt x="78750" y="180000"/>
                    </a:lnTo>
                    <a:cubicBezTo>
                      <a:pt x="64323" y="180000"/>
                      <a:pt x="51164" y="174569"/>
                      <a:pt x="41207" y="165639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" name="Полилиния 58">
                <a:extLst>
                  <a:ext uri="{FF2B5EF4-FFF2-40B4-BE49-F238E27FC236}">
                    <a16:creationId xmlns:a16="http://schemas.microsoft.com/office/drawing/2014/main" id="{A35AC4B7-3B76-164A-A981-B4ABCB0DF448}"/>
                  </a:ext>
                </a:extLst>
              </p:cNvPr>
              <p:cNvSpPr/>
              <p:nvPr/>
            </p:nvSpPr>
            <p:spPr>
              <a:xfrm>
                <a:off x="1465457" y="2878983"/>
                <a:ext cx="270000" cy="180000"/>
              </a:xfrm>
              <a:custGeom>
                <a:avLst/>
                <a:gdLst>
                  <a:gd name="connsiteX0" fmla="*/ 41207 w 270000"/>
                  <a:gd name="connsiteY0" fmla="*/ 165639 h 180000"/>
                  <a:gd name="connsiteX1" fmla="*/ 0 w 270000"/>
                  <a:gd name="connsiteY1" fmla="*/ 90000 h 180000"/>
                  <a:gd name="connsiteX2" fmla="*/ 90000 w 270000"/>
                  <a:gd name="connsiteY2" fmla="*/ 0 h 180000"/>
                  <a:gd name="connsiteX3" fmla="*/ 177165 w 270000"/>
                  <a:gd name="connsiteY3" fmla="*/ 67500 h 180000"/>
                  <a:gd name="connsiteX4" fmla="*/ 213750 w 270000"/>
                  <a:gd name="connsiteY4" fmla="*/ 67500 h 180000"/>
                  <a:gd name="connsiteX5" fmla="*/ 270000 w 270000"/>
                  <a:gd name="connsiteY5" fmla="*/ 123750 h 180000"/>
                  <a:gd name="connsiteX6" fmla="*/ 213750 w 270000"/>
                  <a:gd name="connsiteY6" fmla="*/ 180000 h 180000"/>
                  <a:gd name="connsiteX7" fmla="*/ 78750 w 270000"/>
                  <a:gd name="connsiteY7" fmla="*/ 180000 h 180000"/>
                  <a:gd name="connsiteX8" fmla="*/ 41207 w 270000"/>
                  <a:gd name="connsiteY8" fmla="*/ 165639 h 1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000" h="180000">
                    <a:moveTo>
                      <a:pt x="41207" y="165639"/>
                    </a:moveTo>
                    <a:cubicBezTo>
                      <a:pt x="16412" y="149610"/>
                      <a:pt x="0" y="121722"/>
                      <a:pt x="0" y="90000"/>
                    </a:cubicBezTo>
                    <a:cubicBezTo>
                      <a:pt x="0" y="40295"/>
                      <a:pt x="40294" y="0"/>
                      <a:pt x="90000" y="0"/>
                    </a:cubicBezTo>
                    <a:cubicBezTo>
                      <a:pt x="131936" y="0"/>
                      <a:pt x="167174" y="28682"/>
                      <a:pt x="177165" y="67500"/>
                    </a:cubicBezTo>
                    <a:lnTo>
                      <a:pt x="213750" y="67500"/>
                    </a:lnTo>
                    <a:cubicBezTo>
                      <a:pt x="244817" y="67500"/>
                      <a:pt x="270000" y="92684"/>
                      <a:pt x="270000" y="123750"/>
                    </a:cubicBezTo>
                    <a:cubicBezTo>
                      <a:pt x="270000" y="154817"/>
                      <a:pt x="244817" y="180000"/>
                      <a:pt x="213750" y="180000"/>
                    </a:cubicBezTo>
                    <a:lnTo>
                      <a:pt x="78750" y="180000"/>
                    </a:lnTo>
                    <a:cubicBezTo>
                      <a:pt x="64323" y="180000"/>
                      <a:pt x="51164" y="174568"/>
                      <a:pt x="41207" y="16563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940C65BF-7CD8-DA47-8E2E-DCF6986893DA}"/>
              </a:ext>
            </a:extLst>
          </p:cNvPr>
          <p:cNvGrpSpPr/>
          <p:nvPr/>
        </p:nvGrpSpPr>
        <p:grpSpPr>
          <a:xfrm>
            <a:off x="4324355" y="3611417"/>
            <a:ext cx="3536751" cy="2292853"/>
            <a:chOff x="550862" y="1052512"/>
            <a:chExt cx="3536751" cy="2292853"/>
          </a:xfrm>
        </p:grpSpPr>
        <p:sp>
          <p:nvSpPr>
            <p:cNvPr id="61" name="Прямоугольник: скругленные углы 13">
              <a:extLst>
                <a:ext uri="{FF2B5EF4-FFF2-40B4-BE49-F238E27FC236}">
                  <a16:creationId xmlns:a16="http://schemas.microsoft.com/office/drawing/2014/main" id="{44142737-C2E8-834B-B9D0-1FCCAA07E944}"/>
                </a:ext>
              </a:extLst>
            </p:cNvPr>
            <p:cNvSpPr/>
            <p:nvPr/>
          </p:nvSpPr>
          <p:spPr>
            <a:xfrm>
              <a:off x="550862" y="1052512"/>
              <a:ext cx="3536751" cy="2292853"/>
            </a:xfrm>
            <a:prstGeom prst="roundRect">
              <a:avLst>
                <a:gd name="adj" fmla="val 4334"/>
              </a:avLst>
            </a:prstGeom>
            <a:solidFill>
              <a:schemeClr val="bg1"/>
            </a:solidFill>
            <a:ln w="9525">
              <a:gradFill>
                <a:gsLst>
                  <a:gs pos="69000">
                    <a:schemeClr val="bg1">
                      <a:lumMod val="75000"/>
                    </a:schemeClr>
                  </a:gs>
                  <a:gs pos="100000">
                    <a:schemeClr val="accent2"/>
                  </a:gs>
                </a:gsLst>
                <a:lin ang="2700000" scaled="0"/>
              </a:gradFill>
            </a:ln>
            <a:effectLst>
              <a:outerShdw blurRad="114300" dist="63500" dir="2700000" algn="ctr" rotWithShape="0">
                <a:srgbClr val="000000">
                  <a:alpha val="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id="{DE567BE6-4DBF-014A-9930-FA3BD9E17743}"/>
                </a:ext>
              </a:extLst>
            </p:cNvPr>
            <p:cNvSpPr/>
            <p:nvPr/>
          </p:nvSpPr>
          <p:spPr>
            <a:xfrm>
              <a:off x="723310" y="1760250"/>
              <a:ext cx="3179617" cy="1405513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en-US" sz="1600" b="1" dirty="0">
                  <a:solidFill>
                    <a:schemeClr val="accent2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Lorem ipsum Lorem ipsum Lorem ipsum </a:t>
              </a:r>
              <a:endParaRPr lang="ru-RU" sz="1600" b="1" dirty="0">
                <a:solidFill>
                  <a:schemeClr val="accent2"/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  <a:p>
              <a:pPr>
                <a:spcAft>
                  <a:spcPts val="400"/>
                </a:spcAft>
              </a:pPr>
              <a:r>
                <a:rPr lang="en-US" sz="1400" dirty="0"/>
                <a:t>Lorem ipsum Lorem ipsum </a:t>
              </a:r>
              <a:br>
                <a:rPr lang="en-US" sz="1400" dirty="0"/>
              </a:br>
              <a:r>
                <a:rPr lang="en-US" sz="1400" dirty="0"/>
                <a:t>Lorem ipsum Lorem ipsum</a:t>
              </a:r>
              <a:br>
                <a:rPr lang="en-US" sz="1400" dirty="0"/>
              </a:br>
              <a:r>
                <a:rPr lang="en-US" sz="1400" dirty="0"/>
                <a:t>Lorem ipsum Lorem ipsum </a:t>
              </a:r>
              <a:br>
                <a:rPr lang="en-US" sz="1400" dirty="0"/>
              </a:br>
              <a:r>
                <a:rPr lang="en-US" sz="1400" dirty="0"/>
                <a:t>Lorem ipsum Lorem ipsum  </a:t>
              </a:r>
              <a:endParaRPr lang="ru-RU" sz="1400" dirty="0"/>
            </a:p>
          </p:txBody>
        </p:sp>
        <p:grpSp>
          <p:nvGrpSpPr>
            <p:cNvPr id="63" name="Рисунок 150">
              <a:extLst>
                <a:ext uri="{FF2B5EF4-FFF2-40B4-BE49-F238E27FC236}">
                  <a16:creationId xmlns:a16="http://schemas.microsoft.com/office/drawing/2014/main" id="{91B203E7-521D-D549-B584-7AE5ECC80802}"/>
                </a:ext>
              </a:extLst>
            </p:cNvPr>
            <p:cNvGrpSpPr/>
            <p:nvPr/>
          </p:nvGrpSpPr>
          <p:grpSpPr>
            <a:xfrm>
              <a:off x="723310" y="1268467"/>
              <a:ext cx="360000" cy="360000"/>
              <a:chOff x="1450457" y="2758983"/>
              <a:chExt cx="360000" cy="360000"/>
            </a:xfrm>
          </p:grpSpPr>
          <p:sp>
            <p:nvSpPr>
              <p:cNvPr id="64" name="Полилиния 63">
                <a:extLst>
                  <a:ext uri="{FF2B5EF4-FFF2-40B4-BE49-F238E27FC236}">
                    <a16:creationId xmlns:a16="http://schemas.microsoft.com/office/drawing/2014/main" id="{92EB74B9-BB39-6E44-82AD-FD3D73935E06}"/>
                  </a:ext>
                </a:extLst>
              </p:cNvPr>
              <p:cNvSpPr/>
              <p:nvPr/>
            </p:nvSpPr>
            <p:spPr>
              <a:xfrm>
                <a:off x="1450457" y="27589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" name="Полилиния 64">
                <a:extLst>
                  <a:ext uri="{FF2B5EF4-FFF2-40B4-BE49-F238E27FC236}">
                    <a16:creationId xmlns:a16="http://schemas.microsoft.com/office/drawing/2014/main" id="{DC33DDDD-101E-4640-B758-37B521B097C0}"/>
                  </a:ext>
                </a:extLst>
              </p:cNvPr>
              <p:cNvSpPr/>
              <p:nvPr/>
            </p:nvSpPr>
            <p:spPr>
              <a:xfrm>
                <a:off x="1525457" y="2818983"/>
                <a:ext cx="270000" cy="180000"/>
              </a:xfrm>
              <a:custGeom>
                <a:avLst/>
                <a:gdLst>
                  <a:gd name="connsiteX0" fmla="*/ 41207 w 270000"/>
                  <a:gd name="connsiteY0" fmla="*/ 165639 h 180000"/>
                  <a:gd name="connsiteX1" fmla="*/ 0 w 270000"/>
                  <a:gd name="connsiteY1" fmla="*/ 90000 h 180000"/>
                  <a:gd name="connsiteX2" fmla="*/ 90000 w 270000"/>
                  <a:gd name="connsiteY2" fmla="*/ 0 h 180000"/>
                  <a:gd name="connsiteX3" fmla="*/ 177165 w 270000"/>
                  <a:gd name="connsiteY3" fmla="*/ 67500 h 180000"/>
                  <a:gd name="connsiteX4" fmla="*/ 213750 w 270000"/>
                  <a:gd name="connsiteY4" fmla="*/ 67500 h 180000"/>
                  <a:gd name="connsiteX5" fmla="*/ 270000 w 270000"/>
                  <a:gd name="connsiteY5" fmla="*/ 123750 h 180000"/>
                  <a:gd name="connsiteX6" fmla="*/ 213750 w 270000"/>
                  <a:gd name="connsiteY6" fmla="*/ 180000 h 180000"/>
                  <a:gd name="connsiteX7" fmla="*/ 78750 w 270000"/>
                  <a:gd name="connsiteY7" fmla="*/ 180000 h 180000"/>
                  <a:gd name="connsiteX8" fmla="*/ 41207 w 270000"/>
                  <a:gd name="connsiteY8" fmla="*/ 165639 h 1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000" h="180000">
                    <a:moveTo>
                      <a:pt x="41207" y="165639"/>
                    </a:moveTo>
                    <a:cubicBezTo>
                      <a:pt x="16412" y="149610"/>
                      <a:pt x="0" y="121722"/>
                      <a:pt x="0" y="90000"/>
                    </a:cubicBezTo>
                    <a:cubicBezTo>
                      <a:pt x="0" y="40294"/>
                      <a:pt x="40294" y="0"/>
                      <a:pt x="90000" y="0"/>
                    </a:cubicBezTo>
                    <a:cubicBezTo>
                      <a:pt x="131937" y="0"/>
                      <a:pt x="167173" y="28682"/>
                      <a:pt x="177165" y="67500"/>
                    </a:cubicBezTo>
                    <a:lnTo>
                      <a:pt x="213750" y="67500"/>
                    </a:lnTo>
                    <a:cubicBezTo>
                      <a:pt x="244817" y="67500"/>
                      <a:pt x="270000" y="92684"/>
                      <a:pt x="270000" y="123750"/>
                    </a:cubicBezTo>
                    <a:cubicBezTo>
                      <a:pt x="270000" y="154817"/>
                      <a:pt x="244817" y="180000"/>
                      <a:pt x="213750" y="180000"/>
                    </a:cubicBezTo>
                    <a:lnTo>
                      <a:pt x="78750" y="180000"/>
                    </a:lnTo>
                    <a:cubicBezTo>
                      <a:pt x="64323" y="180000"/>
                      <a:pt x="51164" y="174569"/>
                      <a:pt x="41207" y="165639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" name="Полилиния 65">
                <a:extLst>
                  <a:ext uri="{FF2B5EF4-FFF2-40B4-BE49-F238E27FC236}">
                    <a16:creationId xmlns:a16="http://schemas.microsoft.com/office/drawing/2014/main" id="{A22FBFAF-C9EA-3A48-A5E6-575A4D868FCE}"/>
                  </a:ext>
                </a:extLst>
              </p:cNvPr>
              <p:cNvSpPr/>
              <p:nvPr/>
            </p:nvSpPr>
            <p:spPr>
              <a:xfrm>
                <a:off x="1465457" y="2878983"/>
                <a:ext cx="270000" cy="180000"/>
              </a:xfrm>
              <a:custGeom>
                <a:avLst/>
                <a:gdLst>
                  <a:gd name="connsiteX0" fmla="*/ 41207 w 270000"/>
                  <a:gd name="connsiteY0" fmla="*/ 165639 h 180000"/>
                  <a:gd name="connsiteX1" fmla="*/ 0 w 270000"/>
                  <a:gd name="connsiteY1" fmla="*/ 90000 h 180000"/>
                  <a:gd name="connsiteX2" fmla="*/ 90000 w 270000"/>
                  <a:gd name="connsiteY2" fmla="*/ 0 h 180000"/>
                  <a:gd name="connsiteX3" fmla="*/ 177165 w 270000"/>
                  <a:gd name="connsiteY3" fmla="*/ 67500 h 180000"/>
                  <a:gd name="connsiteX4" fmla="*/ 213750 w 270000"/>
                  <a:gd name="connsiteY4" fmla="*/ 67500 h 180000"/>
                  <a:gd name="connsiteX5" fmla="*/ 270000 w 270000"/>
                  <a:gd name="connsiteY5" fmla="*/ 123750 h 180000"/>
                  <a:gd name="connsiteX6" fmla="*/ 213750 w 270000"/>
                  <a:gd name="connsiteY6" fmla="*/ 180000 h 180000"/>
                  <a:gd name="connsiteX7" fmla="*/ 78750 w 270000"/>
                  <a:gd name="connsiteY7" fmla="*/ 180000 h 180000"/>
                  <a:gd name="connsiteX8" fmla="*/ 41207 w 270000"/>
                  <a:gd name="connsiteY8" fmla="*/ 165639 h 1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000" h="180000">
                    <a:moveTo>
                      <a:pt x="41207" y="165639"/>
                    </a:moveTo>
                    <a:cubicBezTo>
                      <a:pt x="16412" y="149610"/>
                      <a:pt x="0" y="121722"/>
                      <a:pt x="0" y="90000"/>
                    </a:cubicBezTo>
                    <a:cubicBezTo>
                      <a:pt x="0" y="40295"/>
                      <a:pt x="40294" y="0"/>
                      <a:pt x="90000" y="0"/>
                    </a:cubicBezTo>
                    <a:cubicBezTo>
                      <a:pt x="131936" y="0"/>
                      <a:pt x="167174" y="28682"/>
                      <a:pt x="177165" y="67500"/>
                    </a:cubicBezTo>
                    <a:lnTo>
                      <a:pt x="213750" y="67500"/>
                    </a:lnTo>
                    <a:cubicBezTo>
                      <a:pt x="244817" y="67500"/>
                      <a:pt x="270000" y="92684"/>
                      <a:pt x="270000" y="123750"/>
                    </a:cubicBezTo>
                    <a:cubicBezTo>
                      <a:pt x="270000" y="154817"/>
                      <a:pt x="244817" y="180000"/>
                      <a:pt x="213750" y="180000"/>
                    </a:cubicBezTo>
                    <a:lnTo>
                      <a:pt x="78750" y="180000"/>
                    </a:lnTo>
                    <a:cubicBezTo>
                      <a:pt x="64323" y="180000"/>
                      <a:pt x="51164" y="174568"/>
                      <a:pt x="41207" y="16563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34D0D29D-BF3E-6F4A-B06A-6A9362788D19}"/>
              </a:ext>
            </a:extLst>
          </p:cNvPr>
          <p:cNvGrpSpPr/>
          <p:nvPr/>
        </p:nvGrpSpPr>
        <p:grpSpPr>
          <a:xfrm>
            <a:off x="8104387" y="3611417"/>
            <a:ext cx="3536751" cy="2292853"/>
            <a:chOff x="550862" y="1052512"/>
            <a:chExt cx="3536751" cy="2292853"/>
          </a:xfrm>
        </p:grpSpPr>
        <p:sp>
          <p:nvSpPr>
            <p:cNvPr id="68" name="Прямоугольник: скругленные углы 13">
              <a:extLst>
                <a:ext uri="{FF2B5EF4-FFF2-40B4-BE49-F238E27FC236}">
                  <a16:creationId xmlns:a16="http://schemas.microsoft.com/office/drawing/2014/main" id="{11A7A443-8C27-8C4E-B9DA-3CDE6786D58D}"/>
                </a:ext>
              </a:extLst>
            </p:cNvPr>
            <p:cNvSpPr/>
            <p:nvPr/>
          </p:nvSpPr>
          <p:spPr>
            <a:xfrm>
              <a:off x="550862" y="1052512"/>
              <a:ext cx="3536751" cy="2292853"/>
            </a:xfrm>
            <a:prstGeom prst="roundRect">
              <a:avLst>
                <a:gd name="adj" fmla="val 4334"/>
              </a:avLst>
            </a:prstGeom>
            <a:solidFill>
              <a:schemeClr val="bg1"/>
            </a:solidFill>
            <a:ln w="9525">
              <a:gradFill>
                <a:gsLst>
                  <a:gs pos="69000">
                    <a:schemeClr val="bg1">
                      <a:lumMod val="75000"/>
                    </a:schemeClr>
                  </a:gs>
                  <a:gs pos="100000">
                    <a:schemeClr val="accent2"/>
                  </a:gs>
                </a:gsLst>
                <a:lin ang="2700000" scaled="0"/>
              </a:gradFill>
            </a:ln>
            <a:effectLst>
              <a:outerShdw blurRad="114300" dist="63500" dir="2700000" algn="ctr" rotWithShape="0">
                <a:srgbClr val="000000">
                  <a:alpha val="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9" name="Прямоугольник 68">
              <a:extLst>
                <a:ext uri="{FF2B5EF4-FFF2-40B4-BE49-F238E27FC236}">
                  <a16:creationId xmlns:a16="http://schemas.microsoft.com/office/drawing/2014/main" id="{3914F19B-5E15-D144-9FED-D051C8B490C6}"/>
                </a:ext>
              </a:extLst>
            </p:cNvPr>
            <p:cNvSpPr/>
            <p:nvPr/>
          </p:nvSpPr>
          <p:spPr>
            <a:xfrm>
              <a:off x="723310" y="1760250"/>
              <a:ext cx="3179617" cy="1405513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en-US" sz="1600" b="1" dirty="0">
                  <a:solidFill>
                    <a:schemeClr val="accent2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Lorem ipsum Lorem ipsum Lorem ipsum </a:t>
              </a:r>
              <a:endParaRPr lang="ru-RU" sz="1600" b="1" dirty="0">
                <a:solidFill>
                  <a:schemeClr val="accent2"/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  <a:p>
              <a:pPr>
                <a:spcAft>
                  <a:spcPts val="400"/>
                </a:spcAft>
              </a:pPr>
              <a:r>
                <a:rPr lang="en-US" sz="1400" dirty="0"/>
                <a:t>Lorem ipsum Lorem ipsum </a:t>
              </a:r>
              <a:br>
                <a:rPr lang="en-US" sz="1400" dirty="0"/>
              </a:br>
              <a:r>
                <a:rPr lang="en-US" sz="1400" dirty="0"/>
                <a:t>Lorem ipsum Lorem ipsum</a:t>
              </a:r>
              <a:br>
                <a:rPr lang="en-US" sz="1400" dirty="0"/>
              </a:br>
              <a:r>
                <a:rPr lang="en-US" sz="1400" dirty="0"/>
                <a:t>Lorem ipsum Lorem ipsum </a:t>
              </a:r>
              <a:br>
                <a:rPr lang="en-US" sz="1400" dirty="0"/>
              </a:br>
              <a:r>
                <a:rPr lang="en-US" sz="1400" dirty="0"/>
                <a:t>Lorem ipsum Lorem ipsum  </a:t>
              </a:r>
              <a:endParaRPr lang="ru-RU" sz="1400" dirty="0"/>
            </a:p>
          </p:txBody>
        </p:sp>
        <p:grpSp>
          <p:nvGrpSpPr>
            <p:cNvPr id="70" name="Рисунок 150">
              <a:extLst>
                <a:ext uri="{FF2B5EF4-FFF2-40B4-BE49-F238E27FC236}">
                  <a16:creationId xmlns:a16="http://schemas.microsoft.com/office/drawing/2014/main" id="{335305FA-6307-EE43-9812-EE254E58242B}"/>
                </a:ext>
              </a:extLst>
            </p:cNvPr>
            <p:cNvGrpSpPr/>
            <p:nvPr/>
          </p:nvGrpSpPr>
          <p:grpSpPr>
            <a:xfrm>
              <a:off x="723310" y="1268467"/>
              <a:ext cx="360000" cy="360000"/>
              <a:chOff x="1450457" y="2758983"/>
              <a:chExt cx="360000" cy="360000"/>
            </a:xfrm>
          </p:grpSpPr>
          <p:sp>
            <p:nvSpPr>
              <p:cNvPr id="71" name="Полилиния 70">
                <a:extLst>
                  <a:ext uri="{FF2B5EF4-FFF2-40B4-BE49-F238E27FC236}">
                    <a16:creationId xmlns:a16="http://schemas.microsoft.com/office/drawing/2014/main" id="{80D8B45D-58FB-6947-9358-30F48E7E7CDB}"/>
                  </a:ext>
                </a:extLst>
              </p:cNvPr>
              <p:cNvSpPr/>
              <p:nvPr/>
            </p:nvSpPr>
            <p:spPr>
              <a:xfrm>
                <a:off x="1450457" y="2758983"/>
                <a:ext cx="360000" cy="360000"/>
              </a:xfrm>
              <a:custGeom>
                <a:avLst/>
                <a:gdLst>
                  <a:gd name="connsiteX0" fmla="*/ 0 w 360000"/>
                  <a:gd name="connsiteY0" fmla="*/ 0 h 360000"/>
                  <a:gd name="connsiteX1" fmla="*/ 360000 w 360000"/>
                  <a:gd name="connsiteY1" fmla="*/ 0 h 360000"/>
                  <a:gd name="connsiteX2" fmla="*/ 360000 w 360000"/>
                  <a:gd name="connsiteY2" fmla="*/ 360000 h 360000"/>
                  <a:gd name="connsiteX3" fmla="*/ 0 w 360000"/>
                  <a:gd name="connsiteY3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0000" h="360000">
                    <a:moveTo>
                      <a:pt x="0" y="0"/>
                    </a:moveTo>
                    <a:lnTo>
                      <a:pt x="360000" y="0"/>
                    </a:lnTo>
                    <a:lnTo>
                      <a:pt x="360000" y="360000"/>
                    </a:lnTo>
                    <a:lnTo>
                      <a:pt x="0" y="360000"/>
                    </a:lnTo>
                    <a:close/>
                  </a:path>
                </a:pathLst>
              </a:custGeom>
              <a:noFill/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" name="Полилиния 71">
                <a:extLst>
                  <a:ext uri="{FF2B5EF4-FFF2-40B4-BE49-F238E27FC236}">
                    <a16:creationId xmlns:a16="http://schemas.microsoft.com/office/drawing/2014/main" id="{78031DD7-87AA-5B4B-8B3D-6E40FED567C8}"/>
                  </a:ext>
                </a:extLst>
              </p:cNvPr>
              <p:cNvSpPr/>
              <p:nvPr/>
            </p:nvSpPr>
            <p:spPr>
              <a:xfrm>
                <a:off x="1525457" y="2818983"/>
                <a:ext cx="270000" cy="180000"/>
              </a:xfrm>
              <a:custGeom>
                <a:avLst/>
                <a:gdLst>
                  <a:gd name="connsiteX0" fmla="*/ 41207 w 270000"/>
                  <a:gd name="connsiteY0" fmla="*/ 165639 h 180000"/>
                  <a:gd name="connsiteX1" fmla="*/ 0 w 270000"/>
                  <a:gd name="connsiteY1" fmla="*/ 90000 h 180000"/>
                  <a:gd name="connsiteX2" fmla="*/ 90000 w 270000"/>
                  <a:gd name="connsiteY2" fmla="*/ 0 h 180000"/>
                  <a:gd name="connsiteX3" fmla="*/ 177165 w 270000"/>
                  <a:gd name="connsiteY3" fmla="*/ 67500 h 180000"/>
                  <a:gd name="connsiteX4" fmla="*/ 213750 w 270000"/>
                  <a:gd name="connsiteY4" fmla="*/ 67500 h 180000"/>
                  <a:gd name="connsiteX5" fmla="*/ 270000 w 270000"/>
                  <a:gd name="connsiteY5" fmla="*/ 123750 h 180000"/>
                  <a:gd name="connsiteX6" fmla="*/ 213750 w 270000"/>
                  <a:gd name="connsiteY6" fmla="*/ 180000 h 180000"/>
                  <a:gd name="connsiteX7" fmla="*/ 78750 w 270000"/>
                  <a:gd name="connsiteY7" fmla="*/ 180000 h 180000"/>
                  <a:gd name="connsiteX8" fmla="*/ 41207 w 270000"/>
                  <a:gd name="connsiteY8" fmla="*/ 165639 h 1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000" h="180000">
                    <a:moveTo>
                      <a:pt x="41207" y="165639"/>
                    </a:moveTo>
                    <a:cubicBezTo>
                      <a:pt x="16412" y="149610"/>
                      <a:pt x="0" y="121722"/>
                      <a:pt x="0" y="90000"/>
                    </a:cubicBezTo>
                    <a:cubicBezTo>
                      <a:pt x="0" y="40294"/>
                      <a:pt x="40294" y="0"/>
                      <a:pt x="90000" y="0"/>
                    </a:cubicBezTo>
                    <a:cubicBezTo>
                      <a:pt x="131937" y="0"/>
                      <a:pt x="167173" y="28682"/>
                      <a:pt x="177165" y="67500"/>
                    </a:cubicBezTo>
                    <a:lnTo>
                      <a:pt x="213750" y="67500"/>
                    </a:lnTo>
                    <a:cubicBezTo>
                      <a:pt x="244817" y="67500"/>
                      <a:pt x="270000" y="92684"/>
                      <a:pt x="270000" y="123750"/>
                    </a:cubicBezTo>
                    <a:cubicBezTo>
                      <a:pt x="270000" y="154817"/>
                      <a:pt x="244817" y="180000"/>
                      <a:pt x="213750" y="180000"/>
                    </a:cubicBezTo>
                    <a:lnTo>
                      <a:pt x="78750" y="180000"/>
                    </a:lnTo>
                    <a:cubicBezTo>
                      <a:pt x="64323" y="180000"/>
                      <a:pt x="51164" y="174569"/>
                      <a:pt x="41207" y="165639"/>
                    </a:cubicBez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" name="Полилиния 72">
                <a:extLst>
                  <a:ext uri="{FF2B5EF4-FFF2-40B4-BE49-F238E27FC236}">
                    <a16:creationId xmlns:a16="http://schemas.microsoft.com/office/drawing/2014/main" id="{3BBB2684-1A8C-6542-89EE-F0B9E5444BC7}"/>
                  </a:ext>
                </a:extLst>
              </p:cNvPr>
              <p:cNvSpPr/>
              <p:nvPr/>
            </p:nvSpPr>
            <p:spPr>
              <a:xfrm>
                <a:off x="1465457" y="2878983"/>
                <a:ext cx="270000" cy="180000"/>
              </a:xfrm>
              <a:custGeom>
                <a:avLst/>
                <a:gdLst>
                  <a:gd name="connsiteX0" fmla="*/ 41207 w 270000"/>
                  <a:gd name="connsiteY0" fmla="*/ 165639 h 180000"/>
                  <a:gd name="connsiteX1" fmla="*/ 0 w 270000"/>
                  <a:gd name="connsiteY1" fmla="*/ 90000 h 180000"/>
                  <a:gd name="connsiteX2" fmla="*/ 90000 w 270000"/>
                  <a:gd name="connsiteY2" fmla="*/ 0 h 180000"/>
                  <a:gd name="connsiteX3" fmla="*/ 177165 w 270000"/>
                  <a:gd name="connsiteY3" fmla="*/ 67500 h 180000"/>
                  <a:gd name="connsiteX4" fmla="*/ 213750 w 270000"/>
                  <a:gd name="connsiteY4" fmla="*/ 67500 h 180000"/>
                  <a:gd name="connsiteX5" fmla="*/ 270000 w 270000"/>
                  <a:gd name="connsiteY5" fmla="*/ 123750 h 180000"/>
                  <a:gd name="connsiteX6" fmla="*/ 213750 w 270000"/>
                  <a:gd name="connsiteY6" fmla="*/ 180000 h 180000"/>
                  <a:gd name="connsiteX7" fmla="*/ 78750 w 270000"/>
                  <a:gd name="connsiteY7" fmla="*/ 180000 h 180000"/>
                  <a:gd name="connsiteX8" fmla="*/ 41207 w 270000"/>
                  <a:gd name="connsiteY8" fmla="*/ 165639 h 1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000" h="180000">
                    <a:moveTo>
                      <a:pt x="41207" y="165639"/>
                    </a:moveTo>
                    <a:cubicBezTo>
                      <a:pt x="16412" y="149610"/>
                      <a:pt x="0" y="121722"/>
                      <a:pt x="0" y="90000"/>
                    </a:cubicBezTo>
                    <a:cubicBezTo>
                      <a:pt x="0" y="40295"/>
                      <a:pt x="40294" y="0"/>
                      <a:pt x="90000" y="0"/>
                    </a:cubicBezTo>
                    <a:cubicBezTo>
                      <a:pt x="131936" y="0"/>
                      <a:pt x="167174" y="28682"/>
                      <a:pt x="177165" y="67500"/>
                    </a:cubicBezTo>
                    <a:lnTo>
                      <a:pt x="213750" y="67500"/>
                    </a:lnTo>
                    <a:cubicBezTo>
                      <a:pt x="244817" y="67500"/>
                      <a:pt x="270000" y="92684"/>
                      <a:pt x="270000" y="123750"/>
                    </a:cubicBezTo>
                    <a:cubicBezTo>
                      <a:pt x="270000" y="154817"/>
                      <a:pt x="244817" y="180000"/>
                      <a:pt x="213750" y="180000"/>
                    </a:cubicBezTo>
                    <a:lnTo>
                      <a:pt x="78750" y="180000"/>
                    </a:lnTo>
                    <a:cubicBezTo>
                      <a:pt x="64323" y="180000"/>
                      <a:pt x="51164" y="174568"/>
                      <a:pt x="41207" y="16563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74" name="Номер слайда 1">
            <a:extLst>
              <a:ext uri="{FF2B5EF4-FFF2-40B4-BE49-F238E27FC236}">
                <a16:creationId xmlns:a16="http://schemas.microsoft.com/office/drawing/2014/main" id="{BF36100A-6BE9-D346-9AD6-38E6B126F6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19177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5</a:t>
            </a:r>
            <a:r>
              <a:rPr lang="en-US" dirty="0"/>
              <a:t> </a:t>
            </a:r>
            <a:r>
              <a:rPr lang="ru-RU" dirty="0"/>
              <a:t>плашек (с одной акцентной)</a:t>
            </a:r>
          </a:p>
        </p:txBody>
      </p:sp>
      <p:sp>
        <p:nvSpPr>
          <p:cNvPr id="74" name="Прямоугольник: скругленные углы 5">
            <a:extLst>
              <a:ext uri="{FF2B5EF4-FFF2-40B4-BE49-F238E27FC236}">
                <a16:creationId xmlns:a16="http://schemas.microsoft.com/office/drawing/2014/main" id="{4684F776-3DB7-9244-8748-67F928A64356}"/>
              </a:ext>
            </a:extLst>
          </p:cNvPr>
          <p:cNvSpPr/>
          <p:nvPr/>
        </p:nvSpPr>
        <p:spPr>
          <a:xfrm>
            <a:off x="550863" y="1128001"/>
            <a:ext cx="3555964" cy="5180723"/>
          </a:xfrm>
          <a:prstGeom prst="roundRect">
            <a:avLst>
              <a:gd name="adj" fmla="val 3484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35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5" name="Прямоугольник: скругленные углы 7">
            <a:extLst>
              <a:ext uri="{FF2B5EF4-FFF2-40B4-BE49-F238E27FC236}">
                <a16:creationId xmlns:a16="http://schemas.microsoft.com/office/drawing/2014/main" id="{2166D45C-A600-0842-9C62-EED8E9B74E59}"/>
              </a:ext>
            </a:extLst>
          </p:cNvPr>
          <p:cNvSpPr/>
          <p:nvPr/>
        </p:nvSpPr>
        <p:spPr>
          <a:xfrm>
            <a:off x="4321288" y="1089025"/>
            <a:ext cx="3555964" cy="2505624"/>
          </a:xfrm>
          <a:prstGeom prst="roundRect">
            <a:avLst>
              <a:gd name="adj" fmla="val 3484"/>
            </a:avLst>
          </a:prstGeom>
          <a:solidFill>
            <a:schemeClr val="bg1"/>
          </a:solidFill>
          <a:ln w="9525">
            <a:gradFill>
              <a:gsLst>
                <a:gs pos="69000">
                  <a:schemeClr val="bg1">
                    <a:lumMod val="75000"/>
                  </a:schemeClr>
                </a:gs>
                <a:gs pos="100000">
                  <a:schemeClr val="accent2"/>
                </a:gs>
              </a:gsLst>
              <a:lin ang="2700000" scaled="0"/>
            </a:gradFill>
          </a:ln>
          <a:effectLst>
            <a:outerShdw blurRad="114300" dist="63500" dir="27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ик: скругленные углы 30">
            <a:extLst>
              <a:ext uri="{FF2B5EF4-FFF2-40B4-BE49-F238E27FC236}">
                <a16:creationId xmlns:a16="http://schemas.microsoft.com/office/drawing/2014/main" id="{E71A4B46-D7AD-6441-BDAB-52850DDA3B74}"/>
              </a:ext>
            </a:extLst>
          </p:cNvPr>
          <p:cNvSpPr/>
          <p:nvPr/>
        </p:nvSpPr>
        <p:spPr>
          <a:xfrm>
            <a:off x="8091713" y="1089025"/>
            <a:ext cx="3555964" cy="2505624"/>
          </a:xfrm>
          <a:prstGeom prst="roundRect">
            <a:avLst>
              <a:gd name="adj" fmla="val 3484"/>
            </a:avLst>
          </a:prstGeom>
          <a:solidFill>
            <a:schemeClr val="bg1"/>
          </a:solidFill>
          <a:ln w="9525">
            <a:gradFill>
              <a:gsLst>
                <a:gs pos="69000">
                  <a:schemeClr val="bg1">
                    <a:lumMod val="75000"/>
                  </a:schemeClr>
                </a:gs>
                <a:gs pos="100000">
                  <a:schemeClr val="accent2"/>
                </a:gs>
              </a:gsLst>
              <a:lin ang="2700000" scaled="0"/>
            </a:gradFill>
          </a:ln>
          <a:effectLst>
            <a:outerShdw blurRad="114300" dist="63500" dir="27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Прямоугольник: скругленные углы 34">
            <a:extLst>
              <a:ext uri="{FF2B5EF4-FFF2-40B4-BE49-F238E27FC236}">
                <a16:creationId xmlns:a16="http://schemas.microsoft.com/office/drawing/2014/main" id="{02C8DC0F-1945-2E43-B2D7-2272A9205F6F}"/>
              </a:ext>
            </a:extLst>
          </p:cNvPr>
          <p:cNvSpPr/>
          <p:nvPr/>
        </p:nvSpPr>
        <p:spPr>
          <a:xfrm>
            <a:off x="4318681" y="3803101"/>
            <a:ext cx="3555964" cy="2505624"/>
          </a:xfrm>
          <a:prstGeom prst="roundRect">
            <a:avLst>
              <a:gd name="adj" fmla="val 3484"/>
            </a:avLst>
          </a:prstGeom>
          <a:solidFill>
            <a:schemeClr val="bg1"/>
          </a:solidFill>
          <a:ln w="9525">
            <a:gradFill>
              <a:gsLst>
                <a:gs pos="69000">
                  <a:schemeClr val="bg1">
                    <a:lumMod val="75000"/>
                  </a:schemeClr>
                </a:gs>
                <a:gs pos="100000">
                  <a:schemeClr val="accent2"/>
                </a:gs>
              </a:gsLst>
              <a:lin ang="2700000" scaled="0"/>
            </a:gradFill>
          </a:ln>
          <a:effectLst>
            <a:outerShdw blurRad="114300" dist="63500" dir="27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: скругленные углы 38">
            <a:extLst>
              <a:ext uri="{FF2B5EF4-FFF2-40B4-BE49-F238E27FC236}">
                <a16:creationId xmlns:a16="http://schemas.microsoft.com/office/drawing/2014/main" id="{DF8C8288-1589-DA40-9371-F80A7B8D4124}"/>
              </a:ext>
            </a:extLst>
          </p:cNvPr>
          <p:cNvSpPr/>
          <p:nvPr/>
        </p:nvSpPr>
        <p:spPr>
          <a:xfrm>
            <a:off x="8086499" y="3803101"/>
            <a:ext cx="3555964" cy="2505624"/>
          </a:xfrm>
          <a:prstGeom prst="roundRect">
            <a:avLst>
              <a:gd name="adj" fmla="val 3484"/>
            </a:avLst>
          </a:prstGeom>
          <a:solidFill>
            <a:schemeClr val="bg1"/>
          </a:solidFill>
          <a:ln w="9525">
            <a:gradFill>
              <a:gsLst>
                <a:gs pos="69000">
                  <a:schemeClr val="bg1">
                    <a:lumMod val="75000"/>
                  </a:schemeClr>
                </a:gs>
                <a:gs pos="100000">
                  <a:schemeClr val="accent2"/>
                </a:gs>
              </a:gsLst>
              <a:lin ang="2700000" scaled="0"/>
            </a:gradFill>
          </a:ln>
          <a:effectLst>
            <a:outerShdw blurRad="114300" dist="63500" dir="27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67F7A6AD-9668-D34F-958D-AC2A723CA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13089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 </a:t>
            </a:r>
            <a:r>
              <a:rPr lang="ru-RU" dirty="0"/>
              <a:t>плашки (с одной акцентной)</a:t>
            </a:r>
          </a:p>
        </p:txBody>
      </p:sp>
      <p:sp>
        <p:nvSpPr>
          <p:cNvPr id="6" name="Прямоугольник: скругленные углы 12">
            <a:extLst>
              <a:ext uri="{FF2B5EF4-FFF2-40B4-BE49-F238E27FC236}">
                <a16:creationId xmlns:a16="http://schemas.microsoft.com/office/drawing/2014/main" id="{8A1ED346-B703-714F-9189-77638FBC8FF9}"/>
              </a:ext>
            </a:extLst>
          </p:cNvPr>
          <p:cNvSpPr/>
          <p:nvPr/>
        </p:nvSpPr>
        <p:spPr>
          <a:xfrm>
            <a:off x="4314000" y="1089025"/>
            <a:ext cx="3564000" cy="5219700"/>
          </a:xfrm>
          <a:prstGeom prst="roundRect">
            <a:avLst>
              <a:gd name="adj" fmla="val 3484"/>
            </a:avLst>
          </a:prstGeom>
          <a:solidFill>
            <a:schemeClr val="bg1"/>
          </a:solidFill>
          <a:ln w="9525">
            <a:gradFill>
              <a:gsLst>
                <a:gs pos="69000">
                  <a:schemeClr val="bg1">
                    <a:lumMod val="75000"/>
                  </a:schemeClr>
                </a:gs>
                <a:gs pos="100000">
                  <a:schemeClr val="accent2"/>
                </a:gs>
              </a:gsLst>
              <a:lin ang="2700000" scaled="0"/>
            </a:gradFill>
          </a:ln>
          <a:effectLst>
            <a:outerShdw blurRad="114300" dist="63500" dir="27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: скругленные углы 14">
            <a:extLst>
              <a:ext uri="{FF2B5EF4-FFF2-40B4-BE49-F238E27FC236}">
                <a16:creationId xmlns:a16="http://schemas.microsoft.com/office/drawing/2014/main" id="{1049908F-5014-6240-B549-3DE6B7AD7928}"/>
              </a:ext>
            </a:extLst>
          </p:cNvPr>
          <p:cNvSpPr/>
          <p:nvPr/>
        </p:nvSpPr>
        <p:spPr>
          <a:xfrm>
            <a:off x="8077137" y="1089025"/>
            <a:ext cx="3564000" cy="5219700"/>
          </a:xfrm>
          <a:prstGeom prst="roundRect">
            <a:avLst>
              <a:gd name="adj" fmla="val 3484"/>
            </a:avLst>
          </a:prstGeom>
          <a:solidFill>
            <a:schemeClr val="bg1"/>
          </a:solidFill>
          <a:ln w="9525">
            <a:gradFill>
              <a:gsLst>
                <a:gs pos="69000">
                  <a:schemeClr val="bg1">
                    <a:lumMod val="75000"/>
                  </a:schemeClr>
                </a:gs>
                <a:gs pos="100000">
                  <a:schemeClr val="accent2"/>
                </a:gs>
              </a:gsLst>
              <a:lin ang="2700000" scaled="0"/>
            </a:gradFill>
          </a:ln>
          <a:effectLst>
            <a:outerShdw blurRad="114300" dist="63500" dir="27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3">
            <a:extLst>
              <a:ext uri="{FF2B5EF4-FFF2-40B4-BE49-F238E27FC236}">
                <a16:creationId xmlns:a16="http://schemas.microsoft.com/office/drawing/2014/main" id="{D09250C5-4167-DB42-ADB2-02CDFDC72EF1}"/>
              </a:ext>
            </a:extLst>
          </p:cNvPr>
          <p:cNvSpPr/>
          <p:nvPr/>
        </p:nvSpPr>
        <p:spPr>
          <a:xfrm>
            <a:off x="550863" y="1089023"/>
            <a:ext cx="3564000" cy="5219701"/>
          </a:xfrm>
          <a:prstGeom prst="roundRect">
            <a:avLst>
              <a:gd name="adj" fmla="val 3484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35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3B00F222-D007-314A-A37F-E277BBC5B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53693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литые иконки</a:t>
            </a:r>
          </a:p>
        </p:txBody>
      </p:sp>
      <p:grpSp>
        <p:nvGrpSpPr>
          <p:cNvPr id="56" name="Рисунок 53">
            <a:extLst>
              <a:ext uri="{FF2B5EF4-FFF2-40B4-BE49-F238E27FC236}">
                <a16:creationId xmlns:a16="http://schemas.microsoft.com/office/drawing/2014/main" id="{7252A189-42CB-3240-A31E-7027ED66501F}"/>
              </a:ext>
            </a:extLst>
          </p:cNvPr>
          <p:cNvGrpSpPr/>
          <p:nvPr/>
        </p:nvGrpSpPr>
        <p:grpSpPr>
          <a:xfrm>
            <a:off x="1318276" y="1762314"/>
            <a:ext cx="381663" cy="360000"/>
            <a:chOff x="9770870" y="1412875"/>
            <a:chExt cx="381663" cy="360000"/>
          </a:xfrm>
        </p:grpSpPr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83871125-7403-DD43-AC0D-C34FBCAA7A6B}"/>
                </a:ext>
              </a:extLst>
            </p:cNvPr>
            <p:cNvSpPr/>
            <p:nvPr/>
          </p:nvSpPr>
          <p:spPr>
            <a:xfrm>
              <a:off x="977087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Скругленный прямоугольник 57">
              <a:extLst>
                <a:ext uri="{FF2B5EF4-FFF2-40B4-BE49-F238E27FC236}">
                  <a16:creationId xmlns:a16="http://schemas.microsoft.com/office/drawing/2014/main" id="{5DD824F7-F544-1A43-8439-F97B8B04F276}"/>
                </a:ext>
              </a:extLst>
            </p:cNvPr>
            <p:cNvSpPr>
              <a:spLocks noChangeAspect="1"/>
            </p:cNvSpPr>
            <p:nvPr/>
          </p:nvSpPr>
          <p:spPr>
            <a:xfrm rot="16200000" flipV="1">
              <a:off x="9962270" y="1495207"/>
              <a:ext cx="28800" cy="201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Скругленный прямоугольник 58">
              <a:extLst>
                <a:ext uri="{FF2B5EF4-FFF2-40B4-BE49-F238E27FC236}">
                  <a16:creationId xmlns:a16="http://schemas.microsoft.com/office/drawing/2014/main" id="{2B66D42C-9670-DC4D-8414-754E64D19B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23733" y="1465807"/>
              <a:ext cx="28800" cy="2592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 59">
              <a:extLst>
                <a:ext uri="{FF2B5EF4-FFF2-40B4-BE49-F238E27FC236}">
                  <a16:creationId xmlns:a16="http://schemas.microsoft.com/office/drawing/2014/main" id="{DB586AB8-2323-F94C-BDF8-F98348CFE771}"/>
                </a:ext>
              </a:extLst>
            </p:cNvPr>
            <p:cNvSpPr/>
            <p:nvPr/>
          </p:nvSpPr>
          <p:spPr>
            <a:xfrm rot="16200000">
              <a:off x="9830870" y="1535408"/>
              <a:ext cx="209999" cy="119999"/>
            </a:xfrm>
            <a:custGeom>
              <a:avLst/>
              <a:gdLst>
                <a:gd name="connsiteX0" fmla="*/ 25606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6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6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6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1" name="Рисунок 53">
            <a:extLst>
              <a:ext uri="{FF2B5EF4-FFF2-40B4-BE49-F238E27FC236}">
                <a16:creationId xmlns:a16="http://schemas.microsoft.com/office/drawing/2014/main" id="{8B125117-FAE9-DB4C-A6FF-BF2EC94D848C}"/>
              </a:ext>
            </a:extLst>
          </p:cNvPr>
          <p:cNvGrpSpPr/>
          <p:nvPr/>
        </p:nvGrpSpPr>
        <p:grpSpPr>
          <a:xfrm rot="5400000">
            <a:off x="2132354" y="1721726"/>
            <a:ext cx="381663" cy="360000"/>
            <a:chOff x="9770870" y="1412875"/>
            <a:chExt cx="381663" cy="360000"/>
          </a:xfrm>
        </p:grpSpPr>
        <p:sp>
          <p:nvSpPr>
            <p:cNvPr id="62" name="Полилиния 61">
              <a:extLst>
                <a:ext uri="{FF2B5EF4-FFF2-40B4-BE49-F238E27FC236}">
                  <a16:creationId xmlns:a16="http://schemas.microsoft.com/office/drawing/2014/main" id="{2D123D4E-E881-E448-9FDC-957F276C6082}"/>
                </a:ext>
              </a:extLst>
            </p:cNvPr>
            <p:cNvSpPr/>
            <p:nvPr/>
          </p:nvSpPr>
          <p:spPr>
            <a:xfrm>
              <a:off x="977087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Скругленный прямоугольник 62">
              <a:extLst>
                <a:ext uri="{FF2B5EF4-FFF2-40B4-BE49-F238E27FC236}">
                  <a16:creationId xmlns:a16="http://schemas.microsoft.com/office/drawing/2014/main" id="{CE053059-9227-8447-81B5-B6DB1E85B1A2}"/>
                </a:ext>
              </a:extLst>
            </p:cNvPr>
            <p:cNvSpPr>
              <a:spLocks noChangeAspect="1"/>
            </p:cNvSpPr>
            <p:nvPr/>
          </p:nvSpPr>
          <p:spPr>
            <a:xfrm rot="16200000" flipV="1">
              <a:off x="9962270" y="1495207"/>
              <a:ext cx="28800" cy="201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Скругленный прямоугольник 63">
              <a:extLst>
                <a:ext uri="{FF2B5EF4-FFF2-40B4-BE49-F238E27FC236}">
                  <a16:creationId xmlns:a16="http://schemas.microsoft.com/office/drawing/2014/main" id="{35EFD8B9-5847-464B-BD87-CFFE1BAF81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23733" y="1465807"/>
              <a:ext cx="28800" cy="2592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Полилиния 64">
              <a:extLst>
                <a:ext uri="{FF2B5EF4-FFF2-40B4-BE49-F238E27FC236}">
                  <a16:creationId xmlns:a16="http://schemas.microsoft.com/office/drawing/2014/main" id="{BAF46D14-C7EB-E842-BA44-9BD85497F452}"/>
                </a:ext>
              </a:extLst>
            </p:cNvPr>
            <p:cNvSpPr/>
            <p:nvPr/>
          </p:nvSpPr>
          <p:spPr>
            <a:xfrm rot="16200000">
              <a:off x="9830870" y="1535408"/>
              <a:ext cx="209999" cy="119999"/>
            </a:xfrm>
            <a:custGeom>
              <a:avLst/>
              <a:gdLst>
                <a:gd name="connsiteX0" fmla="*/ 25606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6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6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6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6" name="Рисунок 53">
            <a:extLst>
              <a:ext uri="{FF2B5EF4-FFF2-40B4-BE49-F238E27FC236}">
                <a16:creationId xmlns:a16="http://schemas.microsoft.com/office/drawing/2014/main" id="{6F4CB859-1F04-3349-A43F-2716147171A3}"/>
              </a:ext>
            </a:extLst>
          </p:cNvPr>
          <p:cNvGrpSpPr/>
          <p:nvPr/>
        </p:nvGrpSpPr>
        <p:grpSpPr>
          <a:xfrm rot="10800000">
            <a:off x="2937240" y="1773037"/>
            <a:ext cx="381663" cy="360000"/>
            <a:chOff x="9770870" y="1412875"/>
            <a:chExt cx="381663" cy="360000"/>
          </a:xfrm>
        </p:grpSpPr>
        <p:sp>
          <p:nvSpPr>
            <p:cNvPr id="67" name="Полилиния 66">
              <a:extLst>
                <a:ext uri="{FF2B5EF4-FFF2-40B4-BE49-F238E27FC236}">
                  <a16:creationId xmlns:a16="http://schemas.microsoft.com/office/drawing/2014/main" id="{CD49EEFA-CB79-C045-8D8B-8B2E090FEE45}"/>
                </a:ext>
              </a:extLst>
            </p:cNvPr>
            <p:cNvSpPr/>
            <p:nvPr/>
          </p:nvSpPr>
          <p:spPr>
            <a:xfrm>
              <a:off x="977087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Скругленный прямоугольник 67">
              <a:extLst>
                <a:ext uri="{FF2B5EF4-FFF2-40B4-BE49-F238E27FC236}">
                  <a16:creationId xmlns:a16="http://schemas.microsoft.com/office/drawing/2014/main" id="{F2B07871-BE3E-A042-BED9-B9BC87B5630C}"/>
                </a:ext>
              </a:extLst>
            </p:cNvPr>
            <p:cNvSpPr>
              <a:spLocks noChangeAspect="1"/>
            </p:cNvSpPr>
            <p:nvPr/>
          </p:nvSpPr>
          <p:spPr>
            <a:xfrm rot="16200000" flipV="1">
              <a:off x="9962270" y="1495207"/>
              <a:ext cx="28800" cy="201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" name="Скругленный прямоугольник 68">
              <a:extLst>
                <a:ext uri="{FF2B5EF4-FFF2-40B4-BE49-F238E27FC236}">
                  <a16:creationId xmlns:a16="http://schemas.microsoft.com/office/drawing/2014/main" id="{B19FAC6C-F37C-7040-9925-F5B885D458C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23733" y="1465807"/>
              <a:ext cx="28800" cy="2592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 69">
              <a:extLst>
                <a:ext uri="{FF2B5EF4-FFF2-40B4-BE49-F238E27FC236}">
                  <a16:creationId xmlns:a16="http://schemas.microsoft.com/office/drawing/2014/main" id="{3139EE67-7C8A-4648-B70A-EBA73AB002A6}"/>
                </a:ext>
              </a:extLst>
            </p:cNvPr>
            <p:cNvSpPr/>
            <p:nvPr/>
          </p:nvSpPr>
          <p:spPr>
            <a:xfrm rot="16200000">
              <a:off x="9830870" y="1535408"/>
              <a:ext cx="209999" cy="119999"/>
            </a:xfrm>
            <a:custGeom>
              <a:avLst/>
              <a:gdLst>
                <a:gd name="connsiteX0" fmla="*/ 25606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6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6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6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1" name="Рисунок 53">
            <a:extLst>
              <a:ext uri="{FF2B5EF4-FFF2-40B4-BE49-F238E27FC236}">
                <a16:creationId xmlns:a16="http://schemas.microsoft.com/office/drawing/2014/main" id="{6A725307-B2DF-4A40-A510-46DE9A7F3EEC}"/>
              </a:ext>
            </a:extLst>
          </p:cNvPr>
          <p:cNvGrpSpPr/>
          <p:nvPr/>
        </p:nvGrpSpPr>
        <p:grpSpPr>
          <a:xfrm rot="16200000">
            <a:off x="619074" y="1821283"/>
            <a:ext cx="381663" cy="360000"/>
            <a:chOff x="9770870" y="1412875"/>
            <a:chExt cx="381663" cy="360000"/>
          </a:xfrm>
        </p:grpSpPr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CE1AE684-0487-B244-BCA2-6E55820C111B}"/>
                </a:ext>
              </a:extLst>
            </p:cNvPr>
            <p:cNvSpPr/>
            <p:nvPr/>
          </p:nvSpPr>
          <p:spPr>
            <a:xfrm>
              <a:off x="977087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Скругленный прямоугольник 72">
              <a:extLst>
                <a:ext uri="{FF2B5EF4-FFF2-40B4-BE49-F238E27FC236}">
                  <a16:creationId xmlns:a16="http://schemas.microsoft.com/office/drawing/2014/main" id="{1F6B1566-4EA0-AE42-983B-D5F6EE41DA82}"/>
                </a:ext>
              </a:extLst>
            </p:cNvPr>
            <p:cNvSpPr>
              <a:spLocks noChangeAspect="1"/>
            </p:cNvSpPr>
            <p:nvPr/>
          </p:nvSpPr>
          <p:spPr>
            <a:xfrm rot="16200000" flipV="1">
              <a:off x="9962270" y="1495207"/>
              <a:ext cx="28800" cy="201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Скругленный прямоугольник 73">
              <a:extLst>
                <a:ext uri="{FF2B5EF4-FFF2-40B4-BE49-F238E27FC236}">
                  <a16:creationId xmlns:a16="http://schemas.microsoft.com/office/drawing/2014/main" id="{ACE62220-B646-9148-9F30-ACE347E98A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23733" y="1465807"/>
              <a:ext cx="28800" cy="2592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75E570EE-CBB1-BD43-BB58-F354D126E0B0}"/>
                </a:ext>
              </a:extLst>
            </p:cNvPr>
            <p:cNvSpPr/>
            <p:nvPr/>
          </p:nvSpPr>
          <p:spPr>
            <a:xfrm rot="16200000">
              <a:off x="9830870" y="1535408"/>
              <a:ext cx="209999" cy="119999"/>
            </a:xfrm>
            <a:custGeom>
              <a:avLst/>
              <a:gdLst>
                <a:gd name="connsiteX0" fmla="*/ 25606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6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6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6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6" name="Рисунок 53">
            <a:extLst>
              <a:ext uri="{FF2B5EF4-FFF2-40B4-BE49-F238E27FC236}">
                <a16:creationId xmlns:a16="http://schemas.microsoft.com/office/drawing/2014/main" id="{8C4DFEDF-9433-7F4B-AADF-EB605C0DDE3B}"/>
              </a:ext>
            </a:extLst>
          </p:cNvPr>
          <p:cNvGrpSpPr/>
          <p:nvPr/>
        </p:nvGrpSpPr>
        <p:grpSpPr>
          <a:xfrm rot="10800000">
            <a:off x="10449122" y="1096153"/>
            <a:ext cx="360000" cy="360000"/>
            <a:chOff x="9770870" y="1412875"/>
            <a:chExt cx="360000" cy="360000"/>
          </a:xfrm>
        </p:grpSpPr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E1D14A7A-CE07-2B40-AAB2-23453E319A5D}"/>
                </a:ext>
              </a:extLst>
            </p:cNvPr>
            <p:cNvSpPr/>
            <p:nvPr/>
          </p:nvSpPr>
          <p:spPr>
            <a:xfrm>
              <a:off x="977087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Скругленный прямоугольник 77">
              <a:extLst>
                <a:ext uri="{FF2B5EF4-FFF2-40B4-BE49-F238E27FC236}">
                  <a16:creationId xmlns:a16="http://schemas.microsoft.com/office/drawing/2014/main" id="{7D517FC6-3977-A843-9F62-2048DF016D9D}"/>
                </a:ext>
              </a:extLst>
            </p:cNvPr>
            <p:cNvSpPr>
              <a:spLocks noChangeAspect="1"/>
            </p:cNvSpPr>
            <p:nvPr/>
          </p:nvSpPr>
          <p:spPr>
            <a:xfrm rot="16200000" flipV="1">
              <a:off x="9962270" y="1495207"/>
              <a:ext cx="28800" cy="201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Скругленный прямоугольник 78">
              <a:extLst>
                <a:ext uri="{FF2B5EF4-FFF2-40B4-BE49-F238E27FC236}">
                  <a16:creationId xmlns:a16="http://schemas.microsoft.com/office/drawing/2014/main" id="{2AFC910B-7DAF-A34E-8C07-E21C154E1D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5870" y="1465807"/>
              <a:ext cx="28800" cy="2592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0C518A94-921E-BC41-BA4A-EFE0DFAC13F9}"/>
                </a:ext>
              </a:extLst>
            </p:cNvPr>
            <p:cNvSpPr/>
            <p:nvPr/>
          </p:nvSpPr>
          <p:spPr>
            <a:xfrm rot="16200000">
              <a:off x="9830870" y="1535408"/>
              <a:ext cx="209999" cy="119999"/>
            </a:xfrm>
            <a:custGeom>
              <a:avLst/>
              <a:gdLst>
                <a:gd name="connsiteX0" fmla="*/ 25606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6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6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6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1" name="Рисунок 53">
            <a:extLst>
              <a:ext uri="{FF2B5EF4-FFF2-40B4-BE49-F238E27FC236}">
                <a16:creationId xmlns:a16="http://schemas.microsoft.com/office/drawing/2014/main" id="{2945116A-036C-064F-83B2-E97045455519}"/>
              </a:ext>
            </a:extLst>
          </p:cNvPr>
          <p:cNvGrpSpPr/>
          <p:nvPr/>
        </p:nvGrpSpPr>
        <p:grpSpPr>
          <a:xfrm rot="5400000">
            <a:off x="11201932" y="1096153"/>
            <a:ext cx="360000" cy="360000"/>
            <a:chOff x="9770870" y="1412875"/>
            <a:chExt cx="360000" cy="360000"/>
          </a:xfrm>
        </p:grpSpPr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457C8873-CB0A-D640-8706-97934319BE5E}"/>
                </a:ext>
              </a:extLst>
            </p:cNvPr>
            <p:cNvSpPr/>
            <p:nvPr/>
          </p:nvSpPr>
          <p:spPr>
            <a:xfrm>
              <a:off x="977087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Скругленный прямоугольник 82">
              <a:extLst>
                <a:ext uri="{FF2B5EF4-FFF2-40B4-BE49-F238E27FC236}">
                  <a16:creationId xmlns:a16="http://schemas.microsoft.com/office/drawing/2014/main" id="{58D2636D-7FF2-9046-9A6A-1679F6B5FE2D}"/>
                </a:ext>
              </a:extLst>
            </p:cNvPr>
            <p:cNvSpPr>
              <a:spLocks noChangeAspect="1"/>
            </p:cNvSpPr>
            <p:nvPr/>
          </p:nvSpPr>
          <p:spPr>
            <a:xfrm rot="16200000" flipV="1">
              <a:off x="9962270" y="1495207"/>
              <a:ext cx="28800" cy="201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Скругленный прямоугольник 83">
              <a:extLst>
                <a:ext uri="{FF2B5EF4-FFF2-40B4-BE49-F238E27FC236}">
                  <a16:creationId xmlns:a16="http://schemas.microsoft.com/office/drawing/2014/main" id="{B6EB2242-9026-FF43-B2F2-AB57222133C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5870" y="1465807"/>
              <a:ext cx="28800" cy="2592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06995366-4D35-4847-A6E4-FFCA90732A96}"/>
                </a:ext>
              </a:extLst>
            </p:cNvPr>
            <p:cNvSpPr/>
            <p:nvPr/>
          </p:nvSpPr>
          <p:spPr>
            <a:xfrm rot="16200000">
              <a:off x="9830870" y="1535408"/>
              <a:ext cx="209999" cy="119999"/>
            </a:xfrm>
            <a:custGeom>
              <a:avLst/>
              <a:gdLst>
                <a:gd name="connsiteX0" fmla="*/ 25606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6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6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6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6" name="Рисунок 2">
            <a:extLst>
              <a:ext uri="{FF2B5EF4-FFF2-40B4-BE49-F238E27FC236}">
                <a16:creationId xmlns:a16="http://schemas.microsoft.com/office/drawing/2014/main" id="{0017EC00-7F00-6E45-98F1-4B1F62D01CFE}"/>
              </a:ext>
            </a:extLst>
          </p:cNvPr>
          <p:cNvGrpSpPr/>
          <p:nvPr/>
        </p:nvGrpSpPr>
        <p:grpSpPr>
          <a:xfrm>
            <a:off x="11201933" y="3115315"/>
            <a:ext cx="360000" cy="360000"/>
            <a:chOff x="11281138" y="3432037"/>
            <a:chExt cx="360000" cy="360000"/>
          </a:xfrm>
        </p:grpSpPr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57E262F4-6ED9-1545-B80C-5CC316C8ED20}"/>
                </a:ext>
              </a:extLst>
            </p:cNvPr>
            <p:cNvSpPr/>
            <p:nvPr/>
          </p:nvSpPr>
          <p:spPr>
            <a:xfrm>
              <a:off x="11281138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83BDEB35-B196-AC41-942E-090C8390E6B6}"/>
                </a:ext>
              </a:extLst>
            </p:cNvPr>
            <p:cNvSpPr/>
            <p:nvPr/>
          </p:nvSpPr>
          <p:spPr>
            <a:xfrm rot="10800000" flipV="1">
              <a:off x="11435027" y="3516099"/>
              <a:ext cx="116110" cy="191943"/>
            </a:xfrm>
            <a:custGeom>
              <a:avLst/>
              <a:gdLst>
                <a:gd name="connsiteX0" fmla="*/ 12431 w 116110"/>
                <a:gd name="connsiteY0" fmla="*/ 190096 h 191943"/>
                <a:gd name="connsiteX1" fmla="*/ 113541 w 116110"/>
                <a:gd name="connsiteY1" fmla="*/ 101902 h 191943"/>
                <a:gd name="connsiteX2" fmla="*/ 114263 w 116110"/>
                <a:gd name="connsiteY2" fmla="*/ 91321 h 191943"/>
                <a:gd name="connsiteX3" fmla="*/ 113557 w 116110"/>
                <a:gd name="connsiteY3" fmla="*/ 90613 h 191943"/>
                <a:gd name="connsiteX4" fmla="*/ 12447 w 116110"/>
                <a:gd name="connsiteY4" fmla="*/ 1863 h 191943"/>
                <a:gd name="connsiteX5" fmla="*/ 1863 w 116110"/>
                <a:gd name="connsiteY5" fmla="*/ 2553 h 191943"/>
                <a:gd name="connsiteX6" fmla="*/ 0 w 116110"/>
                <a:gd name="connsiteY6" fmla="*/ 7500 h 191943"/>
                <a:gd name="connsiteX7" fmla="*/ 0 w 116110"/>
                <a:gd name="connsiteY7" fmla="*/ 184444 h 191943"/>
                <a:gd name="connsiteX8" fmla="*/ 7500 w 116110"/>
                <a:gd name="connsiteY8" fmla="*/ 191944 h 191943"/>
                <a:gd name="connsiteX9" fmla="*/ 12431 w 116110"/>
                <a:gd name="connsiteY9" fmla="*/ 190096 h 191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0" h="191943">
                  <a:moveTo>
                    <a:pt x="12431" y="190096"/>
                  </a:moveTo>
                  <a:lnTo>
                    <a:pt x="113541" y="101902"/>
                  </a:lnTo>
                  <a:cubicBezTo>
                    <a:pt x="116663" y="99179"/>
                    <a:pt x="116985" y="94442"/>
                    <a:pt x="114263" y="91321"/>
                  </a:cubicBezTo>
                  <a:cubicBezTo>
                    <a:pt x="114043" y="91069"/>
                    <a:pt x="113808" y="90833"/>
                    <a:pt x="113557" y="90613"/>
                  </a:cubicBezTo>
                  <a:lnTo>
                    <a:pt x="12447" y="1863"/>
                  </a:lnTo>
                  <a:cubicBezTo>
                    <a:pt x="9335" y="-869"/>
                    <a:pt x="4596" y="-561"/>
                    <a:pt x="1863" y="2553"/>
                  </a:cubicBezTo>
                  <a:cubicBezTo>
                    <a:pt x="661" y="3921"/>
                    <a:pt x="0" y="5679"/>
                    <a:pt x="0" y="7500"/>
                  </a:cubicBezTo>
                  <a:lnTo>
                    <a:pt x="0" y="184444"/>
                  </a:lnTo>
                  <a:cubicBezTo>
                    <a:pt x="0" y="188585"/>
                    <a:pt x="3357" y="191944"/>
                    <a:pt x="7500" y="191944"/>
                  </a:cubicBezTo>
                  <a:cubicBezTo>
                    <a:pt x="9312" y="191944"/>
                    <a:pt x="11064" y="191287"/>
                    <a:pt x="12431" y="190096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Скругленный прямоугольник 88">
              <a:extLst>
                <a:ext uri="{FF2B5EF4-FFF2-40B4-BE49-F238E27FC236}">
                  <a16:creationId xmlns:a16="http://schemas.microsoft.com/office/drawing/2014/main" id="{0319EFE3-AE7E-3B47-A204-EBCE9B5E6589}"/>
                </a:ext>
              </a:extLst>
            </p:cNvPr>
            <p:cNvSpPr/>
            <p:nvPr/>
          </p:nvSpPr>
          <p:spPr>
            <a:xfrm>
              <a:off x="11370418" y="3519161"/>
              <a:ext cx="45719" cy="182876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0" name="Рисунок 3">
            <a:extLst>
              <a:ext uri="{FF2B5EF4-FFF2-40B4-BE49-F238E27FC236}">
                <a16:creationId xmlns:a16="http://schemas.microsoft.com/office/drawing/2014/main" id="{67C62CB0-8B95-9546-8F80-5F43F781AED1}"/>
              </a:ext>
            </a:extLst>
          </p:cNvPr>
          <p:cNvGrpSpPr/>
          <p:nvPr/>
        </p:nvGrpSpPr>
        <p:grpSpPr>
          <a:xfrm>
            <a:off x="10448780" y="3115315"/>
            <a:ext cx="360000" cy="360000"/>
            <a:chOff x="10527985" y="3432037"/>
            <a:chExt cx="360000" cy="360000"/>
          </a:xfrm>
        </p:grpSpPr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7D886254-83DA-B646-8F15-ED009CD891F7}"/>
                </a:ext>
              </a:extLst>
            </p:cNvPr>
            <p:cNvSpPr/>
            <p:nvPr/>
          </p:nvSpPr>
          <p:spPr>
            <a:xfrm>
              <a:off x="10527985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FFEFA85B-6F14-594C-B9D2-AAABAD9AA24D}"/>
                </a:ext>
              </a:extLst>
            </p:cNvPr>
            <p:cNvSpPr/>
            <p:nvPr/>
          </p:nvSpPr>
          <p:spPr>
            <a:xfrm>
              <a:off x="10609211" y="3504542"/>
              <a:ext cx="233912" cy="227060"/>
            </a:xfrm>
            <a:custGeom>
              <a:avLst/>
              <a:gdLst>
                <a:gd name="connsiteX0" fmla="*/ 114974 w 233912"/>
                <a:gd name="connsiteY0" fmla="*/ 149255 h 227060"/>
                <a:gd name="connsiteX1" fmla="*/ 148034 w 233912"/>
                <a:gd name="connsiteY1" fmla="*/ 116195 h 227060"/>
                <a:gd name="connsiteX2" fmla="*/ 153653 w 233912"/>
                <a:gd name="connsiteY2" fmla="*/ 81564 h 227060"/>
                <a:gd name="connsiteX3" fmla="*/ 151781 w 233912"/>
                <a:gd name="connsiteY3" fmla="*/ 77819 h 227060"/>
                <a:gd name="connsiteX4" fmla="*/ 157400 w 233912"/>
                <a:gd name="connsiteY4" fmla="*/ 43189 h 227060"/>
                <a:gd name="connsiteX5" fmla="*/ 198392 w 233912"/>
                <a:gd name="connsiteY5" fmla="*/ 2197 h 227060"/>
                <a:gd name="connsiteX6" fmla="*/ 208998 w 233912"/>
                <a:gd name="connsiteY6" fmla="*/ 2197 h 227060"/>
                <a:gd name="connsiteX7" fmla="*/ 210404 w 233912"/>
                <a:gd name="connsiteY7" fmla="*/ 4146 h 227060"/>
                <a:gd name="connsiteX8" fmla="*/ 226962 w 233912"/>
                <a:gd name="connsiteY8" fmla="*/ 37265 h 227060"/>
                <a:gd name="connsiteX9" fmla="*/ 214635 w 233912"/>
                <a:gd name="connsiteY9" fmla="*/ 113232 h 227060"/>
                <a:gd name="connsiteX10" fmla="*/ 124653 w 233912"/>
                <a:gd name="connsiteY10" fmla="*/ 203214 h 227060"/>
                <a:gd name="connsiteX11" fmla="*/ 41347 w 233912"/>
                <a:gd name="connsiteY11" fmla="*/ 222881 h 227060"/>
                <a:gd name="connsiteX12" fmla="*/ 5130 w 233912"/>
                <a:gd name="connsiteY12" fmla="*/ 210809 h 227060"/>
                <a:gd name="connsiteX13" fmla="*/ 387 w 233912"/>
                <a:gd name="connsiteY13" fmla="*/ 201321 h 227060"/>
                <a:gd name="connsiteX14" fmla="*/ 2199 w 233912"/>
                <a:gd name="connsiteY14" fmla="*/ 198390 h 227060"/>
                <a:gd name="connsiteX15" fmla="*/ 41968 w 233912"/>
                <a:gd name="connsiteY15" fmla="*/ 158621 h 227060"/>
                <a:gd name="connsiteX16" fmla="*/ 76598 w 233912"/>
                <a:gd name="connsiteY16" fmla="*/ 153002 h 227060"/>
                <a:gd name="connsiteX17" fmla="*/ 80343 w 233912"/>
                <a:gd name="connsiteY17" fmla="*/ 154874 h 227060"/>
                <a:gd name="connsiteX18" fmla="*/ 114974 w 233912"/>
                <a:gd name="connsiteY18" fmla="*/ 149255 h 227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3912" h="227060">
                  <a:moveTo>
                    <a:pt x="114974" y="149255"/>
                  </a:moveTo>
                  <a:lnTo>
                    <a:pt x="148034" y="116195"/>
                  </a:lnTo>
                  <a:cubicBezTo>
                    <a:pt x="157164" y="107063"/>
                    <a:pt x="159428" y="93114"/>
                    <a:pt x="153653" y="81564"/>
                  </a:cubicBezTo>
                  <a:lnTo>
                    <a:pt x="151781" y="77819"/>
                  </a:lnTo>
                  <a:cubicBezTo>
                    <a:pt x="146006" y="66269"/>
                    <a:pt x="148269" y="52320"/>
                    <a:pt x="157400" y="43189"/>
                  </a:cubicBezTo>
                  <a:lnTo>
                    <a:pt x="198392" y="2197"/>
                  </a:lnTo>
                  <a:cubicBezTo>
                    <a:pt x="201321" y="-732"/>
                    <a:pt x="206069" y="-732"/>
                    <a:pt x="208998" y="2197"/>
                  </a:cubicBezTo>
                  <a:cubicBezTo>
                    <a:pt x="209568" y="2767"/>
                    <a:pt x="210042" y="3425"/>
                    <a:pt x="210404" y="4146"/>
                  </a:cubicBezTo>
                  <a:lnTo>
                    <a:pt x="226962" y="37265"/>
                  </a:lnTo>
                  <a:cubicBezTo>
                    <a:pt x="239631" y="62602"/>
                    <a:pt x="234665" y="93203"/>
                    <a:pt x="214635" y="113232"/>
                  </a:cubicBezTo>
                  <a:lnTo>
                    <a:pt x="124653" y="203214"/>
                  </a:lnTo>
                  <a:cubicBezTo>
                    <a:pt x="102849" y="225018"/>
                    <a:pt x="70599" y="232631"/>
                    <a:pt x="41347" y="222881"/>
                  </a:cubicBezTo>
                  <a:lnTo>
                    <a:pt x="5130" y="210809"/>
                  </a:lnTo>
                  <a:cubicBezTo>
                    <a:pt x="1201" y="209498"/>
                    <a:pt x="-923" y="205251"/>
                    <a:pt x="387" y="201321"/>
                  </a:cubicBezTo>
                  <a:cubicBezTo>
                    <a:pt x="755" y="200217"/>
                    <a:pt x="1375" y="199214"/>
                    <a:pt x="2199" y="198390"/>
                  </a:cubicBezTo>
                  <a:lnTo>
                    <a:pt x="41968" y="158621"/>
                  </a:lnTo>
                  <a:cubicBezTo>
                    <a:pt x="51099" y="149490"/>
                    <a:pt x="65048" y="147227"/>
                    <a:pt x="76598" y="153002"/>
                  </a:cubicBezTo>
                  <a:lnTo>
                    <a:pt x="80343" y="154874"/>
                  </a:lnTo>
                  <a:cubicBezTo>
                    <a:pt x="91893" y="160649"/>
                    <a:pt x="105842" y="158385"/>
                    <a:pt x="114974" y="149255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70D67F04-B720-3B4F-BAFE-086AE3C16723}"/>
                </a:ext>
              </a:extLst>
            </p:cNvPr>
            <p:cNvSpPr/>
            <p:nvPr/>
          </p:nvSpPr>
          <p:spPr>
            <a:xfrm>
              <a:off x="10565104" y="3461656"/>
              <a:ext cx="180351" cy="180156"/>
            </a:xfrm>
            <a:custGeom>
              <a:avLst/>
              <a:gdLst>
                <a:gd name="connsiteX0" fmla="*/ 175102 w 180351"/>
                <a:gd name="connsiteY0" fmla="*/ 60488 h 180156"/>
                <a:gd name="connsiteX1" fmla="*/ 172231 w 180351"/>
                <a:gd name="connsiteY1" fmla="*/ 90350 h 180156"/>
                <a:gd name="connsiteX2" fmla="*/ 111970 w 180351"/>
                <a:gd name="connsiteY2" fmla="*/ 111971 h 180156"/>
                <a:gd name="connsiteX3" fmla="*/ 90330 w 180351"/>
                <a:gd name="connsiteY3" fmla="*/ 172019 h 180156"/>
                <a:gd name="connsiteX4" fmla="*/ 60460 w 180351"/>
                <a:gd name="connsiteY4" fmla="*/ 174806 h 180156"/>
                <a:gd name="connsiteX5" fmla="*/ 90757 w 180351"/>
                <a:gd name="connsiteY5" fmla="*/ 90757 h 180156"/>
                <a:gd name="connsiteX6" fmla="*/ 175102 w 180351"/>
                <a:gd name="connsiteY6" fmla="*/ 60488 h 180156"/>
                <a:gd name="connsiteX7" fmla="*/ 180352 w 180351"/>
                <a:gd name="connsiteY7" fmla="*/ 715 h 180156"/>
                <a:gd name="connsiteX8" fmla="*/ 177575 w 180351"/>
                <a:gd name="connsiteY8" fmla="*/ 30586 h 180156"/>
                <a:gd name="connsiteX9" fmla="*/ 69544 w 180351"/>
                <a:gd name="connsiteY9" fmla="*/ 69544 h 180156"/>
                <a:gd name="connsiteX10" fmla="*/ 30571 w 180351"/>
                <a:gd name="connsiteY10" fmla="*/ 177416 h 180156"/>
                <a:gd name="connsiteX11" fmla="*/ 697 w 180351"/>
                <a:gd name="connsiteY11" fmla="*/ 180157 h 180156"/>
                <a:gd name="connsiteX12" fmla="*/ 48331 w 180351"/>
                <a:gd name="connsiteY12" fmla="*/ 48331 h 180156"/>
                <a:gd name="connsiteX13" fmla="*/ 180352 w 180351"/>
                <a:gd name="connsiteY13" fmla="*/ 715 h 180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0351" h="180156">
                  <a:moveTo>
                    <a:pt x="175102" y="60488"/>
                  </a:moveTo>
                  <a:lnTo>
                    <a:pt x="172231" y="90350"/>
                  </a:lnTo>
                  <a:cubicBezTo>
                    <a:pt x="150052" y="88218"/>
                    <a:pt x="128026" y="95915"/>
                    <a:pt x="111970" y="111971"/>
                  </a:cubicBezTo>
                  <a:cubicBezTo>
                    <a:pt x="95967" y="127973"/>
                    <a:pt x="88267" y="149909"/>
                    <a:pt x="90330" y="172019"/>
                  </a:cubicBezTo>
                  <a:lnTo>
                    <a:pt x="60460" y="174806"/>
                  </a:lnTo>
                  <a:cubicBezTo>
                    <a:pt x="57576" y="143897"/>
                    <a:pt x="68373" y="113142"/>
                    <a:pt x="90757" y="90757"/>
                  </a:cubicBezTo>
                  <a:cubicBezTo>
                    <a:pt x="113215" y="68299"/>
                    <a:pt x="144098" y="57507"/>
                    <a:pt x="175102" y="60488"/>
                  </a:cubicBezTo>
                  <a:close/>
                  <a:moveTo>
                    <a:pt x="180352" y="715"/>
                  </a:moveTo>
                  <a:lnTo>
                    <a:pt x="177575" y="30586"/>
                  </a:lnTo>
                  <a:cubicBezTo>
                    <a:pt x="137807" y="26891"/>
                    <a:pt x="98331" y="40758"/>
                    <a:pt x="69544" y="69544"/>
                  </a:cubicBezTo>
                  <a:cubicBezTo>
                    <a:pt x="40797" y="98291"/>
                    <a:pt x="26928" y="137699"/>
                    <a:pt x="30571" y="177416"/>
                  </a:cubicBezTo>
                  <a:lnTo>
                    <a:pt x="697" y="180157"/>
                  </a:lnTo>
                  <a:cubicBezTo>
                    <a:pt x="-3752" y="131657"/>
                    <a:pt x="13215" y="83447"/>
                    <a:pt x="48331" y="48331"/>
                  </a:cubicBezTo>
                  <a:cubicBezTo>
                    <a:pt x="83496" y="13166"/>
                    <a:pt x="131789" y="-3798"/>
                    <a:pt x="180352" y="715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4" name="Рисунок 4">
            <a:extLst>
              <a:ext uri="{FF2B5EF4-FFF2-40B4-BE49-F238E27FC236}">
                <a16:creationId xmlns:a16="http://schemas.microsoft.com/office/drawing/2014/main" id="{BD0DEBD7-3C84-1D49-BED8-11D82F14F889}"/>
              </a:ext>
            </a:extLst>
          </p:cNvPr>
          <p:cNvGrpSpPr/>
          <p:nvPr/>
        </p:nvGrpSpPr>
        <p:grpSpPr>
          <a:xfrm>
            <a:off x="9695628" y="3115315"/>
            <a:ext cx="360000" cy="360000"/>
            <a:chOff x="9774833" y="3432037"/>
            <a:chExt cx="360000" cy="360000"/>
          </a:xfrm>
        </p:grpSpPr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C8F41579-F3CC-1549-B5E0-674237C63BFA}"/>
                </a:ext>
              </a:extLst>
            </p:cNvPr>
            <p:cNvSpPr/>
            <p:nvPr/>
          </p:nvSpPr>
          <p:spPr>
            <a:xfrm>
              <a:off x="9774833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E17A0214-EDB8-C042-AA46-9893B1C047DE}"/>
                </a:ext>
              </a:extLst>
            </p:cNvPr>
            <p:cNvSpPr/>
            <p:nvPr/>
          </p:nvSpPr>
          <p:spPr>
            <a:xfrm>
              <a:off x="9819833" y="3477036"/>
              <a:ext cx="180000" cy="270000"/>
            </a:xfrm>
            <a:custGeom>
              <a:avLst/>
              <a:gdLst>
                <a:gd name="connsiteX0" fmla="*/ 89678 w 180000"/>
                <a:gd name="connsiteY0" fmla="*/ 237011 h 270000"/>
                <a:gd name="connsiteX1" fmla="*/ 45000 w 180000"/>
                <a:gd name="connsiteY1" fmla="*/ 270000 h 270000"/>
                <a:gd name="connsiteX2" fmla="*/ 0 w 180000"/>
                <a:gd name="connsiteY2" fmla="*/ 232500 h 270000"/>
                <a:gd name="connsiteX3" fmla="*/ 45000 w 180000"/>
                <a:gd name="connsiteY3" fmla="*/ 195000 h 270000"/>
                <a:gd name="connsiteX4" fmla="*/ 60000 w 180000"/>
                <a:gd name="connsiteY4" fmla="*/ 197135 h 270000"/>
                <a:gd name="connsiteX5" fmla="*/ 60000 w 180000"/>
                <a:gd name="connsiteY5" fmla="*/ 43976 h 270000"/>
                <a:gd name="connsiteX6" fmla="*/ 71842 w 180000"/>
                <a:gd name="connsiteY6" fmla="*/ 27191 h 270000"/>
                <a:gd name="connsiteX7" fmla="*/ 158091 w 180000"/>
                <a:gd name="connsiteY7" fmla="*/ 813 h 270000"/>
                <a:gd name="connsiteX8" fmla="*/ 180000 w 180000"/>
                <a:gd name="connsiteY8" fmla="*/ 17598 h 270000"/>
                <a:gd name="connsiteX9" fmla="*/ 180000 w 180000"/>
                <a:gd name="connsiteY9" fmla="*/ 43976 h 270000"/>
                <a:gd name="connsiteX10" fmla="*/ 165000 w 180000"/>
                <a:gd name="connsiteY10" fmla="*/ 60000 h 270000"/>
                <a:gd name="connsiteX11" fmla="*/ 90000 w 180000"/>
                <a:gd name="connsiteY11" fmla="*/ 75000 h 270000"/>
                <a:gd name="connsiteX12" fmla="*/ 90000 w 180000"/>
                <a:gd name="connsiteY12" fmla="*/ 233268 h 270000"/>
                <a:gd name="connsiteX13" fmla="*/ 89678 w 180000"/>
                <a:gd name="connsiteY13" fmla="*/ 237011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0000" h="270000">
                  <a:moveTo>
                    <a:pt x="89678" y="237011"/>
                  </a:moveTo>
                  <a:cubicBezTo>
                    <a:pt x="87004" y="255594"/>
                    <a:pt x="68021" y="270000"/>
                    <a:pt x="45000" y="270000"/>
                  </a:cubicBezTo>
                  <a:cubicBezTo>
                    <a:pt x="20147" y="270000"/>
                    <a:pt x="0" y="253211"/>
                    <a:pt x="0" y="232500"/>
                  </a:cubicBezTo>
                  <a:cubicBezTo>
                    <a:pt x="0" y="211790"/>
                    <a:pt x="20147" y="195000"/>
                    <a:pt x="45000" y="195000"/>
                  </a:cubicBezTo>
                  <a:cubicBezTo>
                    <a:pt x="50260" y="195000"/>
                    <a:pt x="55308" y="195752"/>
                    <a:pt x="60000" y="197135"/>
                  </a:cubicBezTo>
                  <a:lnTo>
                    <a:pt x="60000" y="43976"/>
                  </a:lnTo>
                  <a:cubicBezTo>
                    <a:pt x="60000" y="36284"/>
                    <a:pt x="64797" y="29485"/>
                    <a:pt x="71842" y="27191"/>
                  </a:cubicBezTo>
                  <a:lnTo>
                    <a:pt x="158091" y="813"/>
                  </a:lnTo>
                  <a:cubicBezTo>
                    <a:pt x="168959" y="-2726"/>
                    <a:pt x="180000" y="5734"/>
                    <a:pt x="180000" y="17598"/>
                  </a:cubicBezTo>
                  <a:cubicBezTo>
                    <a:pt x="180000" y="29321"/>
                    <a:pt x="180000" y="38114"/>
                    <a:pt x="180000" y="43976"/>
                  </a:cubicBezTo>
                  <a:cubicBezTo>
                    <a:pt x="180000" y="52768"/>
                    <a:pt x="171768" y="58384"/>
                    <a:pt x="165000" y="60000"/>
                  </a:cubicBezTo>
                  <a:cubicBezTo>
                    <a:pt x="155264" y="62325"/>
                    <a:pt x="130263" y="67325"/>
                    <a:pt x="90000" y="75000"/>
                  </a:cubicBezTo>
                  <a:lnTo>
                    <a:pt x="90000" y="233268"/>
                  </a:lnTo>
                  <a:cubicBezTo>
                    <a:pt x="90000" y="234615"/>
                    <a:pt x="89891" y="235862"/>
                    <a:pt x="89678" y="237011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0405C06A-436F-C14D-B747-6ABBC17297A7}"/>
                </a:ext>
              </a:extLst>
            </p:cNvPr>
            <p:cNvSpPr/>
            <p:nvPr/>
          </p:nvSpPr>
          <p:spPr>
            <a:xfrm>
              <a:off x="9969833" y="3582037"/>
              <a:ext cx="120000" cy="120000"/>
            </a:xfrm>
            <a:custGeom>
              <a:avLst/>
              <a:gdLst>
                <a:gd name="connsiteX0" fmla="*/ 45000 w 120000"/>
                <a:gd name="connsiteY0" fmla="*/ 45000 h 120000"/>
                <a:gd name="connsiteX1" fmla="*/ 45000 w 120000"/>
                <a:gd name="connsiteY1" fmla="*/ 15000 h 120000"/>
                <a:gd name="connsiteX2" fmla="*/ 60000 w 120000"/>
                <a:gd name="connsiteY2" fmla="*/ 0 h 120000"/>
                <a:gd name="connsiteX3" fmla="*/ 75000 w 120000"/>
                <a:gd name="connsiteY3" fmla="*/ 15000 h 120000"/>
                <a:gd name="connsiteX4" fmla="*/ 75000 w 120000"/>
                <a:gd name="connsiteY4" fmla="*/ 45000 h 120000"/>
                <a:gd name="connsiteX5" fmla="*/ 105000 w 120000"/>
                <a:gd name="connsiteY5" fmla="*/ 45000 h 120000"/>
                <a:gd name="connsiteX6" fmla="*/ 120000 w 120000"/>
                <a:gd name="connsiteY6" fmla="*/ 60000 h 120000"/>
                <a:gd name="connsiteX7" fmla="*/ 105000 w 120000"/>
                <a:gd name="connsiteY7" fmla="*/ 75000 h 120000"/>
                <a:gd name="connsiteX8" fmla="*/ 75000 w 120000"/>
                <a:gd name="connsiteY8" fmla="*/ 75000 h 120000"/>
                <a:gd name="connsiteX9" fmla="*/ 75000 w 120000"/>
                <a:gd name="connsiteY9" fmla="*/ 105000 h 120000"/>
                <a:gd name="connsiteX10" fmla="*/ 60000 w 120000"/>
                <a:gd name="connsiteY10" fmla="*/ 120000 h 120000"/>
                <a:gd name="connsiteX11" fmla="*/ 45000 w 120000"/>
                <a:gd name="connsiteY11" fmla="*/ 105000 h 120000"/>
                <a:gd name="connsiteX12" fmla="*/ 45000 w 120000"/>
                <a:gd name="connsiteY12" fmla="*/ 75000 h 120000"/>
                <a:gd name="connsiteX13" fmla="*/ 15000 w 120000"/>
                <a:gd name="connsiteY13" fmla="*/ 75000 h 120000"/>
                <a:gd name="connsiteX14" fmla="*/ 0 w 120000"/>
                <a:gd name="connsiteY14" fmla="*/ 60000 h 120000"/>
                <a:gd name="connsiteX15" fmla="*/ 15000 w 120000"/>
                <a:gd name="connsiteY15" fmla="*/ 45000 h 120000"/>
                <a:gd name="connsiteX16" fmla="*/ 45000 w 120000"/>
                <a:gd name="connsiteY16" fmla="*/ 4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0000" h="120000">
                  <a:moveTo>
                    <a:pt x="45000" y="45000"/>
                  </a:moveTo>
                  <a:lnTo>
                    <a:pt x="45000" y="15000"/>
                  </a:lnTo>
                  <a:cubicBezTo>
                    <a:pt x="45000" y="6715"/>
                    <a:pt x="51716" y="0"/>
                    <a:pt x="60000" y="0"/>
                  </a:cubicBezTo>
                  <a:cubicBezTo>
                    <a:pt x="68284" y="0"/>
                    <a:pt x="75000" y="6715"/>
                    <a:pt x="75000" y="15000"/>
                  </a:cubicBezTo>
                  <a:lnTo>
                    <a:pt x="75000" y="45000"/>
                  </a:lnTo>
                  <a:lnTo>
                    <a:pt x="105000" y="45000"/>
                  </a:lnTo>
                  <a:cubicBezTo>
                    <a:pt x="113284" y="45000"/>
                    <a:pt x="120000" y="51715"/>
                    <a:pt x="120000" y="60000"/>
                  </a:cubicBezTo>
                  <a:cubicBezTo>
                    <a:pt x="120000" y="68285"/>
                    <a:pt x="113284" y="75000"/>
                    <a:pt x="105000" y="75000"/>
                  </a:cubicBezTo>
                  <a:lnTo>
                    <a:pt x="75000" y="75000"/>
                  </a:lnTo>
                  <a:lnTo>
                    <a:pt x="75000" y="105000"/>
                  </a:lnTo>
                  <a:cubicBezTo>
                    <a:pt x="75000" y="113284"/>
                    <a:pt x="68284" y="120000"/>
                    <a:pt x="60000" y="120000"/>
                  </a:cubicBezTo>
                  <a:cubicBezTo>
                    <a:pt x="51716" y="120000"/>
                    <a:pt x="45000" y="113284"/>
                    <a:pt x="45000" y="105000"/>
                  </a:cubicBezTo>
                  <a:lnTo>
                    <a:pt x="45000" y="75000"/>
                  </a:lnTo>
                  <a:lnTo>
                    <a:pt x="15000" y="75000"/>
                  </a:lnTo>
                  <a:cubicBezTo>
                    <a:pt x="6715" y="75000"/>
                    <a:pt x="0" y="68285"/>
                    <a:pt x="0" y="60000"/>
                  </a:cubicBezTo>
                  <a:cubicBezTo>
                    <a:pt x="0" y="51715"/>
                    <a:pt x="6715" y="45000"/>
                    <a:pt x="15000" y="45000"/>
                  </a:cubicBezTo>
                  <a:lnTo>
                    <a:pt x="45000" y="4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8" name="Рисунок 5">
            <a:extLst>
              <a:ext uri="{FF2B5EF4-FFF2-40B4-BE49-F238E27FC236}">
                <a16:creationId xmlns:a16="http://schemas.microsoft.com/office/drawing/2014/main" id="{E9CCAFDC-A993-2245-8FCE-B2FE84B9E2FD}"/>
              </a:ext>
            </a:extLst>
          </p:cNvPr>
          <p:cNvGrpSpPr/>
          <p:nvPr/>
        </p:nvGrpSpPr>
        <p:grpSpPr>
          <a:xfrm>
            <a:off x="8942476" y="3115315"/>
            <a:ext cx="360000" cy="360000"/>
            <a:chOff x="9021681" y="3432037"/>
            <a:chExt cx="360000" cy="360000"/>
          </a:xfrm>
        </p:grpSpPr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29DA0EE3-5FD4-CE4A-8215-AEBDD1DA37C1}"/>
                </a:ext>
              </a:extLst>
            </p:cNvPr>
            <p:cNvSpPr/>
            <p:nvPr/>
          </p:nvSpPr>
          <p:spPr>
            <a:xfrm>
              <a:off x="9021681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608361DA-FF46-C545-B513-8E3DED739FC3}"/>
                </a:ext>
              </a:extLst>
            </p:cNvPr>
            <p:cNvSpPr/>
            <p:nvPr/>
          </p:nvSpPr>
          <p:spPr>
            <a:xfrm>
              <a:off x="9066681" y="3462037"/>
              <a:ext cx="270000" cy="300000"/>
            </a:xfrm>
            <a:custGeom>
              <a:avLst/>
              <a:gdLst>
                <a:gd name="connsiteX0" fmla="*/ 45000 w 270000"/>
                <a:gd name="connsiteY0" fmla="*/ 0 h 300000"/>
                <a:gd name="connsiteX1" fmla="*/ 225000 w 270000"/>
                <a:gd name="connsiteY1" fmla="*/ 0 h 300000"/>
                <a:gd name="connsiteX2" fmla="*/ 270000 w 270000"/>
                <a:gd name="connsiteY2" fmla="*/ 45000 h 300000"/>
                <a:gd name="connsiteX3" fmla="*/ 270000 w 270000"/>
                <a:gd name="connsiteY3" fmla="*/ 255000 h 300000"/>
                <a:gd name="connsiteX4" fmla="*/ 225000 w 270000"/>
                <a:gd name="connsiteY4" fmla="*/ 300000 h 300000"/>
                <a:gd name="connsiteX5" fmla="*/ 45000 w 270000"/>
                <a:gd name="connsiteY5" fmla="*/ 300000 h 300000"/>
                <a:gd name="connsiteX6" fmla="*/ 0 w 270000"/>
                <a:gd name="connsiteY6" fmla="*/ 255000 h 300000"/>
                <a:gd name="connsiteX7" fmla="*/ 0 w 270000"/>
                <a:gd name="connsiteY7" fmla="*/ 45000 h 300000"/>
                <a:gd name="connsiteX8" fmla="*/ 45000 w 270000"/>
                <a:gd name="connsiteY8" fmla="*/ 0 h 300000"/>
                <a:gd name="connsiteX9" fmla="*/ 135000 w 270000"/>
                <a:gd name="connsiteY9" fmla="*/ 135000 h 300000"/>
                <a:gd name="connsiteX10" fmla="*/ 165000 w 270000"/>
                <a:gd name="connsiteY10" fmla="*/ 105000 h 300000"/>
                <a:gd name="connsiteX11" fmla="*/ 135000 w 270000"/>
                <a:gd name="connsiteY11" fmla="*/ 75000 h 300000"/>
                <a:gd name="connsiteX12" fmla="*/ 105000 w 270000"/>
                <a:gd name="connsiteY12" fmla="*/ 105000 h 300000"/>
                <a:gd name="connsiteX13" fmla="*/ 135000 w 270000"/>
                <a:gd name="connsiteY13" fmla="*/ 135000 h 300000"/>
                <a:gd name="connsiteX14" fmla="*/ 60005 w 270000"/>
                <a:gd name="connsiteY14" fmla="*/ 217493 h 300000"/>
                <a:gd name="connsiteX15" fmla="*/ 66063 w 270000"/>
                <a:gd name="connsiteY15" fmla="*/ 225000 h 300000"/>
                <a:gd name="connsiteX16" fmla="*/ 203722 w 270000"/>
                <a:gd name="connsiteY16" fmla="*/ 225000 h 300000"/>
                <a:gd name="connsiteX17" fmla="*/ 209982 w 270000"/>
                <a:gd name="connsiteY17" fmla="*/ 217500 h 300000"/>
                <a:gd name="connsiteX18" fmla="*/ 134861 w 270000"/>
                <a:gd name="connsiteY18" fmla="*/ 150000 h 300000"/>
                <a:gd name="connsiteX19" fmla="*/ 60005 w 270000"/>
                <a:gd name="connsiteY19" fmla="*/ 217493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0000" h="300000">
                  <a:moveTo>
                    <a:pt x="45000" y="0"/>
                  </a:moveTo>
                  <a:lnTo>
                    <a:pt x="225000" y="0"/>
                  </a:lnTo>
                  <a:cubicBezTo>
                    <a:pt x="249854" y="0"/>
                    <a:pt x="270000" y="20147"/>
                    <a:pt x="270000" y="45000"/>
                  </a:cubicBezTo>
                  <a:lnTo>
                    <a:pt x="270000" y="255000"/>
                  </a:lnTo>
                  <a:cubicBezTo>
                    <a:pt x="270000" y="279854"/>
                    <a:pt x="249854" y="300000"/>
                    <a:pt x="225000" y="300000"/>
                  </a:cubicBezTo>
                  <a:lnTo>
                    <a:pt x="45000" y="300000"/>
                  </a:lnTo>
                  <a:cubicBezTo>
                    <a:pt x="20147" y="300000"/>
                    <a:pt x="0" y="279854"/>
                    <a:pt x="0" y="255000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close/>
                  <a:moveTo>
                    <a:pt x="135000" y="135000"/>
                  </a:moveTo>
                  <a:cubicBezTo>
                    <a:pt x="151569" y="135000"/>
                    <a:pt x="165000" y="121569"/>
                    <a:pt x="165000" y="105000"/>
                  </a:cubicBezTo>
                  <a:cubicBezTo>
                    <a:pt x="165000" y="88431"/>
                    <a:pt x="151569" y="75000"/>
                    <a:pt x="135000" y="75000"/>
                  </a:cubicBezTo>
                  <a:cubicBezTo>
                    <a:pt x="118431" y="75000"/>
                    <a:pt x="105000" y="88431"/>
                    <a:pt x="105000" y="105000"/>
                  </a:cubicBezTo>
                  <a:cubicBezTo>
                    <a:pt x="105000" y="121569"/>
                    <a:pt x="118431" y="135000"/>
                    <a:pt x="135000" y="135000"/>
                  </a:cubicBezTo>
                  <a:close/>
                  <a:moveTo>
                    <a:pt x="60005" y="217493"/>
                  </a:moveTo>
                  <a:cubicBezTo>
                    <a:pt x="59829" y="219930"/>
                    <a:pt x="63973" y="225000"/>
                    <a:pt x="66063" y="225000"/>
                  </a:cubicBezTo>
                  <a:cubicBezTo>
                    <a:pt x="126956" y="225000"/>
                    <a:pt x="172842" y="225000"/>
                    <a:pt x="203722" y="225000"/>
                  </a:cubicBezTo>
                  <a:cubicBezTo>
                    <a:pt x="209982" y="225000"/>
                    <a:pt x="210080" y="219333"/>
                    <a:pt x="209982" y="217500"/>
                  </a:cubicBezTo>
                  <a:cubicBezTo>
                    <a:pt x="207540" y="171498"/>
                    <a:pt x="174761" y="150000"/>
                    <a:pt x="134861" y="150000"/>
                  </a:cubicBezTo>
                  <a:cubicBezTo>
                    <a:pt x="95516" y="150000"/>
                    <a:pt x="63236" y="172749"/>
                    <a:pt x="60005" y="217493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1" name="Рисунок 6">
            <a:extLst>
              <a:ext uri="{FF2B5EF4-FFF2-40B4-BE49-F238E27FC236}">
                <a16:creationId xmlns:a16="http://schemas.microsoft.com/office/drawing/2014/main" id="{311471EB-C68E-F043-A5F7-1C5D364CA167}"/>
              </a:ext>
            </a:extLst>
          </p:cNvPr>
          <p:cNvGrpSpPr/>
          <p:nvPr/>
        </p:nvGrpSpPr>
        <p:grpSpPr>
          <a:xfrm>
            <a:off x="6683019" y="3115315"/>
            <a:ext cx="360000" cy="360000"/>
            <a:chOff x="6762224" y="3432037"/>
            <a:chExt cx="360000" cy="360000"/>
          </a:xfrm>
        </p:grpSpPr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F677C026-95B4-234F-89E7-6207200866B9}"/>
                </a:ext>
              </a:extLst>
            </p:cNvPr>
            <p:cNvSpPr/>
            <p:nvPr/>
          </p:nvSpPr>
          <p:spPr>
            <a:xfrm>
              <a:off x="6762225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B91988E1-DF75-9E47-B415-C874E8D78821}"/>
                </a:ext>
              </a:extLst>
            </p:cNvPr>
            <p:cNvSpPr/>
            <p:nvPr/>
          </p:nvSpPr>
          <p:spPr>
            <a:xfrm>
              <a:off x="6837225" y="3477037"/>
              <a:ext cx="270000" cy="120000"/>
            </a:xfrm>
            <a:custGeom>
              <a:avLst/>
              <a:gdLst>
                <a:gd name="connsiteX0" fmla="*/ 195000 w 270000"/>
                <a:gd name="connsiteY0" fmla="*/ 75000 h 120000"/>
                <a:gd name="connsiteX1" fmla="*/ 165000 w 270000"/>
                <a:gd name="connsiteY1" fmla="*/ 75000 h 120000"/>
                <a:gd name="connsiteX2" fmla="*/ 150000 w 270000"/>
                <a:gd name="connsiteY2" fmla="*/ 60000 h 120000"/>
                <a:gd name="connsiteX3" fmla="*/ 165000 w 270000"/>
                <a:gd name="connsiteY3" fmla="*/ 45000 h 120000"/>
                <a:gd name="connsiteX4" fmla="*/ 195000 w 270000"/>
                <a:gd name="connsiteY4" fmla="*/ 45000 h 120000"/>
                <a:gd name="connsiteX5" fmla="*/ 195000 w 270000"/>
                <a:gd name="connsiteY5" fmla="*/ 15000 h 120000"/>
                <a:gd name="connsiteX6" fmla="*/ 210000 w 270000"/>
                <a:gd name="connsiteY6" fmla="*/ 0 h 120000"/>
                <a:gd name="connsiteX7" fmla="*/ 225000 w 270000"/>
                <a:gd name="connsiteY7" fmla="*/ 15000 h 120000"/>
                <a:gd name="connsiteX8" fmla="*/ 225000 w 270000"/>
                <a:gd name="connsiteY8" fmla="*/ 45000 h 120000"/>
                <a:gd name="connsiteX9" fmla="*/ 255000 w 270000"/>
                <a:gd name="connsiteY9" fmla="*/ 45000 h 120000"/>
                <a:gd name="connsiteX10" fmla="*/ 270000 w 270000"/>
                <a:gd name="connsiteY10" fmla="*/ 60000 h 120000"/>
                <a:gd name="connsiteX11" fmla="*/ 255000 w 270000"/>
                <a:gd name="connsiteY11" fmla="*/ 75000 h 120000"/>
                <a:gd name="connsiteX12" fmla="*/ 225000 w 270000"/>
                <a:gd name="connsiteY12" fmla="*/ 75000 h 120000"/>
                <a:gd name="connsiteX13" fmla="*/ 225000 w 270000"/>
                <a:gd name="connsiteY13" fmla="*/ 105000 h 120000"/>
                <a:gd name="connsiteX14" fmla="*/ 210000 w 270000"/>
                <a:gd name="connsiteY14" fmla="*/ 120000 h 120000"/>
                <a:gd name="connsiteX15" fmla="*/ 195000 w 270000"/>
                <a:gd name="connsiteY15" fmla="*/ 105000 h 120000"/>
                <a:gd name="connsiteX16" fmla="*/ 195000 w 270000"/>
                <a:gd name="connsiteY16" fmla="*/ 75000 h 120000"/>
                <a:gd name="connsiteX17" fmla="*/ 60000 w 270000"/>
                <a:gd name="connsiteY17" fmla="*/ 120000 h 120000"/>
                <a:gd name="connsiteX18" fmla="*/ 0 w 270000"/>
                <a:gd name="connsiteY18" fmla="*/ 60000 h 120000"/>
                <a:gd name="connsiteX19" fmla="*/ 60000 w 270000"/>
                <a:gd name="connsiteY19" fmla="*/ 0 h 120000"/>
                <a:gd name="connsiteX20" fmla="*/ 120000 w 270000"/>
                <a:gd name="connsiteY20" fmla="*/ 60000 h 120000"/>
                <a:gd name="connsiteX21" fmla="*/ 60000 w 270000"/>
                <a:gd name="connsiteY21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0000" h="120000">
                  <a:moveTo>
                    <a:pt x="195000" y="75000"/>
                  </a:moveTo>
                  <a:lnTo>
                    <a:pt x="165000" y="75000"/>
                  </a:lnTo>
                  <a:cubicBezTo>
                    <a:pt x="156716" y="75000"/>
                    <a:pt x="150000" y="68284"/>
                    <a:pt x="150000" y="60000"/>
                  </a:cubicBezTo>
                  <a:cubicBezTo>
                    <a:pt x="150000" y="51716"/>
                    <a:pt x="156716" y="45000"/>
                    <a:pt x="165000" y="45000"/>
                  </a:cubicBezTo>
                  <a:lnTo>
                    <a:pt x="195000" y="45000"/>
                  </a:lnTo>
                  <a:lnTo>
                    <a:pt x="195000" y="15000"/>
                  </a:lnTo>
                  <a:cubicBezTo>
                    <a:pt x="195000" y="6716"/>
                    <a:pt x="201716" y="0"/>
                    <a:pt x="210000" y="0"/>
                  </a:cubicBezTo>
                  <a:cubicBezTo>
                    <a:pt x="218285" y="0"/>
                    <a:pt x="225000" y="6716"/>
                    <a:pt x="225000" y="15000"/>
                  </a:cubicBezTo>
                  <a:lnTo>
                    <a:pt x="225000" y="45000"/>
                  </a:lnTo>
                  <a:lnTo>
                    <a:pt x="255000" y="45000"/>
                  </a:lnTo>
                  <a:cubicBezTo>
                    <a:pt x="263285" y="45000"/>
                    <a:pt x="270000" y="51716"/>
                    <a:pt x="270000" y="60000"/>
                  </a:cubicBezTo>
                  <a:cubicBezTo>
                    <a:pt x="270000" y="68284"/>
                    <a:pt x="263285" y="75000"/>
                    <a:pt x="255000" y="75000"/>
                  </a:cubicBezTo>
                  <a:lnTo>
                    <a:pt x="225000" y="75000"/>
                  </a:lnTo>
                  <a:lnTo>
                    <a:pt x="225000" y="105000"/>
                  </a:lnTo>
                  <a:cubicBezTo>
                    <a:pt x="225000" y="113285"/>
                    <a:pt x="218285" y="120000"/>
                    <a:pt x="210000" y="120000"/>
                  </a:cubicBezTo>
                  <a:cubicBezTo>
                    <a:pt x="201716" y="120000"/>
                    <a:pt x="195000" y="113285"/>
                    <a:pt x="195000" y="105000"/>
                  </a:cubicBezTo>
                  <a:lnTo>
                    <a:pt x="195000" y="75000"/>
                  </a:ln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Полилиния 103">
              <a:extLst>
                <a:ext uri="{FF2B5EF4-FFF2-40B4-BE49-F238E27FC236}">
                  <a16:creationId xmlns:a16="http://schemas.microsoft.com/office/drawing/2014/main" id="{721142BA-2801-6B45-B456-83805F3B4F48}"/>
                </a:ext>
              </a:extLst>
            </p:cNvPr>
            <p:cNvSpPr/>
            <p:nvPr/>
          </p:nvSpPr>
          <p:spPr>
            <a:xfrm>
              <a:off x="6762224" y="3627037"/>
              <a:ext cx="269999" cy="120000"/>
            </a:xfrm>
            <a:custGeom>
              <a:avLst/>
              <a:gdLst>
                <a:gd name="connsiteX0" fmla="*/ 10 w 269999"/>
                <a:gd name="connsiteY0" fmla="*/ 107988 h 120000"/>
                <a:gd name="connsiteX1" fmla="*/ 134750 w 269999"/>
                <a:gd name="connsiteY1" fmla="*/ 0 h 120000"/>
                <a:gd name="connsiteX2" fmla="*/ 269969 w 269999"/>
                <a:gd name="connsiteY2" fmla="*/ 108000 h 120000"/>
                <a:gd name="connsiteX3" fmla="*/ 258701 w 269999"/>
                <a:gd name="connsiteY3" fmla="*/ 120000 h 120000"/>
                <a:gd name="connsiteX4" fmla="*/ 10913 w 269999"/>
                <a:gd name="connsiteY4" fmla="*/ 120000 h 120000"/>
                <a:gd name="connsiteX5" fmla="*/ 10 w 269999"/>
                <a:gd name="connsiteY5" fmla="*/ 107988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999" h="120000">
                  <a:moveTo>
                    <a:pt x="10" y="107988"/>
                  </a:moveTo>
                  <a:cubicBezTo>
                    <a:pt x="5824" y="36398"/>
                    <a:pt x="63929" y="0"/>
                    <a:pt x="134750" y="0"/>
                  </a:cubicBezTo>
                  <a:cubicBezTo>
                    <a:pt x="206568" y="0"/>
                    <a:pt x="265574" y="34398"/>
                    <a:pt x="269969" y="108000"/>
                  </a:cubicBezTo>
                  <a:cubicBezTo>
                    <a:pt x="270144" y="110933"/>
                    <a:pt x="269969" y="120000"/>
                    <a:pt x="258701" y="120000"/>
                  </a:cubicBezTo>
                  <a:cubicBezTo>
                    <a:pt x="203117" y="120000"/>
                    <a:pt x="120521" y="120000"/>
                    <a:pt x="10913" y="120000"/>
                  </a:cubicBezTo>
                  <a:cubicBezTo>
                    <a:pt x="7151" y="120000"/>
                    <a:pt x="-307" y="111888"/>
                    <a:pt x="10" y="107988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5" name="Рисунок 7">
            <a:extLst>
              <a:ext uri="{FF2B5EF4-FFF2-40B4-BE49-F238E27FC236}">
                <a16:creationId xmlns:a16="http://schemas.microsoft.com/office/drawing/2014/main" id="{33AD87D7-4B9B-3443-8448-5E2767CAC026}"/>
              </a:ext>
            </a:extLst>
          </p:cNvPr>
          <p:cNvGrpSpPr/>
          <p:nvPr/>
        </p:nvGrpSpPr>
        <p:grpSpPr>
          <a:xfrm>
            <a:off x="7436172" y="3115315"/>
            <a:ext cx="360000" cy="360000"/>
            <a:chOff x="7515377" y="3432037"/>
            <a:chExt cx="360000" cy="360000"/>
          </a:xfrm>
        </p:grpSpPr>
        <p:sp>
          <p:nvSpPr>
            <p:cNvPr id="106" name="Полилиния 105">
              <a:extLst>
                <a:ext uri="{FF2B5EF4-FFF2-40B4-BE49-F238E27FC236}">
                  <a16:creationId xmlns:a16="http://schemas.microsoft.com/office/drawing/2014/main" id="{EE614765-9D1A-E94C-88B7-6D0B7476C8F5}"/>
                </a:ext>
              </a:extLst>
            </p:cNvPr>
            <p:cNvSpPr/>
            <p:nvPr/>
          </p:nvSpPr>
          <p:spPr>
            <a:xfrm>
              <a:off x="7515377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" name="Полилиния 106">
              <a:extLst>
                <a:ext uri="{FF2B5EF4-FFF2-40B4-BE49-F238E27FC236}">
                  <a16:creationId xmlns:a16="http://schemas.microsoft.com/office/drawing/2014/main" id="{D987F3A4-844F-DE44-BC71-527D19CA6355}"/>
                </a:ext>
              </a:extLst>
            </p:cNvPr>
            <p:cNvSpPr/>
            <p:nvPr/>
          </p:nvSpPr>
          <p:spPr>
            <a:xfrm>
              <a:off x="7575377" y="3492037"/>
              <a:ext cx="240000" cy="240000"/>
            </a:xfrm>
            <a:custGeom>
              <a:avLst/>
              <a:gdLst>
                <a:gd name="connsiteX0" fmla="*/ 120000 w 240000"/>
                <a:gd name="connsiteY0" fmla="*/ 240000 h 240000"/>
                <a:gd name="connsiteX1" fmla="*/ 0 w 240000"/>
                <a:gd name="connsiteY1" fmla="*/ 120000 h 240000"/>
                <a:gd name="connsiteX2" fmla="*/ 120000 w 240000"/>
                <a:gd name="connsiteY2" fmla="*/ 0 h 240000"/>
                <a:gd name="connsiteX3" fmla="*/ 240000 w 240000"/>
                <a:gd name="connsiteY3" fmla="*/ 120000 h 240000"/>
                <a:gd name="connsiteX4" fmla="*/ 120000 w 240000"/>
                <a:gd name="connsiteY4" fmla="*/ 240000 h 240000"/>
                <a:gd name="connsiteX5" fmla="*/ 120000 w 240000"/>
                <a:gd name="connsiteY5" fmla="*/ 30000 h 240000"/>
                <a:gd name="connsiteX6" fmla="*/ 30000 w 240000"/>
                <a:gd name="connsiteY6" fmla="*/ 120000 h 240000"/>
                <a:gd name="connsiteX7" fmla="*/ 120000 w 240000"/>
                <a:gd name="connsiteY7" fmla="*/ 210000 h 240000"/>
                <a:gd name="connsiteX8" fmla="*/ 120000 w 240000"/>
                <a:gd name="connsiteY8" fmla="*/ 3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0000" h="240000">
                  <a:moveTo>
                    <a:pt x="120000" y="240000"/>
                  </a:moveTo>
                  <a:cubicBezTo>
                    <a:pt x="53726" y="240000"/>
                    <a:pt x="0" y="186275"/>
                    <a:pt x="0" y="120000"/>
                  </a:cubicBezTo>
                  <a:cubicBezTo>
                    <a:pt x="0" y="53726"/>
                    <a:pt x="53726" y="0"/>
                    <a:pt x="120000" y="0"/>
                  </a:cubicBezTo>
                  <a:cubicBezTo>
                    <a:pt x="186275" y="0"/>
                    <a:pt x="240000" y="53726"/>
                    <a:pt x="240000" y="120000"/>
                  </a:cubicBezTo>
                  <a:cubicBezTo>
                    <a:pt x="240000" y="186275"/>
                    <a:pt x="186275" y="240000"/>
                    <a:pt x="120000" y="240000"/>
                  </a:cubicBezTo>
                  <a:close/>
                  <a:moveTo>
                    <a:pt x="120000" y="30000"/>
                  </a:moveTo>
                  <a:cubicBezTo>
                    <a:pt x="70294" y="30000"/>
                    <a:pt x="30000" y="70294"/>
                    <a:pt x="30000" y="120000"/>
                  </a:cubicBezTo>
                  <a:cubicBezTo>
                    <a:pt x="30000" y="169706"/>
                    <a:pt x="70294" y="210000"/>
                    <a:pt x="120000" y="210000"/>
                  </a:cubicBezTo>
                  <a:lnTo>
                    <a:pt x="120000" y="3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8" name="Рисунок 8">
            <a:extLst>
              <a:ext uri="{FF2B5EF4-FFF2-40B4-BE49-F238E27FC236}">
                <a16:creationId xmlns:a16="http://schemas.microsoft.com/office/drawing/2014/main" id="{2D2FA5D6-B9A9-E343-B744-05263215016F}"/>
              </a:ext>
            </a:extLst>
          </p:cNvPr>
          <p:cNvGrpSpPr/>
          <p:nvPr/>
        </p:nvGrpSpPr>
        <p:grpSpPr>
          <a:xfrm>
            <a:off x="8189324" y="3115315"/>
            <a:ext cx="360000" cy="360000"/>
            <a:chOff x="8268529" y="3432037"/>
            <a:chExt cx="360000" cy="360000"/>
          </a:xfrm>
        </p:grpSpPr>
        <p:sp>
          <p:nvSpPr>
            <p:cNvPr id="109" name="Полилиния 108">
              <a:extLst>
                <a:ext uri="{FF2B5EF4-FFF2-40B4-BE49-F238E27FC236}">
                  <a16:creationId xmlns:a16="http://schemas.microsoft.com/office/drawing/2014/main" id="{A9CE3288-D1A2-E14A-B9C9-940B08B5B517}"/>
                </a:ext>
              </a:extLst>
            </p:cNvPr>
            <p:cNvSpPr/>
            <p:nvPr/>
          </p:nvSpPr>
          <p:spPr>
            <a:xfrm>
              <a:off x="8268529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" name="Полилиния 109">
              <a:extLst>
                <a:ext uri="{FF2B5EF4-FFF2-40B4-BE49-F238E27FC236}">
                  <a16:creationId xmlns:a16="http://schemas.microsoft.com/office/drawing/2014/main" id="{4EBCEDA5-8C42-4C46-A640-3CEBA077FFF2}"/>
                </a:ext>
              </a:extLst>
            </p:cNvPr>
            <p:cNvSpPr/>
            <p:nvPr/>
          </p:nvSpPr>
          <p:spPr>
            <a:xfrm>
              <a:off x="8523529" y="3462037"/>
              <a:ext cx="75000" cy="300000"/>
            </a:xfrm>
            <a:custGeom>
              <a:avLst/>
              <a:gdLst>
                <a:gd name="connsiteX0" fmla="*/ 0 w 75000"/>
                <a:gd name="connsiteY0" fmla="*/ 0 h 300000"/>
                <a:gd name="connsiteX1" fmla="*/ 30000 w 75000"/>
                <a:gd name="connsiteY1" fmla="*/ 0 h 300000"/>
                <a:gd name="connsiteX2" fmla="*/ 75000 w 75000"/>
                <a:gd name="connsiteY2" fmla="*/ 45000 h 300000"/>
                <a:gd name="connsiteX3" fmla="*/ 75000 w 75000"/>
                <a:gd name="connsiteY3" fmla="*/ 255000 h 300000"/>
                <a:gd name="connsiteX4" fmla="*/ 30000 w 75000"/>
                <a:gd name="connsiteY4" fmla="*/ 300000 h 300000"/>
                <a:gd name="connsiteX5" fmla="*/ 0 w 75000"/>
                <a:gd name="connsiteY5" fmla="*/ 300000 h 300000"/>
                <a:gd name="connsiteX6" fmla="*/ 0 w 75000"/>
                <a:gd name="connsiteY6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000" h="300000">
                  <a:moveTo>
                    <a:pt x="0" y="0"/>
                  </a:moveTo>
                  <a:lnTo>
                    <a:pt x="30000" y="0"/>
                  </a:lnTo>
                  <a:cubicBezTo>
                    <a:pt x="54854" y="0"/>
                    <a:pt x="75000" y="20147"/>
                    <a:pt x="75000" y="45000"/>
                  </a:cubicBezTo>
                  <a:lnTo>
                    <a:pt x="75000" y="255000"/>
                  </a:lnTo>
                  <a:cubicBezTo>
                    <a:pt x="75000" y="279854"/>
                    <a:pt x="54854" y="300000"/>
                    <a:pt x="30000" y="300000"/>
                  </a:cubicBezTo>
                  <a:lnTo>
                    <a:pt x="0" y="30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" name="Полилиния 110">
              <a:extLst>
                <a:ext uri="{FF2B5EF4-FFF2-40B4-BE49-F238E27FC236}">
                  <a16:creationId xmlns:a16="http://schemas.microsoft.com/office/drawing/2014/main" id="{2F2D5EBB-4481-E445-9CCD-1E59C902D8D9}"/>
                </a:ext>
              </a:extLst>
            </p:cNvPr>
            <p:cNvSpPr/>
            <p:nvPr/>
          </p:nvSpPr>
          <p:spPr>
            <a:xfrm>
              <a:off x="8313529" y="3462037"/>
              <a:ext cx="240000" cy="300000"/>
            </a:xfrm>
            <a:custGeom>
              <a:avLst/>
              <a:gdLst>
                <a:gd name="connsiteX0" fmla="*/ 15000 w 240000"/>
                <a:gd name="connsiteY0" fmla="*/ 0 h 300000"/>
                <a:gd name="connsiteX1" fmla="*/ 195000 w 240000"/>
                <a:gd name="connsiteY1" fmla="*/ 0 h 300000"/>
                <a:gd name="connsiteX2" fmla="*/ 240000 w 240000"/>
                <a:gd name="connsiteY2" fmla="*/ 45000 h 300000"/>
                <a:gd name="connsiteX3" fmla="*/ 240000 w 240000"/>
                <a:gd name="connsiteY3" fmla="*/ 255000 h 300000"/>
                <a:gd name="connsiteX4" fmla="*/ 195000 w 240000"/>
                <a:gd name="connsiteY4" fmla="*/ 300000 h 300000"/>
                <a:gd name="connsiteX5" fmla="*/ 15000 w 240000"/>
                <a:gd name="connsiteY5" fmla="*/ 300000 h 300000"/>
                <a:gd name="connsiteX6" fmla="*/ 0 w 240000"/>
                <a:gd name="connsiteY6" fmla="*/ 285000 h 300000"/>
                <a:gd name="connsiteX7" fmla="*/ 0 w 240000"/>
                <a:gd name="connsiteY7" fmla="*/ 15000 h 300000"/>
                <a:gd name="connsiteX8" fmla="*/ 15000 w 240000"/>
                <a:gd name="connsiteY8" fmla="*/ 0 h 300000"/>
                <a:gd name="connsiteX9" fmla="*/ 121764 w 240000"/>
                <a:gd name="connsiteY9" fmla="*/ 175644 h 300000"/>
                <a:gd name="connsiteX10" fmla="*/ 96442 w 240000"/>
                <a:gd name="connsiteY10" fmla="*/ 179753 h 300000"/>
                <a:gd name="connsiteX11" fmla="*/ 71120 w 240000"/>
                <a:gd name="connsiteY11" fmla="*/ 183863 h 300000"/>
                <a:gd name="connsiteX12" fmla="*/ 48455 w 240000"/>
                <a:gd name="connsiteY12" fmla="*/ 206528 h 300000"/>
                <a:gd name="connsiteX13" fmla="*/ 46643 w 240000"/>
                <a:gd name="connsiteY13" fmla="*/ 209459 h 300000"/>
                <a:gd name="connsiteX14" fmla="*/ 51386 w 240000"/>
                <a:gd name="connsiteY14" fmla="*/ 218946 h 300000"/>
                <a:gd name="connsiteX15" fmla="*/ 71694 w 240000"/>
                <a:gd name="connsiteY15" fmla="*/ 225716 h 300000"/>
                <a:gd name="connsiteX16" fmla="*/ 127230 w 240000"/>
                <a:gd name="connsiteY16" fmla="*/ 212604 h 300000"/>
                <a:gd name="connsiteX17" fmla="*/ 187218 w 240000"/>
                <a:gd name="connsiteY17" fmla="*/ 152616 h 300000"/>
                <a:gd name="connsiteX18" fmla="*/ 195437 w 240000"/>
                <a:gd name="connsiteY18" fmla="*/ 101971 h 300000"/>
                <a:gd name="connsiteX19" fmla="*/ 185949 w 240000"/>
                <a:gd name="connsiteY19" fmla="*/ 82994 h 300000"/>
                <a:gd name="connsiteX20" fmla="*/ 184544 w 240000"/>
                <a:gd name="connsiteY20" fmla="*/ 81045 h 300000"/>
                <a:gd name="connsiteX21" fmla="*/ 173937 w 240000"/>
                <a:gd name="connsiteY21" fmla="*/ 81045 h 300000"/>
                <a:gd name="connsiteX22" fmla="*/ 150050 w 240000"/>
                <a:gd name="connsiteY22" fmla="*/ 104933 h 300000"/>
                <a:gd name="connsiteX23" fmla="*/ 145940 w 240000"/>
                <a:gd name="connsiteY23" fmla="*/ 130255 h 300000"/>
                <a:gd name="connsiteX24" fmla="*/ 141831 w 240000"/>
                <a:gd name="connsiteY24" fmla="*/ 155579 h 300000"/>
                <a:gd name="connsiteX25" fmla="*/ 121764 w 240000"/>
                <a:gd name="connsiteY25" fmla="*/ 175644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40000" h="300000">
                  <a:moveTo>
                    <a:pt x="15000" y="0"/>
                  </a:moveTo>
                  <a:lnTo>
                    <a:pt x="195000" y="0"/>
                  </a:lnTo>
                  <a:cubicBezTo>
                    <a:pt x="219854" y="0"/>
                    <a:pt x="240000" y="20147"/>
                    <a:pt x="240000" y="45000"/>
                  </a:cubicBezTo>
                  <a:lnTo>
                    <a:pt x="240000" y="255000"/>
                  </a:lnTo>
                  <a:cubicBezTo>
                    <a:pt x="240000" y="279854"/>
                    <a:pt x="219854" y="300000"/>
                    <a:pt x="195000" y="300000"/>
                  </a:cubicBezTo>
                  <a:lnTo>
                    <a:pt x="15000" y="300000"/>
                  </a:lnTo>
                  <a:cubicBezTo>
                    <a:pt x="6716" y="300000"/>
                    <a:pt x="0" y="293285"/>
                    <a:pt x="0" y="28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21764" y="175644"/>
                  </a:moveTo>
                  <a:cubicBezTo>
                    <a:pt x="115087" y="182321"/>
                    <a:pt x="104888" y="183977"/>
                    <a:pt x="96442" y="179753"/>
                  </a:cubicBezTo>
                  <a:cubicBezTo>
                    <a:pt x="87997" y="175530"/>
                    <a:pt x="77797" y="177186"/>
                    <a:pt x="71120" y="183863"/>
                  </a:cubicBezTo>
                  <a:lnTo>
                    <a:pt x="48455" y="206528"/>
                  </a:lnTo>
                  <a:cubicBezTo>
                    <a:pt x="47631" y="207351"/>
                    <a:pt x="47011" y="208355"/>
                    <a:pt x="46643" y="209459"/>
                  </a:cubicBezTo>
                  <a:cubicBezTo>
                    <a:pt x="45333" y="213389"/>
                    <a:pt x="47457" y="217637"/>
                    <a:pt x="51386" y="218946"/>
                  </a:cubicBezTo>
                  <a:lnTo>
                    <a:pt x="71694" y="225716"/>
                  </a:lnTo>
                  <a:cubicBezTo>
                    <a:pt x="91195" y="232215"/>
                    <a:pt x="112695" y="227141"/>
                    <a:pt x="127230" y="212604"/>
                  </a:cubicBezTo>
                  <a:lnTo>
                    <a:pt x="187218" y="152616"/>
                  </a:lnTo>
                  <a:cubicBezTo>
                    <a:pt x="200573" y="139263"/>
                    <a:pt x="203883" y="118862"/>
                    <a:pt x="195437" y="101971"/>
                  </a:cubicBezTo>
                  <a:lnTo>
                    <a:pt x="185949" y="82994"/>
                  </a:lnTo>
                  <a:cubicBezTo>
                    <a:pt x="185588" y="82273"/>
                    <a:pt x="185114" y="81615"/>
                    <a:pt x="184544" y="81045"/>
                  </a:cubicBezTo>
                  <a:cubicBezTo>
                    <a:pt x="181616" y="78116"/>
                    <a:pt x="176867" y="78116"/>
                    <a:pt x="173937" y="81045"/>
                  </a:cubicBezTo>
                  <a:lnTo>
                    <a:pt x="150050" y="104933"/>
                  </a:lnTo>
                  <a:cubicBezTo>
                    <a:pt x="143372" y="111610"/>
                    <a:pt x="141717" y="121811"/>
                    <a:pt x="145940" y="130255"/>
                  </a:cubicBezTo>
                  <a:cubicBezTo>
                    <a:pt x="150162" y="138701"/>
                    <a:pt x="148508" y="148902"/>
                    <a:pt x="141831" y="155579"/>
                  </a:cubicBezTo>
                  <a:lnTo>
                    <a:pt x="121764" y="175644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2" name="Рисунок 9">
            <a:extLst>
              <a:ext uri="{FF2B5EF4-FFF2-40B4-BE49-F238E27FC236}">
                <a16:creationId xmlns:a16="http://schemas.microsoft.com/office/drawing/2014/main" id="{07658B81-340F-F04B-9E19-01C92C91E4CC}"/>
              </a:ext>
            </a:extLst>
          </p:cNvPr>
          <p:cNvGrpSpPr/>
          <p:nvPr/>
        </p:nvGrpSpPr>
        <p:grpSpPr>
          <a:xfrm>
            <a:off x="5929868" y="3115315"/>
            <a:ext cx="360000" cy="360000"/>
            <a:chOff x="6009073" y="3432037"/>
            <a:chExt cx="360000" cy="360000"/>
          </a:xfrm>
        </p:grpSpPr>
        <p:sp>
          <p:nvSpPr>
            <p:cNvPr id="113" name="Полилиния 112">
              <a:extLst>
                <a:ext uri="{FF2B5EF4-FFF2-40B4-BE49-F238E27FC236}">
                  <a16:creationId xmlns:a16="http://schemas.microsoft.com/office/drawing/2014/main" id="{E0A1F518-3A55-0F4E-BBE6-97309B5A0901}"/>
                </a:ext>
              </a:extLst>
            </p:cNvPr>
            <p:cNvSpPr/>
            <p:nvPr/>
          </p:nvSpPr>
          <p:spPr>
            <a:xfrm>
              <a:off x="6009073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" name="Полилиния 113">
              <a:extLst>
                <a:ext uri="{FF2B5EF4-FFF2-40B4-BE49-F238E27FC236}">
                  <a16:creationId xmlns:a16="http://schemas.microsoft.com/office/drawing/2014/main" id="{E756B17B-88F3-2048-BD85-CB7929D79845}"/>
                </a:ext>
              </a:extLst>
            </p:cNvPr>
            <p:cNvSpPr/>
            <p:nvPr/>
          </p:nvSpPr>
          <p:spPr>
            <a:xfrm>
              <a:off x="6279073" y="3462037"/>
              <a:ext cx="75000" cy="300000"/>
            </a:xfrm>
            <a:custGeom>
              <a:avLst/>
              <a:gdLst>
                <a:gd name="connsiteX0" fmla="*/ 0 w 75000"/>
                <a:gd name="connsiteY0" fmla="*/ 0 h 300000"/>
                <a:gd name="connsiteX1" fmla="*/ 30000 w 75000"/>
                <a:gd name="connsiteY1" fmla="*/ 0 h 300000"/>
                <a:gd name="connsiteX2" fmla="*/ 75000 w 75000"/>
                <a:gd name="connsiteY2" fmla="*/ 45000 h 300000"/>
                <a:gd name="connsiteX3" fmla="*/ 75000 w 75000"/>
                <a:gd name="connsiteY3" fmla="*/ 255000 h 300000"/>
                <a:gd name="connsiteX4" fmla="*/ 30000 w 75000"/>
                <a:gd name="connsiteY4" fmla="*/ 300000 h 300000"/>
                <a:gd name="connsiteX5" fmla="*/ 0 w 75000"/>
                <a:gd name="connsiteY5" fmla="*/ 300000 h 300000"/>
                <a:gd name="connsiteX6" fmla="*/ 0 w 75000"/>
                <a:gd name="connsiteY6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000" h="300000">
                  <a:moveTo>
                    <a:pt x="0" y="0"/>
                  </a:moveTo>
                  <a:lnTo>
                    <a:pt x="30000" y="0"/>
                  </a:lnTo>
                  <a:cubicBezTo>
                    <a:pt x="54854" y="0"/>
                    <a:pt x="75000" y="20147"/>
                    <a:pt x="75000" y="45000"/>
                  </a:cubicBezTo>
                  <a:lnTo>
                    <a:pt x="75000" y="255000"/>
                  </a:lnTo>
                  <a:cubicBezTo>
                    <a:pt x="75000" y="279854"/>
                    <a:pt x="54854" y="300000"/>
                    <a:pt x="30000" y="300000"/>
                  </a:cubicBezTo>
                  <a:lnTo>
                    <a:pt x="0" y="30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" name="Полилиния 114">
              <a:extLst>
                <a:ext uri="{FF2B5EF4-FFF2-40B4-BE49-F238E27FC236}">
                  <a16:creationId xmlns:a16="http://schemas.microsoft.com/office/drawing/2014/main" id="{FBB23BB2-8E42-6546-8B59-5209EB404D5D}"/>
                </a:ext>
              </a:extLst>
            </p:cNvPr>
            <p:cNvSpPr/>
            <p:nvPr/>
          </p:nvSpPr>
          <p:spPr>
            <a:xfrm>
              <a:off x="6069073" y="3462037"/>
              <a:ext cx="240000" cy="300000"/>
            </a:xfrm>
            <a:custGeom>
              <a:avLst/>
              <a:gdLst>
                <a:gd name="connsiteX0" fmla="*/ 15000 w 240000"/>
                <a:gd name="connsiteY0" fmla="*/ 0 h 300000"/>
                <a:gd name="connsiteX1" fmla="*/ 195000 w 240000"/>
                <a:gd name="connsiteY1" fmla="*/ 0 h 300000"/>
                <a:gd name="connsiteX2" fmla="*/ 240000 w 240000"/>
                <a:gd name="connsiteY2" fmla="*/ 45000 h 300000"/>
                <a:gd name="connsiteX3" fmla="*/ 240000 w 240000"/>
                <a:gd name="connsiteY3" fmla="*/ 255000 h 300000"/>
                <a:gd name="connsiteX4" fmla="*/ 195000 w 240000"/>
                <a:gd name="connsiteY4" fmla="*/ 300000 h 300000"/>
                <a:gd name="connsiteX5" fmla="*/ 15000 w 240000"/>
                <a:gd name="connsiteY5" fmla="*/ 300000 h 300000"/>
                <a:gd name="connsiteX6" fmla="*/ 0 w 240000"/>
                <a:gd name="connsiteY6" fmla="*/ 285000 h 300000"/>
                <a:gd name="connsiteX7" fmla="*/ 0 w 240000"/>
                <a:gd name="connsiteY7" fmla="*/ 15000 h 300000"/>
                <a:gd name="connsiteX8" fmla="*/ 15000 w 240000"/>
                <a:gd name="connsiteY8" fmla="*/ 0 h 300000"/>
                <a:gd name="connsiteX9" fmla="*/ 120000 w 240000"/>
                <a:gd name="connsiteY9" fmla="*/ 135000 h 300000"/>
                <a:gd name="connsiteX10" fmla="*/ 150000 w 240000"/>
                <a:gd name="connsiteY10" fmla="*/ 105000 h 300000"/>
                <a:gd name="connsiteX11" fmla="*/ 120000 w 240000"/>
                <a:gd name="connsiteY11" fmla="*/ 75000 h 300000"/>
                <a:gd name="connsiteX12" fmla="*/ 90000 w 240000"/>
                <a:gd name="connsiteY12" fmla="*/ 105000 h 300000"/>
                <a:gd name="connsiteX13" fmla="*/ 120000 w 240000"/>
                <a:gd name="connsiteY13" fmla="*/ 135000 h 300000"/>
                <a:gd name="connsiteX14" fmla="*/ 45005 w 240000"/>
                <a:gd name="connsiteY14" fmla="*/ 217493 h 300000"/>
                <a:gd name="connsiteX15" fmla="*/ 51063 w 240000"/>
                <a:gd name="connsiteY15" fmla="*/ 225000 h 300000"/>
                <a:gd name="connsiteX16" fmla="*/ 188722 w 240000"/>
                <a:gd name="connsiteY16" fmla="*/ 225000 h 300000"/>
                <a:gd name="connsiteX17" fmla="*/ 194982 w 240000"/>
                <a:gd name="connsiteY17" fmla="*/ 217500 h 300000"/>
                <a:gd name="connsiteX18" fmla="*/ 119861 w 240000"/>
                <a:gd name="connsiteY18" fmla="*/ 150000 h 300000"/>
                <a:gd name="connsiteX19" fmla="*/ 45005 w 240000"/>
                <a:gd name="connsiteY19" fmla="*/ 217493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40000" h="300000">
                  <a:moveTo>
                    <a:pt x="15000" y="0"/>
                  </a:moveTo>
                  <a:lnTo>
                    <a:pt x="195000" y="0"/>
                  </a:lnTo>
                  <a:cubicBezTo>
                    <a:pt x="219854" y="0"/>
                    <a:pt x="240000" y="20147"/>
                    <a:pt x="240000" y="45000"/>
                  </a:cubicBezTo>
                  <a:lnTo>
                    <a:pt x="240000" y="255000"/>
                  </a:lnTo>
                  <a:cubicBezTo>
                    <a:pt x="240000" y="279854"/>
                    <a:pt x="219854" y="300000"/>
                    <a:pt x="195000" y="300000"/>
                  </a:cubicBezTo>
                  <a:lnTo>
                    <a:pt x="15000" y="300000"/>
                  </a:lnTo>
                  <a:cubicBezTo>
                    <a:pt x="6716" y="300000"/>
                    <a:pt x="0" y="293285"/>
                    <a:pt x="0" y="28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20000" y="135000"/>
                  </a:moveTo>
                  <a:cubicBezTo>
                    <a:pt x="136569" y="135000"/>
                    <a:pt x="150000" y="121569"/>
                    <a:pt x="150000" y="105000"/>
                  </a:cubicBezTo>
                  <a:cubicBezTo>
                    <a:pt x="150000" y="88431"/>
                    <a:pt x="136569" y="75000"/>
                    <a:pt x="120000" y="75000"/>
                  </a:cubicBezTo>
                  <a:cubicBezTo>
                    <a:pt x="103431" y="75000"/>
                    <a:pt x="90000" y="88431"/>
                    <a:pt x="90000" y="105000"/>
                  </a:cubicBezTo>
                  <a:cubicBezTo>
                    <a:pt x="90000" y="121569"/>
                    <a:pt x="103431" y="135000"/>
                    <a:pt x="120000" y="135000"/>
                  </a:cubicBezTo>
                  <a:close/>
                  <a:moveTo>
                    <a:pt x="45005" y="217493"/>
                  </a:moveTo>
                  <a:cubicBezTo>
                    <a:pt x="44829" y="219930"/>
                    <a:pt x="48973" y="225000"/>
                    <a:pt x="51063" y="225000"/>
                  </a:cubicBezTo>
                  <a:cubicBezTo>
                    <a:pt x="111956" y="225000"/>
                    <a:pt x="157842" y="225000"/>
                    <a:pt x="188722" y="225000"/>
                  </a:cubicBezTo>
                  <a:cubicBezTo>
                    <a:pt x="194982" y="225000"/>
                    <a:pt x="195080" y="219333"/>
                    <a:pt x="194982" y="217500"/>
                  </a:cubicBezTo>
                  <a:cubicBezTo>
                    <a:pt x="192540" y="171498"/>
                    <a:pt x="159761" y="150000"/>
                    <a:pt x="119861" y="150000"/>
                  </a:cubicBezTo>
                  <a:cubicBezTo>
                    <a:pt x="80516" y="150000"/>
                    <a:pt x="48236" y="172749"/>
                    <a:pt x="45005" y="217493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6" name="Рисунок 10">
            <a:extLst>
              <a:ext uri="{FF2B5EF4-FFF2-40B4-BE49-F238E27FC236}">
                <a16:creationId xmlns:a16="http://schemas.microsoft.com/office/drawing/2014/main" id="{9890790B-4EFE-E34C-BDB0-88F23DD9D77E}"/>
              </a:ext>
            </a:extLst>
          </p:cNvPr>
          <p:cNvGrpSpPr/>
          <p:nvPr/>
        </p:nvGrpSpPr>
        <p:grpSpPr>
          <a:xfrm>
            <a:off x="5176716" y="3115315"/>
            <a:ext cx="360000" cy="360000"/>
            <a:chOff x="5255921" y="3432037"/>
            <a:chExt cx="360000" cy="360000"/>
          </a:xfrm>
        </p:grpSpPr>
        <p:sp>
          <p:nvSpPr>
            <p:cNvPr id="117" name="Полилиния 116">
              <a:extLst>
                <a:ext uri="{FF2B5EF4-FFF2-40B4-BE49-F238E27FC236}">
                  <a16:creationId xmlns:a16="http://schemas.microsoft.com/office/drawing/2014/main" id="{2C6DE358-4020-BB44-A4FF-EF5C90C2CC1E}"/>
                </a:ext>
              </a:extLst>
            </p:cNvPr>
            <p:cNvSpPr/>
            <p:nvPr/>
          </p:nvSpPr>
          <p:spPr>
            <a:xfrm>
              <a:off x="5255921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" name="Полилиния 117">
              <a:extLst>
                <a:ext uri="{FF2B5EF4-FFF2-40B4-BE49-F238E27FC236}">
                  <a16:creationId xmlns:a16="http://schemas.microsoft.com/office/drawing/2014/main" id="{A9AA941D-8320-874F-84A9-6CAE6AC4F066}"/>
                </a:ext>
              </a:extLst>
            </p:cNvPr>
            <p:cNvSpPr/>
            <p:nvPr/>
          </p:nvSpPr>
          <p:spPr>
            <a:xfrm>
              <a:off x="5400220" y="3667690"/>
              <a:ext cx="80604" cy="87620"/>
            </a:xfrm>
            <a:custGeom>
              <a:avLst/>
              <a:gdLst>
                <a:gd name="connsiteX0" fmla="*/ 8060 w 80604"/>
                <a:gd name="connsiteY0" fmla="*/ 0 h 87620"/>
                <a:gd name="connsiteX1" fmla="*/ 35141 w 80604"/>
                <a:gd name="connsiteY1" fmla="*/ 3711 h 87620"/>
                <a:gd name="connsiteX2" fmla="*/ 62220 w 80604"/>
                <a:gd name="connsiteY2" fmla="*/ 0 h 87620"/>
                <a:gd name="connsiteX3" fmla="*/ 69876 w 80604"/>
                <a:gd name="connsiteY3" fmla="*/ 20674 h 87620"/>
                <a:gd name="connsiteX4" fmla="*/ 70278 w 80604"/>
                <a:gd name="connsiteY4" fmla="*/ 22923 h 87620"/>
                <a:gd name="connsiteX5" fmla="*/ 63956 w 80604"/>
                <a:gd name="connsiteY5" fmla="*/ 29327 h 87620"/>
                <a:gd name="connsiteX6" fmla="*/ 47787 w 80604"/>
                <a:gd name="connsiteY6" fmla="*/ 28918 h 87620"/>
                <a:gd name="connsiteX7" fmla="*/ 71954 w 80604"/>
                <a:gd name="connsiteY7" fmla="*/ 62660 h 87620"/>
                <a:gd name="connsiteX8" fmla="*/ 79952 w 80604"/>
                <a:gd name="connsiteY8" fmla="*/ 78860 h 87620"/>
                <a:gd name="connsiteX9" fmla="*/ 63956 w 80604"/>
                <a:gd name="connsiteY9" fmla="*/ 86959 h 87620"/>
                <a:gd name="connsiteX10" fmla="*/ 22524 w 80604"/>
                <a:gd name="connsiteY10" fmla="*/ 29327 h 87620"/>
                <a:gd name="connsiteX11" fmla="*/ 6326 w 80604"/>
                <a:gd name="connsiteY11" fmla="*/ 29327 h 87620"/>
                <a:gd name="connsiteX12" fmla="*/ 4105 w 80604"/>
                <a:gd name="connsiteY12" fmla="*/ 28918 h 87620"/>
                <a:gd name="connsiteX13" fmla="*/ 404 w 80604"/>
                <a:gd name="connsiteY13" fmla="*/ 20674 h 87620"/>
                <a:gd name="connsiteX14" fmla="*/ 8060 w 80604"/>
                <a:gd name="connsiteY14" fmla="*/ 0 h 8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604" h="87620">
                  <a:moveTo>
                    <a:pt x="8060" y="0"/>
                  </a:moveTo>
                  <a:cubicBezTo>
                    <a:pt x="16679" y="2419"/>
                    <a:pt x="25761" y="3711"/>
                    <a:pt x="35141" y="3711"/>
                  </a:cubicBezTo>
                  <a:cubicBezTo>
                    <a:pt x="44520" y="3711"/>
                    <a:pt x="53601" y="2419"/>
                    <a:pt x="62220" y="0"/>
                  </a:cubicBezTo>
                  <a:lnTo>
                    <a:pt x="69876" y="20674"/>
                  </a:lnTo>
                  <a:cubicBezTo>
                    <a:pt x="70142" y="21393"/>
                    <a:pt x="70278" y="22155"/>
                    <a:pt x="70278" y="22923"/>
                  </a:cubicBezTo>
                  <a:cubicBezTo>
                    <a:pt x="70278" y="26460"/>
                    <a:pt x="67448" y="29327"/>
                    <a:pt x="63956" y="29327"/>
                  </a:cubicBezTo>
                  <a:lnTo>
                    <a:pt x="47787" y="28918"/>
                  </a:lnTo>
                  <a:cubicBezTo>
                    <a:pt x="48626" y="46735"/>
                    <a:pt x="55113" y="56974"/>
                    <a:pt x="71954" y="62660"/>
                  </a:cubicBezTo>
                  <a:cubicBezTo>
                    <a:pt x="78581" y="64896"/>
                    <a:pt x="82161" y="72150"/>
                    <a:pt x="79952" y="78860"/>
                  </a:cubicBezTo>
                  <a:cubicBezTo>
                    <a:pt x="77744" y="85570"/>
                    <a:pt x="70581" y="89198"/>
                    <a:pt x="63956" y="86959"/>
                  </a:cubicBezTo>
                  <a:cubicBezTo>
                    <a:pt x="36785" y="77788"/>
                    <a:pt x="23376" y="58172"/>
                    <a:pt x="22524" y="29327"/>
                  </a:cubicBezTo>
                  <a:lnTo>
                    <a:pt x="6326" y="29327"/>
                  </a:lnTo>
                  <a:cubicBezTo>
                    <a:pt x="5567" y="29327"/>
                    <a:pt x="4815" y="29188"/>
                    <a:pt x="4105" y="28918"/>
                  </a:cubicBezTo>
                  <a:cubicBezTo>
                    <a:pt x="835" y="27676"/>
                    <a:pt x="-822" y="23986"/>
                    <a:pt x="404" y="20674"/>
                  </a:cubicBezTo>
                  <a:lnTo>
                    <a:pt x="8060" y="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" name="Полилиния 118">
              <a:extLst>
                <a:ext uri="{FF2B5EF4-FFF2-40B4-BE49-F238E27FC236}">
                  <a16:creationId xmlns:a16="http://schemas.microsoft.com/office/drawing/2014/main" id="{09705328-891D-3B48-8639-D0CD70D43830}"/>
                </a:ext>
              </a:extLst>
            </p:cNvPr>
            <p:cNvSpPr/>
            <p:nvPr/>
          </p:nvSpPr>
          <p:spPr>
            <a:xfrm>
              <a:off x="5330921" y="3462037"/>
              <a:ext cx="210000" cy="210000"/>
            </a:xfrm>
            <a:custGeom>
              <a:avLst/>
              <a:gdLst>
                <a:gd name="connsiteX0" fmla="*/ 105000 w 210000"/>
                <a:gd name="connsiteY0" fmla="*/ 210000 h 210000"/>
                <a:gd name="connsiteX1" fmla="*/ 0 w 210000"/>
                <a:gd name="connsiteY1" fmla="*/ 105000 h 210000"/>
                <a:gd name="connsiteX2" fmla="*/ 105000 w 210000"/>
                <a:gd name="connsiteY2" fmla="*/ 0 h 210000"/>
                <a:gd name="connsiteX3" fmla="*/ 210000 w 210000"/>
                <a:gd name="connsiteY3" fmla="*/ 105000 h 210000"/>
                <a:gd name="connsiteX4" fmla="*/ 105000 w 210000"/>
                <a:gd name="connsiteY4" fmla="*/ 210000 h 210000"/>
                <a:gd name="connsiteX5" fmla="*/ 57239 w 210000"/>
                <a:gd name="connsiteY5" fmla="*/ 102012 h 210000"/>
                <a:gd name="connsiteX6" fmla="*/ 46733 w 210000"/>
                <a:gd name="connsiteY6" fmla="*/ 92879 h 210000"/>
                <a:gd name="connsiteX7" fmla="*/ 37600 w 210000"/>
                <a:gd name="connsiteY7" fmla="*/ 103385 h 210000"/>
                <a:gd name="connsiteX8" fmla="*/ 71925 w 210000"/>
                <a:gd name="connsiteY8" fmla="*/ 161507 h 210000"/>
                <a:gd name="connsiteX9" fmla="*/ 85536 w 210000"/>
                <a:gd name="connsiteY9" fmla="*/ 158582 h 210000"/>
                <a:gd name="connsiteX10" fmla="*/ 82611 w 210000"/>
                <a:gd name="connsiteY10" fmla="*/ 144972 h 210000"/>
                <a:gd name="connsiteX11" fmla="*/ 57239 w 210000"/>
                <a:gd name="connsiteY11" fmla="*/ 102012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0000" h="210000">
                  <a:moveTo>
                    <a:pt x="105000" y="210000"/>
                  </a:moveTo>
                  <a:cubicBezTo>
                    <a:pt x="47010" y="210000"/>
                    <a:pt x="0" y="162990"/>
                    <a:pt x="0" y="105000"/>
                  </a:cubicBezTo>
                  <a:cubicBezTo>
                    <a:pt x="0" y="47010"/>
                    <a:pt x="47010" y="0"/>
                    <a:pt x="105000" y="0"/>
                  </a:cubicBezTo>
                  <a:cubicBezTo>
                    <a:pt x="162990" y="0"/>
                    <a:pt x="210000" y="47010"/>
                    <a:pt x="210000" y="105000"/>
                  </a:cubicBezTo>
                  <a:cubicBezTo>
                    <a:pt x="210000" y="162990"/>
                    <a:pt x="162990" y="210000"/>
                    <a:pt x="105000" y="210000"/>
                  </a:cubicBezTo>
                  <a:close/>
                  <a:moveTo>
                    <a:pt x="57239" y="102012"/>
                  </a:moveTo>
                  <a:cubicBezTo>
                    <a:pt x="56860" y="96588"/>
                    <a:pt x="52156" y="92499"/>
                    <a:pt x="46733" y="92879"/>
                  </a:cubicBezTo>
                  <a:cubicBezTo>
                    <a:pt x="41310" y="93258"/>
                    <a:pt x="37221" y="97962"/>
                    <a:pt x="37600" y="103385"/>
                  </a:cubicBezTo>
                  <a:cubicBezTo>
                    <a:pt x="39342" y="128298"/>
                    <a:pt x="50950" y="147953"/>
                    <a:pt x="71925" y="161507"/>
                  </a:cubicBezTo>
                  <a:cubicBezTo>
                    <a:pt x="76491" y="164457"/>
                    <a:pt x="82586" y="163148"/>
                    <a:pt x="85536" y="158582"/>
                  </a:cubicBezTo>
                  <a:cubicBezTo>
                    <a:pt x="88487" y="154016"/>
                    <a:pt x="87177" y="147923"/>
                    <a:pt x="82611" y="144972"/>
                  </a:cubicBezTo>
                  <a:cubicBezTo>
                    <a:pt x="66840" y="134781"/>
                    <a:pt x="58549" y="120743"/>
                    <a:pt x="57239" y="102012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0" name="Рисунок 11">
            <a:extLst>
              <a:ext uri="{FF2B5EF4-FFF2-40B4-BE49-F238E27FC236}">
                <a16:creationId xmlns:a16="http://schemas.microsoft.com/office/drawing/2014/main" id="{347E3373-D880-5141-B13A-7F927DE1D41B}"/>
              </a:ext>
            </a:extLst>
          </p:cNvPr>
          <p:cNvGrpSpPr/>
          <p:nvPr/>
        </p:nvGrpSpPr>
        <p:grpSpPr>
          <a:xfrm>
            <a:off x="4423564" y="3115315"/>
            <a:ext cx="360000" cy="360000"/>
            <a:chOff x="4502769" y="3432037"/>
            <a:chExt cx="360000" cy="360000"/>
          </a:xfrm>
        </p:grpSpPr>
        <p:sp>
          <p:nvSpPr>
            <p:cNvPr id="121" name="Полилиния 120">
              <a:extLst>
                <a:ext uri="{FF2B5EF4-FFF2-40B4-BE49-F238E27FC236}">
                  <a16:creationId xmlns:a16="http://schemas.microsoft.com/office/drawing/2014/main" id="{01D58BAD-414B-374A-91B0-F01FD60249CA}"/>
                </a:ext>
              </a:extLst>
            </p:cNvPr>
            <p:cNvSpPr/>
            <p:nvPr/>
          </p:nvSpPr>
          <p:spPr>
            <a:xfrm>
              <a:off x="4502769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" name="Полилиния 121">
              <a:extLst>
                <a:ext uri="{FF2B5EF4-FFF2-40B4-BE49-F238E27FC236}">
                  <a16:creationId xmlns:a16="http://schemas.microsoft.com/office/drawing/2014/main" id="{D6E4EB80-9892-4144-9EFF-49EA9E02E083}"/>
                </a:ext>
              </a:extLst>
            </p:cNvPr>
            <p:cNvSpPr/>
            <p:nvPr/>
          </p:nvSpPr>
          <p:spPr>
            <a:xfrm>
              <a:off x="4532769" y="3477037"/>
              <a:ext cx="300000" cy="135000"/>
            </a:xfrm>
            <a:custGeom>
              <a:avLst/>
              <a:gdLst>
                <a:gd name="connsiteX0" fmla="*/ 15000 w 300000"/>
                <a:gd name="connsiteY0" fmla="*/ 0 h 135000"/>
                <a:gd name="connsiteX1" fmla="*/ 285000 w 300000"/>
                <a:gd name="connsiteY1" fmla="*/ 0 h 135000"/>
                <a:gd name="connsiteX2" fmla="*/ 300000 w 300000"/>
                <a:gd name="connsiteY2" fmla="*/ 15000 h 135000"/>
                <a:gd name="connsiteX3" fmla="*/ 300000 w 300000"/>
                <a:gd name="connsiteY3" fmla="*/ 120000 h 135000"/>
                <a:gd name="connsiteX4" fmla="*/ 285000 w 300000"/>
                <a:gd name="connsiteY4" fmla="*/ 135000 h 135000"/>
                <a:gd name="connsiteX5" fmla="*/ 15000 w 300000"/>
                <a:gd name="connsiteY5" fmla="*/ 135000 h 135000"/>
                <a:gd name="connsiteX6" fmla="*/ 0 w 300000"/>
                <a:gd name="connsiteY6" fmla="*/ 120000 h 135000"/>
                <a:gd name="connsiteX7" fmla="*/ 0 w 300000"/>
                <a:gd name="connsiteY7" fmla="*/ 15000 h 135000"/>
                <a:gd name="connsiteX8" fmla="*/ 15000 w 300000"/>
                <a:gd name="connsiteY8" fmla="*/ 0 h 135000"/>
                <a:gd name="connsiteX9" fmla="*/ 45000 w 300000"/>
                <a:gd name="connsiteY9" fmla="*/ 75000 h 135000"/>
                <a:gd name="connsiteX10" fmla="*/ 30000 w 300000"/>
                <a:gd name="connsiteY10" fmla="*/ 90000 h 135000"/>
                <a:gd name="connsiteX11" fmla="*/ 45000 w 300000"/>
                <a:gd name="connsiteY11" fmla="*/ 105000 h 135000"/>
                <a:gd name="connsiteX12" fmla="*/ 255000 w 300000"/>
                <a:gd name="connsiteY12" fmla="*/ 105000 h 135000"/>
                <a:gd name="connsiteX13" fmla="*/ 270000 w 300000"/>
                <a:gd name="connsiteY13" fmla="*/ 90000 h 135000"/>
                <a:gd name="connsiteX14" fmla="*/ 255000 w 300000"/>
                <a:gd name="connsiteY14" fmla="*/ 75000 h 135000"/>
                <a:gd name="connsiteX15" fmla="*/ 45000 w 300000"/>
                <a:gd name="connsiteY15" fmla="*/ 75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000" h="135000">
                  <a:moveTo>
                    <a:pt x="15000" y="0"/>
                  </a:moveTo>
                  <a:lnTo>
                    <a:pt x="285000" y="0"/>
                  </a:lnTo>
                  <a:cubicBezTo>
                    <a:pt x="293285" y="0"/>
                    <a:pt x="300000" y="6716"/>
                    <a:pt x="300000" y="15000"/>
                  </a:cubicBezTo>
                  <a:lnTo>
                    <a:pt x="300000" y="120000"/>
                  </a:lnTo>
                  <a:cubicBezTo>
                    <a:pt x="300000" y="128285"/>
                    <a:pt x="293285" y="135000"/>
                    <a:pt x="285000" y="135000"/>
                  </a:cubicBezTo>
                  <a:lnTo>
                    <a:pt x="15000" y="135000"/>
                  </a:lnTo>
                  <a:cubicBezTo>
                    <a:pt x="6716" y="135000"/>
                    <a:pt x="0" y="128285"/>
                    <a:pt x="0" y="120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45000" y="75000"/>
                  </a:moveTo>
                  <a:cubicBezTo>
                    <a:pt x="36716" y="75000"/>
                    <a:pt x="30000" y="81716"/>
                    <a:pt x="30000" y="90000"/>
                  </a:cubicBezTo>
                  <a:cubicBezTo>
                    <a:pt x="30000" y="98284"/>
                    <a:pt x="36716" y="105000"/>
                    <a:pt x="45000" y="105000"/>
                  </a:cubicBezTo>
                  <a:lnTo>
                    <a:pt x="255000" y="105000"/>
                  </a:lnTo>
                  <a:cubicBezTo>
                    <a:pt x="263285" y="105000"/>
                    <a:pt x="270000" y="98284"/>
                    <a:pt x="270000" y="90000"/>
                  </a:cubicBezTo>
                  <a:cubicBezTo>
                    <a:pt x="270000" y="81716"/>
                    <a:pt x="263285" y="75000"/>
                    <a:pt x="255000" y="75000"/>
                  </a:cubicBezTo>
                  <a:lnTo>
                    <a:pt x="45000" y="75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" name="Полилиния 122">
              <a:extLst>
                <a:ext uri="{FF2B5EF4-FFF2-40B4-BE49-F238E27FC236}">
                  <a16:creationId xmlns:a16="http://schemas.microsoft.com/office/drawing/2014/main" id="{DCC97E03-B504-CF46-956C-B2013923F903}"/>
                </a:ext>
              </a:extLst>
            </p:cNvPr>
            <p:cNvSpPr/>
            <p:nvPr/>
          </p:nvSpPr>
          <p:spPr>
            <a:xfrm>
              <a:off x="4561649" y="3646453"/>
              <a:ext cx="235095" cy="127602"/>
            </a:xfrm>
            <a:custGeom>
              <a:avLst/>
              <a:gdLst>
                <a:gd name="connsiteX0" fmla="*/ 200491 w 235095"/>
                <a:gd name="connsiteY0" fmla="*/ 0 h 127602"/>
                <a:gd name="connsiteX1" fmla="*/ 221749 w 235095"/>
                <a:gd name="connsiteY1" fmla="*/ 21168 h 127602"/>
                <a:gd name="connsiteX2" fmla="*/ 221867 w 235095"/>
                <a:gd name="connsiteY2" fmla="*/ 78180 h 127602"/>
                <a:gd name="connsiteX3" fmla="*/ 226190 w 235095"/>
                <a:gd name="connsiteY3" fmla="*/ 81915 h 127602"/>
                <a:gd name="connsiteX4" fmla="*/ 235096 w 235095"/>
                <a:gd name="connsiteY4" fmla="*/ 88566 h 127602"/>
                <a:gd name="connsiteX5" fmla="*/ 217144 w 235095"/>
                <a:gd name="connsiteY5" fmla="*/ 112602 h 127602"/>
                <a:gd name="connsiteX6" fmla="*/ 208238 w 235095"/>
                <a:gd name="connsiteY6" fmla="*/ 105950 h 127602"/>
                <a:gd name="connsiteX7" fmla="*/ 200698 w 235095"/>
                <a:gd name="connsiteY7" fmla="*/ 99438 h 127602"/>
                <a:gd name="connsiteX8" fmla="*/ 200491 w 235095"/>
                <a:gd name="connsiteY8" fmla="*/ 0 h 127602"/>
                <a:gd name="connsiteX9" fmla="*/ 110491 w 235095"/>
                <a:gd name="connsiteY9" fmla="*/ 15000 h 127602"/>
                <a:gd name="connsiteX10" fmla="*/ 131749 w 235095"/>
                <a:gd name="connsiteY10" fmla="*/ 36168 h 127602"/>
                <a:gd name="connsiteX11" fmla="*/ 131867 w 235095"/>
                <a:gd name="connsiteY11" fmla="*/ 93180 h 127602"/>
                <a:gd name="connsiteX12" fmla="*/ 136190 w 235095"/>
                <a:gd name="connsiteY12" fmla="*/ 96915 h 127602"/>
                <a:gd name="connsiteX13" fmla="*/ 145096 w 235095"/>
                <a:gd name="connsiteY13" fmla="*/ 103566 h 127602"/>
                <a:gd name="connsiteX14" fmla="*/ 127144 w 235095"/>
                <a:gd name="connsiteY14" fmla="*/ 127602 h 127602"/>
                <a:gd name="connsiteX15" fmla="*/ 118238 w 235095"/>
                <a:gd name="connsiteY15" fmla="*/ 120950 h 127602"/>
                <a:gd name="connsiteX16" fmla="*/ 110698 w 235095"/>
                <a:gd name="connsiteY16" fmla="*/ 114438 h 127602"/>
                <a:gd name="connsiteX17" fmla="*/ 110491 w 235095"/>
                <a:gd name="connsiteY17" fmla="*/ 15000 h 127602"/>
                <a:gd name="connsiteX18" fmla="*/ 20491 w 235095"/>
                <a:gd name="connsiteY18" fmla="*/ 0 h 127602"/>
                <a:gd name="connsiteX19" fmla="*/ 41748 w 235095"/>
                <a:gd name="connsiteY19" fmla="*/ 21168 h 127602"/>
                <a:gd name="connsiteX20" fmla="*/ 41867 w 235095"/>
                <a:gd name="connsiteY20" fmla="*/ 78180 h 127602"/>
                <a:gd name="connsiteX21" fmla="*/ 46190 w 235095"/>
                <a:gd name="connsiteY21" fmla="*/ 81915 h 127602"/>
                <a:gd name="connsiteX22" fmla="*/ 55096 w 235095"/>
                <a:gd name="connsiteY22" fmla="*/ 88566 h 127602"/>
                <a:gd name="connsiteX23" fmla="*/ 37144 w 235095"/>
                <a:gd name="connsiteY23" fmla="*/ 112602 h 127602"/>
                <a:gd name="connsiteX24" fmla="*/ 28238 w 235095"/>
                <a:gd name="connsiteY24" fmla="*/ 105950 h 127602"/>
                <a:gd name="connsiteX25" fmla="*/ 20698 w 235095"/>
                <a:gd name="connsiteY25" fmla="*/ 99438 h 127602"/>
                <a:gd name="connsiteX26" fmla="*/ 20491 w 235095"/>
                <a:gd name="connsiteY26" fmla="*/ 0 h 1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35095" h="127602">
                  <a:moveTo>
                    <a:pt x="200491" y="0"/>
                  </a:moveTo>
                  <a:lnTo>
                    <a:pt x="221749" y="21168"/>
                  </a:lnTo>
                  <a:cubicBezTo>
                    <a:pt x="206038" y="36945"/>
                    <a:pt x="206090" y="62469"/>
                    <a:pt x="221867" y="78180"/>
                  </a:cubicBezTo>
                  <a:cubicBezTo>
                    <a:pt x="223217" y="79525"/>
                    <a:pt x="224662" y="80774"/>
                    <a:pt x="226190" y="81915"/>
                  </a:cubicBezTo>
                  <a:lnTo>
                    <a:pt x="235096" y="88566"/>
                  </a:lnTo>
                  <a:lnTo>
                    <a:pt x="217144" y="112602"/>
                  </a:lnTo>
                  <a:lnTo>
                    <a:pt x="208238" y="105950"/>
                  </a:lnTo>
                  <a:cubicBezTo>
                    <a:pt x="205573" y="103960"/>
                    <a:pt x="203054" y="101784"/>
                    <a:pt x="200698" y="99438"/>
                  </a:cubicBezTo>
                  <a:cubicBezTo>
                    <a:pt x="173182" y="72036"/>
                    <a:pt x="173089" y="27516"/>
                    <a:pt x="200491" y="0"/>
                  </a:cubicBezTo>
                  <a:close/>
                  <a:moveTo>
                    <a:pt x="110491" y="15000"/>
                  </a:moveTo>
                  <a:lnTo>
                    <a:pt x="131749" y="36168"/>
                  </a:lnTo>
                  <a:cubicBezTo>
                    <a:pt x="116038" y="51945"/>
                    <a:pt x="116090" y="77469"/>
                    <a:pt x="131867" y="93180"/>
                  </a:cubicBezTo>
                  <a:cubicBezTo>
                    <a:pt x="133217" y="94525"/>
                    <a:pt x="134662" y="95774"/>
                    <a:pt x="136190" y="96915"/>
                  </a:cubicBezTo>
                  <a:lnTo>
                    <a:pt x="145096" y="103566"/>
                  </a:lnTo>
                  <a:lnTo>
                    <a:pt x="127144" y="127602"/>
                  </a:lnTo>
                  <a:lnTo>
                    <a:pt x="118238" y="120950"/>
                  </a:lnTo>
                  <a:cubicBezTo>
                    <a:pt x="115573" y="118960"/>
                    <a:pt x="113054" y="116784"/>
                    <a:pt x="110698" y="114438"/>
                  </a:cubicBezTo>
                  <a:cubicBezTo>
                    <a:pt x="83182" y="87036"/>
                    <a:pt x="83089" y="42516"/>
                    <a:pt x="110491" y="15000"/>
                  </a:cubicBezTo>
                  <a:close/>
                  <a:moveTo>
                    <a:pt x="20491" y="0"/>
                  </a:moveTo>
                  <a:lnTo>
                    <a:pt x="41748" y="21168"/>
                  </a:lnTo>
                  <a:cubicBezTo>
                    <a:pt x="26038" y="36945"/>
                    <a:pt x="26091" y="62469"/>
                    <a:pt x="41867" y="78180"/>
                  </a:cubicBezTo>
                  <a:cubicBezTo>
                    <a:pt x="43218" y="79525"/>
                    <a:pt x="44662" y="80774"/>
                    <a:pt x="46190" y="81915"/>
                  </a:cubicBezTo>
                  <a:lnTo>
                    <a:pt x="55096" y="88566"/>
                  </a:lnTo>
                  <a:lnTo>
                    <a:pt x="37144" y="112602"/>
                  </a:lnTo>
                  <a:lnTo>
                    <a:pt x="28238" y="105950"/>
                  </a:lnTo>
                  <a:cubicBezTo>
                    <a:pt x="25573" y="103960"/>
                    <a:pt x="23054" y="101784"/>
                    <a:pt x="20698" y="99438"/>
                  </a:cubicBezTo>
                  <a:cubicBezTo>
                    <a:pt x="-6818" y="72036"/>
                    <a:pt x="-6911" y="27516"/>
                    <a:pt x="20491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4" name="Рисунок 12">
            <a:extLst>
              <a:ext uri="{FF2B5EF4-FFF2-40B4-BE49-F238E27FC236}">
                <a16:creationId xmlns:a16="http://schemas.microsoft.com/office/drawing/2014/main" id="{7BF5C363-DE3C-E748-8F3C-7DCF44317391}"/>
              </a:ext>
            </a:extLst>
          </p:cNvPr>
          <p:cNvGrpSpPr/>
          <p:nvPr/>
        </p:nvGrpSpPr>
        <p:grpSpPr>
          <a:xfrm>
            <a:off x="3670412" y="3115315"/>
            <a:ext cx="360000" cy="360000"/>
            <a:chOff x="3749617" y="3432037"/>
            <a:chExt cx="360000" cy="360000"/>
          </a:xfrm>
        </p:grpSpPr>
        <p:sp>
          <p:nvSpPr>
            <p:cNvPr id="125" name="Полилиния 124">
              <a:extLst>
                <a:ext uri="{FF2B5EF4-FFF2-40B4-BE49-F238E27FC236}">
                  <a16:creationId xmlns:a16="http://schemas.microsoft.com/office/drawing/2014/main" id="{C54CBFBB-CDE4-5C4E-A187-73BCF0B6C150}"/>
                </a:ext>
              </a:extLst>
            </p:cNvPr>
            <p:cNvSpPr/>
            <p:nvPr/>
          </p:nvSpPr>
          <p:spPr>
            <a:xfrm>
              <a:off x="3749617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" name="Полилиния 125">
              <a:extLst>
                <a:ext uri="{FF2B5EF4-FFF2-40B4-BE49-F238E27FC236}">
                  <a16:creationId xmlns:a16="http://schemas.microsoft.com/office/drawing/2014/main" id="{791CA5F6-8595-864A-96C4-12EA04497655}"/>
                </a:ext>
              </a:extLst>
            </p:cNvPr>
            <p:cNvSpPr/>
            <p:nvPr/>
          </p:nvSpPr>
          <p:spPr>
            <a:xfrm>
              <a:off x="3869617" y="3672037"/>
              <a:ext cx="120000" cy="75000"/>
            </a:xfrm>
            <a:custGeom>
              <a:avLst/>
              <a:gdLst>
                <a:gd name="connsiteX0" fmla="*/ 0 w 120000"/>
                <a:gd name="connsiteY0" fmla="*/ 75000 h 75000"/>
                <a:gd name="connsiteX1" fmla="*/ 120000 w 120000"/>
                <a:gd name="connsiteY1" fmla="*/ 75000 h 75000"/>
                <a:gd name="connsiteX2" fmla="*/ 60000 w 120000"/>
                <a:gd name="connsiteY2" fmla="*/ 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000" h="75000">
                  <a:moveTo>
                    <a:pt x="0" y="75000"/>
                  </a:moveTo>
                  <a:lnTo>
                    <a:pt x="120000" y="75000"/>
                  </a:lnTo>
                  <a:lnTo>
                    <a:pt x="6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" name="Полилиния 126">
              <a:extLst>
                <a:ext uri="{FF2B5EF4-FFF2-40B4-BE49-F238E27FC236}">
                  <a16:creationId xmlns:a16="http://schemas.microsoft.com/office/drawing/2014/main" id="{6F92E837-DB99-8A43-9878-67820241211C}"/>
                </a:ext>
              </a:extLst>
            </p:cNvPr>
            <p:cNvSpPr/>
            <p:nvPr/>
          </p:nvSpPr>
          <p:spPr>
            <a:xfrm>
              <a:off x="3758705" y="3492037"/>
              <a:ext cx="340267" cy="177322"/>
            </a:xfrm>
            <a:custGeom>
              <a:avLst/>
              <a:gdLst>
                <a:gd name="connsiteX0" fmla="*/ 251957 w 340267"/>
                <a:gd name="connsiteY0" fmla="*/ 158237 h 177322"/>
                <a:gd name="connsiteX1" fmla="*/ 228810 w 340267"/>
                <a:gd name="connsiteY1" fmla="*/ 177323 h 177322"/>
                <a:gd name="connsiteX2" fmla="*/ 170912 w 340267"/>
                <a:gd name="connsiteY2" fmla="*/ 150000 h 177322"/>
                <a:gd name="connsiteX3" fmla="*/ 113148 w 340267"/>
                <a:gd name="connsiteY3" fmla="*/ 177159 h 177322"/>
                <a:gd name="connsiteX4" fmla="*/ 90056 w 340267"/>
                <a:gd name="connsiteY4" fmla="*/ 158009 h 177322"/>
                <a:gd name="connsiteX5" fmla="*/ 170912 w 340267"/>
                <a:gd name="connsiteY5" fmla="*/ 120000 h 177322"/>
                <a:gd name="connsiteX6" fmla="*/ 251957 w 340267"/>
                <a:gd name="connsiteY6" fmla="*/ 158237 h 177322"/>
                <a:gd name="connsiteX7" fmla="*/ 297935 w 340267"/>
                <a:gd name="connsiteY7" fmla="*/ 119684 h 177322"/>
                <a:gd name="connsiteX8" fmla="*/ 274850 w 340267"/>
                <a:gd name="connsiteY8" fmla="*/ 138843 h 177322"/>
                <a:gd name="connsiteX9" fmla="*/ 170912 w 340267"/>
                <a:gd name="connsiteY9" fmla="*/ 90000 h 177322"/>
                <a:gd name="connsiteX10" fmla="*/ 67077 w 340267"/>
                <a:gd name="connsiteY10" fmla="*/ 138720 h 177322"/>
                <a:gd name="connsiteX11" fmla="*/ 44014 w 340267"/>
                <a:gd name="connsiteY11" fmla="*/ 119533 h 177322"/>
                <a:gd name="connsiteX12" fmla="*/ 170912 w 340267"/>
                <a:gd name="connsiteY12" fmla="*/ 60000 h 177322"/>
                <a:gd name="connsiteX13" fmla="*/ 297935 w 340267"/>
                <a:gd name="connsiteY13" fmla="*/ 119684 h 177322"/>
                <a:gd name="connsiteX14" fmla="*/ 340268 w 340267"/>
                <a:gd name="connsiteY14" fmla="*/ 85807 h 177322"/>
                <a:gd name="connsiteX15" fmla="*/ 316089 w 340267"/>
                <a:gd name="connsiteY15" fmla="*/ 103566 h 177322"/>
                <a:gd name="connsiteX16" fmla="*/ 170912 w 340267"/>
                <a:gd name="connsiteY16" fmla="*/ 30000 h 177322"/>
                <a:gd name="connsiteX17" fmla="*/ 24401 w 340267"/>
                <a:gd name="connsiteY17" fmla="*/ 105406 h 177322"/>
                <a:gd name="connsiteX18" fmla="*/ 0 w 340267"/>
                <a:gd name="connsiteY18" fmla="*/ 87953 h 177322"/>
                <a:gd name="connsiteX19" fmla="*/ 170912 w 340267"/>
                <a:gd name="connsiteY19" fmla="*/ 0 h 177322"/>
                <a:gd name="connsiteX20" fmla="*/ 340268 w 340267"/>
                <a:gd name="connsiteY20" fmla="*/ 85807 h 177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0267" h="177322">
                  <a:moveTo>
                    <a:pt x="251957" y="158237"/>
                  </a:moveTo>
                  <a:lnTo>
                    <a:pt x="228810" y="177323"/>
                  </a:lnTo>
                  <a:cubicBezTo>
                    <a:pt x="214635" y="160133"/>
                    <a:pt x="193617" y="150000"/>
                    <a:pt x="170912" y="150000"/>
                  </a:cubicBezTo>
                  <a:cubicBezTo>
                    <a:pt x="148280" y="150000"/>
                    <a:pt x="127324" y="160065"/>
                    <a:pt x="113148" y="177159"/>
                  </a:cubicBezTo>
                  <a:lnTo>
                    <a:pt x="90056" y="158009"/>
                  </a:lnTo>
                  <a:cubicBezTo>
                    <a:pt x="109873" y="134114"/>
                    <a:pt x="139256" y="120000"/>
                    <a:pt x="170912" y="120000"/>
                  </a:cubicBezTo>
                  <a:cubicBezTo>
                    <a:pt x="202673" y="120000"/>
                    <a:pt x="232142" y="134207"/>
                    <a:pt x="251957" y="158237"/>
                  </a:cubicBezTo>
                  <a:close/>
                  <a:moveTo>
                    <a:pt x="297935" y="119684"/>
                  </a:moveTo>
                  <a:lnTo>
                    <a:pt x="274850" y="138843"/>
                  </a:lnTo>
                  <a:cubicBezTo>
                    <a:pt x="249342" y="108110"/>
                    <a:pt x="211622" y="90000"/>
                    <a:pt x="170912" y="90000"/>
                  </a:cubicBezTo>
                  <a:cubicBezTo>
                    <a:pt x="130258" y="90000"/>
                    <a:pt x="92585" y="108059"/>
                    <a:pt x="67077" y="138720"/>
                  </a:cubicBezTo>
                  <a:lnTo>
                    <a:pt x="44014" y="119533"/>
                  </a:lnTo>
                  <a:cubicBezTo>
                    <a:pt x="75163" y="82092"/>
                    <a:pt x="121250" y="60000"/>
                    <a:pt x="170912" y="60000"/>
                  </a:cubicBezTo>
                  <a:cubicBezTo>
                    <a:pt x="220643" y="60000"/>
                    <a:pt x="266786" y="82154"/>
                    <a:pt x="297935" y="119684"/>
                  </a:cubicBezTo>
                  <a:close/>
                  <a:moveTo>
                    <a:pt x="340268" y="85807"/>
                  </a:moveTo>
                  <a:lnTo>
                    <a:pt x="316089" y="103566"/>
                  </a:lnTo>
                  <a:cubicBezTo>
                    <a:pt x="282366" y="57651"/>
                    <a:pt x="228959" y="30000"/>
                    <a:pt x="170912" y="30000"/>
                  </a:cubicBezTo>
                  <a:cubicBezTo>
                    <a:pt x="112062" y="30000"/>
                    <a:pt x="58004" y="58426"/>
                    <a:pt x="24401" y="105406"/>
                  </a:cubicBezTo>
                  <a:lnTo>
                    <a:pt x="0" y="87953"/>
                  </a:lnTo>
                  <a:cubicBezTo>
                    <a:pt x="39177" y="33180"/>
                    <a:pt x="102276" y="0"/>
                    <a:pt x="170912" y="0"/>
                  </a:cubicBezTo>
                  <a:cubicBezTo>
                    <a:pt x="238611" y="0"/>
                    <a:pt x="300951" y="32276"/>
                    <a:pt x="340268" y="85807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8" name="Рисунок 13">
            <a:extLst>
              <a:ext uri="{FF2B5EF4-FFF2-40B4-BE49-F238E27FC236}">
                <a16:creationId xmlns:a16="http://schemas.microsoft.com/office/drawing/2014/main" id="{C058390D-97F1-4B49-9770-B92A8089BDEC}"/>
              </a:ext>
            </a:extLst>
          </p:cNvPr>
          <p:cNvGrpSpPr/>
          <p:nvPr/>
        </p:nvGrpSpPr>
        <p:grpSpPr>
          <a:xfrm>
            <a:off x="2917260" y="3115315"/>
            <a:ext cx="360000" cy="360000"/>
            <a:chOff x="2996465" y="3432037"/>
            <a:chExt cx="360000" cy="360000"/>
          </a:xfrm>
        </p:grpSpPr>
        <p:sp>
          <p:nvSpPr>
            <p:cNvPr id="129" name="Полилиния 128">
              <a:extLst>
                <a:ext uri="{FF2B5EF4-FFF2-40B4-BE49-F238E27FC236}">
                  <a16:creationId xmlns:a16="http://schemas.microsoft.com/office/drawing/2014/main" id="{4820F900-5DA6-2340-AA99-46AFA8410EBB}"/>
                </a:ext>
              </a:extLst>
            </p:cNvPr>
            <p:cNvSpPr/>
            <p:nvPr/>
          </p:nvSpPr>
          <p:spPr>
            <a:xfrm>
              <a:off x="2996465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" name="Полилиния 129">
              <a:extLst>
                <a:ext uri="{FF2B5EF4-FFF2-40B4-BE49-F238E27FC236}">
                  <a16:creationId xmlns:a16="http://schemas.microsoft.com/office/drawing/2014/main" id="{46EAF7AD-FD87-E94E-8339-90D6B5ED4341}"/>
                </a:ext>
              </a:extLst>
            </p:cNvPr>
            <p:cNvSpPr/>
            <p:nvPr/>
          </p:nvSpPr>
          <p:spPr>
            <a:xfrm>
              <a:off x="3041465" y="3492037"/>
              <a:ext cx="270000" cy="195000"/>
            </a:xfrm>
            <a:custGeom>
              <a:avLst/>
              <a:gdLst>
                <a:gd name="connsiteX0" fmla="*/ 60000 w 270000"/>
                <a:gd name="connsiteY0" fmla="*/ 165000 h 195000"/>
                <a:gd name="connsiteX1" fmla="*/ 75000 w 270000"/>
                <a:gd name="connsiteY1" fmla="*/ 180000 h 195000"/>
                <a:gd name="connsiteX2" fmla="*/ 60000 w 270000"/>
                <a:gd name="connsiteY2" fmla="*/ 195000 h 195000"/>
                <a:gd name="connsiteX3" fmla="*/ 45000 w 270000"/>
                <a:gd name="connsiteY3" fmla="*/ 195000 h 195000"/>
                <a:gd name="connsiteX4" fmla="*/ 0 w 270000"/>
                <a:gd name="connsiteY4" fmla="*/ 150000 h 195000"/>
                <a:gd name="connsiteX5" fmla="*/ 0 w 270000"/>
                <a:gd name="connsiteY5" fmla="*/ 45000 h 195000"/>
                <a:gd name="connsiteX6" fmla="*/ 45000 w 270000"/>
                <a:gd name="connsiteY6" fmla="*/ 0 h 195000"/>
                <a:gd name="connsiteX7" fmla="*/ 225000 w 270000"/>
                <a:gd name="connsiteY7" fmla="*/ 0 h 195000"/>
                <a:gd name="connsiteX8" fmla="*/ 270000 w 270000"/>
                <a:gd name="connsiteY8" fmla="*/ 45000 h 195000"/>
                <a:gd name="connsiteX9" fmla="*/ 270000 w 270000"/>
                <a:gd name="connsiteY9" fmla="*/ 150000 h 195000"/>
                <a:gd name="connsiteX10" fmla="*/ 225000 w 270000"/>
                <a:gd name="connsiteY10" fmla="*/ 195000 h 195000"/>
                <a:gd name="connsiteX11" fmla="*/ 210000 w 270000"/>
                <a:gd name="connsiteY11" fmla="*/ 195000 h 195000"/>
                <a:gd name="connsiteX12" fmla="*/ 195000 w 270000"/>
                <a:gd name="connsiteY12" fmla="*/ 180000 h 195000"/>
                <a:gd name="connsiteX13" fmla="*/ 210000 w 270000"/>
                <a:gd name="connsiteY13" fmla="*/ 165000 h 195000"/>
                <a:gd name="connsiteX14" fmla="*/ 225000 w 270000"/>
                <a:gd name="connsiteY14" fmla="*/ 165000 h 195000"/>
                <a:gd name="connsiteX15" fmla="*/ 240000 w 270000"/>
                <a:gd name="connsiteY15" fmla="*/ 150000 h 195000"/>
                <a:gd name="connsiteX16" fmla="*/ 240000 w 270000"/>
                <a:gd name="connsiteY16" fmla="*/ 45000 h 195000"/>
                <a:gd name="connsiteX17" fmla="*/ 225000 w 270000"/>
                <a:gd name="connsiteY17" fmla="*/ 30000 h 195000"/>
                <a:gd name="connsiteX18" fmla="*/ 45000 w 270000"/>
                <a:gd name="connsiteY18" fmla="*/ 30000 h 195000"/>
                <a:gd name="connsiteX19" fmla="*/ 30000 w 270000"/>
                <a:gd name="connsiteY19" fmla="*/ 45000 h 195000"/>
                <a:gd name="connsiteX20" fmla="*/ 30000 w 270000"/>
                <a:gd name="connsiteY20" fmla="*/ 150000 h 195000"/>
                <a:gd name="connsiteX21" fmla="*/ 45000 w 270000"/>
                <a:gd name="connsiteY21" fmla="*/ 165000 h 195000"/>
                <a:gd name="connsiteX22" fmla="*/ 60000 w 270000"/>
                <a:gd name="connsiteY22" fmla="*/ 1650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0000" h="195000">
                  <a:moveTo>
                    <a:pt x="60000" y="165000"/>
                  </a:moveTo>
                  <a:cubicBezTo>
                    <a:pt x="68284" y="165000"/>
                    <a:pt x="75000" y="171716"/>
                    <a:pt x="75000" y="180000"/>
                  </a:cubicBezTo>
                  <a:cubicBezTo>
                    <a:pt x="75000" y="188285"/>
                    <a:pt x="68284" y="195000"/>
                    <a:pt x="60000" y="195000"/>
                  </a:cubicBezTo>
                  <a:lnTo>
                    <a:pt x="45000" y="195000"/>
                  </a:lnTo>
                  <a:cubicBezTo>
                    <a:pt x="20147" y="195000"/>
                    <a:pt x="0" y="174854"/>
                    <a:pt x="0" y="150000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lnTo>
                    <a:pt x="225000" y="0"/>
                  </a:lnTo>
                  <a:cubicBezTo>
                    <a:pt x="249854" y="0"/>
                    <a:pt x="270000" y="20147"/>
                    <a:pt x="270000" y="45000"/>
                  </a:cubicBezTo>
                  <a:lnTo>
                    <a:pt x="270000" y="150000"/>
                  </a:lnTo>
                  <a:cubicBezTo>
                    <a:pt x="270000" y="174854"/>
                    <a:pt x="249854" y="195000"/>
                    <a:pt x="225000" y="195000"/>
                  </a:cubicBezTo>
                  <a:lnTo>
                    <a:pt x="210000" y="195000"/>
                  </a:lnTo>
                  <a:cubicBezTo>
                    <a:pt x="201716" y="195000"/>
                    <a:pt x="195000" y="188285"/>
                    <a:pt x="195000" y="180000"/>
                  </a:cubicBezTo>
                  <a:cubicBezTo>
                    <a:pt x="195000" y="171716"/>
                    <a:pt x="201716" y="165000"/>
                    <a:pt x="210000" y="165000"/>
                  </a:cubicBezTo>
                  <a:lnTo>
                    <a:pt x="225000" y="165000"/>
                  </a:lnTo>
                  <a:cubicBezTo>
                    <a:pt x="233285" y="165000"/>
                    <a:pt x="240000" y="158285"/>
                    <a:pt x="240000" y="150000"/>
                  </a:cubicBezTo>
                  <a:lnTo>
                    <a:pt x="240000" y="45000"/>
                  </a:lnTo>
                  <a:cubicBezTo>
                    <a:pt x="240000" y="36716"/>
                    <a:pt x="233285" y="30000"/>
                    <a:pt x="225000" y="30000"/>
                  </a:cubicBezTo>
                  <a:lnTo>
                    <a:pt x="45000" y="30000"/>
                  </a:lnTo>
                  <a:cubicBezTo>
                    <a:pt x="36716" y="30000"/>
                    <a:pt x="30000" y="36716"/>
                    <a:pt x="30000" y="45000"/>
                  </a:cubicBezTo>
                  <a:lnTo>
                    <a:pt x="30000" y="150000"/>
                  </a:lnTo>
                  <a:cubicBezTo>
                    <a:pt x="30000" y="158285"/>
                    <a:pt x="36716" y="165000"/>
                    <a:pt x="45000" y="165000"/>
                  </a:cubicBezTo>
                  <a:lnTo>
                    <a:pt x="60000" y="165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" name="Полилиния 130">
              <a:extLst>
                <a:ext uri="{FF2B5EF4-FFF2-40B4-BE49-F238E27FC236}">
                  <a16:creationId xmlns:a16="http://schemas.microsoft.com/office/drawing/2014/main" id="{63AE51A0-520E-3E4B-ABE5-5644F9B5764C}"/>
                </a:ext>
              </a:extLst>
            </p:cNvPr>
            <p:cNvSpPr/>
            <p:nvPr/>
          </p:nvSpPr>
          <p:spPr>
            <a:xfrm>
              <a:off x="3116465" y="3657037"/>
              <a:ext cx="120000" cy="75000"/>
            </a:xfrm>
            <a:custGeom>
              <a:avLst/>
              <a:gdLst>
                <a:gd name="connsiteX0" fmla="*/ 0 w 120000"/>
                <a:gd name="connsiteY0" fmla="*/ 75000 h 75000"/>
                <a:gd name="connsiteX1" fmla="*/ 120000 w 120000"/>
                <a:gd name="connsiteY1" fmla="*/ 75000 h 75000"/>
                <a:gd name="connsiteX2" fmla="*/ 60000 w 120000"/>
                <a:gd name="connsiteY2" fmla="*/ 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000" h="75000">
                  <a:moveTo>
                    <a:pt x="0" y="75000"/>
                  </a:moveTo>
                  <a:lnTo>
                    <a:pt x="120000" y="75000"/>
                  </a:lnTo>
                  <a:lnTo>
                    <a:pt x="6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2" name="Рисунок 14">
            <a:extLst>
              <a:ext uri="{FF2B5EF4-FFF2-40B4-BE49-F238E27FC236}">
                <a16:creationId xmlns:a16="http://schemas.microsoft.com/office/drawing/2014/main" id="{E83E66D0-00CA-9240-92A8-32550E53E895}"/>
              </a:ext>
            </a:extLst>
          </p:cNvPr>
          <p:cNvGrpSpPr/>
          <p:nvPr/>
        </p:nvGrpSpPr>
        <p:grpSpPr>
          <a:xfrm>
            <a:off x="2164108" y="3115315"/>
            <a:ext cx="360000" cy="360000"/>
            <a:chOff x="2243313" y="3432037"/>
            <a:chExt cx="360000" cy="360000"/>
          </a:xfrm>
        </p:grpSpPr>
        <p:sp>
          <p:nvSpPr>
            <p:cNvPr id="133" name="Полилиния 132">
              <a:extLst>
                <a:ext uri="{FF2B5EF4-FFF2-40B4-BE49-F238E27FC236}">
                  <a16:creationId xmlns:a16="http://schemas.microsoft.com/office/drawing/2014/main" id="{B4517A4D-964A-8B46-82AC-9E6F588D1285}"/>
                </a:ext>
              </a:extLst>
            </p:cNvPr>
            <p:cNvSpPr/>
            <p:nvPr/>
          </p:nvSpPr>
          <p:spPr>
            <a:xfrm>
              <a:off x="2243313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" name="Полилиния 133">
              <a:extLst>
                <a:ext uri="{FF2B5EF4-FFF2-40B4-BE49-F238E27FC236}">
                  <a16:creationId xmlns:a16="http://schemas.microsoft.com/office/drawing/2014/main" id="{2F86359A-029D-2545-AAFD-5134E40150DE}"/>
                </a:ext>
              </a:extLst>
            </p:cNvPr>
            <p:cNvSpPr/>
            <p:nvPr/>
          </p:nvSpPr>
          <p:spPr>
            <a:xfrm>
              <a:off x="2453313" y="3604120"/>
              <a:ext cx="45000" cy="157916"/>
            </a:xfrm>
            <a:custGeom>
              <a:avLst/>
              <a:gdLst>
                <a:gd name="connsiteX0" fmla="*/ 45000 w 45000"/>
                <a:gd name="connsiteY0" fmla="*/ 21672 h 157916"/>
                <a:gd name="connsiteX1" fmla="*/ 45000 w 45000"/>
                <a:gd name="connsiteY1" fmla="*/ 135417 h 157916"/>
                <a:gd name="connsiteX2" fmla="*/ 22500 w 45000"/>
                <a:gd name="connsiteY2" fmla="*/ 157917 h 157916"/>
                <a:gd name="connsiteX3" fmla="*/ 0 w 45000"/>
                <a:gd name="connsiteY3" fmla="*/ 135417 h 157916"/>
                <a:gd name="connsiteX4" fmla="*/ 0 w 45000"/>
                <a:gd name="connsiteY4" fmla="*/ 0 h 157916"/>
                <a:gd name="connsiteX5" fmla="*/ 45000 w 45000"/>
                <a:gd name="connsiteY5" fmla="*/ 21672 h 157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000" h="157916">
                  <a:moveTo>
                    <a:pt x="45000" y="21672"/>
                  </a:moveTo>
                  <a:lnTo>
                    <a:pt x="45000" y="135417"/>
                  </a:lnTo>
                  <a:cubicBezTo>
                    <a:pt x="45000" y="147843"/>
                    <a:pt x="34926" y="157917"/>
                    <a:pt x="22500" y="157917"/>
                  </a:cubicBezTo>
                  <a:cubicBezTo>
                    <a:pt x="10074" y="157917"/>
                    <a:pt x="0" y="147843"/>
                    <a:pt x="0" y="135417"/>
                  </a:cubicBezTo>
                  <a:lnTo>
                    <a:pt x="0" y="0"/>
                  </a:lnTo>
                  <a:cubicBezTo>
                    <a:pt x="12393" y="11091"/>
                    <a:pt x="27876" y="18799"/>
                    <a:pt x="45000" y="21672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" name="Полилиния 134">
              <a:extLst>
                <a:ext uri="{FF2B5EF4-FFF2-40B4-BE49-F238E27FC236}">
                  <a16:creationId xmlns:a16="http://schemas.microsoft.com/office/drawing/2014/main" id="{A10A43AB-F1E2-DB45-BCB8-00CF5B6A4DE1}"/>
                </a:ext>
              </a:extLst>
            </p:cNvPr>
            <p:cNvSpPr/>
            <p:nvPr/>
          </p:nvSpPr>
          <p:spPr>
            <a:xfrm>
              <a:off x="2348313" y="3604120"/>
              <a:ext cx="45000" cy="157916"/>
            </a:xfrm>
            <a:custGeom>
              <a:avLst/>
              <a:gdLst>
                <a:gd name="connsiteX0" fmla="*/ 45000 w 45000"/>
                <a:gd name="connsiteY0" fmla="*/ 0 h 157916"/>
                <a:gd name="connsiteX1" fmla="*/ 45000 w 45000"/>
                <a:gd name="connsiteY1" fmla="*/ 135417 h 157916"/>
                <a:gd name="connsiteX2" fmla="*/ 22500 w 45000"/>
                <a:gd name="connsiteY2" fmla="*/ 157917 h 157916"/>
                <a:gd name="connsiteX3" fmla="*/ 0 w 45000"/>
                <a:gd name="connsiteY3" fmla="*/ 135417 h 157916"/>
                <a:gd name="connsiteX4" fmla="*/ 0 w 45000"/>
                <a:gd name="connsiteY4" fmla="*/ 21672 h 157916"/>
                <a:gd name="connsiteX5" fmla="*/ 45000 w 45000"/>
                <a:gd name="connsiteY5" fmla="*/ 0 h 157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000" h="157916">
                  <a:moveTo>
                    <a:pt x="45000" y="0"/>
                  </a:moveTo>
                  <a:lnTo>
                    <a:pt x="45000" y="135417"/>
                  </a:lnTo>
                  <a:cubicBezTo>
                    <a:pt x="45000" y="147843"/>
                    <a:pt x="34926" y="157917"/>
                    <a:pt x="22500" y="157917"/>
                  </a:cubicBezTo>
                  <a:cubicBezTo>
                    <a:pt x="10074" y="157917"/>
                    <a:pt x="0" y="147843"/>
                    <a:pt x="0" y="135417"/>
                  </a:cubicBezTo>
                  <a:lnTo>
                    <a:pt x="0" y="21672"/>
                  </a:lnTo>
                  <a:cubicBezTo>
                    <a:pt x="17124" y="18799"/>
                    <a:pt x="32608" y="11091"/>
                    <a:pt x="4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" name="Полилиния 135">
              <a:extLst>
                <a:ext uri="{FF2B5EF4-FFF2-40B4-BE49-F238E27FC236}">
                  <a16:creationId xmlns:a16="http://schemas.microsoft.com/office/drawing/2014/main" id="{4C145306-8B1D-4F4D-ACD7-26C8E3EA58D0}"/>
                </a:ext>
              </a:extLst>
            </p:cNvPr>
            <p:cNvSpPr/>
            <p:nvPr/>
          </p:nvSpPr>
          <p:spPr>
            <a:xfrm>
              <a:off x="2438313" y="3462037"/>
              <a:ext cx="150000" cy="150000"/>
            </a:xfrm>
            <a:custGeom>
              <a:avLst/>
              <a:gdLst>
                <a:gd name="connsiteX0" fmla="*/ 75000 w 150000"/>
                <a:gd name="connsiteY0" fmla="*/ 150000 h 150000"/>
                <a:gd name="connsiteX1" fmla="*/ 0 w 150000"/>
                <a:gd name="connsiteY1" fmla="*/ 75000 h 150000"/>
                <a:gd name="connsiteX2" fmla="*/ 75000 w 150000"/>
                <a:gd name="connsiteY2" fmla="*/ 0 h 150000"/>
                <a:gd name="connsiteX3" fmla="*/ 150000 w 150000"/>
                <a:gd name="connsiteY3" fmla="*/ 75000 h 150000"/>
                <a:gd name="connsiteX4" fmla="*/ 75000 w 150000"/>
                <a:gd name="connsiteY4" fmla="*/ 150000 h 150000"/>
                <a:gd name="connsiteX5" fmla="*/ 26250 w 150000"/>
                <a:gd name="connsiteY5" fmla="*/ 67500 h 150000"/>
                <a:gd name="connsiteX6" fmla="*/ 15000 w 150000"/>
                <a:gd name="connsiteY6" fmla="*/ 78750 h 150000"/>
                <a:gd name="connsiteX7" fmla="*/ 26250 w 150000"/>
                <a:gd name="connsiteY7" fmla="*/ 90000 h 150000"/>
                <a:gd name="connsiteX8" fmla="*/ 33750 w 150000"/>
                <a:gd name="connsiteY8" fmla="*/ 90000 h 150000"/>
                <a:gd name="connsiteX9" fmla="*/ 45000 w 150000"/>
                <a:gd name="connsiteY9" fmla="*/ 78750 h 150000"/>
                <a:gd name="connsiteX10" fmla="*/ 33750 w 150000"/>
                <a:gd name="connsiteY10" fmla="*/ 67500 h 150000"/>
                <a:gd name="connsiteX11" fmla="*/ 26250 w 150000"/>
                <a:gd name="connsiteY11" fmla="*/ 67500 h 150000"/>
                <a:gd name="connsiteX12" fmla="*/ 120000 w 150000"/>
                <a:gd name="connsiteY12" fmla="*/ 45000 h 150000"/>
                <a:gd name="connsiteX13" fmla="*/ 105000 w 150000"/>
                <a:gd name="connsiteY13" fmla="*/ 60000 h 150000"/>
                <a:gd name="connsiteX14" fmla="*/ 105000 w 150000"/>
                <a:gd name="connsiteY14" fmla="*/ 90000 h 150000"/>
                <a:gd name="connsiteX15" fmla="*/ 120000 w 150000"/>
                <a:gd name="connsiteY15" fmla="*/ 105000 h 150000"/>
                <a:gd name="connsiteX16" fmla="*/ 135000 w 150000"/>
                <a:gd name="connsiteY16" fmla="*/ 90000 h 150000"/>
                <a:gd name="connsiteX17" fmla="*/ 135000 w 150000"/>
                <a:gd name="connsiteY17" fmla="*/ 60000 h 150000"/>
                <a:gd name="connsiteX18" fmla="*/ 120000 w 150000"/>
                <a:gd name="connsiteY18" fmla="*/ 4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0000" h="150000">
                  <a:moveTo>
                    <a:pt x="75000" y="150000"/>
                  </a:moveTo>
                  <a:cubicBezTo>
                    <a:pt x="33579" y="150000"/>
                    <a:pt x="0" y="116421"/>
                    <a:pt x="0" y="75000"/>
                  </a:cubicBezTo>
                  <a:cubicBezTo>
                    <a:pt x="0" y="33579"/>
                    <a:pt x="33579" y="0"/>
                    <a:pt x="75000" y="0"/>
                  </a:cubicBezTo>
                  <a:cubicBezTo>
                    <a:pt x="116421" y="0"/>
                    <a:pt x="150000" y="33579"/>
                    <a:pt x="150000" y="75000"/>
                  </a:cubicBezTo>
                  <a:cubicBezTo>
                    <a:pt x="150000" y="116421"/>
                    <a:pt x="116421" y="150000"/>
                    <a:pt x="75000" y="150000"/>
                  </a:cubicBezTo>
                  <a:close/>
                  <a:moveTo>
                    <a:pt x="26250" y="67500"/>
                  </a:moveTo>
                  <a:cubicBezTo>
                    <a:pt x="20037" y="67500"/>
                    <a:pt x="15000" y="72537"/>
                    <a:pt x="15000" y="78750"/>
                  </a:cubicBezTo>
                  <a:cubicBezTo>
                    <a:pt x="15000" y="84963"/>
                    <a:pt x="20037" y="90000"/>
                    <a:pt x="26250" y="90000"/>
                  </a:cubicBezTo>
                  <a:lnTo>
                    <a:pt x="33750" y="90000"/>
                  </a:lnTo>
                  <a:cubicBezTo>
                    <a:pt x="39963" y="90000"/>
                    <a:pt x="45000" y="84963"/>
                    <a:pt x="45000" y="78750"/>
                  </a:cubicBezTo>
                  <a:cubicBezTo>
                    <a:pt x="45000" y="72537"/>
                    <a:pt x="39963" y="67500"/>
                    <a:pt x="33750" y="67500"/>
                  </a:cubicBezTo>
                  <a:lnTo>
                    <a:pt x="26250" y="67500"/>
                  </a:lnTo>
                  <a:close/>
                  <a:moveTo>
                    <a:pt x="120000" y="45000"/>
                  </a:moveTo>
                  <a:cubicBezTo>
                    <a:pt x="111716" y="45000"/>
                    <a:pt x="105000" y="51716"/>
                    <a:pt x="105000" y="60000"/>
                  </a:cubicBezTo>
                  <a:lnTo>
                    <a:pt x="105000" y="90000"/>
                  </a:lnTo>
                  <a:cubicBezTo>
                    <a:pt x="105000" y="98284"/>
                    <a:pt x="111716" y="105000"/>
                    <a:pt x="120000" y="105000"/>
                  </a:cubicBezTo>
                  <a:cubicBezTo>
                    <a:pt x="128284" y="105000"/>
                    <a:pt x="135000" y="98284"/>
                    <a:pt x="135000" y="90000"/>
                  </a:cubicBezTo>
                  <a:lnTo>
                    <a:pt x="135000" y="60000"/>
                  </a:lnTo>
                  <a:cubicBezTo>
                    <a:pt x="135000" y="51716"/>
                    <a:pt x="128284" y="45000"/>
                    <a:pt x="120000" y="45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" name="Полилиния 136">
              <a:extLst>
                <a:ext uri="{FF2B5EF4-FFF2-40B4-BE49-F238E27FC236}">
                  <a16:creationId xmlns:a16="http://schemas.microsoft.com/office/drawing/2014/main" id="{DC9A80BC-C5E0-4640-A0F4-A2198BF0DB3A}"/>
                </a:ext>
              </a:extLst>
            </p:cNvPr>
            <p:cNvSpPr/>
            <p:nvPr/>
          </p:nvSpPr>
          <p:spPr>
            <a:xfrm>
              <a:off x="2258313" y="3462037"/>
              <a:ext cx="150000" cy="150000"/>
            </a:xfrm>
            <a:custGeom>
              <a:avLst/>
              <a:gdLst>
                <a:gd name="connsiteX0" fmla="*/ 75000 w 150000"/>
                <a:gd name="connsiteY0" fmla="*/ 150000 h 150000"/>
                <a:gd name="connsiteX1" fmla="*/ 0 w 150000"/>
                <a:gd name="connsiteY1" fmla="*/ 75000 h 150000"/>
                <a:gd name="connsiteX2" fmla="*/ 75000 w 150000"/>
                <a:gd name="connsiteY2" fmla="*/ 0 h 150000"/>
                <a:gd name="connsiteX3" fmla="*/ 150000 w 150000"/>
                <a:gd name="connsiteY3" fmla="*/ 75000 h 150000"/>
                <a:gd name="connsiteX4" fmla="*/ 75000 w 150000"/>
                <a:gd name="connsiteY4" fmla="*/ 150000 h 150000"/>
                <a:gd name="connsiteX5" fmla="*/ 116250 w 150000"/>
                <a:gd name="connsiteY5" fmla="*/ 67500 h 150000"/>
                <a:gd name="connsiteX6" fmla="*/ 105000 w 150000"/>
                <a:gd name="connsiteY6" fmla="*/ 78750 h 150000"/>
                <a:gd name="connsiteX7" fmla="*/ 116250 w 150000"/>
                <a:gd name="connsiteY7" fmla="*/ 90000 h 150000"/>
                <a:gd name="connsiteX8" fmla="*/ 123750 w 150000"/>
                <a:gd name="connsiteY8" fmla="*/ 90000 h 150000"/>
                <a:gd name="connsiteX9" fmla="*/ 135000 w 150000"/>
                <a:gd name="connsiteY9" fmla="*/ 78750 h 150000"/>
                <a:gd name="connsiteX10" fmla="*/ 123750 w 150000"/>
                <a:gd name="connsiteY10" fmla="*/ 67500 h 150000"/>
                <a:gd name="connsiteX11" fmla="*/ 116250 w 150000"/>
                <a:gd name="connsiteY11" fmla="*/ 67500 h 150000"/>
                <a:gd name="connsiteX12" fmla="*/ 30000 w 150000"/>
                <a:gd name="connsiteY12" fmla="*/ 45000 h 150000"/>
                <a:gd name="connsiteX13" fmla="*/ 15000 w 150000"/>
                <a:gd name="connsiteY13" fmla="*/ 60000 h 150000"/>
                <a:gd name="connsiteX14" fmla="*/ 15000 w 150000"/>
                <a:gd name="connsiteY14" fmla="*/ 90000 h 150000"/>
                <a:gd name="connsiteX15" fmla="*/ 30000 w 150000"/>
                <a:gd name="connsiteY15" fmla="*/ 105000 h 150000"/>
                <a:gd name="connsiteX16" fmla="*/ 45000 w 150000"/>
                <a:gd name="connsiteY16" fmla="*/ 90000 h 150000"/>
                <a:gd name="connsiteX17" fmla="*/ 45000 w 150000"/>
                <a:gd name="connsiteY17" fmla="*/ 60000 h 150000"/>
                <a:gd name="connsiteX18" fmla="*/ 30000 w 150000"/>
                <a:gd name="connsiteY18" fmla="*/ 4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0000" h="150000">
                  <a:moveTo>
                    <a:pt x="75000" y="150000"/>
                  </a:moveTo>
                  <a:cubicBezTo>
                    <a:pt x="33579" y="150000"/>
                    <a:pt x="0" y="116421"/>
                    <a:pt x="0" y="75000"/>
                  </a:cubicBezTo>
                  <a:cubicBezTo>
                    <a:pt x="0" y="33579"/>
                    <a:pt x="33579" y="0"/>
                    <a:pt x="75000" y="0"/>
                  </a:cubicBezTo>
                  <a:cubicBezTo>
                    <a:pt x="116421" y="0"/>
                    <a:pt x="150000" y="33579"/>
                    <a:pt x="150000" y="75000"/>
                  </a:cubicBezTo>
                  <a:cubicBezTo>
                    <a:pt x="150000" y="116421"/>
                    <a:pt x="116421" y="150000"/>
                    <a:pt x="75000" y="150000"/>
                  </a:cubicBezTo>
                  <a:close/>
                  <a:moveTo>
                    <a:pt x="116250" y="67500"/>
                  </a:moveTo>
                  <a:cubicBezTo>
                    <a:pt x="110037" y="67500"/>
                    <a:pt x="105000" y="72537"/>
                    <a:pt x="105000" y="78750"/>
                  </a:cubicBezTo>
                  <a:cubicBezTo>
                    <a:pt x="105000" y="84963"/>
                    <a:pt x="110037" y="90000"/>
                    <a:pt x="116250" y="90000"/>
                  </a:cubicBezTo>
                  <a:lnTo>
                    <a:pt x="123750" y="90000"/>
                  </a:lnTo>
                  <a:cubicBezTo>
                    <a:pt x="129963" y="90000"/>
                    <a:pt x="135000" y="84963"/>
                    <a:pt x="135000" y="78750"/>
                  </a:cubicBezTo>
                  <a:cubicBezTo>
                    <a:pt x="135000" y="72537"/>
                    <a:pt x="129963" y="67500"/>
                    <a:pt x="123750" y="67500"/>
                  </a:cubicBezTo>
                  <a:lnTo>
                    <a:pt x="116250" y="67500"/>
                  </a:lnTo>
                  <a:close/>
                  <a:moveTo>
                    <a:pt x="30000" y="45000"/>
                  </a:moveTo>
                  <a:cubicBezTo>
                    <a:pt x="21716" y="45000"/>
                    <a:pt x="15000" y="51716"/>
                    <a:pt x="15000" y="60000"/>
                  </a:cubicBezTo>
                  <a:lnTo>
                    <a:pt x="15000" y="90000"/>
                  </a:lnTo>
                  <a:cubicBezTo>
                    <a:pt x="15000" y="98284"/>
                    <a:pt x="21716" y="105000"/>
                    <a:pt x="30000" y="105000"/>
                  </a:cubicBezTo>
                  <a:cubicBezTo>
                    <a:pt x="38284" y="105000"/>
                    <a:pt x="45000" y="98284"/>
                    <a:pt x="45000" y="90000"/>
                  </a:cubicBezTo>
                  <a:lnTo>
                    <a:pt x="45000" y="60000"/>
                  </a:lnTo>
                  <a:cubicBezTo>
                    <a:pt x="45000" y="51716"/>
                    <a:pt x="38284" y="45000"/>
                    <a:pt x="30000" y="45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8" name="Рисунок 15">
            <a:extLst>
              <a:ext uri="{FF2B5EF4-FFF2-40B4-BE49-F238E27FC236}">
                <a16:creationId xmlns:a16="http://schemas.microsoft.com/office/drawing/2014/main" id="{C947511B-36C3-4740-BDD6-CA962B640B81}"/>
              </a:ext>
            </a:extLst>
          </p:cNvPr>
          <p:cNvGrpSpPr/>
          <p:nvPr/>
        </p:nvGrpSpPr>
        <p:grpSpPr>
          <a:xfrm>
            <a:off x="1410956" y="3115315"/>
            <a:ext cx="360000" cy="360000"/>
            <a:chOff x="1490161" y="3432037"/>
            <a:chExt cx="360000" cy="360000"/>
          </a:xfrm>
        </p:grpSpPr>
        <p:sp>
          <p:nvSpPr>
            <p:cNvPr id="139" name="Полилиния 138">
              <a:extLst>
                <a:ext uri="{FF2B5EF4-FFF2-40B4-BE49-F238E27FC236}">
                  <a16:creationId xmlns:a16="http://schemas.microsoft.com/office/drawing/2014/main" id="{378988FC-B88D-A84B-AEC7-23ADC015E8DB}"/>
                </a:ext>
              </a:extLst>
            </p:cNvPr>
            <p:cNvSpPr/>
            <p:nvPr/>
          </p:nvSpPr>
          <p:spPr>
            <a:xfrm>
              <a:off x="1490161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" name="Полилиния 139">
              <a:extLst>
                <a:ext uri="{FF2B5EF4-FFF2-40B4-BE49-F238E27FC236}">
                  <a16:creationId xmlns:a16="http://schemas.microsoft.com/office/drawing/2014/main" id="{4F73D728-BBF6-A645-AFAF-CF396CF2EA80}"/>
                </a:ext>
              </a:extLst>
            </p:cNvPr>
            <p:cNvSpPr/>
            <p:nvPr/>
          </p:nvSpPr>
          <p:spPr>
            <a:xfrm>
              <a:off x="1580548" y="3722322"/>
              <a:ext cx="179105" cy="48123"/>
            </a:xfrm>
            <a:custGeom>
              <a:avLst/>
              <a:gdLst>
                <a:gd name="connsiteX0" fmla="*/ 16760 w 179105"/>
                <a:gd name="connsiteY0" fmla="*/ 77 h 48123"/>
                <a:gd name="connsiteX1" fmla="*/ 42677 w 179105"/>
                <a:gd name="connsiteY1" fmla="*/ 15188 h 48123"/>
                <a:gd name="connsiteX2" fmla="*/ 27993 w 179105"/>
                <a:gd name="connsiteY2" fmla="*/ 40621 h 48123"/>
                <a:gd name="connsiteX3" fmla="*/ 7503 w 179105"/>
                <a:gd name="connsiteY3" fmla="*/ 46112 h 48123"/>
                <a:gd name="connsiteX4" fmla="*/ 2012 w 179105"/>
                <a:gd name="connsiteY4" fmla="*/ 25621 h 48123"/>
                <a:gd name="connsiteX5" fmla="*/ 16760 w 179105"/>
                <a:gd name="connsiteY5" fmla="*/ 77 h 48123"/>
                <a:gd name="connsiteX6" fmla="*/ 136663 w 179105"/>
                <a:gd name="connsiteY6" fmla="*/ 15140 h 48123"/>
                <a:gd name="connsiteX7" fmla="*/ 162563 w 179105"/>
                <a:gd name="connsiteY7" fmla="*/ 0 h 48123"/>
                <a:gd name="connsiteX8" fmla="*/ 177094 w 179105"/>
                <a:gd name="connsiteY8" fmla="*/ 25166 h 48123"/>
                <a:gd name="connsiteX9" fmla="*/ 171602 w 179105"/>
                <a:gd name="connsiteY9" fmla="*/ 45657 h 48123"/>
                <a:gd name="connsiteX10" fmla="*/ 151112 w 179105"/>
                <a:gd name="connsiteY10" fmla="*/ 40166 h 48123"/>
                <a:gd name="connsiteX11" fmla="*/ 136663 w 179105"/>
                <a:gd name="connsiteY11" fmla="*/ 15140 h 48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9105" h="48123">
                  <a:moveTo>
                    <a:pt x="16760" y="77"/>
                  </a:moveTo>
                  <a:cubicBezTo>
                    <a:pt x="24680" y="6136"/>
                    <a:pt x="33378" y="11232"/>
                    <a:pt x="42677" y="15188"/>
                  </a:cubicBezTo>
                  <a:lnTo>
                    <a:pt x="27993" y="40621"/>
                  </a:lnTo>
                  <a:cubicBezTo>
                    <a:pt x="23851" y="47796"/>
                    <a:pt x="14677" y="50253"/>
                    <a:pt x="7503" y="46112"/>
                  </a:cubicBezTo>
                  <a:cubicBezTo>
                    <a:pt x="328" y="41970"/>
                    <a:pt x="-2130" y="32796"/>
                    <a:pt x="2012" y="25621"/>
                  </a:cubicBezTo>
                  <a:lnTo>
                    <a:pt x="16760" y="77"/>
                  </a:lnTo>
                  <a:close/>
                  <a:moveTo>
                    <a:pt x="136663" y="15140"/>
                  </a:moveTo>
                  <a:cubicBezTo>
                    <a:pt x="145957" y="11173"/>
                    <a:pt x="154649" y="6069"/>
                    <a:pt x="162563" y="0"/>
                  </a:cubicBezTo>
                  <a:lnTo>
                    <a:pt x="177094" y="25166"/>
                  </a:lnTo>
                  <a:cubicBezTo>
                    <a:pt x="181235" y="32340"/>
                    <a:pt x="178777" y="41514"/>
                    <a:pt x="171602" y="45657"/>
                  </a:cubicBezTo>
                  <a:cubicBezTo>
                    <a:pt x="164428" y="49799"/>
                    <a:pt x="155254" y="47340"/>
                    <a:pt x="151112" y="40166"/>
                  </a:cubicBezTo>
                  <a:lnTo>
                    <a:pt x="136663" y="1514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" name="Полилиния 140">
              <a:extLst>
                <a:ext uri="{FF2B5EF4-FFF2-40B4-BE49-F238E27FC236}">
                  <a16:creationId xmlns:a16="http://schemas.microsoft.com/office/drawing/2014/main" id="{8A21D094-3183-4D46-BD5B-6FE0E6CB0302}"/>
                </a:ext>
              </a:extLst>
            </p:cNvPr>
            <p:cNvSpPr/>
            <p:nvPr/>
          </p:nvSpPr>
          <p:spPr>
            <a:xfrm>
              <a:off x="1531230" y="3468678"/>
              <a:ext cx="277792" cy="278358"/>
            </a:xfrm>
            <a:custGeom>
              <a:avLst/>
              <a:gdLst>
                <a:gd name="connsiteX0" fmla="*/ 138930 w 277792"/>
                <a:gd name="connsiteY0" fmla="*/ 278359 h 278358"/>
                <a:gd name="connsiteX1" fmla="*/ 18930 w 277792"/>
                <a:gd name="connsiteY1" fmla="*/ 158359 h 278358"/>
                <a:gd name="connsiteX2" fmla="*/ 138930 w 277792"/>
                <a:gd name="connsiteY2" fmla="*/ 38359 h 278358"/>
                <a:gd name="connsiteX3" fmla="*/ 258930 w 277792"/>
                <a:gd name="connsiteY3" fmla="*/ 158359 h 278358"/>
                <a:gd name="connsiteX4" fmla="*/ 138930 w 277792"/>
                <a:gd name="connsiteY4" fmla="*/ 278359 h 278358"/>
                <a:gd name="connsiteX5" fmla="*/ 244962 w 277792"/>
                <a:gd name="connsiteY5" fmla="*/ 12170 h 278358"/>
                <a:gd name="connsiteX6" fmla="*/ 271202 w 277792"/>
                <a:gd name="connsiteY6" fmla="*/ 38410 h 278358"/>
                <a:gd name="connsiteX7" fmla="*/ 271202 w 277792"/>
                <a:gd name="connsiteY7" fmla="*/ 70230 h 278358"/>
                <a:gd name="connsiteX8" fmla="*/ 239382 w 277792"/>
                <a:gd name="connsiteY8" fmla="*/ 70230 h 278358"/>
                <a:gd name="connsiteX9" fmla="*/ 213143 w 277792"/>
                <a:gd name="connsiteY9" fmla="*/ 43990 h 278358"/>
                <a:gd name="connsiteX10" fmla="*/ 213143 w 277792"/>
                <a:gd name="connsiteY10" fmla="*/ 12170 h 278358"/>
                <a:gd name="connsiteX11" fmla="*/ 244962 w 277792"/>
                <a:gd name="connsiteY11" fmla="*/ 12170 h 278358"/>
                <a:gd name="connsiteX12" fmla="*/ 38410 w 277792"/>
                <a:gd name="connsiteY12" fmla="*/ 6590 h 278358"/>
                <a:gd name="connsiteX13" fmla="*/ 70230 w 277792"/>
                <a:gd name="connsiteY13" fmla="*/ 6590 h 278358"/>
                <a:gd name="connsiteX14" fmla="*/ 70230 w 277792"/>
                <a:gd name="connsiteY14" fmla="*/ 38410 h 278358"/>
                <a:gd name="connsiteX15" fmla="*/ 38410 w 277792"/>
                <a:gd name="connsiteY15" fmla="*/ 70230 h 278358"/>
                <a:gd name="connsiteX16" fmla="*/ 6590 w 277792"/>
                <a:gd name="connsiteY16" fmla="*/ 70230 h 278358"/>
                <a:gd name="connsiteX17" fmla="*/ 6590 w 277792"/>
                <a:gd name="connsiteY17" fmla="*/ 38410 h 278358"/>
                <a:gd name="connsiteX18" fmla="*/ 38410 w 277792"/>
                <a:gd name="connsiteY18" fmla="*/ 6590 h 27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7792" h="278358">
                  <a:moveTo>
                    <a:pt x="138930" y="278359"/>
                  </a:moveTo>
                  <a:cubicBezTo>
                    <a:pt x="72656" y="278359"/>
                    <a:pt x="18930" y="224633"/>
                    <a:pt x="18930" y="158359"/>
                  </a:cubicBezTo>
                  <a:cubicBezTo>
                    <a:pt x="18930" y="92085"/>
                    <a:pt x="72656" y="38359"/>
                    <a:pt x="138930" y="38359"/>
                  </a:cubicBezTo>
                  <a:cubicBezTo>
                    <a:pt x="205205" y="38359"/>
                    <a:pt x="258930" y="92085"/>
                    <a:pt x="258930" y="158359"/>
                  </a:cubicBezTo>
                  <a:cubicBezTo>
                    <a:pt x="258930" y="224633"/>
                    <a:pt x="205205" y="278359"/>
                    <a:pt x="138930" y="278359"/>
                  </a:cubicBezTo>
                  <a:close/>
                  <a:moveTo>
                    <a:pt x="244962" y="12170"/>
                  </a:moveTo>
                  <a:lnTo>
                    <a:pt x="271202" y="38410"/>
                  </a:lnTo>
                  <a:cubicBezTo>
                    <a:pt x="279989" y="47197"/>
                    <a:pt x="279989" y="61443"/>
                    <a:pt x="271202" y="70230"/>
                  </a:cubicBezTo>
                  <a:cubicBezTo>
                    <a:pt x="262415" y="79017"/>
                    <a:pt x="248170" y="79017"/>
                    <a:pt x="239382" y="70230"/>
                  </a:cubicBezTo>
                  <a:lnTo>
                    <a:pt x="213143" y="43990"/>
                  </a:lnTo>
                  <a:cubicBezTo>
                    <a:pt x="204356" y="35203"/>
                    <a:pt x="204356" y="20957"/>
                    <a:pt x="213143" y="12170"/>
                  </a:cubicBezTo>
                  <a:cubicBezTo>
                    <a:pt x="221930" y="3383"/>
                    <a:pt x="236175" y="3383"/>
                    <a:pt x="244962" y="12170"/>
                  </a:cubicBezTo>
                  <a:close/>
                  <a:moveTo>
                    <a:pt x="38410" y="6590"/>
                  </a:moveTo>
                  <a:cubicBezTo>
                    <a:pt x="47197" y="-2197"/>
                    <a:pt x="61443" y="-2197"/>
                    <a:pt x="70230" y="6590"/>
                  </a:cubicBezTo>
                  <a:cubicBezTo>
                    <a:pt x="79017" y="15377"/>
                    <a:pt x="79017" y="29623"/>
                    <a:pt x="70230" y="38410"/>
                  </a:cubicBezTo>
                  <a:lnTo>
                    <a:pt x="38410" y="70230"/>
                  </a:lnTo>
                  <a:cubicBezTo>
                    <a:pt x="29623" y="79017"/>
                    <a:pt x="15377" y="79017"/>
                    <a:pt x="6590" y="70230"/>
                  </a:cubicBezTo>
                  <a:cubicBezTo>
                    <a:pt x="-2197" y="61443"/>
                    <a:pt x="-2197" y="47197"/>
                    <a:pt x="6590" y="38410"/>
                  </a:cubicBezTo>
                  <a:lnTo>
                    <a:pt x="38410" y="659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" name="Полилиния 141">
              <a:extLst>
                <a:ext uri="{FF2B5EF4-FFF2-40B4-BE49-F238E27FC236}">
                  <a16:creationId xmlns:a16="http://schemas.microsoft.com/office/drawing/2014/main" id="{651F59D1-7493-A946-94D0-E4DB9F7F6CD2}"/>
                </a:ext>
              </a:extLst>
            </p:cNvPr>
            <p:cNvSpPr/>
            <p:nvPr/>
          </p:nvSpPr>
          <p:spPr>
            <a:xfrm>
              <a:off x="1655614" y="3544537"/>
              <a:ext cx="82046" cy="118228"/>
            </a:xfrm>
            <a:custGeom>
              <a:avLst/>
              <a:gdLst>
                <a:gd name="connsiteX0" fmla="*/ 13992 w 82046"/>
                <a:gd name="connsiteY0" fmla="*/ 0 h 118228"/>
                <a:gd name="connsiteX1" fmla="*/ 15259 w 82046"/>
                <a:gd name="connsiteY1" fmla="*/ 0 h 118228"/>
                <a:gd name="connsiteX2" fmla="*/ 22722 w 82046"/>
                <a:gd name="connsiteY2" fmla="*/ 6754 h 118228"/>
                <a:gd name="connsiteX3" fmla="*/ 29547 w 82046"/>
                <a:gd name="connsiteY3" fmla="*/ 75000 h 118228"/>
                <a:gd name="connsiteX4" fmla="*/ 78268 w 82046"/>
                <a:gd name="connsiteY4" fmla="*/ 102840 h 118228"/>
                <a:gd name="connsiteX5" fmla="*/ 82047 w 82046"/>
                <a:gd name="connsiteY5" fmla="*/ 109353 h 118228"/>
                <a:gd name="connsiteX6" fmla="*/ 82047 w 82046"/>
                <a:gd name="connsiteY6" fmla="*/ 112500 h 118228"/>
                <a:gd name="connsiteX7" fmla="*/ 76318 w 82046"/>
                <a:gd name="connsiteY7" fmla="*/ 118229 h 118228"/>
                <a:gd name="connsiteX8" fmla="*/ 74811 w 82046"/>
                <a:gd name="connsiteY8" fmla="*/ 118026 h 118228"/>
                <a:gd name="connsiteX9" fmla="*/ 5527 w 82046"/>
                <a:gd name="connsiteY9" fmla="*/ 99131 h 118228"/>
                <a:gd name="connsiteX10" fmla="*/ 22 w 82046"/>
                <a:gd name="connsiteY10" fmla="*/ 91320 h 118228"/>
                <a:gd name="connsiteX11" fmla="*/ 6514 w 82046"/>
                <a:gd name="connsiteY11" fmla="*/ 6925 h 118228"/>
                <a:gd name="connsiteX12" fmla="*/ 13992 w 82046"/>
                <a:gd name="connsiteY12" fmla="*/ 0 h 118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046" h="118228">
                  <a:moveTo>
                    <a:pt x="13992" y="0"/>
                  </a:moveTo>
                  <a:lnTo>
                    <a:pt x="15259" y="0"/>
                  </a:lnTo>
                  <a:cubicBezTo>
                    <a:pt x="19113" y="0"/>
                    <a:pt x="22339" y="2920"/>
                    <a:pt x="22722" y="6754"/>
                  </a:cubicBezTo>
                  <a:lnTo>
                    <a:pt x="29547" y="75000"/>
                  </a:lnTo>
                  <a:lnTo>
                    <a:pt x="78268" y="102840"/>
                  </a:lnTo>
                  <a:cubicBezTo>
                    <a:pt x="80605" y="104177"/>
                    <a:pt x="82047" y="106660"/>
                    <a:pt x="82047" y="109353"/>
                  </a:cubicBezTo>
                  <a:lnTo>
                    <a:pt x="82047" y="112500"/>
                  </a:lnTo>
                  <a:cubicBezTo>
                    <a:pt x="82047" y="115664"/>
                    <a:pt x="79482" y="118229"/>
                    <a:pt x="76318" y="118229"/>
                  </a:cubicBezTo>
                  <a:cubicBezTo>
                    <a:pt x="75810" y="118229"/>
                    <a:pt x="75303" y="118161"/>
                    <a:pt x="74811" y="118026"/>
                  </a:cubicBezTo>
                  <a:lnTo>
                    <a:pt x="5527" y="99131"/>
                  </a:lnTo>
                  <a:cubicBezTo>
                    <a:pt x="2056" y="98184"/>
                    <a:pt x="-254" y="94907"/>
                    <a:pt x="22" y="91320"/>
                  </a:cubicBezTo>
                  <a:lnTo>
                    <a:pt x="6514" y="6925"/>
                  </a:lnTo>
                  <a:cubicBezTo>
                    <a:pt x="6814" y="3017"/>
                    <a:pt x="10072" y="0"/>
                    <a:pt x="13992" y="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3" name="Рисунок 16">
            <a:extLst>
              <a:ext uri="{FF2B5EF4-FFF2-40B4-BE49-F238E27FC236}">
                <a16:creationId xmlns:a16="http://schemas.microsoft.com/office/drawing/2014/main" id="{B1338455-7900-6A4B-B280-7CC008632BA8}"/>
              </a:ext>
            </a:extLst>
          </p:cNvPr>
          <p:cNvGrpSpPr/>
          <p:nvPr/>
        </p:nvGrpSpPr>
        <p:grpSpPr>
          <a:xfrm>
            <a:off x="657804" y="3115315"/>
            <a:ext cx="360000" cy="360000"/>
            <a:chOff x="737009" y="3432037"/>
            <a:chExt cx="360000" cy="360000"/>
          </a:xfrm>
        </p:grpSpPr>
        <p:sp>
          <p:nvSpPr>
            <p:cNvPr id="144" name="Полилиния 143">
              <a:extLst>
                <a:ext uri="{FF2B5EF4-FFF2-40B4-BE49-F238E27FC236}">
                  <a16:creationId xmlns:a16="http://schemas.microsoft.com/office/drawing/2014/main" id="{31D9DC7D-A96D-3945-94C1-B27294DC4A4B}"/>
                </a:ext>
              </a:extLst>
            </p:cNvPr>
            <p:cNvSpPr/>
            <p:nvPr/>
          </p:nvSpPr>
          <p:spPr>
            <a:xfrm>
              <a:off x="737009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Полилиния 144">
              <a:extLst>
                <a:ext uri="{FF2B5EF4-FFF2-40B4-BE49-F238E27FC236}">
                  <a16:creationId xmlns:a16="http://schemas.microsoft.com/office/drawing/2014/main" id="{4E2A208D-8FDC-C240-A442-DC2BA41CFEFA}"/>
                </a:ext>
              </a:extLst>
            </p:cNvPr>
            <p:cNvSpPr/>
            <p:nvPr/>
          </p:nvSpPr>
          <p:spPr>
            <a:xfrm>
              <a:off x="767009" y="3507037"/>
              <a:ext cx="300000" cy="210000"/>
            </a:xfrm>
            <a:custGeom>
              <a:avLst/>
              <a:gdLst>
                <a:gd name="connsiteX0" fmla="*/ 114265 w 300000"/>
                <a:gd name="connsiteY0" fmla="*/ 0 h 210000"/>
                <a:gd name="connsiteX1" fmla="*/ 101029 w 300000"/>
                <a:gd name="connsiteY1" fmla="*/ 30000 h 210000"/>
                <a:gd name="connsiteX2" fmla="*/ 15000 w 300000"/>
                <a:gd name="connsiteY2" fmla="*/ 30000 h 210000"/>
                <a:gd name="connsiteX3" fmla="*/ 0 w 300000"/>
                <a:gd name="connsiteY3" fmla="*/ 15000 h 210000"/>
                <a:gd name="connsiteX4" fmla="*/ 15000 w 300000"/>
                <a:gd name="connsiteY4" fmla="*/ 0 h 210000"/>
                <a:gd name="connsiteX5" fmla="*/ 114265 w 300000"/>
                <a:gd name="connsiteY5" fmla="*/ 0 h 210000"/>
                <a:gd name="connsiteX6" fmla="*/ 185736 w 300000"/>
                <a:gd name="connsiteY6" fmla="*/ 0 h 210000"/>
                <a:gd name="connsiteX7" fmla="*/ 285000 w 300000"/>
                <a:gd name="connsiteY7" fmla="*/ 0 h 210000"/>
                <a:gd name="connsiteX8" fmla="*/ 300000 w 300000"/>
                <a:gd name="connsiteY8" fmla="*/ 15000 h 210000"/>
                <a:gd name="connsiteX9" fmla="*/ 285000 w 300000"/>
                <a:gd name="connsiteY9" fmla="*/ 30000 h 210000"/>
                <a:gd name="connsiteX10" fmla="*/ 198971 w 300000"/>
                <a:gd name="connsiteY10" fmla="*/ 30000 h 210000"/>
                <a:gd name="connsiteX11" fmla="*/ 185736 w 300000"/>
                <a:gd name="connsiteY11" fmla="*/ 0 h 210000"/>
                <a:gd name="connsiteX12" fmla="*/ 61324 w 300000"/>
                <a:gd name="connsiteY12" fmla="*/ 120000 h 210000"/>
                <a:gd name="connsiteX13" fmla="*/ 48088 w 300000"/>
                <a:gd name="connsiteY13" fmla="*/ 150000 h 210000"/>
                <a:gd name="connsiteX14" fmla="*/ 15000 w 300000"/>
                <a:gd name="connsiteY14" fmla="*/ 150000 h 210000"/>
                <a:gd name="connsiteX15" fmla="*/ 0 w 300000"/>
                <a:gd name="connsiteY15" fmla="*/ 135000 h 210000"/>
                <a:gd name="connsiteX16" fmla="*/ 15000 w 300000"/>
                <a:gd name="connsiteY16" fmla="*/ 120000 h 210000"/>
                <a:gd name="connsiteX17" fmla="*/ 61324 w 300000"/>
                <a:gd name="connsiteY17" fmla="*/ 120000 h 210000"/>
                <a:gd name="connsiteX18" fmla="*/ 238677 w 300000"/>
                <a:gd name="connsiteY18" fmla="*/ 120000 h 210000"/>
                <a:gd name="connsiteX19" fmla="*/ 285000 w 300000"/>
                <a:gd name="connsiteY19" fmla="*/ 120000 h 210000"/>
                <a:gd name="connsiteX20" fmla="*/ 300000 w 300000"/>
                <a:gd name="connsiteY20" fmla="*/ 135000 h 210000"/>
                <a:gd name="connsiteX21" fmla="*/ 285000 w 300000"/>
                <a:gd name="connsiteY21" fmla="*/ 150000 h 210000"/>
                <a:gd name="connsiteX22" fmla="*/ 251912 w 300000"/>
                <a:gd name="connsiteY22" fmla="*/ 150000 h 210000"/>
                <a:gd name="connsiteX23" fmla="*/ 238677 w 300000"/>
                <a:gd name="connsiteY23" fmla="*/ 120000 h 210000"/>
                <a:gd name="connsiteX24" fmla="*/ 87794 w 300000"/>
                <a:gd name="connsiteY24" fmla="*/ 60000 h 210000"/>
                <a:gd name="connsiteX25" fmla="*/ 74559 w 300000"/>
                <a:gd name="connsiteY25" fmla="*/ 90000 h 210000"/>
                <a:gd name="connsiteX26" fmla="*/ 15000 w 300000"/>
                <a:gd name="connsiteY26" fmla="*/ 90000 h 210000"/>
                <a:gd name="connsiteX27" fmla="*/ 0 w 300000"/>
                <a:gd name="connsiteY27" fmla="*/ 75000 h 210000"/>
                <a:gd name="connsiteX28" fmla="*/ 15000 w 300000"/>
                <a:gd name="connsiteY28" fmla="*/ 60000 h 210000"/>
                <a:gd name="connsiteX29" fmla="*/ 87794 w 300000"/>
                <a:gd name="connsiteY29" fmla="*/ 60000 h 210000"/>
                <a:gd name="connsiteX30" fmla="*/ 212207 w 300000"/>
                <a:gd name="connsiteY30" fmla="*/ 60000 h 210000"/>
                <a:gd name="connsiteX31" fmla="*/ 285000 w 300000"/>
                <a:gd name="connsiteY31" fmla="*/ 60000 h 210000"/>
                <a:gd name="connsiteX32" fmla="*/ 300000 w 300000"/>
                <a:gd name="connsiteY32" fmla="*/ 75000 h 210000"/>
                <a:gd name="connsiteX33" fmla="*/ 285000 w 300000"/>
                <a:gd name="connsiteY33" fmla="*/ 90000 h 210000"/>
                <a:gd name="connsiteX34" fmla="*/ 225441 w 300000"/>
                <a:gd name="connsiteY34" fmla="*/ 90000 h 210000"/>
                <a:gd name="connsiteX35" fmla="*/ 212207 w 300000"/>
                <a:gd name="connsiteY35" fmla="*/ 60000 h 210000"/>
                <a:gd name="connsiteX36" fmla="*/ 34853 w 300000"/>
                <a:gd name="connsiteY36" fmla="*/ 180000 h 210000"/>
                <a:gd name="connsiteX37" fmla="*/ 21618 w 300000"/>
                <a:gd name="connsiteY37" fmla="*/ 210000 h 210000"/>
                <a:gd name="connsiteX38" fmla="*/ 15000 w 300000"/>
                <a:gd name="connsiteY38" fmla="*/ 210000 h 210000"/>
                <a:gd name="connsiteX39" fmla="*/ 0 w 300000"/>
                <a:gd name="connsiteY39" fmla="*/ 195000 h 210000"/>
                <a:gd name="connsiteX40" fmla="*/ 15000 w 300000"/>
                <a:gd name="connsiteY40" fmla="*/ 180000 h 210000"/>
                <a:gd name="connsiteX41" fmla="*/ 34853 w 300000"/>
                <a:gd name="connsiteY41" fmla="*/ 180000 h 210000"/>
                <a:gd name="connsiteX42" fmla="*/ 265148 w 300000"/>
                <a:gd name="connsiteY42" fmla="*/ 180000 h 210000"/>
                <a:gd name="connsiteX43" fmla="*/ 285000 w 300000"/>
                <a:gd name="connsiteY43" fmla="*/ 180000 h 210000"/>
                <a:gd name="connsiteX44" fmla="*/ 300000 w 300000"/>
                <a:gd name="connsiteY44" fmla="*/ 195000 h 210000"/>
                <a:gd name="connsiteX45" fmla="*/ 285000 w 300000"/>
                <a:gd name="connsiteY45" fmla="*/ 210000 h 210000"/>
                <a:gd name="connsiteX46" fmla="*/ 278382 w 300000"/>
                <a:gd name="connsiteY46" fmla="*/ 210000 h 210000"/>
                <a:gd name="connsiteX47" fmla="*/ 265148 w 300000"/>
                <a:gd name="connsiteY47" fmla="*/ 18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00000" h="210000">
                  <a:moveTo>
                    <a:pt x="114265" y="0"/>
                  </a:moveTo>
                  <a:lnTo>
                    <a:pt x="101029" y="30000"/>
                  </a:ln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lnTo>
                    <a:pt x="114265" y="0"/>
                  </a:lnTo>
                  <a:close/>
                  <a:moveTo>
                    <a:pt x="185736" y="0"/>
                  </a:moveTo>
                  <a:lnTo>
                    <a:pt x="285000" y="0"/>
                  </a:lnTo>
                  <a:cubicBezTo>
                    <a:pt x="293285" y="0"/>
                    <a:pt x="300000" y="6716"/>
                    <a:pt x="300000" y="15000"/>
                  </a:cubicBezTo>
                  <a:cubicBezTo>
                    <a:pt x="300000" y="23284"/>
                    <a:pt x="293285" y="30000"/>
                    <a:pt x="285000" y="30000"/>
                  </a:cubicBezTo>
                  <a:lnTo>
                    <a:pt x="198971" y="30000"/>
                  </a:lnTo>
                  <a:lnTo>
                    <a:pt x="185736" y="0"/>
                  </a:lnTo>
                  <a:close/>
                  <a:moveTo>
                    <a:pt x="61324" y="120000"/>
                  </a:moveTo>
                  <a:lnTo>
                    <a:pt x="48088" y="150000"/>
                  </a:ln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cubicBezTo>
                    <a:pt x="0" y="126715"/>
                    <a:pt x="6716" y="120000"/>
                    <a:pt x="15000" y="120000"/>
                  </a:cubicBezTo>
                  <a:lnTo>
                    <a:pt x="61324" y="120000"/>
                  </a:lnTo>
                  <a:close/>
                  <a:moveTo>
                    <a:pt x="238677" y="120000"/>
                  </a:moveTo>
                  <a:lnTo>
                    <a:pt x="285000" y="120000"/>
                  </a:lnTo>
                  <a:cubicBezTo>
                    <a:pt x="293285" y="120000"/>
                    <a:pt x="300000" y="126715"/>
                    <a:pt x="300000" y="135000"/>
                  </a:cubicBezTo>
                  <a:cubicBezTo>
                    <a:pt x="300000" y="143285"/>
                    <a:pt x="293285" y="150000"/>
                    <a:pt x="285000" y="150000"/>
                  </a:cubicBezTo>
                  <a:lnTo>
                    <a:pt x="251912" y="150000"/>
                  </a:lnTo>
                  <a:lnTo>
                    <a:pt x="238677" y="120000"/>
                  </a:lnTo>
                  <a:close/>
                  <a:moveTo>
                    <a:pt x="87794" y="60000"/>
                  </a:moveTo>
                  <a:lnTo>
                    <a:pt x="74559" y="90000"/>
                  </a:lnTo>
                  <a:lnTo>
                    <a:pt x="15000" y="90000"/>
                  </a:lnTo>
                  <a:cubicBezTo>
                    <a:pt x="6716" y="90000"/>
                    <a:pt x="0" y="83285"/>
                    <a:pt x="0" y="75000"/>
                  </a:cubicBezTo>
                  <a:cubicBezTo>
                    <a:pt x="0" y="66716"/>
                    <a:pt x="6716" y="60000"/>
                    <a:pt x="15000" y="60000"/>
                  </a:cubicBezTo>
                  <a:lnTo>
                    <a:pt x="87794" y="60000"/>
                  </a:lnTo>
                  <a:close/>
                  <a:moveTo>
                    <a:pt x="212207" y="60000"/>
                  </a:moveTo>
                  <a:lnTo>
                    <a:pt x="285000" y="60000"/>
                  </a:lnTo>
                  <a:cubicBezTo>
                    <a:pt x="293285" y="60000"/>
                    <a:pt x="300000" y="66716"/>
                    <a:pt x="300000" y="75000"/>
                  </a:cubicBezTo>
                  <a:cubicBezTo>
                    <a:pt x="300000" y="83285"/>
                    <a:pt x="293285" y="90000"/>
                    <a:pt x="285000" y="90000"/>
                  </a:cubicBezTo>
                  <a:lnTo>
                    <a:pt x="225441" y="90000"/>
                  </a:lnTo>
                  <a:lnTo>
                    <a:pt x="212207" y="60000"/>
                  </a:lnTo>
                  <a:close/>
                  <a:moveTo>
                    <a:pt x="34853" y="180000"/>
                  </a:moveTo>
                  <a:lnTo>
                    <a:pt x="21618" y="210000"/>
                  </a:lnTo>
                  <a:lnTo>
                    <a:pt x="15000" y="210000"/>
                  </a:lnTo>
                  <a:cubicBezTo>
                    <a:pt x="6716" y="210000"/>
                    <a:pt x="0" y="203285"/>
                    <a:pt x="0" y="195000"/>
                  </a:cubicBezTo>
                  <a:cubicBezTo>
                    <a:pt x="0" y="186716"/>
                    <a:pt x="6716" y="180000"/>
                    <a:pt x="15000" y="180000"/>
                  </a:cubicBezTo>
                  <a:lnTo>
                    <a:pt x="34853" y="180000"/>
                  </a:lnTo>
                  <a:close/>
                  <a:moveTo>
                    <a:pt x="265148" y="180000"/>
                  </a:moveTo>
                  <a:lnTo>
                    <a:pt x="285000" y="180000"/>
                  </a:lnTo>
                  <a:cubicBezTo>
                    <a:pt x="293285" y="180000"/>
                    <a:pt x="300000" y="186716"/>
                    <a:pt x="300000" y="195000"/>
                  </a:cubicBezTo>
                  <a:cubicBezTo>
                    <a:pt x="300000" y="203285"/>
                    <a:pt x="293285" y="210000"/>
                    <a:pt x="285000" y="210000"/>
                  </a:cubicBezTo>
                  <a:lnTo>
                    <a:pt x="278382" y="210000"/>
                  </a:lnTo>
                  <a:lnTo>
                    <a:pt x="265148" y="18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Полилиния 145">
              <a:extLst>
                <a:ext uri="{FF2B5EF4-FFF2-40B4-BE49-F238E27FC236}">
                  <a16:creationId xmlns:a16="http://schemas.microsoft.com/office/drawing/2014/main" id="{0E567D70-0254-854A-8A72-34F65308E897}"/>
                </a:ext>
              </a:extLst>
            </p:cNvPr>
            <p:cNvSpPr/>
            <p:nvPr/>
          </p:nvSpPr>
          <p:spPr>
            <a:xfrm>
              <a:off x="812009" y="3510877"/>
              <a:ext cx="202500" cy="206159"/>
            </a:xfrm>
            <a:custGeom>
              <a:avLst/>
              <a:gdLst>
                <a:gd name="connsiteX0" fmla="*/ 90660 w 202500"/>
                <a:gd name="connsiteY0" fmla="*/ 0 h 206159"/>
                <a:gd name="connsiteX1" fmla="*/ 120090 w 202500"/>
                <a:gd name="connsiteY1" fmla="*/ 0 h 206159"/>
                <a:gd name="connsiteX2" fmla="*/ 202500 w 202500"/>
                <a:gd name="connsiteY2" fmla="*/ 206160 h 206159"/>
                <a:gd name="connsiteX3" fmla="*/ 165000 w 202500"/>
                <a:gd name="connsiteY3" fmla="*/ 206160 h 206159"/>
                <a:gd name="connsiteX4" fmla="*/ 145740 w 202500"/>
                <a:gd name="connsiteY4" fmla="*/ 147420 h 206159"/>
                <a:gd name="connsiteX5" fmla="*/ 62850 w 202500"/>
                <a:gd name="connsiteY5" fmla="*/ 147420 h 206159"/>
                <a:gd name="connsiteX6" fmla="*/ 37500 w 202500"/>
                <a:gd name="connsiteY6" fmla="*/ 206160 h 206159"/>
                <a:gd name="connsiteX7" fmla="*/ 0 w 202500"/>
                <a:gd name="connsiteY7" fmla="*/ 206160 h 206159"/>
                <a:gd name="connsiteX8" fmla="*/ 90660 w 202500"/>
                <a:gd name="connsiteY8" fmla="*/ 0 h 206159"/>
                <a:gd name="connsiteX9" fmla="*/ 133860 w 202500"/>
                <a:gd name="connsiteY9" fmla="*/ 118260 h 206159"/>
                <a:gd name="connsiteX10" fmla="*/ 104430 w 202500"/>
                <a:gd name="connsiteY10" fmla="*/ 40500 h 206159"/>
                <a:gd name="connsiteX11" fmla="*/ 74460 w 202500"/>
                <a:gd name="connsiteY11" fmla="*/ 118260 h 206159"/>
                <a:gd name="connsiteX12" fmla="*/ 133860 w 202500"/>
                <a:gd name="connsiteY12" fmla="*/ 118260 h 206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2500" h="206159">
                  <a:moveTo>
                    <a:pt x="90660" y="0"/>
                  </a:moveTo>
                  <a:lnTo>
                    <a:pt x="120090" y="0"/>
                  </a:lnTo>
                  <a:lnTo>
                    <a:pt x="202500" y="206160"/>
                  </a:lnTo>
                  <a:lnTo>
                    <a:pt x="165000" y="206160"/>
                  </a:lnTo>
                  <a:lnTo>
                    <a:pt x="145740" y="147420"/>
                  </a:lnTo>
                  <a:lnTo>
                    <a:pt x="62850" y="147420"/>
                  </a:lnTo>
                  <a:lnTo>
                    <a:pt x="37500" y="206160"/>
                  </a:lnTo>
                  <a:lnTo>
                    <a:pt x="0" y="206160"/>
                  </a:lnTo>
                  <a:lnTo>
                    <a:pt x="90660" y="0"/>
                  </a:lnTo>
                  <a:close/>
                  <a:moveTo>
                    <a:pt x="133860" y="118260"/>
                  </a:moveTo>
                  <a:lnTo>
                    <a:pt x="104430" y="40500"/>
                  </a:lnTo>
                  <a:lnTo>
                    <a:pt x="74460" y="118260"/>
                  </a:lnTo>
                  <a:lnTo>
                    <a:pt x="133860" y="11826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7" name="Рисунок 17">
            <a:extLst>
              <a:ext uri="{FF2B5EF4-FFF2-40B4-BE49-F238E27FC236}">
                <a16:creationId xmlns:a16="http://schemas.microsoft.com/office/drawing/2014/main" id="{E930A0DE-F659-F04B-A803-D79B30C5DC3E}"/>
              </a:ext>
            </a:extLst>
          </p:cNvPr>
          <p:cNvGrpSpPr/>
          <p:nvPr/>
        </p:nvGrpSpPr>
        <p:grpSpPr>
          <a:xfrm>
            <a:off x="11201933" y="2442261"/>
            <a:ext cx="360000" cy="360000"/>
            <a:chOff x="11281138" y="2758983"/>
            <a:chExt cx="360000" cy="360000"/>
          </a:xfrm>
        </p:grpSpPr>
        <p:sp>
          <p:nvSpPr>
            <p:cNvPr id="148" name="Полилиния 147">
              <a:extLst>
                <a:ext uri="{FF2B5EF4-FFF2-40B4-BE49-F238E27FC236}">
                  <a16:creationId xmlns:a16="http://schemas.microsoft.com/office/drawing/2014/main" id="{E3D2B26E-D0CC-DA4F-AAFC-32ACD359D719}"/>
                </a:ext>
              </a:extLst>
            </p:cNvPr>
            <p:cNvSpPr/>
            <p:nvPr/>
          </p:nvSpPr>
          <p:spPr>
            <a:xfrm>
              <a:off x="11281138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" name="Полилиния 148">
              <a:extLst>
                <a:ext uri="{FF2B5EF4-FFF2-40B4-BE49-F238E27FC236}">
                  <a16:creationId xmlns:a16="http://schemas.microsoft.com/office/drawing/2014/main" id="{A194372B-4645-7346-A380-CD69F13B6A51}"/>
                </a:ext>
              </a:extLst>
            </p:cNvPr>
            <p:cNvSpPr/>
            <p:nvPr/>
          </p:nvSpPr>
          <p:spPr>
            <a:xfrm>
              <a:off x="11341138" y="2833983"/>
              <a:ext cx="240000" cy="150000"/>
            </a:xfrm>
            <a:custGeom>
              <a:avLst/>
              <a:gdLst>
                <a:gd name="connsiteX0" fmla="*/ 15000 w 240000"/>
                <a:gd name="connsiteY0" fmla="*/ 0 h 150000"/>
                <a:gd name="connsiteX1" fmla="*/ 225000 w 240000"/>
                <a:gd name="connsiteY1" fmla="*/ 0 h 150000"/>
                <a:gd name="connsiteX2" fmla="*/ 240000 w 240000"/>
                <a:gd name="connsiteY2" fmla="*/ 15000 h 150000"/>
                <a:gd name="connsiteX3" fmla="*/ 225000 w 240000"/>
                <a:gd name="connsiteY3" fmla="*/ 30000 h 150000"/>
                <a:gd name="connsiteX4" fmla="*/ 15000 w 240000"/>
                <a:gd name="connsiteY4" fmla="*/ 30000 h 150000"/>
                <a:gd name="connsiteX5" fmla="*/ 0 w 240000"/>
                <a:gd name="connsiteY5" fmla="*/ 15000 h 150000"/>
                <a:gd name="connsiteX6" fmla="*/ 15000 w 240000"/>
                <a:gd name="connsiteY6" fmla="*/ 0 h 150000"/>
                <a:gd name="connsiteX7" fmla="*/ 15000 w 240000"/>
                <a:gd name="connsiteY7" fmla="*/ 120000 h 150000"/>
                <a:gd name="connsiteX8" fmla="*/ 225000 w 240000"/>
                <a:gd name="connsiteY8" fmla="*/ 120000 h 150000"/>
                <a:gd name="connsiteX9" fmla="*/ 240000 w 240000"/>
                <a:gd name="connsiteY9" fmla="*/ 135000 h 150000"/>
                <a:gd name="connsiteX10" fmla="*/ 225000 w 240000"/>
                <a:gd name="connsiteY10" fmla="*/ 150000 h 150000"/>
                <a:gd name="connsiteX11" fmla="*/ 15000 w 240000"/>
                <a:gd name="connsiteY11" fmla="*/ 150000 h 150000"/>
                <a:gd name="connsiteX12" fmla="*/ 0 w 240000"/>
                <a:gd name="connsiteY12" fmla="*/ 135000 h 150000"/>
                <a:gd name="connsiteX13" fmla="*/ 15000 w 240000"/>
                <a:gd name="connsiteY13" fmla="*/ 120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150000">
                  <a:moveTo>
                    <a:pt x="15000" y="0"/>
                  </a:moveTo>
                  <a:lnTo>
                    <a:pt x="225000" y="0"/>
                  </a:lnTo>
                  <a:cubicBezTo>
                    <a:pt x="233285" y="0"/>
                    <a:pt x="240000" y="6716"/>
                    <a:pt x="240000" y="15000"/>
                  </a:cubicBezTo>
                  <a:cubicBezTo>
                    <a:pt x="240000" y="23284"/>
                    <a:pt x="233285" y="30000"/>
                    <a:pt x="225000" y="30000"/>
                  </a:cubicBez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000" y="120000"/>
                  </a:moveTo>
                  <a:lnTo>
                    <a:pt x="225000" y="120000"/>
                  </a:lnTo>
                  <a:cubicBezTo>
                    <a:pt x="233285" y="120000"/>
                    <a:pt x="240000" y="126715"/>
                    <a:pt x="240000" y="135000"/>
                  </a:cubicBezTo>
                  <a:cubicBezTo>
                    <a:pt x="240000" y="143285"/>
                    <a:pt x="233285" y="150000"/>
                    <a:pt x="225000" y="150000"/>
                  </a:cubicBez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cubicBezTo>
                    <a:pt x="0" y="126715"/>
                    <a:pt x="6716" y="120000"/>
                    <a:pt x="15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" name="Полилиния 149">
              <a:extLst>
                <a:ext uri="{FF2B5EF4-FFF2-40B4-BE49-F238E27FC236}">
                  <a16:creationId xmlns:a16="http://schemas.microsoft.com/office/drawing/2014/main" id="{CF154DC3-6EB3-E04A-8779-DBFED883D7EE}"/>
                </a:ext>
              </a:extLst>
            </p:cNvPr>
            <p:cNvSpPr/>
            <p:nvPr/>
          </p:nvSpPr>
          <p:spPr>
            <a:xfrm>
              <a:off x="11386138" y="2893983"/>
              <a:ext cx="150000" cy="150000"/>
            </a:xfrm>
            <a:custGeom>
              <a:avLst/>
              <a:gdLst>
                <a:gd name="connsiteX0" fmla="*/ 15000 w 150000"/>
                <a:gd name="connsiteY0" fmla="*/ 0 h 150000"/>
                <a:gd name="connsiteX1" fmla="*/ 135000 w 150000"/>
                <a:gd name="connsiteY1" fmla="*/ 0 h 150000"/>
                <a:gd name="connsiteX2" fmla="*/ 150000 w 150000"/>
                <a:gd name="connsiteY2" fmla="*/ 15000 h 150000"/>
                <a:gd name="connsiteX3" fmla="*/ 135000 w 150000"/>
                <a:gd name="connsiteY3" fmla="*/ 30000 h 150000"/>
                <a:gd name="connsiteX4" fmla="*/ 15000 w 150000"/>
                <a:gd name="connsiteY4" fmla="*/ 30000 h 150000"/>
                <a:gd name="connsiteX5" fmla="*/ 0 w 150000"/>
                <a:gd name="connsiteY5" fmla="*/ 15000 h 150000"/>
                <a:gd name="connsiteX6" fmla="*/ 15000 w 150000"/>
                <a:gd name="connsiteY6" fmla="*/ 0 h 150000"/>
                <a:gd name="connsiteX7" fmla="*/ 15000 w 150000"/>
                <a:gd name="connsiteY7" fmla="*/ 120000 h 150000"/>
                <a:gd name="connsiteX8" fmla="*/ 135000 w 150000"/>
                <a:gd name="connsiteY8" fmla="*/ 120000 h 150000"/>
                <a:gd name="connsiteX9" fmla="*/ 150000 w 150000"/>
                <a:gd name="connsiteY9" fmla="*/ 135000 h 150000"/>
                <a:gd name="connsiteX10" fmla="*/ 135000 w 150000"/>
                <a:gd name="connsiteY10" fmla="*/ 150000 h 150000"/>
                <a:gd name="connsiteX11" fmla="*/ 15000 w 150000"/>
                <a:gd name="connsiteY11" fmla="*/ 150000 h 150000"/>
                <a:gd name="connsiteX12" fmla="*/ 0 w 150000"/>
                <a:gd name="connsiteY12" fmla="*/ 135000 h 150000"/>
                <a:gd name="connsiteX13" fmla="*/ 15000 w 150000"/>
                <a:gd name="connsiteY13" fmla="*/ 120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00" h="150000">
                  <a:moveTo>
                    <a:pt x="15000" y="0"/>
                  </a:moveTo>
                  <a:lnTo>
                    <a:pt x="135000" y="0"/>
                  </a:lnTo>
                  <a:cubicBezTo>
                    <a:pt x="143285" y="0"/>
                    <a:pt x="150000" y="6716"/>
                    <a:pt x="150000" y="15000"/>
                  </a:cubicBezTo>
                  <a:cubicBezTo>
                    <a:pt x="150000" y="23285"/>
                    <a:pt x="143285" y="30000"/>
                    <a:pt x="135000" y="30000"/>
                  </a:cubicBezTo>
                  <a:lnTo>
                    <a:pt x="15000" y="30000"/>
                  </a:lnTo>
                  <a:cubicBezTo>
                    <a:pt x="6716" y="30000"/>
                    <a:pt x="0" y="23285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000" y="120000"/>
                  </a:moveTo>
                  <a:lnTo>
                    <a:pt x="135000" y="120000"/>
                  </a:lnTo>
                  <a:cubicBezTo>
                    <a:pt x="143285" y="120000"/>
                    <a:pt x="150000" y="126716"/>
                    <a:pt x="150000" y="135000"/>
                  </a:cubicBezTo>
                  <a:cubicBezTo>
                    <a:pt x="150000" y="143285"/>
                    <a:pt x="143285" y="150000"/>
                    <a:pt x="135000" y="150000"/>
                  </a:cubicBez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cubicBezTo>
                    <a:pt x="0" y="126716"/>
                    <a:pt x="6716" y="120000"/>
                    <a:pt x="15000" y="12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1" name="Рисунок 18">
            <a:extLst>
              <a:ext uri="{FF2B5EF4-FFF2-40B4-BE49-F238E27FC236}">
                <a16:creationId xmlns:a16="http://schemas.microsoft.com/office/drawing/2014/main" id="{02D13A23-9184-2444-984B-5A77AE6E0883}"/>
              </a:ext>
            </a:extLst>
          </p:cNvPr>
          <p:cNvGrpSpPr/>
          <p:nvPr/>
        </p:nvGrpSpPr>
        <p:grpSpPr>
          <a:xfrm>
            <a:off x="10446798" y="2442261"/>
            <a:ext cx="360000" cy="360000"/>
            <a:chOff x="10526003" y="2758983"/>
            <a:chExt cx="360000" cy="360000"/>
          </a:xfrm>
        </p:grpSpPr>
        <p:sp>
          <p:nvSpPr>
            <p:cNvPr id="152" name="Полилиния 151">
              <a:extLst>
                <a:ext uri="{FF2B5EF4-FFF2-40B4-BE49-F238E27FC236}">
                  <a16:creationId xmlns:a16="http://schemas.microsoft.com/office/drawing/2014/main" id="{9A34EADD-B5AA-FA48-AACF-391BA2CC4FE3}"/>
                </a:ext>
              </a:extLst>
            </p:cNvPr>
            <p:cNvSpPr/>
            <p:nvPr/>
          </p:nvSpPr>
          <p:spPr>
            <a:xfrm>
              <a:off x="10526003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" name="Полилиния 152">
              <a:extLst>
                <a:ext uri="{FF2B5EF4-FFF2-40B4-BE49-F238E27FC236}">
                  <a16:creationId xmlns:a16="http://schemas.microsoft.com/office/drawing/2014/main" id="{7870DFBA-D7E1-5C41-A065-A52BE591322A}"/>
                </a:ext>
              </a:extLst>
            </p:cNvPr>
            <p:cNvSpPr/>
            <p:nvPr/>
          </p:nvSpPr>
          <p:spPr>
            <a:xfrm>
              <a:off x="10586003" y="2833983"/>
              <a:ext cx="240000" cy="150000"/>
            </a:xfrm>
            <a:custGeom>
              <a:avLst/>
              <a:gdLst>
                <a:gd name="connsiteX0" fmla="*/ 15000 w 240000"/>
                <a:gd name="connsiteY0" fmla="*/ 0 h 150000"/>
                <a:gd name="connsiteX1" fmla="*/ 225000 w 240000"/>
                <a:gd name="connsiteY1" fmla="*/ 0 h 150000"/>
                <a:gd name="connsiteX2" fmla="*/ 240000 w 240000"/>
                <a:gd name="connsiteY2" fmla="*/ 15000 h 150000"/>
                <a:gd name="connsiteX3" fmla="*/ 225000 w 240000"/>
                <a:gd name="connsiteY3" fmla="*/ 30000 h 150000"/>
                <a:gd name="connsiteX4" fmla="*/ 15000 w 240000"/>
                <a:gd name="connsiteY4" fmla="*/ 30000 h 150000"/>
                <a:gd name="connsiteX5" fmla="*/ 0 w 240000"/>
                <a:gd name="connsiteY5" fmla="*/ 15000 h 150000"/>
                <a:gd name="connsiteX6" fmla="*/ 15000 w 240000"/>
                <a:gd name="connsiteY6" fmla="*/ 0 h 150000"/>
                <a:gd name="connsiteX7" fmla="*/ 15000 w 240000"/>
                <a:gd name="connsiteY7" fmla="*/ 120000 h 150000"/>
                <a:gd name="connsiteX8" fmla="*/ 225000 w 240000"/>
                <a:gd name="connsiteY8" fmla="*/ 120000 h 150000"/>
                <a:gd name="connsiteX9" fmla="*/ 240000 w 240000"/>
                <a:gd name="connsiteY9" fmla="*/ 135000 h 150000"/>
                <a:gd name="connsiteX10" fmla="*/ 225000 w 240000"/>
                <a:gd name="connsiteY10" fmla="*/ 150000 h 150000"/>
                <a:gd name="connsiteX11" fmla="*/ 15000 w 240000"/>
                <a:gd name="connsiteY11" fmla="*/ 150000 h 150000"/>
                <a:gd name="connsiteX12" fmla="*/ 0 w 240000"/>
                <a:gd name="connsiteY12" fmla="*/ 135000 h 150000"/>
                <a:gd name="connsiteX13" fmla="*/ 15000 w 240000"/>
                <a:gd name="connsiteY13" fmla="*/ 120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150000">
                  <a:moveTo>
                    <a:pt x="15000" y="0"/>
                  </a:moveTo>
                  <a:lnTo>
                    <a:pt x="225000" y="0"/>
                  </a:lnTo>
                  <a:cubicBezTo>
                    <a:pt x="233285" y="0"/>
                    <a:pt x="240000" y="6716"/>
                    <a:pt x="240000" y="15000"/>
                  </a:cubicBezTo>
                  <a:cubicBezTo>
                    <a:pt x="240000" y="23284"/>
                    <a:pt x="233285" y="30000"/>
                    <a:pt x="225000" y="30000"/>
                  </a:cubicBez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000" y="120000"/>
                  </a:moveTo>
                  <a:lnTo>
                    <a:pt x="225000" y="120000"/>
                  </a:lnTo>
                  <a:cubicBezTo>
                    <a:pt x="233285" y="120000"/>
                    <a:pt x="240000" y="126715"/>
                    <a:pt x="240000" y="135000"/>
                  </a:cubicBezTo>
                  <a:cubicBezTo>
                    <a:pt x="240000" y="143285"/>
                    <a:pt x="233285" y="150000"/>
                    <a:pt x="225000" y="150000"/>
                  </a:cubicBez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cubicBezTo>
                    <a:pt x="0" y="126715"/>
                    <a:pt x="6716" y="120000"/>
                    <a:pt x="15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" name="Полилиния 153">
              <a:extLst>
                <a:ext uri="{FF2B5EF4-FFF2-40B4-BE49-F238E27FC236}">
                  <a16:creationId xmlns:a16="http://schemas.microsoft.com/office/drawing/2014/main" id="{AB35E4F8-8CCC-934D-8D25-9A606720CE6D}"/>
                </a:ext>
              </a:extLst>
            </p:cNvPr>
            <p:cNvSpPr/>
            <p:nvPr/>
          </p:nvSpPr>
          <p:spPr>
            <a:xfrm>
              <a:off x="10586003" y="2893983"/>
              <a:ext cx="240000" cy="150000"/>
            </a:xfrm>
            <a:custGeom>
              <a:avLst/>
              <a:gdLst>
                <a:gd name="connsiteX0" fmla="*/ 15000 w 240000"/>
                <a:gd name="connsiteY0" fmla="*/ 0 h 150000"/>
                <a:gd name="connsiteX1" fmla="*/ 225000 w 240000"/>
                <a:gd name="connsiteY1" fmla="*/ 0 h 150000"/>
                <a:gd name="connsiteX2" fmla="*/ 240000 w 240000"/>
                <a:gd name="connsiteY2" fmla="*/ 15000 h 150000"/>
                <a:gd name="connsiteX3" fmla="*/ 225000 w 240000"/>
                <a:gd name="connsiteY3" fmla="*/ 30000 h 150000"/>
                <a:gd name="connsiteX4" fmla="*/ 15000 w 240000"/>
                <a:gd name="connsiteY4" fmla="*/ 30000 h 150000"/>
                <a:gd name="connsiteX5" fmla="*/ 0 w 240000"/>
                <a:gd name="connsiteY5" fmla="*/ 15000 h 150000"/>
                <a:gd name="connsiteX6" fmla="*/ 15000 w 240000"/>
                <a:gd name="connsiteY6" fmla="*/ 0 h 150000"/>
                <a:gd name="connsiteX7" fmla="*/ 15000 w 240000"/>
                <a:gd name="connsiteY7" fmla="*/ 120000 h 150000"/>
                <a:gd name="connsiteX8" fmla="*/ 225000 w 240000"/>
                <a:gd name="connsiteY8" fmla="*/ 120000 h 150000"/>
                <a:gd name="connsiteX9" fmla="*/ 240000 w 240000"/>
                <a:gd name="connsiteY9" fmla="*/ 135000 h 150000"/>
                <a:gd name="connsiteX10" fmla="*/ 225000 w 240000"/>
                <a:gd name="connsiteY10" fmla="*/ 150000 h 150000"/>
                <a:gd name="connsiteX11" fmla="*/ 15000 w 240000"/>
                <a:gd name="connsiteY11" fmla="*/ 150000 h 150000"/>
                <a:gd name="connsiteX12" fmla="*/ 0 w 240000"/>
                <a:gd name="connsiteY12" fmla="*/ 135000 h 150000"/>
                <a:gd name="connsiteX13" fmla="*/ 15000 w 240000"/>
                <a:gd name="connsiteY13" fmla="*/ 120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150000">
                  <a:moveTo>
                    <a:pt x="15000" y="0"/>
                  </a:moveTo>
                  <a:lnTo>
                    <a:pt x="225000" y="0"/>
                  </a:lnTo>
                  <a:cubicBezTo>
                    <a:pt x="233285" y="0"/>
                    <a:pt x="240000" y="6716"/>
                    <a:pt x="240000" y="15000"/>
                  </a:cubicBezTo>
                  <a:cubicBezTo>
                    <a:pt x="240000" y="23285"/>
                    <a:pt x="233285" y="30000"/>
                    <a:pt x="225000" y="30000"/>
                  </a:cubicBezTo>
                  <a:lnTo>
                    <a:pt x="15000" y="30000"/>
                  </a:lnTo>
                  <a:cubicBezTo>
                    <a:pt x="6716" y="30000"/>
                    <a:pt x="0" y="23285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000" y="120000"/>
                  </a:moveTo>
                  <a:lnTo>
                    <a:pt x="225000" y="120000"/>
                  </a:lnTo>
                  <a:cubicBezTo>
                    <a:pt x="233285" y="120000"/>
                    <a:pt x="240000" y="126716"/>
                    <a:pt x="240000" y="135000"/>
                  </a:cubicBezTo>
                  <a:cubicBezTo>
                    <a:pt x="240000" y="143285"/>
                    <a:pt x="233285" y="150000"/>
                    <a:pt x="225000" y="150000"/>
                  </a:cubicBez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cubicBezTo>
                    <a:pt x="0" y="126716"/>
                    <a:pt x="6716" y="120000"/>
                    <a:pt x="15000" y="12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5" name="Рисунок 19">
            <a:extLst>
              <a:ext uri="{FF2B5EF4-FFF2-40B4-BE49-F238E27FC236}">
                <a16:creationId xmlns:a16="http://schemas.microsoft.com/office/drawing/2014/main" id="{953346C0-B474-2D41-A39A-E3CC2B4D8546}"/>
              </a:ext>
            </a:extLst>
          </p:cNvPr>
          <p:cNvGrpSpPr/>
          <p:nvPr/>
        </p:nvGrpSpPr>
        <p:grpSpPr>
          <a:xfrm>
            <a:off x="9691665" y="2442261"/>
            <a:ext cx="360000" cy="360000"/>
            <a:chOff x="9770870" y="2758983"/>
            <a:chExt cx="360000" cy="360000"/>
          </a:xfrm>
        </p:grpSpPr>
        <p:sp>
          <p:nvSpPr>
            <p:cNvPr id="156" name="Полилиния 155">
              <a:extLst>
                <a:ext uri="{FF2B5EF4-FFF2-40B4-BE49-F238E27FC236}">
                  <a16:creationId xmlns:a16="http://schemas.microsoft.com/office/drawing/2014/main" id="{452CBEFB-B613-CF47-B337-55072E17793E}"/>
                </a:ext>
              </a:extLst>
            </p:cNvPr>
            <p:cNvSpPr/>
            <p:nvPr/>
          </p:nvSpPr>
          <p:spPr>
            <a:xfrm>
              <a:off x="9770870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7" name="Скругленный прямоугольник 156">
              <a:extLst>
                <a:ext uri="{FF2B5EF4-FFF2-40B4-BE49-F238E27FC236}">
                  <a16:creationId xmlns:a16="http://schemas.microsoft.com/office/drawing/2014/main" id="{50C7115F-03EA-0C43-B96B-BE6920C1C2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30870" y="2834852"/>
              <a:ext cx="230400" cy="28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" name="Скругленный прямоугольник 157">
              <a:extLst>
                <a:ext uri="{FF2B5EF4-FFF2-40B4-BE49-F238E27FC236}">
                  <a16:creationId xmlns:a16="http://schemas.microsoft.com/office/drawing/2014/main" id="{5EE2761A-1F81-9F49-8ED0-33D942E1E4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30870" y="2954852"/>
              <a:ext cx="230400" cy="28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" name="Полилиния 158">
              <a:extLst>
                <a:ext uri="{FF2B5EF4-FFF2-40B4-BE49-F238E27FC236}">
                  <a16:creationId xmlns:a16="http://schemas.microsoft.com/office/drawing/2014/main" id="{AA1D736C-7209-5546-8A2B-CED34C9EA0DC}"/>
                </a:ext>
              </a:extLst>
            </p:cNvPr>
            <p:cNvSpPr/>
            <p:nvPr/>
          </p:nvSpPr>
          <p:spPr>
            <a:xfrm>
              <a:off x="9830870" y="2893983"/>
              <a:ext cx="150000" cy="150000"/>
            </a:xfrm>
            <a:custGeom>
              <a:avLst/>
              <a:gdLst>
                <a:gd name="connsiteX0" fmla="*/ 15000 w 150000"/>
                <a:gd name="connsiteY0" fmla="*/ 0 h 150000"/>
                <a:gd name="connsiteX1" fmla="*/ 135000 w 150000"/>
                <a:gd name="connsiteY1" fmla="*/ 0 h 150000"/>
                <a:gd name="connsiteX2" fmla="*/ 150000 w 150000"/>
                <a:gd name="connsiteY2" fmla="*/ 15000 h 150000"/>
                <a:gd name="connsiteX3" fmla="*/ 135000 w 150000"/>
                <a:gd name="connsiteY3" fmla="*/ 30000 h 150000"/>
                <a:gd name="connsiteX4" fmla="*/ 15000 w 150000"/>
                <a:gd name="connsiteY4" fmla="*/ 30000 h 150000"/>
                <a:gd name="connsiteX5" fmla="*/ 0 w 150000"/>
                <a:gd name="connsiteY5" fmla="*/ 15000 h 150000"/>
                <a:gd name="connsiteX6" fmla="*/ 15000 w 150000"/>
                <a:gd name="connsiteY6" fmla="*/ 0 h 150000"/>
                <a:gd name="connsiteX7" fmla="*/ 15000 w 150000"/>
                <a:gd name="connsiteY7" fmla="*/ 120000 h 150000"/>
                <a:gd name="connsiteX8" fmla="*/ 135000 w 150000"/>
                <a:gd name="connsiteY8" fmla="*/ 120000 h 150000"/>
                <a:gd name="connsiteX9" fmla="*/ 150000 w 150000"/>
                <a:gd name="connsiteY9" fmla="*/ 135000 h 150000"/>
                <a:gd name="connsiteX10" fmla="*/ 135000 w 150000"/>
                <a:gd name="connsiteY10" fmla="*/ 150000 h 150000"/>
                <a:gd name="connsiteX11" fmla="*/ 15000 w 150000"/>
                <a:gd name="connsiteY11" fmla="*/ 150000 h 150000"/>
                <a:gd name="connsiteX12" fmla="*/ 0 w 150000"/>
                <a:gd name="connsiteY12" fmla="*/ 135000 h 150000"/>
                <a:gd name="connsiteX13" fmla="*/ 15000 w 150000"/>
                <a:gd name="connsiteY13" fmla="*/ 120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00" h="150000">
                  <a:moveTo>
                    <a:pt x="15000" y="0"/>
                  </a:moveTo>
                  <a:lnTo>
                    <a:pt x="135000" y="0"/>
                  </a:lnTo>
                  <a:cubicBezTo>
                    <a:pt x="143285" y="0"/>
                    <a:pt x="150000" y="6716"/>
                    <a:pt x="150000" y="15000"/>
                  </a:cubicBezTo>
                  <a:cubicBezTo>
                    <a:pt x="150000" y="23285"/>
                    <a:pt x="143285" y="30000"/>
                    <a:pt x="135000" y="30000"/>
                  </a:cubicBezTo>
                  <a:lnTo>
                    <a:pt x="15000" y="30000"/>
                  </a:lnTo>
                  <a:cubicBezTo>
                    <a:pt x="6716" y="30000"/>
                    <a:pt x="0" y="23285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000" y="120000"/>
                  </a:moveTo>
                  <a:lnTo>
                    <a:pt x="135000" y="120000"/>
                  </a:lnTo>
                  <a:cubicBezTo>
                    <a:pt x="143285" y="120000"/>
                    <a:pt x="150000" y="126716"/>
                    <a:pt x="150000" y="135000"/>
                  </a:cubicBezTo>
                  <a:cubicBezTo>
                    <a:pt x="150000" y="143285"/>
                    <a:pt x="143285" y="150000"/>
                    <a:pt x="135000" y="150000"/>
                  </a:cubicBez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cubicBezTo>
                    <a:pt x="0" y="126716"/>
                    <a:pt x="6716" y="120000"/>
                    <a:pt x="15000" y="12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0" name="Рисунок 20">
            <a:extLst>
              <a:ext uri="{FF2B5EF4-FFF2-40B4-BE49-F238E27FC236}">
                <a16:creationId xmlns:a16="http://schemas.microsoft.com/office/drawing/2014/main" id="{E345C23C-045F-1942-95D8-EB6F582D7588}"/>
              </a:ext>
            </a:extLst>
          </p:cNvPr>
          <p:cNvGrpSpPr/>
          <p:nvPr/>
        </p:nvGrpSpPr>
        <p:grpSpPr>
          <a:xfrm>
            <a:off x="8181399" y="2442261"/>
            <a:ext cx="360000" cy="360000"/>
            <a:chOff x="8260604" y="2758983"/>
            <a:chExt cx="360000" cy="360000"/>
          </a:xfrm>
        </p:grpSpPr>
        <p:sp>
          <p:nvSpPr>
            <p:cNvPr id="161" name="Полилиния 160">
              <a:extLst>
                <a:ext uri="{FF2B5EF4-FFF2-40B4-BE49-F238E27FC236}">
                  <a16:creationId xmlns:a16="http://schemas.microsoft.com/office/drawing/2014/main" id="{96C2C06F-5BB3-C746-9B6B-9BC9AF18F2B2}"/>
                </a:ext>
              </a:extLst>
            </p:cNvPr>
            <p:cNvSpPr/>
            <p:nvPr/>
          </p:nvSpPr>
          <p:spPr>
            <a:xfrm>
              <a:off x="8260604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2" name="Полилиния 161">
              <a:extLst>
                <a:ext uri="{FF2B5EF4-FFF2-40B4-BE49-F238E27FC236}">
                  <a16:creationId xmlns:a16="http://schemas.microsoft.com/office/drawing/2014/main" id="{6BD760DB-4CA8-B14A-87E8-4743706B1C49}"/>
                </a:ext>
              </a:extLst>
            </p:cNvPr>
            <p:cNvSpPr/>
            <p:nvPr/>
          </p:nvSpPr>
          <p:spPr>
            <a:xfrm>
              <a:off x="8320604" y="2833983"/>
              <a:ext cx="240000" cy="150000"/>
            </a:xfrm>
            <a:custGeom>
              <a:avLst/>
              <a:gdLst>
                <a:gd name="connsiteX0" fmla="*/ 15000 w 240000"/>
                <a:gd name="connsiteY0" fmla="*/ 0 h 150000"/>
                <a:gd name="connsiteX1" fmla="*/ 225000 w 240000"/>
                <a:gd name="connsiteY1" fmla="*/ 0 h 150000"/>
                <a:gd name="connsiteX2" fmla="*/ 240000 w 240000"/>
                <a:gd name="connsiteY2" fmla="*/ 15000 h 150000"/>
                <a:gd name="connsiteX3" fmla="*/ 225000 w 240000"/>
                <a:gd name="connsiteY3" fmla="*/ 30000 h 150000"/>
                <a:gd name="connsiteX4" fmla="*/ 15000 w 240000"/>
                <a:gd name="connsiteY4" fmla="*/ 30000 h 150000"/>
                <a:gd name="connsiteX5" fmla="*/ 0 w 240000"/>
                <a:gd name="connsiteY5" fmla="*/ 15000 h 150000"/>
                <a:gd name="connsiteX6" fmla="*/ 15000 w 240000"/>
                <a:gd name="connsiteY6" fmla="*/ 0 h 150000"/>
                <a:gd name="connsiteX7" fmla="*/ 15000 w 240000"/>
                <a:gd name="connsiteY7" fmla="*/ 120000 h 150000"/>
                <a:gd name="connsiteX8" fmla="*/ 225000 w 240000"/>
                <a:gd name="connsiteY8" fmla="*/ 120000 h 150000"/>
                <a:gd name="connsiteX9" fmla="*/ 240000 w 240000"/>
                <a:gd name="connsiteY9" fmla="*/ 135000 h 150000"/>
                <a:gd name="connsiteX10" fmla="*/ 225000 w 240000"/>
                <a:gd name="connsiteY10" fmla="*/ 150000 h 150000"/>
                <a:gd name="connsiteX11" fmla="*/ 15000 w 240000"/>
                <a:gd name="connsiteY11" fmla="*/ 150000 h 150000"/>
                <a:gd name="connsiteX12" fmla="*/ 0 w 240000"/>
                <a:gd name="connsiteY12" fmla="*/ 135000 h 150000"/>
                <a:gd name="connsiteX13" fmla="*/ 15000 w 240000"/>
                <a:gd name="connsiteY13" fmla="*/ 120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150000">
                  <a:moveTo>
                    <a:pt x="15000" y="0"/>
                  </a:moveTo>
                  <a:lnTo>
                    <a:pt x="225000" y="0"/>
                  </a:lnTo>
                  <a:cubicBezTo>
                    <a:pt x="233285" y="0"/>
                    <a:pt x="240000" y="6716"/>
                    <a:pt x="240000" y="15000"/>
                  </a:cubicBezTo>
                  <a:cubicBezTo>
                    <a:pt x="240000" y="23284"/>
                    <a:pt x="233285" y="30000"/>
                    <a:pt x="225000" y="30000"/>
                  </a:cubicBez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000" y="120000"/>
                  </a:moveTo>
                  <a:lnTo>
                    <a:pt x="225000" y="120000"/>
                  </a:lnTo>
                  <a:cubicBezTo>
                    <a:pt x="233285" y="120000"/>
                    <a:pt x="240000" y="126715"/>
                    <a:pt x="240000" y="135000"/>
                  </a:cubicBezTo>
                  <a:cubicBezTo>
                    <a:pt x="240000" y="143285"/>
                    <a:pt x="233285" y="150000"/>
                    <a:pt x="225000" y="150000"/>
                  </a:cubicBez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cubicBezTo>
                    <a:pt x="0" y="126715"/>
                    <a:pt x="6716" y="120000"/>
                    <a:pt x="15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" name="Полилиния 162">
              <a:extLst>
                <a:ext uri="{FF2B5EF4-FFF2-40B4-BE49-F238E27FC236}">
                  <a16:creationId xmlns:a16="http://schemas.microsoft.com/office/drawing/2014/main" id="{4AB85597-5578-CC40-8F30-41428836CF75}"/>
                </a:ext>
              </a:extLst>
            </p:cNvPr>
            <p:cNvSpPr/>
            <p:nvPr/>
          </p:nvSpPr>
          <p:spPr>
            <a:xfrm>
              <a:off x="8410604" y="2893983"/>
              <a:ext cx="150000" cy="150000"/>
            </a:xfrm>
            <a:custGeom>
              <a:avLst/>
              <a:gdLst>
                <a:gd name="connsiteX0" fmla="*/ 15000 w 150000"/>
                <a:gd name="connsiteY0" fmla="*/ 0 h 150000"/>
                <a:gd name="connsiteX1" fmla="*/ 135000 w 150000"/>
                <a:gd name="connsiteY1" fmla="*/ 0 h 150000"/>
                <a:gd name="connsiteX2" fmla="*/ 150000 w 150000"/>
                <a:gd name="connsiteY2" fmla="*/ 15000 h 150000"/>
                <a:gd name="connsiteX3" fmla="*/ 135000 w 150000"/>
                <a:gd name="connsiteY3" fmla="*/ 30000 h 150000"/>
                <a:gd name="connsiteX4" fmla="*/ 15000 w 150000"/>
                <a:gd name="connsiteY4" fmla="*/ 30000 h 150000"/>
                <a:gd name="connsiteX5" fmla="*/ 0 w 150000"/>
                <a:gd name="connsiteY5" fmla="*/ 15000 h 150000"/>
                <a:gd name="connsiteX6" fmla="*/ 15000 w 150000"/>
                <a:gd name="connsiteY6" fmla="*/ 0 h 150000"/>
                <a:gd name="connsiteX7" fmla="*/ 15000 w 150000"/>
                <a:gd name="connsiteY7" fmla="*/ 120000 h 150000"/>
                <a:gd name="connsiteX8" fmla="*/ 135000 w 150000"/>
                <a:gd name="connsiteY8" fmla="*/ 120000 h 150000"/>
                <a:gd name="connsiteX9" fmla="*/ 150000 w 150000"/>
                <a:gd name="connsiteY9" fmla="*/ 135000 h 150000"/>
                <a:gd name="connsiteX10" fmla="*/ 135000 w 150000"/>
                <a:gd name="connsiteY10" fmla="*/ 150000 h 150000"/>
                <a:gd name="connsiteX11" fmla="*/ 15000 w 150000"/>
                <a:gd name="connsiteY11" fmla="*/ 150000 h 150000"/>
                <a:gd name="connsiteX12" fmla="*/ 0 w 150000"/>
                <a:gd name="connsiteY12" fmla="*/ 135000 h 150000"/>
                <a:gd name="connsiteX13" fmla="*/ 15000 w 150000"/>
                <a:gd name="connsiteY13" fmla="*/ 120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00" h="150000">
                  <a:moveTo>
                    <a:pt x="15000" y="0"/>
                  </a:moveTo>
                  <a:lnTo>
                    <a:pt x="135000" y="0"/>
                  </a:lnTo>
                  <a:cubicBezTo>
                    <a:pt x="143285" y="0"/>
                    <a:pt x="150000" y="6716"/>
                    <a:pt x="150000" y="15000"/>
                  </a:cubicBezTo>
                  <a:cubicBezTo>
                    <a:pt x="150000" y="23285"/>
                    <a:pt x="143285" y="30000"/>
                    <a:pt x="135000" y="30000"/>
                  </a:cubicBezTo>
                  <a:lnTo>
                    <a:pt x="15000" y="30000"/>
                  </a:lnTo>
                  <a:cubicBezTo>
                    <a:pt x="6715" y="30000"/>
                    <a:pt x="0" y="23285"/>
                    <a:pt x="0" y="15000"/>
                  </a:cubicBezTo>
                  <a:cubicBezTo>
                    <a:pt x="0" y="6716"/>
                    <a:pt x="6715" y="0"/>
                    <a:pt x="15000" y="0"/>
                  </a:cubicBezTo>
                  <a:close/>
                  <a:moveTo>
                    <a:pt x="15000" y="120000"/>
                  </a:moveTo>
                  <a:lnTo>
                    <a:pt x="135000" y="120000"/>
                  </a:lnTo>
                  <a:cubicBezTo>
                    <a:pt x="143285" y="120000"/>
                    <a:pt x="150000" y="126716"/>
                    <a:pt x="150000" y="135000"/>
                  </a:cubicBezTo>
                  <a:cubicBezTo>
                    <a:pt x="150000" y="143285"/>
                    <a:pt x="143285" y="150000"/>
                    <a:pt x="135000" y="150000"/>
                  </a:cubicBezTo>
                  <a:lnTo>
                    <a:pt x="15000" y="150000"/>
                  </a:lnTo>
                  <a:cubicBezTo>
                    <a:pt x="6715" y="150000"/>
                    <a:pt x="0" y="143285"/>
                    <a:pt x="0" y="135000"/>
                  </a:cubicBezTo>
                  <a:cubicBezTo>
                    <a:pt x="0" y="126716"/>
                    <a:pt x="6715" y="120000"/>
                    <a:pt x="15000" y="12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4" name="Рисунок 21">
            <a:extLst>
              <a:ext uri="{FF2B5EF4-FFF2-40B4-BE49-F238E27FC236}">
                <a16:creationId xmlns:a16="http://schemas.microsoft.com/office/drawing/2014/main" id="{E1431224-0594-9346-B20D-CDF8362E7F5E}"/>
              </a:ext>
            </a:extLst>
          </p:cNvPr>
          <p:cNvGrpSpPr/>
          <p:nvPr/>
        </p:nvGrpSpPr>
        <p:grpSpPr>
          <a:xfrm>
            <a:off x="8936532" y="2442261"/>
            <a:ext cx="360000" cy="360000"/>
            <a:chOff x="9015737" y="2758983"/>
            <a:chExt cx="360000" cy="360000"/>
          </a:xfrm>
        </p:grpSpPr>
        <p:sp>
          <p:nvSpPr>
            <p:cNvPr id="165" name="Полилиния 164">
              <a:extLst>
                <a:ext uri="{FF2B5EF4-FFF2-40B4-BE49-F238E27FC236}">
                  <a16:creationId xmlns:a16="http://schemas.microsoft.com/office/drawing/2014/main" id="{19BB3242-EBFC-724E-A82E-09A2FB783225}"/>
                </a:ext>
              </a:extLst>
            </p:cNvPr>
            <p:cNvSpPr/>
            <p:nvPr/>
          </p:nvSpPr>
          <p:spPr>
            <a:xfrm>
              <a:off x="9015737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" name="Скругленный прямоугольник 165">
              <a:extLst>
                <a:ext uri="{FF2B5EF4-FFF2-40B4-BE49-F238E27FC236}">
                  <a16:creationId xmlns:a16="http://schemas.microsoft.com/office/drawing/2014/main" id="{153C5D59-DF46-B545-91CA-A80EBB5F6C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5738" y="2844504"/>
              <a:ext cx="115199" cy="288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" name="Полилиния 166">
              <a:extLst>
                <a:ext uri="{FF2B5EF4-FFF2-40B4-BE49-F238E27FC236}">
                  <a16:creationId xmlns:a16="http://schemas.microsoft.com/office/drawing/2014/main" id="{C4F02744-9661-BD47-BEB4-AD44E81ADCA5}"/>
                </a:ext>
              </a:extLst>
            </p:cNvPr>
            <p:cNvSpPr/>
            <p:nvPr/>
          </p:nvSpPr>
          <p:spPr>
            <a:xfrm>
              <a:off x="9150737" y="2908983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8" name="Рисунок 22">
            <a:extLst>
              <a:ext uri="{FF2B5EF4-FFF2-40B4-BE49-F238E27FC236}">
                <a16:creationId xmlns:a16="http://schemas.microsoft.com/office/drawing/2014/main" id="{1057965D-56AC-FA42-9640-3825585FDF68}"/>
              </a:ext>
            </a:extLst>
          </p:cNvPr>
          <p:cNvGrpSpPr/>
          <p:nvPr/>
        </p:nvGrpSpPr>
        <p:grpSpPr>
          <a:xfrm>
            <a:off x="7426266" y="2442261"/>
            <a:ext cx="360000" cy="360000"/>
            <a:chOff x="7505471" y="2758983"/>
            <a:chExt cx="360000" cy="360000"/>
          </a:xfrm>
        </p:grpSpPr>
        <p:sp>
          <p:nvSpPr>
            <p:cNvPr id="169" name="Полилиния 168">
              <a:extLst>
                <a:ext uri="{FF2B5EF4-FFF2-40B4-BE49-F238E27FC236}">
                  <a16:creationId xmlns:a16="http://schemas.microsoft.com/office/drawing/2014/main" id="{85A83343-B1E2-1E42-AF5D-DCBEBDA6813E}"/>
                </a:ext>
              </a:extLst>
            </p:cNvPr>
            <p:cNvSpPr/>
            <p:nvPr/>
          </p:nvSpPr>
          <p:spPr>
            <a:xfrm>
              <a:off x="7505471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0" name="Полилиния 169">
              <a:extLst>
                <a:ext uri="{FF2B5EF4-FFF2-40B4-BE49-F238E27FC236}">
                  <a16:creationId xmlns:a16="http://schemas.microsoft.com/office/drawing/2014/main" id="{554A82D5-5235-DD4C-B6D2-96565AE448B4}"/>
                </a:ext>
              </a:extLst>
            </p:cNvPr>
            <p:cNvSpPr/>
            <p:nvPr/>
          </p:nvSpPr>
          <p:spPr>
            <a:xfrm>
              <a:off x="7640471" y="2998983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71" name="Рисунок 22">
              <a:extLst>
                <a:ext uri="{FF2B5EF4-FFF2-40B4-BE49-F238E27FC236}">
                  <a16:creationId xmlns:a16="http://schemas.microsoft.com/office/drawing/2014/main" id="{645ED257-5956-AA4F-A299-51EA30BA2285}"/>
                </a:ext>
              </a:extLst>
            </p:cNvPr>
            <p:cNvGrpSpPr/>
            <p:nvPr/>
          </p:nvGrpSpPr>
          <p:grpSpPr>
            <a:xfrm>
              <a:off x="7565471" y="2788983"/>
              <a:ext cx="240000" cy="240000"/>
              <a:chOff x="7565471" y="2788983"/>
              <a:chExt cx="240000" cy="240000"/>
            </a:xfrm>
          </p:grpSpPr>
          <p:sp>
            <p:nvSpPr>
              <p:cNvPr id="172" name="Полилиния 171">
                <a:extLst>
                  <a:ext uri="{FF2B5EF4-FFF2-40B4-BE49-F238E27FC236}">
                    <a16:creationId xmlns:a16="http://schemas.microsoft.com/office/drawing/2014/main" id="{52A3C83F-2609-5342-AF5F-D9CF705C4A46}"/>
                  </a:ext>
                </a:extLst>
              </p:cNvPr>
              <p:cNvSpPr/>
              <p:nvPr/>
            </p:nvSpPr>
            <p:spPr>
              <a:xfrm>
                <a:off x="7565471" y="2788983"/>
                <a:ext cx="240000" cy="240000"/>
              </a:xfrm>
              <a:custGeom>
                <a:avLst/>
                <a:gdLst>
                  <a:gd name="connsiteX0" fmla="*/ 4 w 240000"/>
                  <a:gd name="connsiteY0" fmla="*/ 2 h 240000"/>
                  <a:gd name="connsiteX1" fmla="*/ 240004 w 240000"/>
                  <a:gd name="connsiteY1" fmla="*/ 2 h 240000"/>
                  <a:gd name="connsiteX2" fmla="*/ 240004 w 240000"/>
                  <a:gd name="connsiteY2" fmla="*/ 240002 h 240000"/>
                  <a:gd name="connsiteX3" fmla="*/ 4 w 240000"/>
                  <a:gd name="connsiteY3" fmla="*/ 240002 h 24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000" h="240000">
                    <a:moveTo>
                      <a:pt x="4" y="2"/>
                    </a:moveTo>
                    <a:lnTo>
                      <a:pt x="240004" y="2"/>
                    </a:lnTo>
                    <a:lnTo>
                      <a:pt x="240004" y="240002"/>
                    </a:lnTo>
                    <a:lnTo>
                      <a:pt x="4" y="240002"/>
                    </a:lnTo>
                    <a:close/>
                  </a:path>
                </a:pathLst>
              </a:custGeom>
              <a:noFill/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" name="Полилиния 172">
                <a:extLst>
                  <a:ext uri="{FF2B5EF4-FFF2-40B4-BE49-F238E27FC236}">
                    <a16:creationId xmlns:a16="http://schemas.microsoft.com/office/drawing/2014/main" id="{1972CE40-16F6-D146-A1E1-A51F69BC5785}"/>
                  </a:ext>
                </a:extLst>
              </p:cNvPr>
              <p:cNvSpPr/>
              <p:nvPr/>
            </p:nvSpPr>
            <p:spPr>
              <a:xfrm>
                <a:off x="7625471" y="2833983"/>
                <a:ext cx="120000" cy="150000"/>
              </a:xfrm>
              <a:custGeom>
                <a:avLst/>
                <a:gdLst>
                  <a:gd name="connsiteX0" fmla="*/ 75004 w 120000"/>
                  <a:gd name="connsiteY0" fmla="*/ 30002 h 150000"/>
                  <a:gd name="connsiteX1" fmla="*/ 75004 w 120000"/>
                  <a:gd name="connsiteY1" fmla="*/ 135002 h 150000"/>
                  <a:gd name="connsiteX2" fmla="*/ 60004 w 120000"/>
                  <a:gd name="connsiteY2" fmla="*/ 150002 h 150000"/>
                  <a:gd name="connsiteX3" fmla="*/ 60004 w 120000"/>
                  <a:gd name="connsiteY3" fmla="*/ 150002 h 150000"/>
                  <a:gd name="connsiteX4" fmla="*/ 45004 w 120000"/>
                  <a:gd name="connsiteY4" fmla="*/ 135002 h 150000"/>
                  <a:gd name="connsiteX5" fmla="*/ 45004 w 120000"/>
                  <a:gd name="connsiteY5" fmla="*/ 30002 h 150000"/>
                  <a:gd name="connsiteX6" fmla="*/ 15004 w 120000"/>
                  <a:gd name="connsiteY6" fmla="*/ 30002 h 150000"/>
                  <a:gd name="connsiteX7" fmla="*/ 4 w 120000"/>
                  <a:gd name="connsiteY7" fmla="*/ 15002 h 150000"/>
                  <a:gd name="connsiteX8" fmla="*/ 4 w 120000"/>
                  <a:gd name="connsiteY8" fmla="*/ 15002 h 150000"/>
                  <a:gd name="connsiteX9" fmla="*/ 15004 w 120000"/>
                  <a:gd name="connsiteY9" fmla="*/ 2 h 150000"/>
                  <a:gd name="connsiteX10" fmla="*/ 105004 w 120000"/>
                  <a:gd name="connsiteY10" fmla="*/ 2 h 150000"/>
                  <a:gd name="connsiteX11" fmla="*/ 120004 w 120000"/>
                  <a:gd name="connsiteY11" fmla="*/ 15002 h 150000"/>
                  <a:gd name="connsiteX12" fmla="*/ 120004 w 120000"/>
                  <a:gd name="connsiteY12" fmla="*/ 15002 h 150000"/>
                  <a:gd name="connsiteX13" fmla="*/ 105004 w 120000"/>
                  <a:gd name="connsiteY13" fmla="*/ 30002 h 150000"/>
                  <a:gd name="connsiteX14" fmla="*/ 75004 w 120000"/>
                  <a:gd name="connsiteY14" fmla="*/ 30002 h 1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000" h="150000">
                    <a:moveTo>
                      <a:pt x="75004" y="30002"/>
                    </a:moveTo>
                    <a:lnTo>
                      <a:pt x="75004" y="135002"/>
                    </a:lnTo>
                    <a:cubicBezTo>
                      <a:pt x="75004" y="143287"/>
                      <a:pt x="68288" y="150002"/>
                      <a:pt x="60004" y="150002"/>
                    </a:cubicBezTo>
                    <a:lnTo>
                      <a:pt x="60004" y="150002"/>
                    </a:lnTo>
                    <a:cubicBezTo>
                      <a:pt x="51720" y="150002"/>
                      <a:pt x="45004" y="143287"/>
                      <a:pt x="45004" y="135002"/>
                    </a:cubicBezTo>
                    <a:lnTo>
                      <a:pt x="45004" y="30002"/>
                    </a:lnTo>
                    <a:lnTo>
                      <a:pt x="15004" y="30002"/>
                    </a:lnTo>
                    <a:cubicBezTo>
                      <a:pt x="6720" y="30002"/>
                      <a:pt x="4" y="23286"/>
                      <a:pt x="4" y="15002"/>
                    </a:cubicBezTo>
                    <a:lnTo>
                      <a:pt x="4" y="15002"/>
                    </a:lnTo>
                    <a:cubicBezTo>
                      <a:pt x="4" y="6718"/>
                      <a:pt x="6720" y="2"/>
                      <a:pt x="15004" y="2"/>
                    </a:cubicBezTo>
                    <a:lnTo>
                      <a:pt x="105004" y="2"/>
                    </a:lnTo>
                    <a:cubicBezTo>
                      <a:pt x="113289" y="2"/>
                      <a:pt x="120004" y="6718"/>
                      <a:pt x="120004" y="15002"/>
                    </a:cubicBezTo>
                    <a:lnTo>
                      <a:pt x="120004" y="15002"/>
                    </a:lnTo>
                    <a:cubicBezTo>
                      <a:pt x="120004" y="23286"/>
                      <a:pt x="113289" y="30002"/>
                      <a:pt x="105004" y="30002"/>
                    </a:cubicBezTo>
                    <a:lnTo>
                      <a:pt x="75004" y="30002"/>
                    </a:lnTo>
                    <a:close/>
                  </a:path>
                </a:pathLst>
              </a:custGeom>
              <a:solidFill>
                <a:schemeClr val="accent2"/>
              </a:solidFill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74" name="Рисунок 23">
            <a:extLst>
              <a:ext uri="{FF2B5EF4-FFF2-40B4-BE49-F238E27FC236}">
                <a16:creationId xmlns:a16="http://schemas.microsoft.com/office/drawing/2014/main" id="{0B5F07D3-69A8-2047-B70B-25F93DAA46AF}"/>
              </a:ext>
            </a:extLst>
          </p:cNvPr>
          <p:cNvGrpSpPr/>
          <p:nvPr/>
        </p:nvGrpSpPr>
        <p:grpSpPr>
          <a:xfrm>
            <a:off x="6671133" y="2442261"/>
            <a:ext cx="360000" cy="360000"/>
            <a:chOff x="6750338" y="2758983"/>
            <a:chExt cx="360000" cy="360000"/>
          </a:xfrm>
        </p:grpSpPr>
        <p:sp>
          <p:nvSpPr>
            <p:cNvPr id="175" name="Полилиния 174">
              <a:extLst>
                <a:ext uri="{FF2B5EF4-FFF2-40B4-BE49-F238E27FC236}">
                  <a16:creationId xmlns:a16="http://schemas.microsoft.com/office/drawing/2014/main" id="{1FE624D9-779A-E440-AB41-A7102F65E73F}"/>
                </a:ext>
              </a:extLst>
            </p:cNvPr>
            <p:cNvSpPr/>
            <p:nvPr/>
          </p:nvSpPr>
          <p:spPr>
            <a:xfrm>
              <a:off x="6750338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6" name="Полилиния 175">
              <a:extLst>
                <a:ext uri="{FF2B5EF4-FFF2-40B4-BE49-F238E27FC236}">
                  <a16:creationId xmlns:a16="http://schemas.microsoft.com/office/drawing/2014/main" id="{ECAD2A78-995B-584C-8315-08D690CA7E11}"/>
                </a:ext>
              </a:extLst>
            </p:cNvPr>
            <p:cNvSpPr/>
            <p:nvPr/>
          </p:nvSpPr>
          <p:spPr>
            <a:xfrm>
              <a:off x="6885338" y="2788983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77" name="Рисунок 23">
              <a:extLst>
                <a:ext uri="{FF2B5EF4-FFF2-40B4-BE49-F238E27FC236}">
                  <a16:creationId xmlns:a16="http://schemas.microsoft.com/office/drawing/2014/main" id="{131A3780-4847-804A-A999-C16752CEAA9A}"/>
                </a:ext>
              </a:extLst>
            </p:cNvPr>
            <p:cNvGrpSpPr/>
            <p:nvPr/>
          </p:nvGrpSpPr>
          <p:grpSpPr>
            <a:xfrm>
              <a:off x="6810338" y="2848983"/>
              <a:ext cx="240000" cy="240000"/>
              <a:chOff x="6810338" y="2848983"/>
              <a:chExt cx="240000" cy="240000"/>
            </a:xfrm>
          </p:grpSpPr>
          <p:sp>
            <p:nvSpPr>
              <p:cNvPr id="178" name="Полилиния 177">
                <a:extLst>
                  <a:ext uri="{FF2B5EF4-FFF2-40B4-BE49-F238E27FC236}">
                    <a16:creationId xmlns:a16="http://schemas.microsoft.com/office/drawing/2014/main" id="{2483EE10-466B-2041-85ED-560783BD2FE9}"/>
                  </a:ext>
                </a:extLst>
              </p:cNvPr>
              <p:cNvSpPr/>
              <p:nvPr/>
            </p:nvSpPr>
            <p:spPr>
              <a:xfrm>
                <a:off x="6810338" y="2848983"/>
                <a:ext cx="240000" cy="240000"/>
              </a:xfrm>
              <a:custGeom>
                <a:avLst/>
                <a:gdLst>
                  <a:gd name="connsiteX0" fmla="*/ 4 w 240000"/>
                  <a:gd name="connsiteY0" fmla="*/ 6 h 240000"/>
                  <a:gd name="connsiteX1" fmla="*/ 240004 w 240000"/>
                  <a:gd name="connsiteY1" fmla="*/ 6 h 240000"/>
                  <a:gd name="connsiteX2" fmla="*/ 240004 w 240000"/>
                  <a:gd name="connsiteY2" fmla="*/ 240006 h 240000"/>
                  <a:gd name="connsiteX3" fmla="*/ 4 w 240000"/>
                  <a:gd name="connsiteY3" fmla="*/ 240006 h 24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000" h="240000">
                    <a:moveTo>
                      <a:pt x="4" y="6"/>
                    </a:moveTo>
                    <a:lnTo>
                      <a:pt x="240004" y="6"/>
                    </a:lnTo>
                    <a:lnTo>
                      <a:pt x="240004" y="240006"/>
                    </a:lnTo>
                    <a:lnTo>
                      <a:pt x="4" y="240006"/>
                    </a:lnTo>
                    <a:close/>
                  </a:path>
                </a:pathLst>
              </a:custGeom>
              <a:noFill/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9" name="Полилиния 178">
                <a:extLst>
                  <a:ext uri="{FF2B5EF4-FFF2-40B4-BE49-F238E27FC236}">
                    <a16:creationId xmlns:a16="http://schemas.microsoft.com/office/drawing/2014/main" id="{53CC1E7D-E6DD-0640-91A7-EA521F2D4E39}"/>
                  </a:ext>
                </a:extLst>
              </p:cNvPr>
              <p:cNvSpPr/>
              <p:nvPr/>
            </p:nvSpPr>
            <p:spPr>
              <a:xfrm>
                <a:off x="6870338" y="2893983"/>
                <a:ext cx="120000" cy="150000"/>
              </a:xfrm>
              <a:custGeom>
                <a:avLst/>
                <a:gdLst>
                  <a:gd name="connsiteX0" fmla="*/ 75004 w 120000"/>
                  <a:gd name="connsiteY0" fmla="*/ 30006 h 150000"/>
                  <a:gd name="connsiteX1" fmla="*/ 75004 w 120000"/>
                  <a:gd name="connsiteY1" fmla="*/ 135006 h 150000"/>
                  <a:gd name="connsiteX2" fmla="*/ 60004 w 120000"/>
                  <a:gd name="connsiteY2" fmla="*/ 150006 h 150000"/>
                  <a:gd name="connsiteX3" fmla="*/ 60004 w 120000"/>
                  <a:gd name="connsiteY3" fmla="*/ 150006 h 150000"/>
                  <a:gd name="connsiteX4" fmla="*/ 45004 w 120000"/>
                  <a:gd name="connsiteY4" fmla="*/ 135006 h 150000"/>
                  <a:gd name="connsiteX5" fmla="*/ 45004 w 120000"/>
                  <a:gd name="connsiteY5" fmla="*/ 30006 h 150000"/>
                  <a:gd name="connsiteX6" fmla="*/ 15004 w 120000"/>
                  <a:gd name="connsiteY6" fmla="*/ 30006 h 150000"/>
                  <a:gd name="connsiteX7" fmla="*/ 4 w 120000"/>
                  <a:gd name="connsiteY7" fmla="*/ 15006 h 150000"/>
                  <a:gd name="connsiteX8" fmla="*/ 4 w 120000"/>
                  <a:gd name="connsiteY8" fmla="*/ 15006 h 150000"/>
                  <a:gd name="connsiteX9" fmla="*/ 15004 w 120000"/>
                  <a:gd name="connsiteY9" fmla="*/ 6 h 150000"/>
                  <a:gd name="connsiteX10" fmla="*/ 105004 w 120000"/>
                  <a:gd name="connsiteY10" fmla="*/ 6 h 150000"/>
                  <a:gd name="connsiteX11" fmla="*/ 120004 w 120000"/>
                  <a:gd name="connsiteY11" fmla="*/ 15006 h 150000"/>
                  <a:gd name="connsiteX12" fmla="*/ 120004 w 120000"/>
                  <a:gd name="connsiteY12" fmla="*/ 15006 h 150000"/>
                  <a:gd name="connsiteX13" fmla="*/ 105004 w 120000"/>
                  <a:gd name="connsiteY13" fmla="*/ 30006 h 150000"/>
                  <a:gd name="connsiteX14" fmla="*/ 75004 w 120000"/>
                  <a:gd name="connsiteY14" fmla="*/ 30006 h 1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000" h="150000">
                    <a:moveTo>
                      <a:pt x="75004" y="30006"/>
                    </a:moveTo>
                    <a:lnTo>
                      <a:pt x="75004" y="135006"/>
                    </a:lnTo>
                    <a:cubicBezTo>
                      <a:pt x="75004" y="143291"/>
                      <a:pt x="68288" y="150006"/>
                      <a:pt x="60004" y="150006"/>
                    </a:cubicBezTo>
                    <a:lnTo>
                      <a:pt x="60004" y="150006"/>
                    </a:lnTo>
                    <a:cubicBezTo>
                      <a:pt x="51720" y="150006"/>
                      <a:pt x="45004" y="143291"/>
                      <a:pt x="45004" y="135006"/>
                    </a:cubicBezTo>
                    <a:lnTo>
                      <a:pt x="45004" y="30006"/>
                    </a:lnTo>
                    <a:lnTo>
                      <a:pt x="15004" y="30006"/>
                    </a:lnTo>
                    <a:cubicBezTo>
                      <a:pt x="6720" y="30006"/>
                      <a:pt x="4" y="23290"/>
                      <a:pt x="4" y="15006"/>
                    </a:cubicBezTo>
                    <a:lnTo>
                      <a:pt x="4" y="15006"/>
                    </a:lnTo>
                    <a:cubicBezTo>
                      <a:pt x="4" y="6722"/>
                      <a:pt x="6720" y="6"/>
                      <a:pt x="15004" y="6"/>
                    </a:cubicBezTo>
                    <a:lnTo>
                      <a:pt x="105004" y="6"/>
                    </a:lnTo>
                    <a:cubicBezTo>
                      <a:pt x="113289" y="6"/>
                      <a:pt x="120004" y="6722"/>
                      <a:pt x="120004" y="15006"/>
                    </a:cubicBezTo>
                    <a:lnTo>
                      <a:pt x="120004" y="15006"/>
                    </a:lnTo>
                    <a:cubicBezTo>
                      <a:pt x="120004" y="23290"/>
                      <a:pt x="113289" y="30006"/>
                      <a:pt x="105004" y="30006"/>
                    </a:cubicBezTo>
                    <a:lnTo>
                      <a:pt x="75004" y="30006"/>
                    </a:lnTo>
                    <a:close/>
                  </a:path>
                </a:pathLst>
              </a:custGeom>
              <a:solidFill>
                <a:schemeClr val="accent2"/>
              </a:solidFill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80" name="Рисунок 24">
            <a:extLst>
              <a:ext uri="{FF2B5EF4-FFF2-40B4-BE49-F238E27FC236}">
                <a16:creationId xmlns:a16="http://schemas.microsoft.com/office/drawing/2014/main" id="{4FCDB460-80C1-4B46-AAAC-0BBB712513D4}"/>
              </a:ext>
            </a:extLst>
          </p:cNvPr>
          <p:cNvGrpSpPr/>
          <p:nvPr/>
        </p:nvGrpSpPr>
        <p:grpSpPr>
          <a:xfrm>
            <a:off x="5160867" y="2442261"/>
            <a:ext cx="360000" cy="360000"/>
            <a:chOff x="5240072" y="2758983"/>
            <a:chExt cx="360000" cy="360000"/>
          </a:xfrm>
        </p:grpSpPr>
        <p:sp>
          <p:nvSpPr>
            <p:cNvPr id="181" name="Полилиния 180">
              <a:extLst>
                <a:ext uri="{FF2B5EF4-FFF2-40B4-BE49-F238E27FC236}">
                  <a16:creationId xmlns:a16="http://schemas.microsoft.com/office/drawing/2014/main" id="{E73EF283-850D-BE43-99C3-690AC7686CFF}"/>
                </a:ext>
              </a:extLst>
            </p:cNvPr>
            <p:cNvSpPr/>
            <p:nvPr/>
          </p:nvSpPr>
          <p:spPr>
            <a:xfrm>
              <a:off x="5240072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2" name="Полилиния 181">
              <a:extLst>
                <a:ext uri="{FF2B5EF4-FFF2-40B4-BE49-F238E27FC236}">
                  <a16:creationId xmlns:a16="http://schemas.microsoft.com/office/drawing/2014/main" id="{23801AAD-FD02-4948-A574-CD1EFCD1741E}"/>
                </a:ext>
              </a:extLst>
            </p:cNvPr>
            <p:cNvSpPr/>
            <p:nvPr/>
          </p:nvSpPr>
          <p:spPr>
            <a:xfrm>
              <a:off x="5270072" y="2893983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83" name="Рисунок 24">
              <a:extLst>
                <a:ext uri="{FF2B5EF4-FFF2-40B4-BE49-F238E27FC236}">
                  <a16:creationId xmlns:a16="http://schemas.microsoft.com/office/drawing/2014/main" id="{4AFC889F-4A5F-6E43-B0D6-07AA0AE136F0}"/>
                </a:ext>
              </a:extLst>
            </p:cNvPr>
            <p:cNvGrpSpPr/>
            <p:nvPr/>
          </p:nvGrpSpPr>
          <p:grpSpPr>
            <a:xfrm>
              <a:off x="5330072" y="2818983"/>
              <a:ext cx="240000" cy="240000"/>
              <a:chOff x="5330072" y="2818983"/>
              <a:chExt cx="240000" cy="240000"/>
            </a:xfrm>
          </p:grpSpPr>
          <p:sp>
            <p:nvSpPr>
              <p:cNvPr id="184" name="Полилиния 183">
                <a:extLst>
                  <a:ext uri="{FF2B5EF4-FFF2-40B4-BE49-F238E27FC236}">
                    <a16:creationId xmlns:a16="http://schemas.microsoft.com/office/drawing/2014/main" id="{C11D8048-1C5A-8142-BB02-08BDD7414A2E}"/>
                  </a:ext>
                </a:extLst>
              </p:cNvPr>
              <p:cNvSpPr/>
              <p:nvPr/>
            </p:nvSpPr>
            <p:spPr>
              <a:xfrm>
                <a:off x="5330072" y="2818983"/>
                <a:ext cx="240000" cy="240000"/>
              </a:xfrm>
              <a:custGeom>
                <a:avLst/>
                <a:gdLst>
                  <a:gd name="connsiteX0" fmla="*/ 6 w 240000"/>
                  <a:gd name="connsiteY0" fmla="*/ 4 h 240000"/>
                  <a:gd name="connsiteX1" fmla="*/ 240006 w 240000"/>
                  <a:gd name="connsiteY1" fmla="*/ 4 h 240000"/>
                  <a:gd name="connsiteX2" fmla="*/ 240006 w 240000"/>
                  <a:gd name="connsiteY2" fmla="*/ 240004 h 240000"/>
                  <a:gd name="connsiteX3" fmla="*/ 6 w 240000"/>
                  <a:gd name="connsiteY3" fmla="*/ 240004 h 24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000" h="240000">
                    <a:moveTo>
                      <a:pt x="6" y="4"/>
                    </a:moveTo>
                    <a:lnTo>
                      <a:pt x="240006" y="4"/>
                    </a:lnTo>
                    <a:lnTo>
                      <a:pt x="240006" y="240004"/>
                    </a:lnTo>
                    <a:lnTo>
                      <a:pt x="6" y="240004"/>
                    </a:lnTo>
                    <a:close/>
                  </a:path>
                </a:pathLst>
              </a:custGeom>
              <a:noFill/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5" name="Полилиния 184">
                <a:extLst>
                  <a:ext uri="{FF2B5EF4-FFF2-40B4-BE49-F238E27FC236}">
                    <a16:creationId xmlns:a16="http://schemas.microsoft.com/office/drawing/2014/main" id="{34EAD8EB-8C12-5B43-A5B6-27A5F449FA1C}"/>
                  </a:ext>
                </a:extLst>
              </p:cNvPr>
              <p:cNvSpPr/>
              <p:nvPr/>
            </p:nvSpPr>
            <p:spPr>
              <a:xfrm>
                <a:off x="5390072" y="2863983"/>
                <a:ext cx="120000" cy="150000"/>
              </a:xfrm>
              <a:custGeom>
                <a:avLst/>
                <a:gdLst>
                  <a:gd name="connsiteX0" fmla="*/ 75006 w 120000"/>
                  <a:gd name="connsiteY0" fmla="*/ 30004 h 150000"/>
                  <a:gd name="connsiteX1" fmla="*/ 75006 w 120000"/>
                  <a:gd name="connsiteY1" fmla="*/ 135004 h 150000"/>
                  <a:gd name="connsiteX2" fmla="*/ 60006 w 120000"/>
                  <a:gd name="connsiteY2" fmla="*/ 150004 h 150000"/>
                  <a:gd name="connsiteX3" fmla="*/ 60006 w 120000"/>
                  <a:gd name="connsiteY3" fmla="*/ 150004 h 150000"/>
                  <a:gd name="connsiteX4" fmla="*/ 45006 w 120000"/>
                  <a:gd name="connsiteY4" fmla="*/ 135004 h 150000"/>
                  <a:gd name="connsiteX5" fmla="*/ 45006 w 120000"/>
                  <a:gd name="connsiteY5" fmla="*/ 30004 h 150000"/>
                  <a:gd name="connsiteX6" fmla="*/ 15006 w 120000"/>
                  <a:gd name="connsiteY6" fmla="*/ 30004 h 150000"/>
                  <a:gd name="connsiteX7" fmla="*/ 6 w 120000"/>
                  <a:gd name="connsiteY7" fmla="*/ 15004 h 150000"/>
                  <a:gd name="connsiteX8" fmla="*/ 6 w 120000"/>
                  <a:gd name="connsiteY8" fmla="*/ 15004 h 150000"/>
                  <a:gd name="connsiteX9" fmla="*/ 15006 w 120000"/>
                  <a:gd name="connsiteY9" fmla="*/ 4 h 150000"/>
                  <a:gd name="connsiteX10" fmla="*/ 105006 w 120000"/>
                  <a:gd name="connsiteY10" fmla="*/ 4 h 150000"/>
                  <a:gd name="connsiteX11" fmla="*/ 120006 w 120000"/>
                  <a:gd name="connsiteY11" fmla="*/ 15004 h 150000"/>
                  <a:gd name="connsiteX12" fmla="*/ 120006 w 120000"/>
                  <a:gd name="connsiteY12" fmla="*/ 15004 h 150000"/>
                  <a:gd name="connsiteX13" fmla="*/ 105006 w 120000"/>
                  <a:gd name="connsiteY13" fmla="*/ 30004 h 150000"/>
                  <a:gd name="connsiteX14" fmla="*/ 75006 w 120000"/>
                  <a:gd name="connsiteY14" fmla="*/ 30004 h 1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000" h="150000">
                    <a:moveTo>
                      <a:pt x="75006" y="30004"/>
                    </a:moveTo>
                    <a:lnTo>
                      <a:pt x="75006" y="135004"/>
                    </a:lnTo>
                    <a:cubicBezTo>
                      <a:pt x="75006" y="143289"/>
                      <a:pt x="68290" y="150004"/>
                      <a:pt x="60006" y="150004"/>
                    </a:cubicBezTo>
                    <a:lnTo>
                      <a:pt x="60006" y="150004"/>
                    </a:lnTo>
                    <a:cubicBezTo>
                      <a:pt x="51722" y="150004"/>
                      <a:pt x="45006" y="143289"/>
                      <a:pt x="45006" y="135004"/>
                    </a:cubicBezTo>
                    <a:lnTo>
                      <a:pt x="45006" y="30004"/>
                    </a:lnTo>
                    <a:lnTo>
                      <a:pt x="15006" y="30004"/>
                    </a:lnTo>
                    <a:cubicBezTo>
                      <a:pt x="6722" y="30004"/>
                      <a:pt x="6" y="23288"/>
                      <a:pt x="6" y="15004"/>
                    </a:cubicBezTo>
                    <a:lnTo>
                      <a:pt x="6" y="15004"/>
                    </a:lnTo>
                    <a:cubicBezTo>
                      <a:pt x="6" y="6720"/>
                      <a:pt x="6722" y="4"/>
                      <a:pt x="15006" y="4"/>
                    </a:cubicBezTo>
                    <a:lnTo>
                      <a:pt x="105006" y="4"/>
                    </a:lnTo>
                    <a:cubicBezTo>
                      <a:pt x="113291" y="4"/>
                      <a:pt x="120006" y="6720"/>
                      <a:pt x="120006" y="15004"/>
                    </a:cubicBezTo>
                    <a:lnTo>
                      <a:pt x="120006" y="15004"/>
                    </a:lnTo>
                    <a:cubicBezTo>
                      <a:pt x="120006" y="23288"/>
                      <a:pt x="113291" y="30004"/>
                      <a:pt x="105006" y="30004"/>
                    </a:cubicBezTo>
                    <a:lnTo>
                      <a:pt x="75006" y="30004"/>
                    </a:lnTo>
                    <a:close/>
                  </a:path>
                </a:pathLst>
              </a:custGeom>
              <a:solidFill>
                <a:schemeClr val="accent2"/>
              </a:solidFill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86" name="Рисунок 25">
            <a:extLst>
              <a:ext uri="{FF2B5EF4-FFF2-40B4-BE49-F238E27FC236}">
                <a16:creationId xmlns:a16="http://schemas.microsoft.com/office/drawing/2014/main" id="{B190E45D-82EB-554A-B910-B5F2866E8A38}"/>
              </a:ext>
            </a:extLst>
          </p:cNvPr>
          <p:cNvGrpSpPr/>
          <p:nvPr/>
        </p:nvGrpSpPr>
        <p:grpSpPr>
          <a:xfrm>
            <a:off x="2140335" y="2442261"/>
            <a:ext cx="360000" cy="360000"/>
            <a:chOff x="2219540" y="2758983"/>
            <a:chExt cx="360000" cy="360000"/>
          </a:xfrm>
        </p:grpSpPr>
        <p:sp>
          <p:nvSpPr>
            <p:cNvPr id="187" name="Полилиния 186">
              <a:extLst>
                <a:ext uri="{FF2B5EF4-FFF2-40B4-BE49-F238E27FC236}">
                  <a16:creationId xmlns:a16="http://schemas.microsoft.com/office/drawing/2014/main" id="{DEC8D543-AA7A-3A47-97C4-F29B265CAED1}"/>
                </a:ext>
              </a:extLst>
            </p:cNvPr>
            <p:cNvSpPr/>
            <p:nvPr/>
          </p:nvSpPr>
          <p:spPr>
            <a:xfrm>
              <a:off x="2219540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8" name="Полилиния 187">
              <a:extLst>
                <a:ext uri="{FF2B5EF4-FFF2-40B4-BE49-F238E27FC236}">
                  <a16:creationId xmlns:a16="http://schemas.microsoft.com/office/drawing/2014/main" id="{31DE542D-1888-1041-ABF9-35A6050FBDE1}"/>
                </a:ext>
              </a:extLst>
            </p:cNvPr>
            <p:cNvSpPr/>
            <p:nvPr/>
          </p:nvSpPr>
          <p:spPr>
            <a:xfrm>
              <a:off x="2249540" y="2998983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89" name="Рисунок 25">
              <a:extLst>
                <a:ext uri="{FF2B5EF4-FFF2-40B4-BE49-F238E27FC236}">
                  <a16:creationId xmlns:a16="http://schemas.microsoft.com/office/drawing/2014/main" id="{8E444CF5-206F-D149-BD9C-EEA33F682939}"/>
                </a:ext>
              </a:extLst>
            </p:cNvPr>
            <p:cNvGrpSpPr/>
            <p:nvPr/>
          </p:nvGrpSpPr>
          <p:grpSpPr>
            <a:xfrm>
              <a:off x="2309540" y="2788983"/>
              <a:ext cx="240000" cy="240000"/>
              <a:chOff x="2309540" y="2788983"/>
              <a:chExt cx="240000" cy="240000"/>
            </a:xfrm>
          </p:grpSpPr>
          <p:sp>
            <p:nvSpPr>
              <p:cNvPr id="190" name="Полилиния 189">
                <a:extLst>
                  <a:ext uri="{FF2B5EF4-FFF2-40B4-BE49-F238E27FC236}">
                    <a16:creationId xmlns:a16="http://schemas.microsoft.com/office/drawing/2014/main" id="{462CD7C8-63E1-8E4F-AD85-E186B94BCD4C}"/>
                  </a:ext>
                </a:extLst>
              </p:cNvPr>
              <p:cNvSpPr/>
              <p:nvPr/>
            </p:nvSpPr>
            <p:spPr>
              <a:xfrm>
                <a:off x="2309540" y="2788983"/>
                <a:ext cx="240000" cy="240000"/>
              </a:xfrm>
              <a:custGeom>
                <a:avLst/>
                <a:gdLst>
                  <a:gd name="connsiteX0" fmla="*/ 6 w 240000"/>
                  <a:gd name="connsiteY0" fmla="*/ 2 h 240000"/>
                  <a:gd name="connsiteX1" fmla="*/ 240006 w 240000"/>
                  <a:gd name="connsiteY1" fmla="*/ 2 h 240000"/>
                  <a:gd name="connsiteX2" fmla="*/ 240006 w 240000"/>
                  <a:gd name="connsiteY2" fmla="*/ 240002 h 240000"/>
                  <a:gd name="connsiteX3" fmla="*/ 6 w 240000"/>
                  <a:gd name="connsiteY3" fmla="*/ 240002 h 24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000" h="240000">
                    <a:moveTo>
                      <a:pt x="6" y="2"/>
                    </a:moveTo>
                    <a:lnTo>
                      <a:pt x="240006" y="2"/>
                    </a:lnTo>
                    <a:lnTo>
                      <a:pt x="240006" y="240002"/>
                    </a:lnTo>
                    <a:lnTo>
                      <a:pt x="6" y="240002"/>
                    </a:lnTo>
                    <a:close/>
                  </a:path>
                </a:pathLst>
              </a:custGeom>
              <a:noFill/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1" name="Полилиния 190">
                <a:extLst>
                  <a:ext uri="{FF2B5EF4-FFF2-40B4-BE49-F238E27FC236}">
                    <a16:creationId xmlns:a16="http://schemas.microsoft.com/office/drawing/2014/main" id="{611A0C96-E6D9-D249-8ACE-8EED5E4B2F83}"/>
                  </a:ext>
                </a:extLst>
              </p:cNvPr>
              <p:cNvSpPr/>
              <p:nvPr/>
            </p:nvSpPr>
            <p:spPr>
              <a:xfrm>
                <a:off x="2369540" y="2833983"/>
                <a:ext cx="120000" cy="150000"/>
              </a:xfrm>
              <a:custGeom>
                <a:avLst/>
                <a:gdLst>
                  <a:gd name="connsiteX0" fmla="*/ 75006 w 120000"/>
                  <a:gd name="connsiteY0" fmla="*/ 30002 h 150000"/>
                  <a:gd name="connsiteX1" fmla="*/ 75006 w 120000"/>
                  <a:gd name="connsiteY1" fmla="*/ 135002 h 150000"/>
                  <a:gd name="connsiteX2" fmla="*/ 60006 w 120000"/>
                  <a:gd name="connsiteY2" fmla="*/ 150002 h 150000"/>
                  <a:gd name="connsiteX3" fmla="*/ 60006 w 120000"/>
                  <a:gd name="connsiteY3" fmla="*/ 150002 h 150000"/>
                  <a:gd name="connsiteX4" fmla="*/ 45006 w 120000"/>
                  <a:gd name="connsiteY4" fmla="*/ 135002 h 150000"/>
                  <a:gd name="connsiteX5" fmla="*/ 45006 w 120000"/>
                  <a:gd name="connsiteY5" fmla="*/ 30002 h 150000"/>
                  <a:gd name="connsiteX6" fmla="*/ 15006 w 120000"/>
                  <a:gd name="connsiteY6" fmla="*/ 30002 h 150000"/>
                  <a:gd name="connsiteX7" fmla="*/ 6 w 120000"/>
                  <a:gd name="connsiteY7" fmla="*/ 15002 h 150000"/>
                  <a:gd name="connsiteX8" fmla="*/ 6 w 120000"/>
                  <a:gd name="connsiteY8" fmla="*/ 15002 h 150000"/>
                  <a:gd name="connsiteX9" fmla="*/ 15006 w 120000"/>
                  <a:gd name="connsiteY9" fmla="*/ 2 h 150000"/>
                  <a:gd name="connsiteX10" fmla="*/ 105006 w 120000"/>
                  <a:gd name="connsiteY10" fmla="*/ 2 h 150000"/>
                  <a:gd name="connsiteX11" fmla="*/ 120006 w 120000"/>
                  <a:gd name="connsiteY11" fmla="*/ 15002 h 150000"/>
                  <a:gd name="connsiteX12" fmla="*/ 120006 w 120000"/>
                  <a:gd name="connsiteY12" fmla="*/ 15002 h 150000"/>
                  <a:gd name="connsiteX13" fmla="*/ 105006 w 120000"/>
                  <a:gd name="connsiteY13" fmla="*/ 30002 h 150000"/>
                  <a:gd name="connsiteX14" fmla="*/ 75006 w 120000"/>
                  <a:gd name="connsiteY14" fmla="*/ 30002 h 1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000" h="150000">
                    <a:moveTo>
                      <a:pt x="75006" y="30002"/>
                    </a:moveTo>
                    <a:lnTo>
                      <a:pt x="75006" y="135002"/>
                    </a:lnTo>
                    <a:cubicBezTo>
                      <a:pt x="75006" y="143287"/>
                      <a:pt x="68290" y="150002"/>
                      <a:pt x="60006" y="150002"/>
                    </a:cubicBezTo>
                    <a:lnTo>
                      <a:pt x="60006" y="150002"/>
                    </a:lnTo>
                    <a:cubicBezTo>
                      <a:pt x="51722" y="150002"/>
                      <a:pt x="45006" y="143287"/>
                      <a:pt x="45006" y="135002"/>
                    </a:cubicBezTo>
                    <a:lnTo>
                      <a:pt x="45006" y="30002"/>
                    </a:lnTo>
                    <a:lnTo>
                      <a:pt x="15006" y="30002"/>
                    </a:lnTo>
                    <a:cubicBezTo>
                      <a:pt x="6722" y="30002"/>
                      <a:pt x="6" y="23286"/>
                      <a:pt x="6" y="15002"/>
                    </a:cubicBezTo>
                    <a:lnTo>
                      <a:pt x="6" y="15002"/>
                    </a:lnTo>
                    <a:cubicBezTo>
                      <a:pt x="6" y="6718"/>
                      <a:pt x="6722" y="2"/>
                      <a:pt x="15006" y="2"/>
                    </a:cubicBezTo>
                    <a:lnTo>
                      <a:pt x="105006" y="2"/>
                    </a:lnTo>
                    <a:cubicBezTo>
                      <a:pt x="113291" y="2"/>
                      <a:pt x="120006" y="6718"/>
                      <a:pt x="120006" y="15002"/>
                    </a:cubicBezTo>
                    <a:lnTo>
                      <a:pt x="120006" y="15002"/>
                    </a:lnTo>
                    <a:cubicBezTo>
                      <a:pt x="120006" y="23286"/>
                      <a:pt x="113291" y="30002"/>
                      <a:pt x="105006" y="30002"/>
                    </a:cubicBezTo>
                    <a:lnTo>
                      <a:pt x="75006" y="30002"/>
                    </a:lnTo>
                    <a:close/>
                  </a:path>
                </a:pathLst>
              </a:custGeom>
              <a:solidFill>
                <a:schemeClr val="accent2"/>
              </a:solidFill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92" name="Рисунок 26">
            <a:extLst>
              <a:ext uri="{FF2B5EF4-FFF2-40B4-BE49-F238E27FC236}">
                <a16:creationId xmlns:a16="http://schemas.microsoft.com/office/drawing/2014/main" id="{ADF38AA1-2BE1-4846-A3F8-2C4419EA6558}"/>
              </a:ext>
            </a:extLst>
          </p:cNvPr>
          <p:cNvGrpSpPr/>
          <p:nvPr/>
        </p:nvGrpSpPr>
        <p:grpSpPr>
          <a:xfrm>
            <a:off x="5916000" y="2442261"/>
            <a:ext cx="360000" cy="360000"/>
            <a:chOff x="5995205" y="2758983"/>
            <a:chExt cx="360000" cy="360000"/>
          </a:xfrm>
        </p:grpSpPr>
        <p:sp>
          <p:nvSpPr>
            <p:cNvPr id="193" name="Полилиния 192">
              <a:extLst>
                <a:ext uri="{FF2B5EF4-FFF2-40B4-BE49-F238E27FC236}">
                  <a16:creationId xmlns:a16="http://schemas.microsoft.com/office/drawing/2014/main" id="{32FA5129-8A90-5E45-A80D-7873FCFB29D3}"/>
                </a:ext>
              </a:extLst>
            </p:cNvPr>
            <p:cNvSpPr/>
            <p:nvPr/>
          </p:nvSpPr>
          <p:spPr>
            <a:xfrm>
              <a:off x="5995205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4" name="Полилиния 193">
              <a:extLst>
                <a:ext uri="{FF2B5EF4-FFF2-40B4-BE49-F238E27FC236}">
                  <a16:creationId xmlns:a16="http://schemas.microsoft.com/office/drawing/2014/main" id="{686C2BCD-9EDD-9F42-93DC-74BB94BE0641}"/>
                </a:ext>
              </a:extLst>
            </p:cNvPr>
            <p:cNvSpPr/>
            <p:nvPr/>
          </p:nvSpPr>
          <p:spPr>
            <a:xfrm>
              <a:off x="6025205" y="2788983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grpSp>
          <p:nvGrpSpPr>
            <p:cNvPr id="195" name="Рисунок 26">
              <a:extLst>
                <a:ext uri="{FF2B5EF4-FFF2-40B4-BE49-F238E27FC236}">
                  <a16:creationId xmlns:a16="http://schemas.microsoft.com/office/drawing/2014/main" id="{2D8615FC-D8C2-B54F-9EC5-3444C063E9BA}"/>
                </a:ext>
              </a:extLst>
            </p:cNvPr>
            <p:cNvGrpSpPr/>
            <p:nvPr/>
          </p:nvGrpSpPr>
          <p:grpSpPr>
            <a:xfrm>
              <a:off x="6085205" y="2848983"/>
              <a:ext cx="240000" cy="240000"/>
              <a:chOff x="6085205" y="2848983"/>
              <a:chExt cx="240000" cy="240000"/>
            </a:xfrm>
          </p:grpSpPr>
          <p:sp>
            <p:nvSpPr>
              <p:cNvPr id="196" name="Полилиния 195">
                <a:extLst>
                  <a:ext uri="{FF2B5EF4-FFF2-40B4-BE49-F238E27FC236}">
                    <a16:creationId xmlns:a16="http://schemas.microsoft.com/office/drawing/2014/main" id="{27A041D8-536A-5A4F-BE15-50E5C87332B2}"/>
                  </a:ext>
                </a:extLst>
              </p:cNvPr>
              <p:cNvSpPr/>
              <p:nvPr/>
            </p:nvSpPr>
            <p:spPr>
              <a:xfrm>
                <a:off x="6085205" y="2848983"/>
                <a:ext cx="240000" cy="240000"/>
              </a:xfrm>
              <a:custGeom>
                <a:avLst/>
                <a:gdLst>
                  <a:gd name="connsiteX0" fmla="*/ 6 w 240000"/>
                  <a:gd name="connsiteY0" fmla="*/ 6 h 240000"/>
                  <a:gd name="connsiteX1" fmla="*/ 240006 w 240000"/>
                  <a:gd name="connsiteY1" fmla="*/ 6 h 240000"/>
                  <a:gd name="connsiteX2" fmla="*/ 240006 w 240000"/>
                  <a:gd name="connsiteY2" fmla="*/ 240006 h 240000"/>
                  <a:gd name="connsiteX3" fmla="*/ 6 w 240000"/>
                  <a:gd name="connsiteY3" fmla="*/ 240006 h 24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000" h="240000">
                    <a:moveTo>
                      <a:pt x="6" y="6"/>
                    </a:moveTo>
                    <a:lnTo>
                      <a:pt x="240006" y="6"/>
                    </a:lnTo>
                    <a:lnTo>
                      <a:pt x="240006" y="240006"/>
                    </a:lnTo>
                    <a:lnTo>
                      <a:pt x="6" y="240006"/>
                    </a:lnTo>
                    <a:close/>
                  </a:path>
                </a:pathLst>
              </a:custGeom>
              <a:noFill/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7" name="Полилиния 196">
                <a:extLst>
                  <a:ext uri="{FF2B5EF4-FFF2-40B4-BE49-F238E27FC236}">
                    <a16:creationId xmlns:a16="http://schemas.microsoft.com/office/drawing/2014/main" id="{524B947D-B197-6D44-AA92-54B031CE32C7}"/>
                  </a:ext>
                </a:extLst>
              </p:cNvPr>
              <p:cNvSpPr/>
              <p:nvPr/>
            </p:nvSpPr>
            <p:spPr>
              <a:xfrm>
                <a:off x="6145205" y="2893983"/>
                <a:ext cx="120000" cy="150000"/>
              </a:xfrm>
              <a:custGeom>
                <a:avLst/>
                <a:gdLst>
                  <a:gd name="connsiteX0" fmla="*/ 75006 w 120000"/>
                  <a:gd name="connsiteY0" fmla="*/ 30006 h 150000"/>
                  <a:gd name="connsiteX1" fmla="*/ 75006 w 120000"/>
                  <a:gd name="connsiteY1" fmla="*/ 135006 h 150000"/>
                  <a:gd name="connsiteX2" fmla="*/ 60006 w 120000"/>
                  <a:gd name="connsiteY2" fmla="*/ 150006 h 150000"/>
                  <a:gd name="connsiteX3" fmla="*/ 60006 w 120000"/>
                  <a:gd name="connsiteY3" fmla="*/ 150006 h 150000"/>
                  <a:gd name="connsiteX4" fmla="*/ 45006 w 120000"/>
                  <a:gd name="connsiteY4" fmla="*/ 135006 h 150000"/>
                  <a:gd name="connsiteX5" fmla="*/ 45006 w 120000"/>
                  <a:gd name="connsiteY5" fmla="*/ 30006 h 150000"/>
                  <a:gd name="connsiteX6" fmla="*/ 15006 w 120000"/>
                  <a:gd name="connsiteY6" fmla="*/ 30006 h 150000"/>
                  <a:gd name="connsiteX7" fmla="*/ 6 w 120000"/>
                  <a:gd name="connsiteY7" fmla="*/ 15006 h 150000"/>
                  <a:gd name="connsiteX8" fmla="*/ 6 w 120000"/>
                  <a:gd name="connsiteY8" fmla="*/ 15006 h 150000"/>
                  <a:gd name="connsiteX9" fmla="*/ 15006 w 120000"/>
                  <a:gd name="connsiteY9" fmla="*/ 6 h 150000"/>
                  <a:gd name="connsiteX10" fmla="*/ 105006 w 120000"/>
                  <a:gd name="connsiteY10" fmla="*/ 6 h 150000"/>
                  <a:gd name="connsiteX11" fmla="*/ 120006 w 120000"/>
                  <a:gd name="connsiteY11" fmla="*/ 15006 h 150000"/>
                  <a:gd name="connsiteX12" fmla="*/ 120006 w 120000"/>
                  <a:gd name="connsiteY12" fmla="*/ 15006 h 150000"/>
                  <a:gd name="connsiteX13" fmla="*/ 105006 w 120000"/>
                  <a:gd name="connsiteY13" fmla="*/ 30006 h 150000"/>
                  <a:gd name="connsiteX14" fmla="*/ 75006 w 120000"/>
                  <a:gd name="connsiteY14" fmla="*/ 30006 h 1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000" h="150000">
                    <a:moveTo>
                      <a:pt x="75006" y="30006"/>
                    </a:moveTo>
                    <a:lnTo>
                      <a:pt x="75006" y="135006"/>
                    </a:lnTo>
                    <a:cubicBezTo>
                      <a:pt x="75006" y="143291"/>
                      <a:pt x="68290" y="150006"/>
                      <a:pt x="60006" y="150006"/>
                    </a:cubicBezTo>
                    <a:lnTo>
                      <a:pt x="60006" y="150006"/>
                    </a:lnTo>
                    <a:cubicBezTo>
                      <a:pt x="51722" y="150006"/>
                      <a:pt x="45006" y="143291"/>
                      <a:pt x="45006" y="135006"/>
                    </a:cubicBezTo>
                    <a:lnTo>
                      <a:pt x="45006" y="30006"/>
                    </a:lnTo>
                    <a:lnTo>
                      <a:pt x="15006" y="30006"/>
                    </a:lnTo>
                    <a:cubicBezTo>
                      <a:pt x="6722" y="30006"/>
                      <a:pt x="6" y="23290"/>
                      <a:pt x="6" y="15006"/>
                    </a:cubicBezTo>
                    <a:lnTo>
                      <a:pt x="6" y="15006"/>
                    </a:lnTo>
                    <a:cubicBezTo>
                      <a:pt x="6" y="6722"/>
                      <a:pt x="6722" y="6"/>
                      <a:pt x="15006" y="6"/>
                    </a:cubicBezTo>
                    <a:lnTo>
                      <a:pt x="105006" y="6"/>
                    </a:lnTo>
                    <a:cubicBezTo>
                      <a:pt x="113291" y="6"/>
                      <a:pt x="120006" y="6722"/>
                      <a:pt x="120006" y="15006"/>
                    </a:cubicBezTo>
                    <a:lnTo>
                      <a:pt x="120006" y="15006"/>
                    </a:lnTo>
                    <a:cubicBezTo>
                      <a:pt x="120006" y="23290"/>
                      <a:pt x="113291" y="30006"/>
                      <a:pt x="105006" y="30006"/>
                    </a:cubicBezTo>
                    <a:lnTo>
                      <a:pt x="75006" y="30006"/>
                    </a:lnTo>
                    <a:close/>
                  </a:path>
                </a:pathLst>
              </a:custGeom>
              <a:solidFill>
                <a:schemeClr val="accent2"/>
              </a:solidFill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98" name="Рисунок 27">
            <a:extLst>
              <a:ext uri="{FF2B5EF4-FFF2-40B4-BE49-F238E27FC236}">
                <a16:creationId xmlns:a16="http://schemas.microsoft.com/office/drawing/2014/main" id="{259E2BD5-95A3-324D-8211-18093DDFBC11}"/>
              </a:ext>
            </a:extLst>
          </p:cNvPr>
          <p:cNvGrpSpPr/>
          <p:nvPr/>
        </p:nvGrpSpPr>
        <p:grpSpPr>
          <a:xfrm>
            <a:off x="4405734" y="2442261"/>
            <a:ext cx="360000" cy="360000"/>
            <a:chOff x="4484939" y="2758983"/>
            <a:chExt cx="360000" cy="360000"/>
          </a:xfrm>
        </p:grpSpPr>
        <p:sp>
          <p:nvSpPr>
            <p:cNvPr id="199" name="Полилиния 198">
              <a:extLst>
                <a:ext uri="{FF2B5EF4-FFF2-40B4-BE49-F238E27FC236}">
                  <a16:creationId xmlns:a16="http://schemas.microsoft.com/office/drawing/2014/main" id="{03902D45-9AAA-CD4D-9C30-914016FFEA55}"/>
                </a:ext>
              </a:extLst>
            </p:cNvPr>
            <p:cNvSpPr/>
            <p:nvPr/>
          </p:nvSpPr>
          <p:spPr>
            <a:xfrm>
              <a:off x="4484939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0" name="Полилиния 199">
              <a:extLst>
                <a:ext uri="{FF2B5EF4-FFF2-40B4-BE49-F238E27FC236}">
                  <a16:creationId xmlns:a16="http://schemas.microsoft.com/office/drawing/2014/main" id="{F4DBA457-C30E-A84F-B956-DE8403D98E9E}"/>
                </a:ext>
              </a:extLst>
            </p:cNvPr>
            <p:cNvSpPr/>
            <p:nvPr/>
          </p:nvSpPr>
          <p:spPr>
            <a:xfrm>
              <a:off x="4724939" y="2893983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201" name="Рисунок 27">
              <a:extLst>
                <a:ext uri="{FF2B5EF4-FFF2-40B4-BE49-F238E27FC236}">
                  <a16:creationId xmlns:a16="http://schemas.microsoft.com/office/drawing/2014/main" id="{63DE285B-9FDE-3C4E-BBDF-4ED3106B2373}"/>
                </a:ext>
              </a:extLst>
            </p:cNvPr>
            <p:cNvGrpSpPr/>
            <p:nvPr/>
          </p:nvGrpSpPr>
          <p:grpSpPr>
            <a:xfrm>
              <a:off x="4514939" y="2818983"/>
              <a:ext cx="240000" cy="240000"/>
              <a:chOff x="4514939" y="2818983"/>
              <a:chExt cx="240000" cy="240000"/>
            </a:xfrm>
          </p:grpSpPr>
          <p:sp>
            <p:nvSpPr>
              <p:cNvPr id="202" name="Полилиния 201">
                <a:extLst>
                  <a:ext uri="{FF2B5EF4-FFF2-40B4-BE49-F238E27FC236}">
                    <a16:creationId xmlns:a16="http://schemas.microsoft.com/office/drawing/2014/main" id="{408C95E9-F16A-5F4C-90C1-64178334F4BC}"/>
                  </a:ext>
                </a:extLst>
              </p:cNvPr>
              <p:cNvSpPr/>
              <p:nvPr/>
            </p:nvSpPr>
            <p:spPr>
              <a:xfrm>
                <a:off x="4514939" y="2818983"/>
                <a:ext cx="240000" cy="240000"/>
              </a:xfrm>
              <a:custGeom>
                <a:avLst/>
                <a:gdLst>
                  <a:gd name="connsiteX0" fmla="*/ 2 w 240000"/>
                  <a:gd name="connsiteY0" fmla="*/ 4 h 240000"/>
                  <a:gd name="connsiteX1" fmla="*/ 240002 w 240000"/>
                  <a:gd name="connsiteY1" fmla="*/ 4 h 240000"/>
                  <a:gd name="connsiteX2" fmla="*/ 240002 w 240000"/>
                  <a:gd name="connsiteY2" fmla="*/ 240004 h 240000"/>
                  <a:gd name="connsiteX3" fmla="*/ 2 w 240000"/>
                  <a:gd name="connsiteY3" fmla="*/ 240004 h 24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000" h="240000">
                    <a:moveTo>
                      <a:pt x="2" y="4"/>
                    </a:moveTo>
                    <a:lnTo>
                      <a:pt x="240002" y="4"/>
                    </a:lnTo>
                    <a:lnTo>
                      <a:pt x="240002" y="240004"/>
                    </a:lnTo>
                    <a:lnTo>
                      <a:pt x="2" y="240004"/>
                    </a:lnTo>
                    <a:close/>
                  </a:path>
                </a:pathLst>
              </a:custGeom>
              <a:noFill/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3" name="Полилиния 202">
                <a:extLst>
                  <a:ext uri="{FF2B5EF4-FFF2-40B4-BE49-F238E27FC236}">
                    <a16:creationId xmlns:a16="http://schemas.microsoft.com/office/drawing/2014/main" id="{B6ECF2AC-54E0-7D4B-A75A-5FD06B39A863}"/>
                  </a:ext>
                </a:extLst>
              </p:cNvPr>
              <p:cNvSpPr/>
              <p:nvPr/>
            </p:nvSpPr>
            <p:spPr>
              <a:xfrm>
                <a:off x="4574939" y="2863983"/>
                <a:ext cx="120000" cy="150000"/>
              </a:xfrm>
              <a:custGeom>
                <a:avLst/>
                <a:gdLst>
                  <a:gd name="connsiteX0" fmla="*/ 75002 w 120000"/>
                  <a:gd name="connsiteY0" fmla="*/ 30004 h 150000"/>
                  <a:gd name="connsiteX1" fmla="*/ 75002 w 120000"/>
                  <a:gd name="connsiteY1" fmla="*/ 135004 h 150000"/>
                  <a:gd name="connsiteX2" fmla="*/ 60002 w 120000"/>
                  <a:gd name="connsiteY2" fmla="*/ 150004 h 150000"/>
                  <a:gd name="connsiteX3" fmla="*/ 60002 w 120000"/>
                  <a:gd name="connsiteY3" fmla="*/ 150004 h 150000"/>
                  <a:gd name="connsiteX4" fmla="*/ 45002 w 120000"/>
                  <a:gd name="connsiteY4" fmla="*/ 135004 h 150000"/>
                  <a:gd name="connsiteX5" fmla="*/ 45002 w 120000"/>
                  <a:gd name="connsiteY5" fmla="*/ 30004 h 150000"/>
                  <a:gd name="connsiteX6" fmla="*/ 15002 w 120000"/>
                  <a:gd name="connsiteY6" fmla="*/ 30004 h 150000"/>
                  <a:gd name="connsiteX7" fmla="*/ 2 w 120000"/>
                  <a:gd name="connsiteY7" fmla="*/ 15004 h 150000"/>
                  <a:gd name="connsiteX8" fmla="*/ 2 w 120000"/>
                  <a:gd name="connsiteY8" fmla="*/ 15004 h 150000"/>
                  <a:gd name="connsiteX9" fmla="*/ 15002 w 120000"/>
                  <a:gd name="connsiteY9" fmla="*/ 4 h 150000"/>
                  <a:gd name="connsiteX10" fmla="*/ 105002 w 120000"/>
                  <a:gd name="connsiteY10" fmla="*/ 4 h 150000"/>
                  <a:gd name="connsiteX11" fmla="*/ 120002 w 120000"/>
                  <a:gd name="connsiteY11" fmla="*/ 15004 h 150000"/>
                  <a:gd name="connsiteX12" fmla="*/ 120002 w 120000"/>
                  <a:gd name="connsiteY12" fmla="*/ 15004 h 150000"/>
                  <a:gd name="connsiteX13" fmla="*/ 105002 w 120000"/>
                  <a:gd name="connsiteY13" fmla="*/ 30004 h 150000"/>
                  <a:gd name="connsiteX14" fmla="*/ 75002 w 120000"/>
                  <a:gd name="connsiteY14" fmla="*/ 30004 h 1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000" h="150000">
                    <a:moveTo>
                      <a:pt x="75002" y="30004"/>
                    </a:moveTo>
                    <a:lnTo>
                      <a:pt x="75002" y="135004"/>
                    </a:lnTo>
                    <a:cubicBezTo>
                      <a:pt x="75002" y="143289"/>
                      <a:pt x="68286" y="150004"/>
                      <a:pt x="60002" y="150004"/>
                    </a:cubicBezTo>
                    <a:lnTo>
                      <a:pt x="60002" y="150004"/>
                    </a:lnTo>
                    <a:cubicBezTo>
                      <a:pt x="51718" y="150004"/>
                      <a:pt x="45002" y="143289"/>
                      <a:pt x="45002" y="135004"/>
                    </a:cubicBezTo>
                    <a:lnTo>
                      <a:pt x="45002" y="30004"/>
                    </a:lnTo>
                    <a:lnTo>
                      <a:pt x="15002" y="30004"/>
                    </a:lnTo>
                    <a:cubicBezTo>
                      <a:pt x="6718" y="30004"/>
                      <a:pt x="2" y="23288"/>
                      <a:pt x="2" y="15004"/>
                    </a:cubicBezTo>
                    <a:lnTo>
                      <a:pt x="2" y="15004"/>
                    </a:lnTo>
                    <a:cubicBezTo>
                      <a:pt x="2" y="6720"/>
                      <a:pt x="6718" y="4"/>
                      <a:pt x="15002" y="4"/>
                    </a:cubicBezTo>
                    <a:lnTo>
                      <a:pt x="105002" y="4"/>
                    </a:lnTo>
                    <a:cubicBezTo>
                      <a:pt x="113287" y="4"/>
                      <a:pt x="120002" y="6720"/>
                      <a:pt x="120002" y="15004"/>
                    </a:cubicBezTo>
                    <a:lnTo>
                      <a:pt x="120002" y="15004"/>
                    </a:lnTo>
                    <a:cubicBezTo>
                      <a:pt x="120002" y="23288"/>
                      <a:pt x="113287" y="30004"/>
                      <a:pt x="105002" y="30004"/>
                    </a:cubicBezTo>
                    <a:lnTo>
                      <a:pt x="75002" y="30004"/>
                    </a:lnTo>
                    <a:close/>
                  </a:path>
                </a:pathLst>
              </a:custGeom>
              <a:solidFill>
                <a:schemeClr val="accent2"/>
              </a:solidFill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204" name="Рисунок 28">
            <a:extLst>
              <a:ext uri="{FF2B5EF4-FFF2-40B4-BE49-F238E27FC236}">
                <a16:creationId xmlns:a16="http://schemas.microsoft.com/office/drawing/2014/main" id="{FBFFCF65-06FA-7B4A-8DB8-874BDFD85908}"/>
              </a:ext>
            </a:extLst>
          </p:cNvPr>
          <p:cNvGrpSpPr/>
          <p:nvPr/>
        </p:nvGrpSpPr>
        <p:grpSpPr>
          <a:xfrm>
            <a:off x="1385202" y="2442261"/>
            <a:ext cx="360000" cy="360000"/>
            <a:chOff x="1464407" y="2758983"/>
            <a:chExt cx="360000" cy="360000"/>
          </a:xfrm>
        </p:grpSpPr>
        <p:sp>
          <p:nvSpPr>
            <p:cNvPr id="205" name="Полилиния 204">
              <a:extLst>
                <a:ext uri="{FF2B5EF4-FFF2-40B4-BE49-F238E27FC236}">
                  <a16:creationId xmlns:a16="http://schemas.microsoft.com/office/drawing/2014/main" id="{0CD0C1EB-4E9F-6146-AEB6-D95D44B4A4D2}"/>
                </a:ext>
              </a:extLst>
            </p:cNvPr>
            <p:cNvSpPr/>
            <p:nvPr/>
          </p:nvSpPr>
          <p:spPr>
            <a:xfrm>
              <a:off x="1464407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6" name="Полилиния 205">
              <a:extLst>
                <a:ext uri="{FF2B5EF4-FFF2-40B4-BE49-F238E27FC236}">
                  <a16:creationId xmlns:a16="http://schemas.microsoft.com/office/drawing/2014/main" id="{C516FD02-938B-FC49-A58C-C339744BD4BE}"/>
                </a:ext>
              </a:extLst>
            </p:cNvPr>
            <p:cNvSpPr/>
            <p:nvPr/>
          </p:nvSpPr>
          <p:spPr>
            <a:xfrm>
              <a:off x="1704407" y="2998983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207" name="Рисунок 28">
              <a:extLst>
                <a:ext uri="{FF2B5EF4-FFF2-40B4-BE49-F238E27FC236}">
                  <a16:creationId xmlns:a16="http://schemas.microsoft.com/office/drawing/2014/main" id="{CA9CFC4B-BBF0-954D-BBAA-1C66B7B7B22E}"/>
                </a:ext>
              </a:extLst>
            </p:cNvPr>
            <p:cNvGrpSpPr/>
            <p:nvPr/>
          </p:nvGrpSpPr>
          <p:grpSpPr>
            <a:xfrm>
              <a:off x="1494407" y="2788983"/>
              <a:ext cx="240000" cy="240000"/>
              <a:chOff x="1494407" y="2788983"/>
              <a:chExt cx="240000" cy="240000"/>
            </a:xfrm>
          </p:grpSpPr>
          <p:sp>
            <p:nvSpPr>
              <p:cNvPr id="208" name="Полилиния 207">
                <a:extLst>
                  <a:ext uri="{FF2B5EF4-FFF2-40B4-BE49-F238E27FC236}">
                    <a16:creationId xmlns:a16="http://schemas.microsoft.com/office/drawing/2014/main" id="{BCFEE2E3-ACC0-C544-89D8-0440B1574EE5}"/>
                  </a:ext>
                </a:extLst>
              </p:cNvPr>
              <p:cNvSpPr/>
              <p:nvPr/>
            </p:nvSpPr>
            <p:spPr>
              <a:xfrm>
                <a:off x="1494407" y="2788983"/>
                <a:ext cx="240000" cy="240000"/>
              </a:xfrm>
              <a:custGeom>
                <a:avLst/>
                <a:gdLst>
                  <a:gd name="connsiteX0" fmla="*/ 2 w 240000"/>
                  <a:gd name="connsiteY0" fmla="*/ 2 h 240000"/>
                  <a:gd name="connsiteX1" fmla="*/ 240002 w 240000"/>
                  <a:gd name="connsiteY1" fmla="*/ 2 h 240000"/>
                  <a:gd name="connsiteX2" fmla="*/ 240002 w 240000"/>
                  <a:gd name="connsiteY2" fmla="*/ 240002 h 240000"/>
                  <a:gd name="connsiteX3" fmla="*/ 2 w 240000"/>
                  <a:gd name="connsiteY3" fmla="*/ 240002 h 24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000" h="240000">
                    <a:moveTo>
                      <a:pt x="2" y="2"/>
                    </a:moveTo>
                    <a:lnTo>
                      <a:pt x="240002" y="2"/>
                    </a:lnTo>
                    <a:lnTo>
                      <a:pt x="240002" y="240002"/>
                    </a:lnTo>
                    <a:lnTo>
                      <a:pt x="2" y="240002"/>
                    </a:lnTo>
                    <a:close/>
                  </a:path>
                </a:pathLst>
              </a:custGeom>
              <a:noFill/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9" name="Полилиния 208">
                <a:extLst>
                  <a:ext uri="{FF2B5EF4-FFF2-40B4-BE49-F238E27FC236}">
                    <a16:creationId xmlns:a16="http://schemas.microsoft.com/office/drawing/2014/main" id="{30D55277-7E5D-1741-8CD2-2663585BE41B}"/>
                  </a:ext>
                </a:extLst>
              </p:cNvPr>
              <p:cNvSpPr/>
              <p:nvPr/>
            </p:nvSpPr>
            <p:spPr>
              <a:xfrm>
                <a:off x="1554407" y="2833983"/>
                <a:ext cx="120000" cy="150000"/>
              </a:xfrm>
              <a:custGeom>
                <a:avLst/>
                <a:gdLst>
                  <a:gd name="connsiteX0" fmla="*/ 75002 w 120000"/>
                  <a:gd name="connsiteY0" fmla="*/ 30002 h 150000"/>
                  <a:gd name="connsiteX1" fmla="*/ 75002 w 120000"/>
                  <a:gd name="connsiteY1" fmla="*/ 135002 h 150000"/>
                  <a:gd name="connsiteX2" fmla="*/ 60002 w 120000"/>
                  <a:gd name="connsiteY2" fmla="*/ 150002 h 150000"/>
                  <a:gd name="connsiteX3" fmla="*/ 60002 w 120000"/>
                  <a:gd name="connsiteY3" fmla="*/ 150002 h 150000"/>
                  <a:gd name="connsiteX4" fmla="*/ 45002 w 120000"/>
                  <a:gd name="connsiteY4" fmla="*/ 135002 h 150000"/>
                  <a:gd name="connsiteX5" fmla="*/ 45002 w 120000"/>
                  <a:gd name="connsiteY5" fmla="*/ 30002 h 150000"/>
                  <a:gd name="connsiteX6" fmla="*/ 15002 w 120000"/>
                  <a:gd name="connsiteY6" fmla="*/ 30002 h 150000"/>
                  <a:gd name="connsiteX7" fmla="*/ 2 w 120000"/>
                  <a:gd name="connsiteY7" fmla="*/ 15002 h 150000"/>
                  <a:gd name="connsiteX8" fmla="*/ 2 w 120000"/>
                  <a:gd name="connsiteY8" fmla="*/ 15002 h 150000"/>
                  <a:gd name="connsiteX9" fmla="*/ 15002 w 120000"/>
                  <a:gd name="connsiteY9" fmla="*/ 2 h 150000"/>
                  <a:gd name="connsiteX10" fmla="*/ 105002 w 120000"/>
                  <a:gd name="connsiteY10" fmla="*/ 2 h 150000"/>
                  <a:gd name="connsiteX11" fmla="*/ 120002 w 120000"/>
                  <a:gd name="connsiteY11" fmla="*/ 15002 h 150000"/>
                  <a:gd name="connsiteX12" fmla="*/ 120002 w 120000"/>
                  <a:gd name="connsiteY12" fmla="*/ 15002 h 150000"/>
                  <a:gd name="connsiteX13" fmla="*/ 105002 w 120000"/>
                  <a:gd name="connsiteY13" fmla="*/ 30002 h 150000"/>
                  <a:gd name="connsiteX14" fmla="*/ 75002 w 120000"/>
                  <a:gd name="connsiteY14" fmla="*/ 30002 h 1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000" h="150000">
                    <a:moveTo>
                      <a:pt x="75002" y="30002"/>
                    </a:moveTo>
                    <a:lnTo>
                      <a:pt x="75002" y="135002"/>
                    </a:lnTo>
                    <a:cubicBezTo>
                      <a:pt x="75002" y="143287"/>
                      <a:pt x="68286" y="150002"/>
                      <a:pt x="60002" y="150002"/>
                    </a:cubicBezTo>
                    <a:lnTo>
                      <a:pt x="60002" y="150002"/>
                    </a:lnTo>
                    <a:cubicBezTo>
                      <a:pt x="51718" y="150002"/>
                      <a:pt x="45002" y="143287"/>
                      <a:pt x="45002" y="135002"/>
                    </a:cubicBezTo>
                    <a:lnTo>
                      <a:pt x="45002" y="30002"/>
                    </a:lnTo>
                    <a:lnTo>
                      <a:pt x="15002" y="30002"/>
                    </a:lnTo>
                    <a:cubicBezTo>
                      <a:pt x="6718" y="30002"/>
                      <a:pt x="2" y="23286"/>
                      <a:pt x="2" y="15002"/>
                    </a:cubicBezTo>
                    <a:lnTo>
                      <a:pt x="2" y="15002"/>
                    </a:lnTo>
                    <a:cubicBezTo>
                      <a:pt x="2" y="6718"/>
                      <a:pt x="6718" y="2"/>
                      <a:pt x="15002" y="2"/>
                    </a:cubicBezTo>
                    <a:lnTo>
                      <a:pt x="105002" y="2"/>
                    </a:lnTo>
                    <a:cubicBezTo>
                      <a:pt x="113287" y="2"/>
                      <a:pt x="120002" y="6718"/>
                      <a:pt x="120002" y="15002"/>
                    </a:cubicBezTo>
                    <a:lnTo>
                      <a:pt x="120002" y="15002"/>
                    </a:lnTo>
                    <a:cubicBezTo>
                      <a:pt x="120002" y="23286"/>
                      <a:pt x="113287" y="30002"/>
                      <a:pt x="105002" y="30002"/>
                    </a:cubicBezTo>
                    <a:lnTo>
                      <a:pt x="75002" y="30002"/>
                    </a:lnTo>
                    <a:close/>
                  </a:path>
                </a:pathLst>
              </a:custGeom>
              <a:solidFill>
                <a:schemeClr val="accent2"/>
              </a:solidFill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</p:grpSp>
      <p:grpSp>
        <p:nvGrpSpPr>
          <p:cNvPr id="210" name="Рисунок 29">
            <a:extLst>
              <a:ext uri="{FF2B5EF4-FFF2-40B4-BE49-F238E27FC236}">
                <a16:creationId xmlns:a16="http://schemas.microsoft.com/office/drawing/2014/main" id="{314BC200-6524-9448-B9B7-EAA43BE27624}"/>
              </a:ext>
            </a:extLst>
          </p:cNvPr>
          <p:cNvGrpSpPr/>
          <p:nvPr/>
        </p:nvGrpSpPr>
        <p:grpSpPr>
          <a:xfrm>
            <a:off x="2895468" y="2442261"/>
            <a:ext cx="360000" cy="360000"/>
            <a:chOff x="2974673" y="2758983"/>
            <a:chExt cx="360000" cy="360000"/>
          </a:xfrm>
        </p:grpSpPr>
        <p:sp>
          <p:nvSpPr>
            <p:cNvPr id="211" name="Полилиния 210">
              <a:extLst>
                <a:ext uri="{FF2B5EF4-FFF2-40B4-BE49-F238E27FC236}">
                  <a16:creationId xmlns:a16="http://schemas.microsoft.com/office/drawing/2014/main" id="{952735FF-5FB7-0849-BA57-8F19D33E9C7D}"/>
                </a:ext>
              </a:extLst>
            </p:cNvPr>
            <p:cNvSpPr/>
            <p:nvPr/>
          </p:nvSpPr>
          <p:spPr>
            <a:xfrm>
              <a:off x="2974673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2" name="Полилиния 211">
              <a:extLst>
                <a:ext uri="{FF2B5EF4-FFF2-40B4-BE49-F238E27FC236}">
                  <a16:creationId xmlns:a16="http://schemas.microsoft.com/office/drawing/2014/main" id="{E642FE98-6122-AC4B-80C2-CB40787DF399}"/>
                </a:ext>
              </a:extLst>
            </p:cNvPr>
            <p:cNvSpPr/>
            <p:nvPr/>
          </p:nvSpPr>
          <p:spPr>
            <a:xfrm>
              <a:off x="3214673" y="2788983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213" name="Рисунок 29">
              <a:extLst>
                <a:ext uri="{FF2B5EF4-FFF2-40B4-BE49-F238E27FC236}">
                  <a16:creationId xmlns:a16="http://schemas.microsoft.com/office/drawing/2014/main" id="{07B1FA46-C6BB-A54F-8E43-B62D8F84E24A}"/>
                </a:ext>
              </a:extLst>
            </p:cNvPr>
            <p:cNvGrpSpPr/>
            <p:nvPr/>
          </p:nvGrpSpPr>
          <p:grpSpPr>
            <a:xfrm>
              <a:off x="3004673" y="2848983"/>
              <a:ext cx="240000" cy="240000"/>
              <a:chOff x="3004673" y="2848983"/>
              <a:chExt cx="240000" cy="240000"/>
            </a:xfrm>
          </p:grpSpPr>
          <p:sp>
            <p:nvSpPr>
              <p:cNvPr id="214" name="Полилиния 213">
                <a:extLst>
                  <a:ext uri="{FF2B5EF4-FFF2-40B4-BE49-F238E27FC236}">
                    <a16:creationId xmlns:a16="http://schemas.microsoft.com/office/drawing/2014/main" id="{C49D721B-6316-1E4F-AB7B-FAC4F5D7A887}"/>
                  </a:ext>
                </a:extLst>
              </p:cNvPr>
              <p:cNvSpPr/>
              <p:nvPr/>
            </p:nvSpPr>
            <p:spPr>
              <a:xfrm>
                <a:off x="3004673" y="2848983"/>
                <a:ext cx="240000" cy="240000"/>
              </a:xfrm>
              <a:custGeom>
                <a:avLst/>
                <a:gdLst>
                  <a:gd name="connsiteX0" fmla="*/ 2 w 240000"/>
                  <a:gd name="connsiteY0" fmla="*/ 6 h 240000"/>
                  <a:gd name="connsiteX1" fmla="*/ 240002 w 240000"/>
                  <a:gd name="connsiteY1" fmla="*/ 6 h 240000"/>
                  <a:gd name="connsiteX2" fmla="*/ 240002 w 240000"/>
                  <a:gd name="connsiteY2" fmla="*/ 240006 h 240000"/>
                  <a:gd name="connsiteX3" fmla="*/ 2 w 240000"/>
                  <a:gd name="connsiteY3" fmla="*/ 240006 h 24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000" h="240000">
                    <a:moveTo>
                      <a:pt x="2" y="6"/>
                    </a:moveTo>
                    <a:lnTo>
                      <a:pt x="240002" y="6"/>
                    </a:lnTo>
                    <a:lnTo>
                      <a:pt x="240002" y="240006"/>
                    </a:lnTo>
                    <a:lnTo>
                      <a:pt x="2" y="240006"/>
                    </a:lnTo>
                    <a:close/>
                  </a:path>
                </a:pathLst>
              </a:custGeom>
              <a:noFill/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5" name="Полилиния 214">
                <a:extLst>
                  <a:ext uri="{FF2B5EF4-FFF2-40B4-BE49-F238E27FC236}">
                    <a16:creationId xmlns:a16="http://schemas.microsoft.com/office/drawing/2014/main" id="{F1623544-9628-5D40-A9FC-3603D87B0C99}"/>
                  </a:ext>
                </a:extLst>
              </p:cNvPr>
              <p:cNvSpPr/>
              <p:nvPr/>
            </p:nvSpPr>
            <p:spPr>
              <a:xfrm>
                <a:off x="3064673" y="2893983"/>
                <a:ext cx="120000" cy="150000"/>
              </a:xfrm>
              <a:custGeom>
                <a:avLst/>
                <a:gdLst>
                  <a:gd name="connsiteX0" fmla="*/ 75002 w 120000"/>
                  <a:gd name="connsiteY0" fmla="*/ 30006 h 150000"/>
                  <a:gd name="connsiteX1" fmla="*/ 75002 w 120000"/>
                  <a:gd name="connsiteY1" fmla="*/ 135006 h 150000"/>
                  <a:gd name="connsiteX2" fmla="*/ 60002 w 120000"/>
                  <a:gd name="connsiteY2" fmla="*/ 150006 h 150000"/>
                  <a:gd name="connsiteX3" fmla="*/ 60002 w 120000"/>
                  <a:gd name="connsiteY3" fmla="*/ 150006 h 150000"/>
                  <a:gd name="connsiteX4" fmla="*/ 45002 w 120000"/>
                  <a:gd name="connsiteY4" fmla="*/ 135006 h 150000"/>
                  <a:gd name="connsiteX5" fmla="*/ 45002 w 120000"/>
                  <a:gd name="connsiteY5" fmla="*/ 30006 h 150000"/>
                  <a:gd name="connsiteX6" fmla="*/ 15002 w 120000"/>
                  <a:gd name="connsiteY6" fmla="*/ 30006 h 150000"/>
                  <a:gd name="connsiteX7" fmla="*/ 2 w 120000"/>
                  <a:gd name="connsiteY7" fmla="*/ 15006 h 150000"/>
                  <a:gd name="connsiteX8" fmla="*/ 2 w 120000"/>
                  <a:gd name="connsiteY8" fmla="*/ 15006 h 150000"/>
                  <a:gd name="connsiteX9" fmla="*/ 15002 w 120000"/>
                  <a:gd name="connsiteY9" fmla="*/ 6 h 150000"/>
                  <a:gd name="connsiteX10" fmla="*/ 105002 w 120000"/>
                  <a:gd name="connsiteY10" fmla="*/ 6 h 150000"/>
                  <a:gd name="connsiteX11" fmla="*/ 120002 w 120000"/>
                  <a:gd name="connsiteY11" fmla="*/ 15006 h 150000"/>
                  <a:gd name="connsiteX12" fmla="*/ 120002 w 120000"/>
                  <a:gd name="connsiteY12" fmla="*/ 15006 h 150000"/>
                  <a:gd name="connsiteX13" fmla="*/ 105002 w 120000"/>
                  <a:gd name="connsiteY13" fmla="*/ 30006 h 150000"/>
                  <a:gd name="connsiteX14" fmla="*/ 75002 w 120000"/>
                  <a:gd name="connsiteY14" fmla="*/ 30006 h 1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000" h="150000">
                    <a:moveTo>
                      <a:pt x="75002" y="30006"/>
                    </a:moveTo>
                    <a:lnTo>
                      <a:pt x="75002" y="135006"/>
                    </a:lnTo>
                    <a:cubicBezTo>
                      <a:pt x="75002" y="143291"/>
                      <a:pt x="68286" y="150006"/>
                      <a:pt x="60002" y="150006"/>
                    </a:cubicBezTo>
                    <a:lnTo>
                      <a:pt x="60002" y="150006"/>
                    </a:lnTo>
                    <a:cubicBezTo>
                      <a:pt x="51718" y="150006"/>
                      <a:pt x="45002" y="143291"/>
                      <a:pt x="45002" y="135006"/>
                    </a:cubicBezTo>
                    <a:lnTo>
                      <a:pt x="45002" y="30006"/>
                    </a:lnTo>
                    <a:lnTo>
                      <a:pt x="15002" y="30006"/>
                    </a:lnTo>
                    <a:cubicBezTo>
                      <a:pt x="6718" y="30006"/>
                      <a:pt x="2" y="23290"/>
                      <a:pt x="2" y="15006"/>
                    </a:cubicBezTo>
                    <a:lnTo>
                      <a:pt x="2" y="15006"/>
                    </a:lnTo>
                    <a:cubicBezTo>
                      <a:pt x="2" y="6722"/>
                      <a:pt x="6718" y="6"/>
                      <a:pt x="15002" y="6"/>
                    </a:cubicBezTo>
                    <a:lnTo>
                      <a:pt x="105002" y="6"/>
                    </a:lnTo>
                    <a:cubicBezTo>
                      <a:pt x="113287" y="6"/>
                      <a:pt x="120002" y="6722"/>
                      <a:pt x="120002" y="15006"/>
                    </a:cubicBezTo>
                    <a:lnTo>
                      <a:pt x="120002" y="15006"/>
                    </a:lnTo>
                    <a:cubicBezTo>
                      <a:pt x="120002" y="23290"/>
                      <a:pt x="113287" y="30006"/>
                      <a:pt x="105002" y="30006"/>
                    </a:cubicBezTo>
                    <a:lnTo>
                      <a:pt x="75002" y="30006"/>
                    </a:lnTo>
                    <a:close/>
                  </a:path>
                </a:pathLst>
              </a:custGeom>
              <a:solidFill>
                <a:schemeClr val="accent2"/>
              </a:solidFill>
              <a:ln w="226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216" name="Рисунок 30">
            <a:extLst>
              <a:ext uri="{FF2B5EF4-FFF2-40B4-BE49-F238E27FC236}">
                <a16:creationId xmlns:a16="http://schemas.microsoft.com/office/drawing/2014/main" id="{65910DAA-7053-9941-B52C-AA0CB3CA7B41}"/>
              </a:ext>
            </a:extLst>
          </p:cNvPr>
          <p:cNvGrpSpPr/>
          <p:nvPr/>
        </p:nvGrpSpPr>
        <p:grpSpPr>
          <a:xfrm>
            <a:off x="3650601" y="2442261"/>
            <a:ext cx="360000" cy="360000"/>
            <a:chOff x="3729806" y="2758983"/>
            <a:chExt cx="360000" cy="360000"/>
          </a:xfrm>
        </p:grpSpPr>
        <p:sp>
          <p:nvSpPr>
            <p:cNvPr id="217" name="Полилиния 216">
              <a:extLst>
                <a:ext uri="{FF2B5EF4-FFF2-40B4-BE49-F238E27FC236}">
                  <a16:creationId xmlns:a16="http://schemas.microsoft.com/office/drawing/2014/main" id="{409F028D-A20C-BC44-ADA5-325B90B29EFF}"/>
                </a:ext>
              </a:extLst>
            </p:cNvPr>
            <p:cNvSpPr/>
            <p:nvPr/>
          </p:nvSpPr>
          <p:spPr>
            <a:xfrm>
              <a:off x="3729806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8" name="Полилиния 217">
              <a:extLst>
                <a:ext uri="{FF2B5EF4-FFF2-40B4-BE49-F238E27FC236}">
                  <a16:creationId xmlns:a16="http://schemas.microsoft.com/office/drawing/2014/main" id="{3800CDCD-F637-E849-9F06-ADF870412D5B}"/>
                </a:ext>
              </a:extLst>
            </p:cNvPr>
            <p:cNvSpPr/>
            <p:nvPr/>
          </p:nvSpPr>
          <p:spPr>
            <a:xfrm>
              <a:off x="3819806" y="2788983"/>
              <a:ext cx="180000" cy="300000"/>
            </a:xfrm>
            <a:custGeom>
              <a:avLst/>
              <a:gdLst>
                <a:gd name="connsiteX0" fmla="*/ 22500 w 180000"/>
                <a:gd name="connsiteY0" fmla="*/ 30000 h 300000"/>
                <a:gd name="connsiteX1" fmla="*/ 22500 w 180000"/>
                <a:gd name="connsiteY1" fmla="*/ 255000 h 300000"/>
                <a:gd name="connsiteX2" fmla="*/ 157500 w 180000"/>
                <a:gd name="connsiteY2" fmla="*/ 255000 h 300000"/>
                <a:gd name="connsiteX3" fmla="*/ 157500 w 180000"/>
                <a:gd name="connsiteY3" fmla="*/ 30000 h 300000"/>
                <a:gd name="connsiteX4" fmla="*/ 22500 w 180000"/>
                <a:gd name="connsiteY4" fmla="*/ 30000 h 300000"/>
                <a:gd name="connsiteX5" fmla="*/ 25714 w 180000"/>
                <a:gd name="connsiteY5" fmla="*/ 0 h 300000"/>
                <a:gd name="connsiteX6" fmla="*/ 154286 w 180000"/>
                <a:gd name="connsiteY6" fmla="*/ 0 h 300000"/>
                <a:gd name="connsiteX7" fmla="*/ 180000 w 180000"/>
                <a:gd name="connsiteY7" fmla="*/ 30000 h 300000"/>
                <a:gd name="connsiteX8" fmla="*/ 180000 w 180000"/>
                <a:gd name="connsiteY8" fmla="*/ 270000 h 300000"/>
                <a:gd name="connsiteX9" fmla="*/ 154286 w 180000"/>
                <a:gd name="connsiteY9" fmla="*/ 300000 h 300000"/>
                <a:gd name="connsiteX10" fmla="*/ 25714 w 180000"/>
                <a:gd name="connsiteY10" fmla="*/ 300000 h 300000"/>
                <a:gd name="connsiteX11" fmla="*/ 0 w 180000"/>
                <a:gd name="connsiteY11" fmla="*/ 270000 h 300000"/>
                <a:gd name="connsiteX12" fmla="*/ 0 w 180000"/>
                <a:gd name="connsiteY12" fmla="*/ 30000 h 300000"/>
                <a:gd name="connsiteX13" fmla="*/ 25714 w 180000"/>
                <a:gd name="connsiteY13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0000" h="300000">
                  <a:moveTo>
                    <a:pt x="22500" y="30000"/>
                  </a:moveTo>
                  <a:lnTo>
                    <a:pt x="22500" y="255000"/>
                  </a:lnTo>
                  <a:lnTo>
                    <a:pt x="157500" y="255000"/>
                  </a:lnTo>
                  <a:lnTo>
                    <a:pt x="157500" y="30000"/>
                  </a:lnTo>
                  <a:lnTo>
                    <a:pt x="22500" y="30000"/>
                  </a:lnTo>
                  <a:close/>
                  <a:moveTo>
                    <a:pt x="25714" y="0"/>
                  </a:moveTo>
                  <a:lnTo>
                    <a:pt x="154286" y="0"/>
                  </a:lnTo>
                  <a:cubicBezTo>
                    <a:pt x="168488" y="0"/>
                    <a:pt x="180000" y="13431"/>
                    <a:pt x="180000" y="30000"/>
                  </a:cubicBezTo>
                  <a:lnTo>
                    <a:pt x="180000" y="270000"/>
                  </a:lnTo>
                  <a:cubicBezTo>
                    <a:pt x="180000" y="286569"/>
                    <a:pt x="168488" y="300000"/>
                    <a:pt x="154286" y="300000"/>
                  </a:cubicBezTo>
                  <a:lnTo>
                    <a:pt x="25714" y="300000"/>
                  </a:lnTo>
                  <a:cubicBezTo>
                    <a:pt x="11513" y="300000"/>
                    <a:pt x="0" y="286569"/>
                    <a:pt x="0" y="270000"/>
                  </a:cubicBezTo>
                  <a:lnTo>
                    <a:pt x="0" y="30000"/>
                  </a:lnTo>
                  <a:cubicBezTo>
                    <a:pt x="0" y="13431"/>
                    <a:pt x="11513" y="0"/>
                    <a:pt x="25714" y="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9" name="Полилиния 218">
              <a:extLst>
                <a:ext uri="{FF2B5EF4-FFF2-40B4-BE49-F238E27FC236}">
                  <a16:creationId xmlns:a16="http://schemas.microsoft.com/office/drawing/2014/main" id="{AA5F1D5F-71F8-4E4A-8C38-1A0A73856434}"/>
                </a:ext>
              </a:extLst>
            </p:cNvPr>
            <p:cNvSpPr/>
            <p:nvPr/>
          </p:nvSpPr>
          <p:spPr>
            <a:xfrm>
              <a:off x="3842306" y="2818983"/>
              <a:ext cx="135000" cy="225000"/>
            </a:xfrm>
            <a:custGeom>
              <a:avLst/>
              <a:gdLst>
                <a:gd name="connsiteX0" fmla="*/ 0 w 135000"/>
                <a:gd name="connsiteY0" fmla="*/ 0 h 225000"/>
                <a:gd name="connsiteX1" fmla="*/ 0 w 135000"/>
                <a:gd name="connsiteY1" fmla="*/ 225000 h 225000"/>
                <a:gd name="connsiteX2" fmla="*/ 135000 w 135000"/>
                <a:gd name="connsiteY2" fmla="*/ 225000 h 225000"/>
                <a:gd name="connsiteX3" fmla="*/ 135000 w 135000"/>
                <a:gd name="connsiteY3" fmla="*/ 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000" h="225000">
                  <a:moveTo>
                    <a:pt x="0" y="0"/>
                  </a:moveTo>
                  <a:lnTo>
                    <a:pt x="0" y="225000"/>
                  </a:lnTo>
                  <a:lnTo>
                    <a:pt x="135000" y="225000"/>
                  </a:lnTo>
                  <a:lnTo>
                    <a:pt x="135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20" name="Рисунок 31">
            <a:extLst>
              <a:ext uri="{FF2B5EF4-FFF2-40B4-BE49-F238E27FC236}">
                <a16:creationId xmlns:a16="http://schemas.microsoft.com/office/drawing/2014/main" id="{EE5DC395-8807-214D-ABE8-3D3D7E860488}"/>
              </a:ext>
            </a:extLst>
          </p:cNvPr>
          <p:cNvGrpSpPr/>
          <p:nvPr/>
        </p:nvGrpSpPr>
        <p:grpSpPr>
          <a:xfrm>
            <a:off x="630069" y="2442261"/>
            <a:ext cx="360000" cy="360000"/>
            <a:chOff x="709274" y="2758983"/>
            <a:chExt cx="360000" cy="360000"/>
          </a:xfrm>
        </p:grpSpPr>
        <p:sp>
          <p:nvSpPr>
            <p:cNvPr id="221" name="Полилиния 220">
              <a:extLst>
                <a:ext uri="{FF2B5EF4-FFF2-40B4-BE49-F238E27FC236}">
                  <a16:creationId xmlns:a16="http://schemas.microsoft.com/office/drawing/2014/main" id="{3AE8C60F-BB14-5C46-8487-36B1B9E0C814}"/>
                </a:ext>
              </a:extLst>
            </p:cNvPr>
            <p:cNvSpPr/>
            <p:nvPr/>
          </p:nvSpPr>
          <p:spPr>
            <a:xfrm>
              <a:off x="709274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2" name="Полилиния 221">
              <a:extLst>
                <a:ext uri="{FF2B5EF4-FFF2-40B4-BE49-F238E27FC236}">
                  <a16:creationId xmlns:a16="http://schemas.microsoft.com/office/drawing/2014/main" id="{497ABBA3-8459-4947-A7F8-2F3F19B65F07}"/>
                </a:ext>
              </a:extLst>
            </p:cNvPr>
            <p:cNvSpPr/>
            <p:nvPr/>
          </p:nvSpPr>
          <p:spPr>
            <a:xfrm rot="-2700000">
              <a:off x="850110" y="2805647"/>
              <a:ext cx="165000" cy="164999"/>
            </a:xfrm>
            <a:custGeom>
              <a:avLst/>
              <a:gdLst>
                <a:gd name="connsiteX0" fmla="*/ 82500 w 165000"/>
                <a:gd name="connsiteY0" fmla="*/ 165000 h 164999"/>
                <a:gd name="connsiteX1" fmla="*/ 0 w 165000"/>
                <a:gd name="connsiteY1" fmla="*/ 82500 h 164999"/>
                <a:gd name="connsiteX2" fmla="*/ 82500 w 165000"/>
                <a:gd name="connsiteY2" fmla="*/ 0 h 164999"/>
                <a:gd name="connsiteX3" fmla="*/ 165000 w 165000"/>
                <a:gd name="connsiteY3" fmla="*/ 82500 h 164999"/>
                <a:gd name="connsiteX4" fmla="*/ 82500 w 165000"/>
                <a:gd name="connsiteY4" fmla="*/ 165000 h 164999"/>
                <a:gd name="connsiteX5" fmla="*/ 82500 w 165000"/>
                <a:gd name="connsiteY5" fmla="*/ 112500 h 164999"/>
                <a:gd name="connsiteX6" fmla="*/ 112500 w 165000"/>
                <a:gd name="connsiteY6" fmla="*/ 82500 h 164999"/>
                <a:gd name="connsiteX7" fmla="*/ 82500 w 165000"/>
                <a:gd name="connsiteY7" fmla="*/ 52500 h 164999"/>
                <a:gd name="connsiteX8" fmla="*/ 52500 w 165000"/>
                <a:gd name="connsiteY8" fmla="*/ 82500 h 164999"/>
                <a:gd name="connsiteX9" fmla="*/ 82500 w 165000"/>
                <a:gd name="connsiteY9" fmla="*/ 112500 h 164999"/>
                <a:gd name="connsiteX10" fmla="*/ 82500 w 165000"/>
                <a:gd name="connsiteY10" fmla="*/ 97500 h 164999"/>
                <a:gd name="connsiteX11" fmla="*/ 97500 w 165000"/>
                <a:gd name="connsiteY11" fmla="*/ 82500 h 164999"/>
                <a:gd name="connsiteX12" fmla="*/ 82500 w 165000"/>
                <a:gd name="connsiteY12" fmla="*/ 67500 h 164999"/>
                <a:gd name="connsiteX13" fmla="*/ 67500 w 165000"/>
                <a:gd name="connsiteY13" fmla="*/ 82500 h 164999"/>
                <a:gd name="connsiteX14" fmla="*/ 82500 w 165000"/>
                <a:gd name="connsiteY14" fmla="*/ 97500 h 16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5000" h="164999">
                  <a:moveTo>
                    <a:pt x="82500" y="165000"/>
                  </a:moveTo>
                  <a:cubicBezTo>
                    <a:pt x="36936" y="165000"/>
                    <a:pt x="0" y="128064"/>
                    <a:pt x="0" y="82500"/>
                  </a:cubicBezTo>
                  <a:cubicBezTo>
                    <a:pt x="0" y="36937"/>
                    <a:pt x="36936" y="0"/>
                    <a:pt x="82500" y="0"/>
                  </a:cubicBezTo>
                  <a:cubicBezTo>
                    <a:pt x="128064" y="0"/>
                    <a:pt x="165000" y="36937"/>
                    <a:pt x="165000" y="82500"/>
                  </a:cubicBezTo>
                  <a:cubicBezTo>
                    <a:pt x="165000" y="128064"/>
                    <a:pt x="128064" y="165000"/>
                    <a:pt x="82500" y="165000"/>
                  </a:cubicBezTo>
                  <a:close/>
                  <a:moveTo>
                    <a:pt x="82500" y="112500"/>
                  </a:moveTo>
                  <a:cubicBezTo>
                    <a:pt x="99069" y="112500"/>
                    <a:pt x="112500" y="99069"/>
                    <a:pt x="112500" y="82500"/>
                  </a:cubicBezTo>
                  <a:cubicBezTo>
                    <a:pt x="112500" y="65931"/>
                    <a:pt x="99069" y="52500"/>
                    <a:pt x="82500" y="52500"/>
                  </a:cubicBezTo>
                  <a:cubicBezTo>
                    <a:pt x="65931" y="52500"/>
                    <a:pt x="52500" y="65931"/>
                    <a:pt x="52500" y="82500"/>
                  </a:cubicBezTo>
                  <a:cubicBezTo>
                    <a:pt x="52500" y="99069"/>
                    <a:pt x="65931" y="112500"/>
                    <a:pt x="82500" y="112500"/>
                  </a:cubicBezTo>
                  <a:close/>
                  <a:moveTo>
                    <a:pt x="82500" y="97500"/>
                  </a:moveTo>
                  <a:cubicBezTo>
                    <a:pt x="90785" y="97500"/>
                    <a:pt x="97500" y="90784"/>
                    <a:pt x="97500" y="82500"/>
                  </a:cubicBezTo>
                  <a:cubicBezTo>
                    <a:pt x="97500" y="74216"/>
                    <a:pt x="90785" y="67500"/>
                    <a:pt x="82500" y="67500"/>
                  </a:cubicBezTo>
                  <a:cubicBezTo>
                    <a:pt x="74216" y="67500"/>
                    <a:pt x="67500" y="74216"/>
                    <a:pt x="67500" y="82500"/>
                  </a:cubicBezTo>
                  <a:cubicBezTo>
                    <a:pt x="67500" y="90784"/>
                    <a:pt x="74216" y="97500"/>
                    <a:pt x="82500" y="97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3" name="Скругленный прямоугольник 222">
              <a:extLst>
                <a:ext uri="{FF2B5EF4-FFF2-40B4-BE49-F238E27FC236}">
                  <a16:creationId xmlns:a16="http://schemas.microsoft.com/office/drawing/2014/main" id="{881E198F-B934-7649-AE1A-37029364A9EE}"/>
                </a:ext>
              </a:extLst>
            </p:cNvPr>
            <p:cNvSpPr/>
            <p:nvPr/>
          </p:nvSpPr>
          <p:spPr>
            <a:xfrm rot="-2700000">
              <a:off x="727757" y="2938606"/>
              <a:ext cx="240000" cy="900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4" name="Полилиния 223">
              <a:extLst>
                <a:ext uri="{FF2B5EF4-FFF2-40B4-BE49-F238E27FC236}">
                  <a16:creationId xmlns:a16="http://schemas.microsoft.com/office/drawing/2014/main" id="{EAF0F195-D06A-E44B-B039-B0CFCC1380E4}"/>
                </a:ext>
              </a:extLst>
            </p:cNvPr>
            <p:cNvSpPr/>
            <p:nvPr/>
          </p:nvSpPr>
          <p:spPr>
            <a:xfrm rot="-2700000">
              <a:off x="848290" y="2809717"/>
              <a:ext cx="105000" cy="220499"/>
            </a:xfrm>
            <a:custGeom>
              <a:avLst/>
              <a:gdLst>
                <a:gd name="connsiteX0" fmla="*/ 105000 w 105000"/>
                <a:gd name="connsiteY0" fmla="*/ 220499 h 220499"/>
                <a:gd name="connsiteX1" fmla="*/ 0 w 105000"/>
                <a:gd name="connsiteY1" fmla="*/ 110249 h 220499"/>
                <a:gd name="connsiteX2" fmla="*/ 105000 w 105000"/>
                <a:gd name="connsiteY2" fmla="*/ 0 h 220499"/>
                <a:gd name="connsiteX3" fmla="*/ 105000 w 105000"/>
                <a:gd name="connsiteY3" fmla="*/ 220499 h 220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000" h="220499">
                  <a:moveTo>
                    <a:pt x="105000" y="220499"/>
                  </a:moveTo>
                  <a:cubicBezTo>
                    <a:pt x="45090" y="210076"/>
                    <a:pt x="0" y="164677"/>
                    <a:pt x="0" y="110249"/>
                  </a:cubicBezTo>
                  <a:cubicBezTo>
                    <a:pt x="0" y="55823"/>
                    <a:pt x="45090" y="10424"/>
                    <a:pt x="105000" y="0"/>
                  </a:cubicBezTo>
                  <a:lnTo>
                    <a:pt x="105000" y="220499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25" name="Рисунок 32">
            <a:extLst>
              <a:ext uri="{FF2B5EF4-FFF2-40B4-BE49-F238E27FC236}">
                <a16:creationId xmlns:a16="http://schemas.microsoft.com/office/drawing/2014/main" id="{9F542A72-A70C-F24C-9859-C8AAEE533671}"/>
              </a:ext>
            </a:extLst>
          </p:cNvPr>
          <p:cNvGrpSpPr/>
          <p:nvPr/>
        </p:nvGrpSpPr>
        <p:grpSpPr>
          <a:xfrm>
            <a:off x="11201933" y="1769207"/>
            <a:ext cx="360000" cy="360000"/>
            <a:chOff x="11281138" y="2085929"/>
            <a:chExt cx="360000" cy="360000"/>
          </a:xfrm>
        </p:grpSpPr>
        <p:sp>
          <p:nvSpPr>
            <p:cNvPr id="226" name="Полилиния 225">
              <a:extLst>
                <a:ext uri="{FF2B5EF4-FFF2-40B4-BE49-F238E27FC236}">
                  <a16:creationId xmlns:a16="http://schemas.microsoft.com/office/drawing/2014/main" id="{AC288082-5C80-D24A-96E3-D89AB2DEA8B7}"/>
                </a:ext>
              </a:extLst>
            </p:cNvPr>
            <p:cNvSpPr/>
            <p:nvPr/>
          </p:nvSpPr>
          <p:spPr>
            <a:xfrm>
              <a:off x="11281138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7" name="Полилиния 226">
              <a:extLst>
                <a:ext uri="{FF2B5EF4-FFF2-40B4-BE49-F238E27FC236}">
                  <a16:creationId xmlns:a16="http://schemas.microsoft.com/office/drawing/2014/main" id="{36FF930E-407D-A345-93E9-A5CE3C05C193}"/>
                </a:ext>
              </a:extLst>
            </p:cNvPr>
            <p:cNvSpPr/>
            <p:nvPr/>
          </p:nvSpPr>
          <p:spPr>
            <a:xfrm rot="5400000">
              <a:off x="11401138" y="2108429"/>
              <a:ext cx="119999" cy="209999"/>
            </a:xfrm>
            <a:custGeom>
              <a:avLst/>
              <a:gdLst>
                <a:gd name="connsiteX0" fmla="*/ 4393 w 119999"/>
                <a:gd name="connsiteY0" fmla="*/ 25607 h 209999"/>
                <a:gd name="connsiteX1" fmla="*/ 4393 w 119999"/>
                <a:gd name="connsiteY1" fmla="*/ 4393 h 209999"/>
                <a:gd name="connsiteX2" fmla="*/ 25607 w 119999"/>
                <a:gd name="connsiteY2" fmla="*/ 4393 h 209999"/>
                <a:gd name="connsiteX3" fmla="*/ 115606 w 119999"/>
                <a:gd name="connsiteY3" fmla="*/ 94393 h 209999"/>
                <a:gd name="connsiteX4" fmla="*/ 116058 w 119999"/>
                <a:gd name="connsiteY4" fmla="*/ 115136 h 209999"/>
                <a:gd name="connsiteX5" fmla="*/ 33558 w 119999"/>
                <a:gd name="connsiteY5" fmla="*/ 205136 h 209999"/>
                <a:gd name="connsiteX6" fmla="*/ 12364 w 119999"/>
                <a:gd name="connsiteY6" fmla="*/ 206057 h 209999"/>
                <a:gd name="connsiteX7" fmla="*/ 11443 w 119999"/>
                <a:gd name="connsiteY7" fmla="*/ 184865 h 209999"/>
                <a:gd name="connsiteX8" fmla="*/ 84238 w 119999"/>
                <a:gd name="connsiteY8" fmla="*/ 105451 h 209999"/>
                <a:gd name="connsiteX9" fmla="*/ 4393 w 119999"/>
                <a:gd name="connsiteY9" fmla="*/ 25607 h 20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209999">
                  <a:moveTo>
                    <a:pt x="4393" y="25607"/>
                  </a:move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7" y="4393"/>
                  </a:cubicBezTo>
                  <a:lnTo>
                    <a:pt x="115606" y="94393"/>
                  </a:lnTo>
                  <a:cubicBezTo>
                    <a:pt x="121285" y="100072"/>
                    <a:pt x="121483" y="109216"/>
                    <a:pt x="116058" y="115136"/>
                  </a:cubicBezTo>
                  <a:lnTo>
                    <a:pt x="33558" y="205136"/>
                  </a:lnTo>
                  <a:cubicBezTo>
                    <a:pt x="27959" y="211242"/>
                    <a:pt x="18471" y="211655"/>
                    <a:pt x="12364" y="206057"/>
                  </a:cubicBezTo>
                  <a:cubicBezTo>
                    <a:pt x="6257" y="200460"/>
                    <a:pt x="5845" y="190971"/>
                    <a:pt x="11443" y="184865"/>
                  </a:cubicBezTo>
                  <a:lnTo>
                    <a:pt x="84238" y="105451"/>
                  </a:lnTo>
                  <a:lnTo>
                    <a:pt x="4393" y="25607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8" name="Полилиния 227">
              <a:extLst>
                <a:ext uri="{FF2B5EF4-FFF2-40B4-BE49-F238E27FC236}">
                  <a16:creationId xmlns:a16="http://schemas.microsoft.com/office/drawing/2014/main" id="{E3F015CE-56FB-A744-8D6C-5C8277815D0C}"/>
                </a:ext>
              </a:extLst>
            </p:cNvPr>
            <p:cNvSpPr/>
            <p:nvPr/>
          </p:nvSpPr>
          <p:spPr>
            <a:xfrm rot="-10800000">
              <a:off x="11356138" y="2258429"/>
              <a:ext cx="209999" cy="119999"/>
            </a:xfrm>
            <a:custGeom>
              <a:avLst/>
              <a:gdLst>
                <a:gd name="connsiteX0" fmla="*/ 25607 w 209999"/>
                <a:gd name="connsiteY0" fmla="*/ 115606 h 119999"/>
                <a:gd name="connsiteX1" fmla="*/ 4393 w 209999"/>
                <a:gd name="connsiteY1" fmla="*/ 115606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2 h 119999"/>
                <a:gd name="connsiteX5" fmla="*/ 205135 w 209999"/>
                <a:gd name="connsiteY5" fmla="*/ 86442 h 119999"/>
                <a:gd name="connsiteX6" fmla="*/ 206058 w 209999"/>
                <a:gd name="connsiteY6" fmla="*/ 107635 h 119999"/>
                <a:gd name="connsiteX7" fmla="*/ 184865 w 209999"/>
                <a:gd name="connsiteY7" fmla="*/ 108558 h 119999"/>
                <a:gd name="connsiteX8" fmla="*/ 105452 w 209999"/>
                <a:gd name="connsiteY8" fmla="*/ 35761 h 119999"/>
                <a:gd name="connsiteX9" fmla="*/ 25607 w 209999"/>
                <a:gd name="connsiteY9" fmla="*/ 115606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6"/>
                  </a:moveTo>
                  <a:cubicBezTo>
                    <a:pt x="19749" y="121464"/>
                    <a:pt x="10251" y="121464"/>
                    <a:pt x="4393" y="115606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6"/>
                    <a:pt x="109217" y="-1484"/>
                    <a:pt x="115136" y="3942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5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1"/>
                  </a:lnTo>
                  <a:lnTo>
                    <a:pt x="25607" y="115606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29" name="Рисунок 33">
            <a:extLst>
              <a:ext uri="{FF2B5EF4-FFF2-40B4-BE49-F238E27FC236}">
                <a16:creationId xmlns:a16="http://schemas.microsoft.com/office/drawing/2014/main" id="{D73A9DCA-D03B-1E49-B86B-287B6254516A}"/>
              </a:ext>
            </a:extLst>
          </p:cNvPr>
          <p:cNvGrpSpPr/>
          <p:nvPr/>
        </p:nvGrpSpPr>
        <p:grpSpPr>
          <a:xfrm>
            <a:off x="7426266" y="1769207"/>
            <a:ext cx="360000" cy="360000"/>
            <a:chOff x="7505471" y="2085929"/>
            <a:chExt cx="360000" cy="360000"/>
          </a:xfrm>
        </p:grpSpPr>
        <p:sp>
          <p:nvSpPr>
            <p:cNvPr id="230" name="Полилиния 229">
              <a:extLst>
                <a:ext uri="{FF2B5EF4-FFF2-40B4-BE49-F238E27FC236}">
                  <a16:creationId xmlns:a16="http://schemas.microsoft.com/office/drawing/2014/main" id="{9DFAB42B-1492-C44F-BFAC-527AAF848D7D}"/>
                </a:ext>
              </a:extLst>
            </p:cNvPr>
            <p:cNvSpPr/>
            <p:nvPr/>
          </p:nvSpPr>
          <p:spPr>
            <a:xfrm>
              <a:off x="7505471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1" name="Полилиния 230">
              <a:extLst>
                <a:ext uri="{FF2B5EF4-FFF2-40B4-BE49-F238E27FC236}">
                  <a16:creationId xmlns:a16="http://schemas.microsoft.com/office/drawing/2014/main" id="{D3761475-4B78-4241-B3BE-12821BD592F5}"/>
                </a:ext>
              </a:extLst>
            </p:cNvPr>
            <p:cNvSpPr/>
            <p:nvPr/>
          </p:nvSpPr>
          <p:spPr>
            <a:xfrm rot="10800000" flipV="1">
              <a:off x="7580471" y="2160929"/>
              <a:ext cx="119999" cy="209999"/>
            </a:xfrm>
            <a:custGeom>
              <a:avLst/>
              <a:gdLst>
                <a:gd name="connsiteX0" fmla="*/ 4393 w 119999"/>
                <a:gd name="connsiteY0" fmla="*/ 25606 h 209999"/>
                <a:gd name="connsiteX1" fmla="*/ 4393 w 119999"/>
                <a:gd name="connsiteY1" fmla="*/ 4393 h 209999"/>
                <a:gd name="connsiteX2" fmla="*/ 25606 w 119999"/>
                <a:gd name="connsiteY2" fmla="*/ 4393 h 209999"/>
                <a:gd name="connsiteX3" fmla="*/ 115607 w 119999"/>
                <a:gd name="connsiteY3" fmla="*/ 94394 h 209999"/>
                <a:gd name="connsiteX4" fmla="*/ 116058 w 119999"/>
                <a:gd name="connsiteY4" fmla="*/ 115136 h 209999"/>
                <a:gd name="connsiteX5" fmla="*/ 33557 w 119999"/>
                <a:gd name="connsiteY5" fmla="*/ 205135 h 209999"/>
                <a:gd name="connsiteX6" fmla="*/ 12364 w 119999"/>
                <a:gd name="connsiteY6" fmla="*/ 206058 h 209999"/>
                <a:gd name="connsiteX7" fmla="*/ 11443 w 119999"/>
                <a:gd name="connsiteY7" fmla="*/ 184865 h 209999"/>
                <a:gd name="connsiteX8" fmla="*/ 84239 w 119999"/>
                <a:gd name="connsiteY8" fmla="*/ 105452 h 209999"/>
                <a:gd name="connsiteX9" fmla="*/ 4393 w 119999"/>
                <a:gd name="connsiteY9" fmla="*/ 25606 h 20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209999">
                  <a:moveTo>
                    <a:pt x="4393" y="25606"/>
                  </a:move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6" y="4393"/>
                  </a:cubicBezTo>
                  <a:lnTo>
                    <a:pt x="115607" y="94394"/>
                  </a:lnTo>
                  <a:cubicBezTo>
                    <a:pt x="121286" y="100073"/>
                    <a:pt x="121484" y="109217"/>
                    <a:pt x="116058" y="115136"/>
                  </a:cubicBezTo>
                  <a:lnTo>
                    <a:pt x="33557" y="205135"/>
                  </a:lnTo>
                  <a:cubicBezTo>
                    <a:pt x="27959" y="211242"/>
                    <a:pt x="18471" y="211655"/>
                    <a:pt x="12364" y="206058"/>
                  </a:cubicBezTo>
                  <a:cubicBezTo>
                    <a:pt x="6257" y="200460"/>
                    <a:pt x="5845" y="190971"/>
                    <a:pt x="11443" y="184865"/>
                  </a:cubicBezTo>
                  <a:lnTo>
                    <a:pt x="84239" y="105452"/>
                  </a:lnTo>
                  <a:lnTo>
                    <a:pt x="4393" y="25606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2" name="Полилиния 231">
              <a:extLst>
                <a:ext uri="{FF2B5EF4-FFF2-40B4-BE49-F238E27FC236}">
                  <a16:creationId xmlns:a16="http://schemas.microsoft.com/office/drawing/2014/main" id="{86738F9A-95CA-414B-A462-67B1968E629E}"/>
                </a:ext>
              </a:extLst>
            </p:cNvPr>
            <p:cNvSpPr/>
            <p:nvPr/>
          </p:nvSpPr>
          <p:spPr>
            <a:xfrm rot="5400000" flipV="1">
              <a:off x="7640471" y="2205928"/>
              <a:ext cx="209999" cy="119999"/>
            </a:xfrm>
            <a:custGeom>
              <a:avLst/>
              <a:gdLst>
                <a:gd name="connsiteX0" fmla="*/ 25607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6 w 209999"/>
                <a:gd name="connsiteY5" fmla="*/ 86442 h 119999"/>
                <a:gd name="connsiteX6" fmla="*/ 206057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7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6" y="86442"/>
                  </a:lnTo>
                  <a:cubicBezTo>
                    <a:pt x="211242" y="92040"/>
                    <a:pt x="211655" y="101529"/>
                    <a:pt x="206057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7" y="115607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33" name="Рисунок 34">
            <a:extLst>
              <a:ext uri="{FF2B5EF4-FFF2-40B4-BE49-F238E27FC236}">
                <a16:creationId xmlns:a16="http://schemas.microsoft.com/office/drawing/2014/main" id="{1EDC530E-B94D-414D-B8A7-7D57F38EC370}"/>
              </a:ext>
            </a:extLst>
          </p:cNvPr>
          <p:cNvGrpSpPr/>
          <p:nvPr/>
        </p:nvGrpSpPr>
        <p:grpSpPr>
          <a:xfrm>
            <a:off x="6671133" y="1769207"/>
            <a:ext cx="360000" cy="360000"/>
            <a:chOff x="6750338" y="2085929"/>
            <a:chExt cx="360000" cy="360000"/>
          </a:xfrm>
        </p:grpSpPr>
        <p:sp>
          <p:nvSpPr>
            <p:cNvPr id="234" name="Полилиния 233">
              <a:extLst>
                <a:ext uri="{FF2B5EF4-FFF2-40B4-BE49-F238E27FC236}">
                  <a16:creationId xmlns:a16="http://schemas.microsoft.com/office/drawing/2014/main" id="{E534BFC2-410F-6B4E-8A05-4EA451AA0FC7}"/>
                </a:ext>
              </a:extLst>
            </p:cNvPr>
            <p:cNvSpPr/>
            <p:nvPr/>
          </p:nvSpPr>
          <p:spPr>
            <a:xfrm>
              <a:off x="6750338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5" name="Полилиния 234">
              <a:extLst>
                <a:ext uri="{FF2B5EF4-FFF2-40B4-BE49-F238E27FC236}">
                  <a16:creationId xmlns:a16="http://schemas.microsoft.com/office/drawing/2014/main" id="{A96BEFDB-3210-3D43-9F03-F4C6E6863A26}"/>
                </a:ext>
              </a:extLst>
            </p:cNvPr>
            <p:cNvSpPr/>
            <p:nvPr/>
          </p:nvSpPr>
          <p:spPr>
            <a:xfrm>
              <a:off x="6930338" y="2160929"/>
              <a:ext cx="119999" cy="209999"/>
            </a:xfrm>
            <a:custGeom>
              <a:avLst/>
              <a:gdLst>
                <a:gd name="connsiteX0" fmla="*/ 4393 w 119999"/>
                <a:gd name="connsiteY0" fmla="*/ 25606 h 209999"/>
                <a:gd name="connsiteX1" fmla="*/ 4393 w 119999"/>
                <a:gd name="connsiteY1" fmla="*/ 4393 h 209999"/>
                <a:gd name="connsiteX2" fmla="*/ 25606 w 119999"/>
                <a:gd name="connsiteY2" fmla="*/ 4393 h 209999"/>
                <a:gd name="connsiteX3" fmla="*/ 115606 w 119999"/>
                <a:gd name="connsiteY3" fmla="*/ 94394 h 209999"/>
                <a:gd name="connsiteX4" fmla="*/ 116058 w 119999"/>
                <a:gd name="connsiteY4" fmla="*/ 115136 h 209999"/>
                <a:gd name="connsiteX5" fmla="*/ 33558 w 119999"/>
                <a:gd name="connsiteY5" fmla="*/ 205135 h 209999"/>
                <a:gd name="connsiteX6" fmla="*/ 12364 w 119999"/>
                <a:gd name="connsiteY6" fmla="*/ 206058 h 209999"/>
                <a:gd name="connsiteX7" fmla="*/ 11442 w 119999"/>
                <a:gd name="connsiteY7" fmla="*/ 184865 h 209999"/>
                <a:gd name="connsiteX8" fmla="*/ 84238 w 119999"/>
                <a:gd name="connsiteY8" fmla="*/ 105452 h 209999"/>
                <a:gd name="connsiteX9" fmla="*/ 4393 w 119999"/>
                <a:gd name="connsiteY9" fmla="*/ 25606 h 20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209999">
                  <a:moveTo>
                    <a:pt x="4393" y="25606"/>
                  </a:move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6" y="4393"/>
                  </a:cubicBezTo>
                  <a:lnTo>
                    <a:pt x="115606" y="94394"/>
                  </a:lnTo>
                  <a:cubicBezTo>
                    <a:pt x="121285" y="100073"/>
                    <a:pt x="121483" y="109217"/>
                    <a:pt x="116058" y="115136"/>
                  </a:cubicBezTo>
                  <a:lnTo>
                    <a:pt x="33558" y="205135"/>
                  </a:lnTo>
                  <a:cubicBezTo>
                    <a:pt x="27960" y="211242"/>
                    <a:pt x="18471" y="211655"/>
                    <a:pt x="12364" y="206058"/>
                  </a:cubicBezTo>
                  <a:cubicBezTo>
                    <a:pt x="6258" y="200460"/>
                    <a:pt x="5845" y="190971"/>
                    <a:pt x="11442" y="184865"/>
                  </a:cubicBezTo>
                  <a:lnTo>
                    <a:pt x="84238" y="105452"/>
                  </a:lnTo>
                  <a:lnTo>
                    <a:pt x="4393" y="25606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6" name="Полилиния 235">
              <a:extLst>
                <a:ext uri="{FF2B5EF4-FFF2-40B4-BE49-F238E27FC236}">
                  <a16:creationId xmlns:a16="http://schemas.microsoft.com/office/drawing/2014/main" id="{D5CA9AEB-EB87-BB4B-B7DD-227F9731BE17}"/>
                </a:ext>
              </a:extLst>
            </p:cNvPr>
            <p:cNvSpPr/>
            <p:nvPr/>
          </p:nvSpPr>
          <p:spPr>
            <a:xfrm rot="5400000">
              <a:off x="6780338" y="2205928"/>
              <a:ext cx="209999" cy="119999"/>
            </a:xfrm>
            <a:custGeom>
              <a:avLst/>
              <a:gdLst>
                <a:gd name="connsiteX0" fmla="*/ 25607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3 w 209999"/>
                <a:gd name="connsiteY3" fmla="*/ 4393 h 119999"/>
                <a:gd name="connsiteX4" fmla="*/ 115136 w 209999"/>
                <a:gd name="connsiteY4" fmla="*/ 3943 h 119999"/>
                <a:gd name="connsiteX5" fmla="*/ 205136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1 w 209999"/>
                <a:gd name="connsiteY8" fmla="*/ 35762 h 119999"/>
                <a:gd name="connsiteX9" fmla="*/ 25607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3" y="4393"/>
                  </a:lnTo>
                  <a:cubicBezTo>
                    <a:pt x="100072" y="-1285"/>
                    <a:pt x="109216" y="-1484"/>
                    <a:pt x="115136" y="3943"/>
                  </a:cubicBezTo>
                  <a:lnTo>
                    <a:pt x="205136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1" y="35762"/>
                  </a:lnTo>
                  <a:lnTo>
                    <a:pt x="25607" y="115607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37" name="Рисунок 35">
            <a:extLst>
              <a:ext uri="{FF2B5EF4-FFF2-40B4-BE49-F238E27FC236}">
                <a16:creationId xmlns:a16="http://schemas.microsoft.com/office/drawing/2014/main" id="{4EFDC7F5-D231-3049-8EC5-23276BE09A84}"/>
              </a:ext>
            </a:extLst>
          </p:cNvPr>
          <p:cNvGrpSpPr/>
          <p:nvPr/>
        </p:nvGrpSpPr>
        <p:grpSpPr>
          <a:xfrm>
            <a:off x="8936532" y="1769207"/>
            <a:ext cx="360000" cy="360000"/>
            <a:chOff x="9015737" y="2085929"/>
            <a:chExt cx="360000" cy="360000"/>
          </a:xfrm>
        </p:grpSpPr>
        <p:sp>
          <p:nvSpPr>
            <p:cNvPr id="238" name="Полилиния 237">
              <a:extLst>
                <a:ext uri="{FF2B5EF4-FFF2-40B4-BE49-F238E27FC236}">
                  <a16:creationId xmlns:a16="http://schemas.microsoft.com/office/drawing/2014/main" id="{B2003B30-E439-0C48-8E44-A066A13A2036}"/>
                </a:ext>
              </a:extLst>
            </p:cNvPr>
            <p:cNvSpPr/>
            <p:nvPr/>
          </p:nvSpPr>
          <p:spPr>
            <a:xfrm>
              <a:off x="9015737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9" name="Полилиния 238">
              <a:extLst>
                <a:ext uri="{FF2B5EF4-FFF2-40B4-BE49-F238E27FC236}">
                  <a16:creationId xmlns:a16="http://schemas.microsoft.com/office/drawing/2014/main" id="{B2B12E71-5A7E-5F4C-8E94-EF894863B889}"/>
                </a:ext>
              </a:extLst>
            </p:cNvPr>
            <p:cNvSpPr/>
            <p:nvPr/>
          </p:nvSpPr>
          <p:spPr>
            <a:xfrm rot="-5400000" flipV="1">
              <a:off x="9135737" y="2213429"/>
              <a:ext cx="119999" cy="209999"/>
            </a:xfrm>
            <a:custGeom>
              <a:avLst/>
              <a:gdLst>
                <a:gd name="connsiteX0" fmla="*/ 4393 w 119999"/>
                <a:gd name="connsiteY0" fmla="*/ 25606 h 209999"/>
                <a:gd name="connsiteX1" fmla="*/ 4393 w 119999"/>
                <a:gd name="connsiteY1" fmla="*/ 4393 h 209999"/>
                <a:gd name="connsiteX2" fmla="*/ 25607 w 119999"/>
                <a:gd name="connsiteY2" fmla="*/ 4393 h 209999"/>
                <a:gd name="connsiteX3" fmla="*/ 115606 w 119999"/>
                <a:gd name="connsiteY3" fmla="*/ 94394 h 209999"/>
                <a:gd name="connsiteX4" fmla="*/ 116058 w 119999"/>
                <a:gd name="connsiteY4" fmla="*/ 115135 h 209999"/>
                <a:gd name="connsiteX5" fmla="*/ 33558 w 119999"/>
                <a:gd name="connsiteY5" fmla="*/ 205135 h 209999"/>
                <a:gd name="connsiteX6" fmla="*/ 12364 w 119999"/>
                <a:gd name="connsiteY6" fmla="*/ 206058 h 209999"/>
                <a:gd name="connsiteX7" fmla="*/ 11443 w 119999"/>
                <a:gd name="connsiteY7" fmla="*/ 184865 h 209999"/>
                <a:gd name="connsiteX8" fmla="*/ 84238 w 119999"/>
                <a:gd name="connsiteY8" fmla="*/ 105451 h 209999"/>
                <a:gd name="connsiteX9" fmla="*/ 4393 w 119999"/>
                <a:gd name="connsiteY9" fmla="*/ 25606 h 20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209999">
                  <a:moveTo>
                    <a:pt x="4393" y="25606"/>
                  </a:move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7" y="4393"/>
                  </a:cubicBezTo>
                  <a:lnTo>
                    <a:pt x="115606" y="94394"/>
                  </a:lnTo>
                  <a:cubicBezTo>
                    <a:pt x="121285" y="100073"/>
                    <a:pt x="121483" y="109217"/>
                    <a:pt x="116058" y="115135"/>
                  </a:cubicBezTo>
                  <a:lnTo>
                    <a:pt x="33558" y="205135"/>
                  </a:lnTo>
                  <a:cubicBezTo>
                    <a:pt x="27959" y="211242"/>
                    <a:pt x="18471" y="211655"/>
                    <a:pt x="12364" y="206058"/>
                  </a:cubicBezTo>
                  <a:cubicBezTo>
                    <a:pt x="6257" y="200460"/>
                    <a:pt x="5845" y="190971"/>
                    <a:pt x="11443" y="184865"/>
                  </a:cubicBezTo>
                  <a:lnTo>
                    <a:pt x="84238" y="105451"/>
                  </a:lnTo>
                  <a:lnTo>
                    <a:pt x="4393" y="25606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0" name="Полилиния 239">
              <a:extLst>
                <a:ext uri="{FF2B5EF4-FFF2-40B4-BE49-F238E27FC236}">
                  <a16:creationId xmlns:a16="http://schemas.microsoft.com/office/drawing/2014/main" id="{0CF0FE4C-A57F-2E45-A617-A9588599ADAF}"/>
                </a:ext>
              </a:extLst>
            </p:cNvPr>
            <p:cNvSpPr/>
            <p:nvPr/>
          </p:nvSpPr>
          <p:spPr>
            <a:xfrm rot="10800000" flipV="1">
              <a:off x="9090737" y="2153429"/>
              <a:ext cx="209999" cy="119999"/>
            </a:xfrm>
            <a:custGeom>
              <a:avLst/>
              <a:gdLst>
                <a:gd name="connsiteX0" fmla="*/ 25607 w 209999"/>
                <a:gd name="connsiteY0" fmla="*/ 115606 h 119999"/>
                <a:gd name="connsiteX1" fmla="*/ 4393 w 209999"/>
                <a:gd name="connsiteY1" fmla="*/ 115606 h 119999"/>
                <a:gd name="connsiteX2" fmla="*/ 4393 w 209999"/>
                <a:gd name="connsiteY2" fmla="*/ 94393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5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7 w 209999"/>
                <a:gd name="connsiteY9" fmla="*/ 115606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6"/>
                  </a:moveTo>
                  <a:cubicBezTo>
                    <a:pt x="19749" y="121464"/>
                    <a:pt x="10251" y="121464"/>
                    <a:pt x="4393" y="115606"/>
                  </a:cubicBezTo>
                  <a:cubicBezTo>
                    <a:pt x="-1464" y="109749"/>
                    <a:pt x="-1464" y="100251"/>
                    <a:pt x="4393" y="94393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5"/>
                  </a:cubicBezTo>
                  <a:cubicBezTo>
                    <a:pt x="200460" y="113742"/>
                    <a:pt x="190971" y="114156"/>
                    <a:pt x="184865" y="108558"/>
                  </a:cubicBezTo>
                  <a:lnTo>
                    <a:pt x="105452" y="35762"/>
                  </a:lnTo>
                  <a:lnTo>
                    <a:pt x="25607" y="115606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41" name="Рисунок 36">
            <a:extLst>
              <a:ext uri="{FF2B5EF4-FFF2-40B4-BE49-F238E27FC236}">
                <a16:creationId xmlns:a16="http://schemas.microsoft.com/office/drawing/2014/main" id="{511C0420-D9C2-7142-A905-7715BDC619E3}"/>
              </a:ext>
            </a:extLst>
          </p:cNvPr>
          <p:cNvGrpSpPr/>
          <p:nvPr/>
        </p:nvGrpSpPr>
        <p:grpSpPr>
          <a:xfrm>
            <a:off x="10446798" y="1769207"/>
            <a:ext cx="360000" cy="360000"/>
            <a:chOff x="10526003" y="2085929"/>
            <a:chExt cx="360000" cy="360000"/>
          </a:xfrm>
        </p:grpSpPr>
        <p:sp>
          <p:nvSpPr>
            <p:cNvPr id="242" name="Полилиния 241">
              <a:extLst>
                <a:ext uri="{FF2B5EF4-FFF2-40B4-BE49-F238E27FC236}">
                  <a16:creationId xmlns:a16="http://schemas.microsoft.com/office/drawing/2014/main" id="{500EADCC-A216-854D-8364-5572206EB751}"/>
                </a:ext>
              </a:extLst>
            </p:cNvPr>
            <p:cNvSpPr/>
            <p:nvPr/>
          </p:nvSpPr>
          <p:spPr>
            <a:xfrm>
              <a:off x="10526003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3" name="Полилиния 242">
              <a:extLst>
                <a:ext uri="{FF2B5EF4-FFF2-40B4-BE49-F238E27FC236}">
                  <a16:creationId xmlns:a16="http://schemas.microsoft.com/office/drawing/2014/main" id="{C0504935-8B6C-664C-B4AB-DDA640230D25}"/>
                </a:ext>
              </a:extLst>
            </p:cNvPr>
            <p:cNvSpPr/>
            <p:nvPr/>
          </p:nvSpPr>
          <p:spPr>
            <a:xfrm rot="-10800000">
              <a:off x="10601003" y="2205929"/>
              <a:ext cx="209999" cy="119999"/>
            </a:xfrm>
            <a:custGeom>
              <a:avLst/>
              <a:gdLst>
                <a:gd name="connsiteX0" fmla="*/ 25607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7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7" y="115607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44" name="Рисунок 37">
            <a:extLst>
              <a:ext uri="{FF2B5EF4-FFF2-40B4-BE49-F238E27FC236}">
                <a16:creationId xmlns:a16="http://schemas.microsoft.com/office/drawing/2014/main" id="{0E2A0A13-C0B7-B24D-BE56-025E45F28016}"/>
              </a:ext>
            </a:extLst>
          </p:cNvPr>
          <p:cNvGrpSpPr/>
          <p:nvPr/>
        </p:nvGrpSpPr>
        <p:grpSpPr>
          <a:xfrm>
            <a:off x="9691665" y="1769207"/>
            <a:ext cx="360000" cy="360000"/>
            <a:chOff x="9770870" y="2085929"/>
            <a:chExt cx="360000" cy="360000"/>
          </a:xfrm>
        </p:grpSpPr>
        <p:sp>
          <p:nvSpPr>
            <p:cNvPr id="245" name="Полилиния 244">
              <a:extLst>
                <a:ext uri="{FF2B5EF4-FFF2-40B4-BE49-F238E27FC236}">
                  <a16:creationId xmlns:a16="http://schemas.microsoft.com/office/drawing/2014/main" id="{A01CF05D-C792-6C4B-9EAF-6C95BAA5C735}"/>
                </a:ext>
              </a:extLst>
            </p:cNvPr>
            <p:cNvSpPr/>
            <p:nvPr/>
          </p:nvSpPr>
          <p:spPr>
            <a:xfrm>
              <a:off x="9770870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6" name="Полилиния 245">
              <a:extLst>
                <a:ext uri="{FF2B5EF4-FFF2-40B4-BE49-F238E27FC236}">
                  <a16:creationId xmlns:a16="http://schemas.microsoft.com/office/drawing/2014/main" id="{B3DE1571-BE7E-1147-A4C0-460A8D8A30AD}"/>
                </a:ext>
              </a:extLst>
            </p:cNvPr>
            <p:cNvSpPr/>
            <p:nvPr/>
          </p:nvSpPr>
          <p:spPr>
            <a:xfrm rot="5400000" flipV="1">
              <a:off x="9845870" y="2205928"/>
              <a:ext cx="209999" cy="119999"/>
            </a:xfrm>
            <a:custGeom>
              <a:avLst/>
              <a:gdLst>
                <a:gd name="connsiteX0" fmla="*/ 25607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7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7" y="115607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47" name="Рисунок 38">
            <a:extLst>
              <a:ext uri="{FF2B5EF4-FFF2-40B4-BE49-F238E27FC236}">
                <a16:creationId xmlns:a16="http://schemas.microsoft.com/office/drawing/2014/main" id="{5C746E63-F339-1549-9515-6C4B0D8EB104}"/>
              </a:ext>
            </a:extLst>
          </p:cNvPr>
          <p:cNvGrpSpPr/>
          <p:nvPr/>
        </p:nvGrpSpPr>
        <p:grpSpPr>
          <a:xfrm>
            <a:off x="8181399" y="1769207"/>
            <a:ext cx="360000" cy="360000"/>
            <a:chOff x="8260604" y="2085929"/>
            <a:chExt cx="360000" cy="360000"/>
          </a:xfrm>
        </p:grpSpPr>
        <p:sp>
          <p:nvSpPr>
            <p:cNvPr id="248" name="Полилиния 247">
              <a:extLst>
                <a:ext uri="{FF2B5EF4-FFF2-40B4-BE49-F238E27FC236}">
                  <a16:creationId xmlns:a16="http://schemas.microsoft.com/office/drawing/2014/main" id="{9646E970-A93C-6544-B3DF-EC648A426177}"/>
                </a:ext>
              </a:extLst>
            </p:cNvPr>
            <p:cNvSpPr/>
            <p:nvPr/>
          </p:nvSpPr>
          <p:spPr>
            <a:xfrm>
              <a:off x="8260604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9" name="Полилиния 248">
              <a:extLst>
                <a:ext uri="{FF2B5EF4-FFF2-40B4-BE49-F238E27FC236}">
                  <a16:creationId xmlns:a16="http://schemas.microsoft.com/office/drawing/2014/main" id="{E697324E-0DD2-174E-8AB5-4CD1C1F7A1A1}"/>
                </a:ext>
              </a:extLst>
            </p:cNvPr>
            <p:cNvSpPr/>
            <p:nvPr/>
          </p:nvSpPr>
          <p:spPr>
            <a:xfrm rot="5400000">
              <a:off x="8335604" y="2205928"/>
              <a:ext cx="209999" cy="119999"/>
            </a:xfrm>
            <a:custGeom>
              <a:avLst/>
              <a:gdLst>
                <a:gd name="connsiteX0" fmla="*/ 25607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7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7" y="115607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50" name="Рисунок 39">
            <a:extLst>
              <a:ext uri="{FF2B5EF4-FFF2-40B4-BE49-F238E27FC236}">
                <a16:creationId xmlns:a16="http://schemas.microsoft.com/office/drawing/2014/main" id="{DC4232CC-E60F-674D-BC1A-48ED80833E5D}"/>
              </a:ext>
            </a:extLst>
          </p:cNvPr>
          <p:cNvGrpSpPr/>
          <p:nvPr/>
        </p:nvGrpSpPr>
        <p:grpSpPr>
          <a:xfrm>
            <a:off x="5916000" y="1769207"/>
            <a:ext cx="360000" cy="360000"/>
            <a:chOff x="5995205" y="2085929"/>
            <a:chExt cx="360000" cy="360000"/>
          </a:xfrm>
        </p:grpSpPr>
        <p:sp>
          <p:nvSpPr>
            <p:cNvPr id="251" name="Полилиния 250">
              <a:extLst>
                <a:ext uri="{FF2B5EF4-FFF2-40B4-BE49-F238E27FC236}">
                  <a16:creationId xmlns:a16="http://schemas.microsoft.com/office/drawing/2014/main" id="{EF95A177-D05A-A848-B95C-419BA8B56955}"/>
                </a:ext>
              </a:extLst>
            </p:cNvPr>
            <p:cNvSpPr/>
            <p:nvPr/>
          </p:nvSpPr>
          <p:spPr>
            <a:xfrm>
              <a:off x="5995205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2" name="Полилиния 251">
              <a:extLst>
                <a:ext uri="{FF2B5EF4-FFF2-40B4-BE49-F238E27FC236}">
                  <a16:creationId xmlns:a16="http://schemas.microsoft.com/office/drawing/2014/main" id="{54D5541E-268C-C346-BF48-33FE84343C73}"/>
                </a:ext>
              </a:extLst>
            </p:cNvPr>
            <p:cNvSpPr/>
            <p:nvPr/>
          </p:nvSpPr>
          <p:spPr>
            <a:xfrm>
              <a:off x="6040205" y="2130929"/>
              <a:ext cx="209332" cy="270000"/>
            </a:xfrm>
            <a:custGeom>
              <a:avLst/>
              <a:gdLst>
                <a:gd name="connsiteX0" fmla="*/ 201758 w 209332"/>
                <a:gd name="connsiteY0" fmla="*/ 17637 h 270000"/>
                <a:gd name="connsiteX1" fmla="*/ 207363 w 209332"/>
                <a:gd name="connsiteY1" fmla="*/ 38097 h 270000"/>
                <a:gd name="connsiteX2" fmla="*/ 186903 w 209332"/>
                <a:gd name="connsiteY2" fmla="*/ 43702 h 270000"/>
                <a:gd name="connsiteX3" fmla="*/ 135000 w 209332"/>
                <a:gd name="connsiteY3" fmla="*/ 30000 h 270000"/>
                <a:gd name="connsiteX4" fmla="*/ 30000 w 209332"/>
                <a:gd name="connsiteY4" fmla="*/ 135000 h 270000"/>
                <a:gd name="connsiteX5" fmla="*/ 135000 w 209332"/>
                <a:gd name="connsiteY5" fmla="*/ 240000 h 270000"/>
                <a:gd name="connsiteX6" fmla="*/ 186435 w 209332"/>
                <a:gd name="connsiteY6" fmla="*/ 226563 h 270000"/>
                <a:gd name="connsiteX7" fmla="*/ 206867 w 209332"/>
                <a:gd name="connsiteY7" fmla="*/ 232274 h 270000"/>
                <a:gd name="connsiteX8" fmla="*/ 201156 w 209332"/>
                <a:gd name="connsiteY8" fmla="*/ 252704 h 270000"/>
                <a:gd name="connsiteX9" fmla="*/ 135000 w 209332"/>
                <a:gd name="connsiteY9" fmla="*/ 270000 h 270000"/>
                <a:gd name="connsiteX10" fmla="*/ 0 w 209332"/>
                <a:gd name="connsiteY10" fmla="*/ 135000 h 270000"/>
                <a:gd name="connsiteX11" fmla="*/ 135000 w 209332"/>
                <a:gd name="connsiteY11" fmla="*/ 0 h 270000"/>
                <a:gd name="connsiteX12" fmla="*/ 201758 w 209332"/>
                <a:gd name="connsiteY12" fmla="*/ 17637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9332" h="270000">
                  <a:moveTo>
                    <a:pt x="201758" y="17637"/>
                  </a:moveTo>
                  <a:cubicBezTo>
                    <a:pt x="208955" y="21739"/>
                    <a:pt x="211464" y="30899"/>
                    <a:pt x="207363" y="38097"/>
                  </a:cubicBezTo>
                  <a:cubicBezTo>
                    <a:pt x="203260" y="45294"/>
                    <a:pt x="194102" y="47804"/>
                    <a:pt x="186903" y="43702"/>
                  </a:cubicBezTo>
                  <a:cubicBezTo>
                    <a:pt x="171222" y="34765"/>
                    <a:pt x="153476" y="30000"/>
                    <a:pt x="135000" y="30000"/>
                  </a:cubicBezTo>
                  <a:cubicBezTo>
                    <a:pt x="77010" y="30000"/>
                    <a:pt x="30000" y="77010"/>
                    <a:pt x="30000" y="135000"/>
                  </a:cubicBezTo>
                  <a:cubicBezTo>
                    <a:pt x="30000" y="192990"/>
                    <a:pt x="77010" y="240000"/>
                    <a:pt x="135000" y="240000"/>
                  </a:cubicBezTo>
                  <a:cubicBezTo>
                    <a:pt x="153290" y="240000"/>
                    <a:pt x="170867" y="235331"/>
                    <a:pt x="186435" y="226563"/>
                  </a:cubicBezTo>
                  <a:cubicBezTo>
                    <a:pt x="193655" y="222498"/>
                    <a:pt x="202802" y="225056"/>
                    <a:pt x="206867" y="232274"/>
                  </a:cubicBezTo>
                  <a:cubicBezTo>
                    <a:pt x="210931" y="239492"/>
                    <a:pt x="208374" y="248638"/>
                    <a:pt x="201156" y="252704"/>
                  </a:cubicBezTo>
                  <a:cubicBezTo>
                    <a:pt x="181122" y="263985"/>
                    <a:pt x="158481" y="270000"/>
                    <a:pt x="135000" y="270000"/>
                  </a:cubicBezTo>
                  <a:cubicBezTo>
                    <a:pt x="60442" y="270000"/>
                    <a:pt x="0" y="209559"/>
                    <a:pt x="0" y="135000"/>
                  </a:cubicBezTo>
                  <a:cubicBezTo>
                    <a:pt x="0" y="60442"/>
                    <a:pt x="60442" y="0"/>
                    <a:pt x="135000" y="0"/>
                  </a:cubicBezTo>
                  <a:cubicBezTo>
                    <a:pt x="158720" y="0"/>
                    <a:pt x="181580" y="6138"/>
                    <a:pt x="201758" y="17637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3" name="Полилиния 252">
              <a:extLst>
                <a:ext uri="{FF2B5EF4-FFF2-40B4-BE49-F238E27FC236}">
                  <a16:creationId xmlns:a16="http://schemas.microsoft.com/office/drawing/2014/main" id="{2C095D2F-1243-EC45-831C-33CBB5B18B19}"/>
                </a:ext>
              </a:extLst>
            </p:cNvPr>
            <p:cNvSpPr/>
            <p:nvPr/>
          </p:nvSpPr>
          <p:spPr>
            <a:xfrm>
              <a:off x="6235205" y="2175929"/>
              <a:ext cx="75000" cy="180000"/>
            </a:xfrm>
            <a:custGeom>
              <a:avLst/>
              <a:gdLst>
                <a:gd name="connsiteX0" fmla="*/ 37500 w 75000"/>
                <a:gd name="connsiteY0" fmla="*/ 0 h 180000"/>
                <a:gd name="connsiteX1" fmla="*/ 75000 w 75000"/>
                <a:gd name="connsiteY1" fmla="*/ 37500 h 180000"/>
                <a:gd name="connsiteX2" fmla="*/ 75000 w 75000"/>
                <a:gd name="connsiteY2" fmla="*/ 142500 h 180000"/>
                <a:gd name="connsiteX3" fmla="*/ 37500 w 75000"/>
                <a:gd name="connsiteY3" fmla="*/ 180000 h 180000"/>
                <a:gd name="connsiteX4" fmla="*/ 0 w 75000"/>
                <a:gd name="connsiteY4" fmla="*/ 142500 h 180000"/>
                <a:gd name="connsiteX5" fmla="*/ 0 w 75000"/>
                <a:gd name="connsiteY5" fmla="*/ 37500 h 180000"/>
                <a:gd name="connsiteX6" fmla="*/ 37500 w 75000"/>
                <a:gd name="connsiteY6" fmla="*/ 0 h 180000"/>
                <a:gd name="connsiteX7" fmla="*/ 37500 w 75000"/>
                <a:gd name="connsiteY7" fmla="*/ 90000 h 180000"/>
                <a:gd name="connsiteX8" fmla="*/ 60000 w 75000"/>
                <a:gd name="connsiteY8" fmla="*/ 67500 h 180000"/>
                <a:gd name="connsiteX9" fmla="*/ 37500 w 75000"/>
                <a:gd name="connsiteY9" fmla="*/ 45000 h 180000"/>
                <a:gd name="connsiteX10" fmla="*/ 15000 w 75000"/>
                <a:gd name="connsiteY10" fmla="*/ 67500 h 180000"/>
                <a:gd name="connsiteX11" fmla="*/ 37500 w 75000"/>
                <a:gd name="connsiteY11" fmla="*/ 9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000" h="180000">
                  <a:moveTo>
                    <a:pt x="37500" y="0"/>
                  </a:moveTo>
                  <a:cubicBezTo>
                    <a:pt x="58210" y="0"/>
                    <a:pt x="75000" y="16789"/>
                    <a:pt x="75000" y="37500"/>
                  </a:cubicBezTo>
                  <a:lnTo>
                    <a:pt x="75000" y="142500"/>
                  </a:lnTo>
                  <a:cubicBezTo>
                    <a:pt x="75000" y="163210"/>
                    <a:pt x="58210" y="180000"/>
                    <a:pt x="37500" y="180000"/>
                  </a:cubicBezTo>
                  <a:cubicBezTo>
                    <a:pt x="16790" y="180000"/>
                    <a:pt x="0" y="163210"/>
                    <a:pt x="0" y="142500"/>
                  </a:cubicBezTo>
                  <a:lnTo>
                    <a:pt x="0" y="37500"/>
                  </a:lnTo>
                  <a:cubicBezTo>
                    <a:pt x="0" y="16789"/>
                    <a:pt x="16790" y="0"/>
                    <a:pt x="37500" y="0"/>
                  </a:cubicBezTo>
                  <a:close/>
                  <a:moveTo>
                    <a:pt x="37500" y="90000"/>
                  </a:moveTo>
                  <a:cubicBezTo>
                    <a:pt x="49926" y="90000"/>
                    <a:pt x="60000" y="79926"/>
                    <a:pt x="60000" y="67500"/>
                  </a:cubicBezTo>
                  <a:cubicBezTo>
                    <a:pt x="60000" y="55074"/>
                    <a:pt x="49926" y="45000"/>
                    <a:pt x="37500" y="45000"/>
                  </a:cubicBezTo>
                  <a:cubicBezTo>
                    <a:pt x="25074" y="45000"/>
                    <a:pt x="15000" y="55074"/>
                    <a:pt x="15000" y="67500"/>
                  </a:cubicBezTo>
                  <a:cubicBezTo>
                    <a:pt x="15000" y="79926"/>
                    <a:pt x="25074" y="90000"/>
                    <a:pt x="37500" y="9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54" name="Рисунок 40">
            <a:extLst>
              <a:ext uri="{FF2B5EF4-FFF2-40B4-BE49-F238E27FC236}">
                <a16:creationId xmlns:a16="http://schemas.microsoft.com/office/drawing/2014/main" id="{179A2912-EDA7-4846-8321-5863A5413609}"/>
              </a:ext>
            </a:extLst>
          </p:cNvPr>
          <p:cNvGrpSpPr/>
          <p:nvPr/>
        </p:nvGrpSpPr>
        <p:grpSpPr>
          <a:xfrm>
            <a:off x="5160867" y="1769207"/>
            <a:ext cx="360000" cy="360000"/>
            <a:chOff x="5240072" y="2085929"/>
            <a:chExt cx="360000" cy="360000"/>
          </a:xfrm>
        </p:grpSpPr>
        <p:sp>
          <p:nvSpPr>
            <p:cNvPr id="255" name="Полилиния 254">
              <a:extLst>
                <a:ext uri="{FF2B5EF4-FFF2-40B4-BE49-F238E27FC236}">
                  <a16:creationId xmlns:a16="http://schemas.microsoft.com/office/drawing/2014/main" id="{A19D3417-52E0-CA47-A691-E15BF32DCE84}"/>
                </a:ext>
              </a:extLst>
            </p:cNvPr>
            <p:cNvSpPr/>
            <p:nvPr/>
          </p:nvSpPr>
          <p:spPr>
            <a:xfrm>
              <a:off x="5240072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6" name="Полилиния 255">
              <a:extLst>
                <a:ext uri="{FF2B5EF4-FFF2-40B4-BE49-F238E27FC236}">
                  <a16:creationId xmlns:a16="http://schemas.microsoft.com/office/drawing/2014/main" id="{22707AE7-53DF-1E44-BFDB-760D3540A5BB}"/>
                </a:ext>
              </a:extLst>
            </p:cNvPr>
            <p:cNvSpPr/>
            <p:nvPr/>
          </p:nvSpPr>
          <p:spPr>
            <a:xfrm>
              <a:off x="5285072" y="2130929"/>
              <a:ext cx="270000" cy="270000"/>
            </a:xfrm>
            <a:custGeom>
              <a:avLst/>
              <a:gdLst>
                <a:gd name="connsiteX0" fmla="*/ 22500 w 270000"/>
                <a:gd name="connsiteY0" fmla="*/ 0 h 270000"/>
                <a:gd name="connsiteX1" fmla="*/ 247500 w 270000"/>
                <a:gd name="connsiteY1" fmla="*/ 0 h 270000"/>
                <a:gd name="connsiteX2" fmla="*/ 270000 w 270000"/>
                <a:gd name="connsiteY2" fmla="*/ 22500 h 270000"/>
                <a:gd name="connsiteX3" fmla="*/ 270000 w 270000"/>
                <a:gd name="connsiteY3" fmla="*/ 247500 h 270000"/>
                <a:gd name="connsiteX4" fmla="*/ 247500 w 270000"/>
                <a:gd name="connsiteY4" fmla="*/ 270000 h 270000"/>
                <a:gd name="connsiteX5" fmla="*/ 22500 w 270000"/>
                <a:gd name="connsiteY5" fmla="*/ 270000 h 270000"/>
                <a:gd name="connsiteX6" fmla="*/ 0 w 270000"/>
                <a:gd name="connsiteY6" fmla="*/ 247500 h 270000"/>
                <a:gd name="connsiteX7" fmla="*/ 0 w 270000"/>
                <a:gd name="connsiteY7" fmla="*/ 22500 h 270000"/>
                <a:gd name="connsiteX8" fmla="*/ 22500 w 270000"/>
                <a:gd name="connsiteY8" fmla="*/ 0 h 270000"/>
                <a:gd name="connsiteX9" fmla="*/ 75000 w 270000"/>
                <a:gd name="connsiteY9" fmla="*/ 30000 h 270000"/>
                <a:gd name="connsiteX10" fmla="*/ 60000 w 270000"/>
                <a:gd name="connsiteY10" fmla="*/ 45000 h 270000"/>
                <a:gd name="connsiteX11" fmla="*/ 75000 w 270000"/>
                <a:gd name="connsiteY11" fmla="*/ 60000 h 270000"/>
                <a:gd name="connsiteX12" fmla="*/ 195000 w 270000"/>
                <a:gd name="connsiteY12" fmla="*/ 60000 h 270000"/>
                <a:gd name="connsiteX13" fmla="*/ 210000 w 270000"/>
                <a:gd name="connsiteY13" fmla="*/ 45000 h 270000"/>
                <a:gd name="connsiteX14" fmla="*/ 195000 w 270000"/>
                <a:gd name="connsiteY14" fmla="*/ 30000 h 270000"/>
                <a:gd name="connsiteX15" fmla="*/ 75000 w 270000"/>
                <a:gd name="connsiteY15" fmla="*/ 3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0000" h="270000">
                  <a:moveTo>
                    <a:pt x="22500" y="0"/>
                  </a:moveTo>
                  <a:lnTo>
                    <a:pt x="247500" y="0"/>
                  </a:lnTo>
                  <a:cubicBezTo>
                    <a:pt x="259926" y="0"/>
                    <a:pt x="270000" y="10074"/>
                    <a:pt x="270000" y="22500"/>
                  </a:cubicBezTo>
                  <a:lnTo>
                    <a:pt x="270000" y="247500"/>
                  </a:lnTo>
                  <a:cubicBezTo>
                    <a:pt x="270000" y="259926"/>
                    <a:pt x="259926" y="270000"/>
                    <a:pt x="247500" y="270000"/>
                  </a:cubicBezTo>
                  <a:lnTo>
                    <a:pt x="22500" y="270000"/>
                  </a:lnTo>
                  <a:cubicBezTo>
                    <a:pt x="10074" y="270000"/>
                    <a:pt x="0" y="259926"/>
                    <a:pt x="0" y="247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75000" y="30000"/>
                  </a:moveTo>
                  <a:cubicBezTo>
                    <a:pt x="66716" y="30000"/>
                    <a:pt x="60000" y="36716"/>
                    <a:pt x="60000" y="45000"/>
                  </a:cubicBezTo>
                  <a:cubicBezTo>
                    <a:pt x="60000" y="53284"/>
                    <a:pt x="66716" y="60000"/>
                    <a:pt x="75000" y="60000"/>
                  </a:cubicBezTo>
                  <a:lnTo>
                    <a:pt x="195000" y="60000"/>
                  </a:lnTo>
                  <a:cubicBezTo>
                    <a:pt x="203285" y="60000"/>
                    <a:pt x="210000" y="53284"/>
                    <a:pt x="210000" y="45000"/>
                  </a:cubicBezTo>
                  <a:cubicBezTo>
                    <a:pt x="210000" y="36716"/>
                    <a:pt x="203285" y="30000"/>
                    <a:pt x="195000" y="30000"/>
                  </a:cubicBezTo>
                  <a:lnTo>
                    <a:pt x="75000" y="3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57" name="Рисунок 41">
            <a:extLst>
              <a:ext uri="{FF2B5EF4-FFF2-40B4-BE49-F238E27FC236}">
                <a16:creationId xmlns:a16="http://schemas.microsoft.com/office/drawing/2014/main" id="{843DF0AC-166D-8342-AC42-009A103AE8B3}"/>
              </a:ext>
            </a:extLst>
          </p:cNvPr>
          <p:cNvGrpSpPr/>
          <p:nvPr/>
        </p:nvGrpSpPr>
        <p:grpSpPr>
          <a:xfrm>
            <a:off x="3710601" y="1814207"/>
            <a:ext cx="240000" cy="293409"/>
            <a:chOff x="3789806" y="2130929"/>
            <a:chExt cx="240000" cy="293409"/>
          </a:xfrm>
        </p:grpSpPr>
        <p:sp>
          <p:nvSpPr>
            <p:cNvPr id="258" name="Полилиния 257">
              <a:extLst>
                <a:ext uri="{FF2B5EF4-FFF2-40B4-BE49-F238E27FC236}">
                  <a16:creationId xmlns:a16="http://schemas.microsoft.com/office/drawing/2014/main" id="{6D5B0713-A97B-134C-9157-A95555C4927C}"/>
                </a:ext>
              </a:extLst>
            </p:cNvPr>
            <p:cNvSpPr/>
            <p:nvPr/>
          </p:nvSpPr>
          <p:spPr>
            <a:xfrm>
              <a:off x="3789806" y="2130929"/>
              <a:ext cx="240000" cy="150000"/>
            </a:xfrm>
            <a:custGeom>
              <a:avLst/>
              <a:gdLst>
                <a:gd name="connsiteX0" fmla="*/ 240000 w 240000"/>
                <a:gd name="connsiteY0" fmla="*/ 75000 h 150000"/>
                <a:gd name="connsiteX1" fmla="*/ 212609 w 240000"/>
                <a:gd name="connsiteY1" fmla="*/ 75000 h 150000"/>
                <a:gd name="connsiteX2" fmla="*/ 182609 w 240000"/>
                <a:gd name="connsiteY2" fmla="*/ 105000 h 150000"/>
                <a:gd name="connsiteX3" fmla="*/ 182609 w 240000"/>
                <a:gd name="connsiteY3" fmla="*/ 135000 h 150000"/>
                <a:gd name="connsiteX4" fmla="*/ 167609 w 240000"/>
                <a:gd name="connsiteY4" fmla="*/ 150000 h 150000"/>
                <a:gd name="connsiteX5" fmla="*/ 73044 w 240000"/>
                <a:gd name="connsiteY5" fmla="*/ 150000 h 150000"/>
                <a:gd name="connsiteX6" fmla="*/ 58044 w 240000"/>
                <a:gd name="connsiteY6" fmla="*/ 135000 h 150000"/>
                <a:gd name="connsiteX7" fmla="*/ 58044 w 240000"/>
                <a:gd name="connsiteY7" fmla="*/ 105000 h 150000"/>
                <a:gd name="connsiteX8" fmla="*/ 28044 w 240000"/>
                <a:gd name="connsiteY8" fmla="*/ 75000 h 150000"/>
                <a:gd name="connsiteX9" fmla="*/ 0 w 240000"/>
                <a:gd name="connsiteY9" fmla="*/ 75000 h 150000"/>
                <a:gd name="connsiteX10" fmla="*/ 0 w 240000"/>
                <a:gd name="connsiteY10" fmla="*/ 45000 h 150000"/>
                <a:gd name="connsiteX11" fmla="*/ 45000 w 240000"/>
                <a:gd name="connsiteY11" fmla="*/ 0 h 150000"/>
                <a:gd name="connsiteX12" fmla="*/ 195000 w 240000"/>
                <a:gd name="connsiteY12" fmla="*/ 0 h 150000"/>
                <a:gd name="connsiteX13" fmla="*/ 240000 w 240000"/>
                <a:gd name="connsiteY13" fmla="*/ 45000 h 150000"/>
                <a:gd name="connsiteX14" fmla="*/ 240000 w 240000"/>
                <a:gd name="connsiteY14" fmla="*/ 7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0000" h="150000">
                  <a:moveTo>
                    <a:pt x="240000" y="75000"/>
                  </a:moveTo>
                  <a:lnTo>
                    <a:pt x="212609" y="75000"/>
                  </a:lnTo>
                  <a:cubicBezTo>
                    <a:pt x="196040" y="75000"/>
                    <a:pt x="182609" y="88431"/>
                    <a:pt x="182609" y="105000"/>
                  </a:cubicBezTo>
                  <a:lnTo>
                    <a:pt x="182609" y="135000"/>
                  </a:lnTo>
                  <a:cubicBezTo>
                    <a:pt x="182609" y="143285"/>
                    <a:pt x="175893" y="150000"/>
                    <a:pt x="167609" y="150000"/>
                  </a:cubicBezTo>
                  <a:lnTo>
                    <a:pt x="73044" y="150000"/>
                  </a:lnTo>
                  <a:cubicBezTo>
                    <a:pt x="64759" y="150000"/>
                    <a:pt x="58044" y="143285"/>
                    <a:pt x="58044" y="135000"/>
                  </a:cubicBezTo>
                  <a:lnTo>
                    <a:pt x="58044" y="105000"/>
                  </a:lnTo>
                  <a:cubicBezTo>
                    <a:pt x="58044" y="88431"/>
                    <a:pt x="44612" y="75000"/>
                    <a:pt x="28044" y="75000"/>
                  </a:cubicBezTo>
                  <a:lnTo>
                    <a:pt x="0" y="75000"/>
                  </a:ln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lnTo>
                    <a:pt x="195000" y="0"/>
                  </a:lnTo>
                  <a:cubicBezTo>
                    <a:pt x="219854" y="0"/>
                    <a:pt x="240000" y="20147"/>
                    <a:pt x="240000" y="45000"/>
                  </a:cubicBezTo>
                  <a:lnTo>
                    <a:pt x="240000" y="7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9" name="Полилиния 258">
              <a:extLst>
                <a:ext uri="{FF2B5EF4-FFF2-40B4-BE49-F238E27FC236}">
                  <a16:creationId xmlns:a16="http://schemas.microsoft.com/office/drawing/2014/main" id="{1C76FE4F-2EA7-DC44-AC9E-A7D4F287AD26}"/>
                </a:ext>
              </a:extLst>
            </p:cNvPr>
            <p:cNvSpPr/>
            <p:nvPr/>
          </p:nvSpPr>
          <p:spPr>
            <a:xfrm>
              <a:off x="3820193" y="2341917"/>
              <a:ext cx="179105" cy="82421"/>
            </a:xfrm>
            <a:custGeom>
              <a:avLst/>
              <a:gdLst>
                <a:gd name="connsiteX0" fmla="*/ 2012 w 179105"/>
                <a:gd name="connsiteY0" fmla="*/ 59919 h 82421"/>
                <a:gd name="connsiteX1" fmla="*/ 32012 w 179105"/>
                <a:gd name="connsiteY1" fmla="*/ 7958 h 82421"/>
                <a:gd name="connsiteX2" fmla="*/ 52502 w 179105"/>
                <a:gd name="connsiteY2" fmla="*/ 2468 h 82421"/>
                <a:gd name="connsiteX3" fmla="*/ 57993 w 179105"/>
                <a:gd name="connsiteY3" fmla="*/ 22958 h 82421"/>
                <a:gd name="connsiteX4" fmla="*/ 27993 w 179105"/>
                <a:gd name="connsiteY4" fmla="*/ 74919 h 82421"/>
                <a:gd name="connsiteX5" fmla="*/ 7503 w 179105"/>
                <a:gd name="connsiteY5" fmla="*/ 80409 h 82421"/>
                <a:gd name="connsiteX6" fmla="*/ 2012 w 179105"/>
                <a:gd name="connsiteY6" fmla="*/ 59919 h 82421"/>
                <a:gd name="connsiteX7" fmla="*/ 177094 w 179105"/>
                <a:gd name="connsiteY7" fmla="*/ 59463 h 82421"/>
                <a:gd name="connsiteX8" fmla="*/ 171602 w 179105"/>
                <a:gd name="connsiteY8" fmla="*/ 79955 h 82421"/>
                <a:gd name="connsiteX9" fmla="*/ 151112 w 179105"/>
                <a:gd name="connsiteY9" fmla="*/ 74463 h 82421"/>
                <a:gd name="connsiteX10" fmla="*/ 121112 w 179105"/>
                <a:gd name="connsiteY10" fmla="*/ 22502 h 82421"/>
                <a:gd name="connsiteX11" fmla="*/ 126602 w 179105"/>
                <a:gd name="connsiteY11" fmla="*/ 2012 h 82421"/>
                <a:gd name="connsiteX12" fmla="*/ 147094 w 179105"/>
                <a:gd name="connsiteY12" fmla="*/ 7502 h 82421"/>
                <a:gd name="connsiteX13" fmla="*/ 177094 w 179105"/>
                <a:gd name="connsiteY13" fmla="*/ 59463 h 8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105" h="82421">
                  <a:moveTo>
                    <a:pt x="2012" y="59919"/>
                  </a:moveTo>
                  <a:lnTo>
                    <a:pt x="32012" y="7958"/>
                  </a:lnTo>
                  <a:cubicBezTo>
                    <a:pt x="36154" y="783"/>
                    <a:pt x="45328" y="-1675"/>
                    <a:pt x="52502" y="2468"/>
                  </a:cubicBezTo>
                  <a:cubicBezTo>
                    <a:pt x="59677" y="6609"/>
                    <a:pt x="62135" y="15783"/>
                    <a:pt x="57993" y="22958"/>
                  </a:cubicBezTo>
                  <a:lnTo>
                    <a:pt x="27993" y="74919"/>
                  </a:lnTo>
                  <a:cubicBezTo>
                    <a:pt x="23851" y="82094"/>
                    <a:pt x="14677" y="84551"/>
                    <a:pt x="7503" y="80409"/>
                  </a:cubicBezTo>
                  <a:cubicBezTo>
                    <a:pt x="328" y="76268"/>
                    <a:pt x="-2130" y="67094"/>
                    <a:pt x="2012" y="59919"/>
                  </a:cubicBezTo>
                  <a:close/>
                  <a:moveTo>
                    <a:pt x="177094" y="59463"/>
                  </a:moveTo>
                  <a:cubicBezTo>
                    <a:pt x="181235" y="66638"/>
                    <a:pt x="178777" y="75812"/>
                    <a:pt x="171602" y="79955"/>
                  </a:cubicBezTo>
                  <a:cubicBezTo>
                    <a:pt x="164428" y="84096"/>
                    <a:pt x="155254" y="81638"/>
                    <a:pt x="151112" y="74463"/>
                  </a:cubicBezTo>
                  <a:lnTo>
                    <a:pt x="121112" y="22502"/>
                  </a:lnTo>
                  <a:cubicBezTo>
                    <a:pt x="116971" y="15327"/>
                    <a:pt x="119428" y="6153"/>
                    <a:pt x="126602" y="2012"/>
                  </a:cubicBezTo>
                  <a:cubicBezTo>
                    <a:pt x="133777" y="-2130"/>
                    <a:pt x="142951" y="327"/>
                    <a:pt x="147094" y="7502"/>
                  </a:cubicBezTo>
                  <a:lnTo>
                    <a:pt x="177094" y="59463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" name="Полилиния 259">
              <a:extLst>
                <a:ext uri="{FF2B5EF4-FFF2-40B4-BE49-F238E27FC236}">
                  <a16:creationId xmlns:a16="http://schemas.microsoft.com/office/drawing/2014/main" id="{B9A2C62F-03AC-2349-ADD2-0EF32467E45E}"/>
                </a:ext>
              </a:extLst>
            </p:cNvPr>
            <p:cNvSpPr/>
            <p:nvPr/>
          </p:nvSpPr>
          <p:spPr>
            <a:xfrm>
              <a:off x="3789806" y="2235929"/>
              <a:ext cx="240000" cy="120000"/>
            </a:xfrm>
            <a:custGeom>
              <a:avLst/>
              <a:gdLst>
                <a:gd name="connsiteX0" fmla="*/ 240000 w 240000"/>
                <a:gd name="connsiteY0" fmla="*/ 0 h 120000"/>
                <a:gd name="connsiteX1" fmla="*/ 240000 w 240000"/>
                <a:gd name="connsiteY1" fmla="*/ 75000 h 120000"/>
                <a:gd name="connsiteX2" fmla="*/ 195000 w 240000"/>
                <a:gd name="connsiteY2" fmla="*/ 120000 h 120000"/>
                <a:gd name="connsiteX3" fmla="*/ 45000 w 240000"/>
                <a:gd name="connsiteY3" fmla="*/ 120000 h 120000"/>
                <a:gd name="connsiteX4" fmla="*/ 0 w 240000"/>
                <a:gd name="connsiteY4" fmla="*/ 75000 h 120000"/>
                <a:gd name="connsiteX5" fmla="*/ 0 w 240000"/>
                <a:gd name="connsiteY5" fmla="*/ 0 h 120000"/>
                <a:gd name="connsiteX6" fmla="*/ 28044 w 240000"/>
                <a:gd name="connsiteY6" fmla="*/ 0 h 120000"/>
                <a:gd name="connsiteX7" fmla="*/ 28044 w 240000"/>
                <a:gd name="connsiteY7" fmla="*/ 30000 h 120000"/>
                <a:gd name="connsiteX8" fmla="*/ 73044 w 240000"/>
                <a:gd name="connsiteY8" fmla="*/ 75000 h 120000"/>
                <a:gd name="connsiteX9" fmla="*/ 167609 w 240000"/>
                <a:gd name="connsiteY9" fmla="*/ 75000 h 120000"/>
                <a:gd name="connsiteX10" fmla="*/ 212609 w 240000"/>
                <a:gd name="connsiteY10" fmla="*/ 30000 h 120000"/>
                <a:gd name="connsiteX11" fmla="*/ 212609 w 240000"/>
                <a:gd name="connsiteY11" fmla="*/ 0 h 120000"/>
                <a:gd name="connsiteX12" fmla="*/ 240000 w 240000"/>
                <a:gd name="connsiteY12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0000" h="120000">
                  <a:moveTo>
                    <a:pt x="240000" y="0"/>
                  </a:moveTo>
                  <a:lnTo>
                    <a:pt x="240000" y="75000"/>
                  </a:lnTo>
                  <a:cubicBezTo>
                    <a:pt x="240000" y="99854"/>
                    <a:pt x="219854" y="120000"/>
                    <a:pt x="195000" y="120000"/>
                  </a:cubicBezTo>
                  <a:lnTo>
                    <a:pt x="45000" y="120000"/>
                  </a:lnTo>
                  <a:cubicBezTo>
                    <a:pt x="20147" y="120000"/>
                    <a:pt x="0" y="99854"/>
                    <a:pt x="0" y="75000"/>
                  </a:cubicBezTo>
                  <a:lnTo>
                    <a:pt x="0" y="0"/>
                  </a:lnTo>
                  <a:lnTo>
                    <a:pt x="28044" y="0"/>
                  </a:lnTo>
                  <a:lnTo>
                    <a:pt x="28044" y="30000"/>
                  </a:lnTo>
                  <a:cubicBezTo>
                    <a:pt x="28044" y="54854"/>
                    <a:pt x="48191" y="75000"/>
                    <a:pt x="73044" y="75000"/>
                  </a:cubicBezTo>
                  <a:lnTo>
                    <a:pt x="167609" y="75000"/>
                  </a:lnTo>
                  <a:cubicBezTo>
                    <a:pt x="192462" y="75000"/>
                    <a:pt x="212609" y="54854"/>
                    <a:pt x="212609" y="30000"/>
                  </a:cubicBezTo>
                  <a:lnTo>
                    <a:pt x="212609" y="0"/>
                  </a:lnTo>
                  <a:lnTo>
                    <a:pt x="240000" y="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1" name="Рисунок 42">
            <a:extLst>
              <a:ext uri="{FF2B5EF4-FFF2-40B4-BE49-F238E27FC236}">
                <a16:creationId xmlns:a16="http://schemas.microsoft.com/office/drawing/2014/main" id="{35D6DA6B-D530-C54D-A422-F71856969E93}"/>
              </a:ext>
            </a:extLst>
          </p:cNvPr>
          <p:cNvGrpSpPr/>
          <p:nvPr/>
        </p:nvGrpSpPr>
        <p:grpSpPr>
          <a:xfrm>
            <a:off x="4405734" y="1769207"/>
            <a:ext cx="360000" cy="360000"/>
            <a:chOff x="4484939" y="2085929"/>
            <a:chExt cx="360000" cy="360000"/>
          </a:xfrm>
        </p:grpSpPr>
        <p:sp>
          <p:nvSpPr>
            <p:cNvPr id="262" name="Полилиния 261">
              <a:extLst>
                <a:ext uri="{FF2B5EF4-FFF2-40B4-BE49-F238E27FC236}">
                  <a16:creationId xmlns:a16="http://schemas.microsoft.com/office/drawing/2014/main" id="{F4AECD6A-2072-B845-827E-87528935DF30}"/>
                </a:ext>
              </a:extLst>
            </p:cNvPr>
            <p:cNvSpPr/>
            <p:nvPr/>
          </p:nvSpPr>
          <p:spPr>
            <a:xfrm>
              <a:off x="4484939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" name="Скругленный прямоугольник 262">
              <a:extLst>
                <a:ext uri="{FF2B5EF4-FFF2-40B4-BE49-F238E27FC236}">
                  <a16:creationId xmlns:a16="http://schemas.microsoft.com/office/drawing/2014/main" id="{E7E20BE2-1408-9F4D-B40C-184E36D260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49939" y="2160724"/>
              <a:ext cx="28800" cy="201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" name="Полилиния 263">
              <a:extLst>
                <a:ext uri="{FF2B5EF4-FFF2-40B4-BE49-F238E27FC236}">
                  <a16:creationId xmlns:a16="http://schemas.microsoft.com/office/drawing/2014/main" id="{ED81C1BC-CF8D-7F4A-B287-D65B15816B40}"/>
                </a:ext>
              </a:extLst>
            </p:cNvPr>
            <p:cNvSpPr/>
            <p:nvPr/>
          </p:nvSpPr>
          <p:spPr>
            <a:xfrm flipV="1">
              <a:off x="4559939" y="2250929"/>
              <a:ext cx="209999" cy="119999"/>
            </a:xfrm>
            <a:custGeom>
              <a:avLst/>
              <a:gdLst>
                <a:gd name="connsiteX0" fmla="*/ 25607 w 209999"/>
                <a:gd name="connsiteY0" fmla="*/ 115606 h 119999"/>
                <a:gd name="connsiteX1" fmla="*/ 4393 w 209999"/>
                <a:gd name="connsiteY1" fmla="*/ 115606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2 h 119999"/>
                <a:gd name="connsiteX5" fmla="*/ 205135 w 209999"/>
                <a:gd name="connsiteY5" fmla="*/ 86442 h 119999"/>
                <a:gd name="connsiteX6" fmla="*/ 206058 w 209999"/>
                <a:gd name="connsiteY6" fmla="*/ 107635 h 119999"/>
                <a:gd name="connsiteX7" fmla="*/ 184865 w 209999"/>
                <a:gd name="connsiteY7" fmla="*/ 108558 h 119999"/>
                <a:gd name="connsiteX8" fmla="*/ 105452 w 209999"/>
                <a:gd name="connsiteY8" fmla="*/ 35761 h 119999"/>
                <a:gd name="connsiteX9" fmla="*/ 25607 w 209999"/>
                <a:gd name="connsiteY9" fmla="*/ 115606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6"/>
                  </a:moveTo>
                  <a:cubicBezTo>
                    <a:pt x="19749" y="121464"/>
                    <a:pt x="10251" y="121464"/>
                    <a:pt x="4393" y="115606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6"/>
                    <a:pt x="109217" y="-1484"/>
                    <a:pt x="115136" y="3942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5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1"/>
                  </a:lnTo>
                  <a:lnTo>
                    <a:pt x="25607" y="115606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5" name="Рисунок 47">
            <a:extLst>
              <a:ext uri="{FF2B5EF4-FFF2-40B4-BE49-F238E27FC236}">
                <a16:creationId xmlns:a16="http://schemas.microsoft.com/office/drawing/2014/main" id="{1741AA8A-1C96-FC4D-9503-BB7D05041D98}"/>
              </a:ext>
            </a:extLst>
          </p:cNvPr>
          <p:cNvGrpSpPr/>
          <p:nvPr/>
        </p:nvGrpSpPr>
        <p:grpSpPr>
          <a:xfrm>
            <a:off x="3650601" y="1096153"/>
            <a:ext cx="360000" cy="360000"/>
            <a:chOff x="3729806" y="1412875"/>
            <a:chExt cx="360000" cy="360000"/>
          </a:xfrm>
        </p:grpSpPr>
        <p:sp>
          <p:nvSpPr>
            <p:cNvPr id="266" name="Полилиния 265">
              <a:extLst>
                <a:ext uri="{FF2B5EF4-FFF2-40B4-BE49-F238E27FC236}">
                  <a16:creationId xmlns:a16="http://schemas.microsoft.com/office/drawing/2014/main" id="{35739587-ECDB-654D-9189-0C831EAB48A3}"/>
                </a:ext>
              </a:extLst>
            </p:cNvPr>
            <p:cNvSpPr/>
            <p:nvPr/>
          </p:nvSpPr>
          <p:spPr>
            <a:xfrm>
              <a:off x="3729806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" name="Полилиния 266">
              <a:extLst>
                <a:ext uri="{FF2B5EF4-FFF2-40B4-BE49-F238E27FC236}">
                  <a16:creationId xmlns:a16="http://schemas.microsoft.com/office/drawing/2014/main" id="{170EA0D1-78E0-0441-965B-EDFEB410E887}"/>
                </a:ext>
              </a:extLst>
            </p:cNvPr>
            <p:cNvSpPr/>
            <p:nvPr/>
          </p:nvSpPr>
          <p:spPr>
            <a:xfrm rot="-5400000" flipV="1">
              <a:off x="3894806" y="1487875"/>
              <a:ext cx="30000" cy="210000"/>
            </a:xfrm>
            <a:custGeom>
              <a:avLst/>
              <a:gdLst>
                <a:gd name="connsiteX0" fmla="*/ 15000 w 30000"/>
                <a:gd name="connsiteY0" fmla="*/ 0 h 210000"/>
                <a:gd name="connsiteX1" fmla="*/ 30000 w 30000"/>
                <a:gd name="connsiteY1" fmla="*/ 0 h 210000"/>
                <a:gd name="connsiteX2" fmla="*/ 30000 w 30000"/>
                <a:gd name="connsiteY2" fmla="*/ 210000 h 210000"/>
                <a:gd name="connsiteX3" fmla="*/ 15000 w 30000"/>
                <a:gd name="connsiteY3" fmla="*/ 210000 h 210000"/>
                <a:gd name="connsiteX4" fmla="*/ 15000 w 30000"/>
                <a:gd name="connsiteY4" fmla="*/ 210000 h 210000"/>
                <a:gd name="connsiteX5" fmla="*/ 0 w 30000"/>
                <a:gd name="connsiteY5" fmla="*/ 210000 h 210000"/>
                <a:gd name="connsiteX6" fmla="*/ 0 w 30000"/>
                <a:gd name="connsiteY6" fmla="*/ 0 h 210000"/>
                <a:gd name="connsiteX7" fmla="*/ 15000 w 30000"/>
                <a:gd name="connsiteY7" fmla="*/ 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210000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210000"/>
                  </a:lnTo>
                  <a:cubicBezTo>
                    <a:pt x="30000" y="210000"/>
                    <a:pt x="23284" y="210000"/>
                    <a:pt x="15000" y="210000"/>
                  </a:cubicBezTo>
                  <a:lnTo>
                    <a:pt x="15000" y="210000"/>
                  </a:lnTo>
                  <a:cubicBezTo>
                    <a:pt x="6716" y="210000"/>
                    <a:pt x="0" y="210000"/>
                    <a:pt x="0" y="21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" name="Полилиния 267">
              <a:extLst>
                <a:ext uri="{FF2B5EF4-FFF2-40B4-BE49-F238E27FC236}">
                  <a16:creationId xmlns:a16="http://schemas.microsoft.com/office/drawing/2014/main" id="{9ED7606E-67C5-F641-986D-D54AC8929905}"/>
                </a:ext>
              </a:extLst>
            </p:cNvPr>
            <p:cNvSpPr/>
            <p:nvPr/>
          </p:nvSpPr>
          <p:spPr>
            <a:xfrm rot="-5400000">
              <a:off x="3759805" y="1532875"/>
              <a:ext cx="209999" cy="119999"/>
            </a:xfrm>
            <a:custGeom>
              <a:avLst/>
              <a:gdLst>
                <a:gd name="connsiteX0" fmla="*/ 25606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3 w 209999"/>
                <a:gd name="connsiteY3" fmla="*/ 4393 h 119999"/>
                <a:gd name="connsiteX4" fmla="*/ 115136 w 209999"/>
                <a:gd name="connsiteY4" fmla="*/ 3943 h 119999"/>
                <a:gd name="connsiteX5" fmla="*/ 205136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1 w 209999"/>
                <a:gd name="connsiteY8" fmla="*/ 35762 h 119999"/>
                <a:gd name="connsiteX9" fmla="*/ 25606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6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3" y="4393"/>
                  </a:lnTo>
                  <a:cubicBezTo>
                    <a:pt x="100072" y="-1285"/>
                    <a:pt x="109216" y="-1484"/>
                    <a:pt x="115136" y="3943"/>
                  </a:cubicBezTo>
                  <a:lnTo>
                    <a:pt x="205136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1" y="35762"/>
                  </a:lnTo>
                  <a:lnTo>
                    <a:pt x="25606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9" name="Рисунок 48">
            <a:extLst>
              <a:ext uri="{FF2B5EF4-FFF2-40B4-BE49-F238E27FC236}">
                <a16:creationId xmlns:a16="http://schemas.microsoft.com/office/drawing/2014/main" id="{706EBE87-5508-734D-9167-2FA5A82D6A5F}"/>
              </a:ext>
            </a:extLst>
          </p:cNvPr>
          <p:cNvGrpSpPr/>
          <p:nvPr/>
        </p:nvGrpSpPr>
        <p:grpSpPr>
          <a:xfrm>
            <a:off x="4405734" y="1096153"/>
            <a:ext cx="360000" cy="360000"/>
            <a:chOff x="4484939" y="1412875"/>
            <a:chExt cx="360000" cy="360000"/>
          </a:xfrm>
        </p:grpSpPr>
        <p:sp>
          <p:nvSpPr>
            <p:cNvPr id="270" name="Полилиния 269">
              <a:extLst>
                <a:ext uri="{FF2B5EF4-FFF2-40B4-BE49-F238E27FC236}">
                  <a16:creationId xmlns:a16="http://schemas.microsoft.com/office/drawing/2014/main" id="{22DA7656-DE00-E044-A192-476163316527}"/>
                </a:ext>
              </a:extLst>
            </p:cNvPr>
            <p:cNvSpPr/>
            <p:nvPr/>
          </p:nvSpPr>
          <p:spPr>
            <a:xfrm>
              <a:off x="4484939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" name="Полилиния 270">
              <a:extLst>
                <a:ext uri="{FF2B5EF4-FFF2-40B4-BE49-F238E27FC236}">
                  <a16:creationId xmlns:a16="http://schemas.microsoft.com/office/drawing/2014/main" id="{5C04B88B-77E9-0B44-90B3-242834801765}"/>
                </a:ext>
              </a:extLst>
            </p:cNvPr>
            <p:cNvSpPr/>
            <p:nvPr/>
          </p:nvSpPr>
          <p:spPr>
            <a:xfrm rot="-5400000">
              <a:off x="4649939" y="1487875"/>
              <a:ext cx="30000" cy="210000"/>
            </a:xfrm>
            <a:custGeom>
              <a:avLst/>
              <a:gdLst>
                <a:gd name="connsiteX0" fmla="*/ 15000 w 30000"/>
                <a:gd name="connsiteY0" fmla="*/ 0 h 210000"/>
                <a:gd name="connsiteX1" fmla="*/ 30000 w 30000"/>
                <a:gd name="connsiteY1" fmla="*/ 0 h 210000"/>
                <a:gd name="connsiteX2" fmla="*/ 30000 w 30000"/>
                <a:gd name="connsiteY2" fmla="*/ 210000 h 210000"/>
                <a:gd name="connsiteX3" fmla="*/ 15000 w 30000"/>
                <a:gd name="connsiteY3" fmla="*/ 210000 h 210000"/>
                <a:gd name="connsiteX4" fmla="*/ 15000 w 30000"/>
                <a:gd name="connsiteY4" fmla="*/ 210000 h 210000"/>
                <a:gd name="connsiteX5" fmla="*/ 0 w 30000"/>
                <a:gd name="connsiteY5" fmla="*/ 210000 h 210000"/>
                <a:gd name="connsiteX6" fmla="*/ 0 w 30000"/>
                <a:gd name="connsiteY6" fmla="*/ 0 h 210000"/>
                <a:gd name="connsiteX7" fmla="*/ 15000 w 30000"/>
                <a:gd name="connsiteY7" fmla="*/ 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210000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210000"/>
                  </a:lnTo>
                  <a:cubicBezTo>
                    <a:pt x="30000" y="210000"/>
                    <a:pt x="23284" y="210000"/>
                    <a:pt x="15000" y="210000"/>
                  </a:cubicBezTo>
                  <a:lnTo>
                    <a:pt x="15000" y="210000"/>
                  </a:lnTo>
                  <a:cubicBezTo>
                    <a:pt x="6716" y="210000"/>
                    <a:pt x="0" y="210000"/>
                    <a:pt x="0" y="21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" name="Полилиния 271">
              <a:extLst>
                <a:ext uri="{FF2B5EF4-FFF2-40B4-BE49-F238E27FC236}">
                  <a16:creationId xmlns:a16="http://schemas.microsoft.com/office/drawing/2014/main" id="{2E034BF9-BB08-864A-BB00-DC8EB121F835}"/>
                </a:ext>
              </a:extLst>
            </p:cNvPr>
            <p:cNvSpPr/>
            <p:nvPr/>
          </p:nvSpPr>
          <p:spPr>
            <a:xfrm rot="-5400000" flipV="1">
              <a:off x="4604939" y="1532875"/>
              <a:ext cx="209999" cy="119999"/>
            </a:xfrm>
            <a:custGeom>
              <a:avLst/>
              <a:gdLst>
                <a:gd name="connsiteX0" fmla="*/ 25607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7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7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73" name="Рисунок 49">
            <a:extLst>
              <a:ext uri="{FF2B5EF4-FFF2-40B4-BE49-F238E27FC236}">
                <a16:creationId xmlns:a16="http://schemas.microsoft.com/office/drawing/2014/main" id="{9B4B380C-50F3-5A47-A508-504E80B028B0}"/>
              </a:ext>
            </a:extLst>
          </p:cNvPr>
          <p:cNvGrpSpPr/>
          <p:nvPr/>
        </p:nvGrpSpPr>
        <p:grpSpPr>
          <a:xfrm>
            <a:off x="5160867" y="1096153"/>
            <a:ext cx="360000" cy="360000"/>
            <a:chOff x="5240072" y="1412875"/>
            <a:chExt cx="360000" cy="360000"/>
          </a:xfrm>
        </p:grpSpPr>
        <p:sp>
          <p:nvSpPr>
            <p:cNvPr id="274" name="Полилиния 273">
              <a:extLst>
                <a:ext uri="{FF2B5EF4-FFF2-40B4-BE49-F238E27FC236}">
                  <a16:creationId xmlns:a16="http://schemas.microsoft.com/office/drawing/2014/main" id="{FC5D3E8F-C15E-1B41-9903-269C9E75F4EE}"/>
                </a:ext>
              </a:extLst>
            </p:cNvPr>
            <p:cNvSpPr/>
            <p:nvPr/>
          </p:nvSpPr>
          <p:spPr>
            <a:xfrm>
              <a:off x="5240072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" name="Полилиния 274">
              <a:extLst>
                <a:ext uri="{FF2B5EF4-FFF2-40B4-BE49-F238E27FC236}">
                  <a16:creationId xmlns:a16="http://schemas.microsoft.com/office/drawing/2014/main" id="{FF82F19F-7FF1-E249-B76D-505EC379864C}"/>
                </a:ext>
              </a:extLst>
            </p:cNvPr>
            <p:cNvSpPr/>
            <p:nvPr/>
          </p:nvSpPr>
          <p:spPr>
            <a:xfrm rot="2700000">
              <a:off x="5315293" y="1480062"/>
              <a:ext cx="220919" cy="236984"/>
            </a:xfrm>
            <a:custGeom>
              <a:avLst/>
              <a:gdLst>
                <a:gd name="connsiteX0" fmla="*/ 81213 w 220919"/>
                <a:gd name="connsiteY0" fmla="*/ 118493 h 236984"/>
                <a:gd name="connsiteX1" fmla="*/ 4393 w 220919"/>
                <a:gd name="connsiteY1" fmla="*/ 41673 h 236984"/>
                <a:gd name="connsiteX2" fmla="*/ 4393 w 220919"/>
                <a:gd name="connsiteY2" fmla="*/ 20460 h 236984"/>
                <a:gd name="connsiteX3" fmla="*/ 25607 w 220919"/>
                <a:gd name="connsiteY3" fmla="*/ 20460 h 236984"/>
                <a:gd name="connsiteX4" fmla="*/ 102426 w 220919"/>
                <a:gd name="connsiteY4" fmla="*/ 97280 h 236984"/>
                <a:gd name="connsiteX5" fmla="*/ 195312 w 220919"/>
                <a:gd name="connsiteY5" fmla="*/ 4393 h 236984"/>
                <a:gd name="connsiteX6" fmla="*/ 216525 w 220919"/>
                <a:gd name="connsiteY6" fmla="*/ 4393 h 236984"/>
                <a:gd name="connsiteX7" fmla="*/ 216525 w 220919"/>
                <a:gd name="connsiteY7" fmla="*/ 25607 h 236984"/>
                <a:gd name="connsiteX8" fmla="*/ 123640 w 220919"/>
                <a:gd name="connsiteY8" fmla="*/ 118493 h 236984"/>
                <a:gd name="connsiteX9" fmla="*/ 216525 w 220919"/>
                <a:gd name="connsiteY9" fmla="*/ 211379 h 236984"/>
                <a:gd name="connsiteX10" fmla="*/ 216525 w 220919"/>
                <a:gd name="connsiteY10" fmla="*/ 232592 h 236984"/>
                <a:gd name="connsiteX11" fmla="*/ 195312 w 220919"/>
                <a:gd name="connsiteY11" fmla="*/ 232592 h 236984"/>
                <a:gd name="connsiteX12" fmla="*/ 102426 w 220919"/>
                <a:gd name="connsiteY12" fmla="*/ 139706 h 236984"/>
                <a:gd name="connsiteX13" fmla="*/ 25607 w 220919"/>
                <a:gd name="connsiteY13" fmla="*/ 216525 h 236984"/>
                <a:gd name="connsiteX14" fmla="*/ 4393 w 220919"/>
                <a:gd name="connsiteY14" fmla="*/ 216525 h 236984"/>
                <a:gd name="connsiteX15" fmla="*/ 4393 w 220919"/>
                <a:gd name="connsiteY15" fmla="*/ 195312 h 236984"/>
                <a:gd name="connsiteX16" fmla="*/ 81213 w 220919"/>
                <a:gd name="connsiteY16" fmla="*/ 118493 h 236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0919" h="236984">
                  <a:moveTo>
                    <a:pt x="81213" y="118493"/>
                  </a:moveTo>
                  <a:lnTo>
                    <a:pt x="4393" y="41673"/>
                  </a:lnTo>
                  <a:cubicBezTo>
                    <a:pt x="-1464" y="35815"/>
                    <a:pt x="-1464" y="26317"/>
                    <a:pt x="4393" y="20460"/>
                  </a:cubicBezTo>
                  <a:cubicBezTo>
                    <a:pt x="10251" y="14602"/>
                    <a:pt x="19749" y="14602"/>
                    <a:pt x="25607" y="20460"/>
                  </a:cubicBezTo>
                  <a:lnTo>
                    <a:pt x="102426" y="97280"/>
                  </a:lnTo>
                  <a:lnTo>
                    <a:pt x="195312" y="4393"/>
                  </a:lnTo>
                  <a:cubicBezTo>
                    <a:pt x="201171" y="-1464"/>
                    <a:pt x="210667" y="-1464"/>
                    <a:pt x="216525" y="4393"/>
                  </a:cubicBezTo>
                  <a:cubicBezTo>
                    <a:pt x="222384" y="10251"/>
                    <a:pt x="222384" y="19749"/>
                    <a:pt x="216525" y="25607"/>
                  </a:cubicBezTo>
                  <a:lnTo>
                    <a:pt x="123640" y="118493"/>
                  </a:lnTo>
                  <a:lnTo>
                    <a:pt x="216525" y="211379"/>
                  </a:lnTo>
                  <a:cubicBezTo>
                    <a:pt x="222384" y="217236"/>
                    <a:pt x="222384" y="226734"/>
                    <a:pt x="216525" y="232592"/>
                  </a:cubicBezTo>
                  <a:cubicBezTo>
                    <a:pt x="210667" y="238449"/>
                    <a:pt x="201171" y="238449"/>
                    <a:pt x="195312" y="232592"/>
                  </a:cubicBezTo>
                  <a:lnTo>
                    <a:pt x="102426" y="139706"/>
                  </a:lnTo>
                  <a:lnTo>
                    <a:pt x="25607" y="216525"/>
                  </a:lnTo>
                  <a:cubicBezTo>
                    <a:pt x="19749" y="222383"/>
                    <a:pt x="10251" y="222383"/>
                    <a:pt x="4393" y="216525"/>
                  </a:cubicBezTo>
                  <a:cubicBezTo>
                    <a:pt x="-1464" y="210668"/>
                    <a:pt x="-1464" y="201170"/>
                    <a:pt x="4393" y="195312"/>
                  </a:cubicBezTo>
                  <a:lnTo>
                    <a:pt x="81213" y="118493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" name="Полилиния 275">
              <a:extLst>
                <a:ext uri="{FF2B5EF4-FFF2-40B4-BE49-F238E27FC236}">
                  <a16:creationId xmlns:a16="http://schemas.microsoft.com/office/drawing/2014/main" id="{61E8CC7B-4E8C-8648-B521-363B28F0B423}"/>
                </a:ext>
              </a:extLst>
            </p:cNvPr>
            <p:cNvSpPr/>
            <p:nvPr/>
          </p:nvSpPr>
          <p:spPr>
            <a:xfrm>
              <a:off x="5250366" y="1423169"/>
              <a:ext cx="339411" cy="339411"/>
            </a:xfrm>
            <a:custGeom>
              <a:avLst/>
              <a:gdLst>
                <a:gd name="connsiteX0" fmla="*/ 42426 w 339411"/>
                <a:gd name="connsiteY0" fmla="*/ 169706 h 339411"/>
                <a:gd name="connsiteX1" fmla="*/ 74246 w 339411"/>
                <a:gd name="connsiteY1" fmla="*/ 201525 h 339411"/>
                <a:gd name="connsiteX2" fmla="*/ 74246 w 339411"/>
                <a:gd name="connsiteY2" fmla="*/ 222738 h 339411"/>
                <a:gd name="connsiteX3" fmla="*/ 53033 w 339411"/>
                <a:gd name="connsiteY3" fmla="*/ 222738 h 339411"/>
                <a:gd name="connsiteX4" fmla="*/ 0 w 339411"/>
                <a:gd name="connsiteY4" fmla="*/ 169706 h 339411"/>
                <a:gd name="connsiteX5" fmla="*/ 53033 w 339411"/>
                <a:gd name="connsiteY5" fmla="*/ 116673 h 339411"/>
                <a:gd name="connsiteX6" fmla="*/ 74246 w 339411"/>
                <a:gd name="connsiteY6" fmla="*/ 116673 h 339411"/>
                <a:gd name="connsiteX7" fmla="*/ 74246 w 339411"/>
                <a:gd name="connsiteY7" fmla="*/ 137886 h 339411"/>
                <a:gd name="connsiteX8" fmla="*/ 42426 w 339411"/>
                <a:gd name="connsiteY8" fmla="*/ 169706 h 339411"/>
                <a:gd name="connsiteX9" fmla="*/ 169706 w 339411"/>
                <a:gd name="connsiteY9" fmla="*/ 296985 h 339411"/>
                <a:gd name="connsiteX10" fmla="*/ 201525 w 339411"/>
                <a:gd name="connsiteY10" fmla="*/ 265166 h 339411"/>
                <a:gd name="connsiteX11" fmla="*/ 222738 w 339411"/>
                <a:gd name="connsiteY11" fmla="*/ 265166 h 339411"/>
                <a:gd name="connsiteX12" fmla="*/ 222738 w 339411"/>
                <a:gd name="connsiteY12" fmla="*/ 286379 h 339411"/>
                <a:gd name="connsiteX13" fmla="*/ 169706 w 339411"/>
                <a:gd name="connsiteY13" fmla="*/ 339411 h 339411"/>
                <a:gd name="connsiteX14" fmla="*/ 116673 w 339411"/>
                <a:gd name="connsiteY14" fmla="*/ 286379 h 339411"/>
                <a:gd name="connsiteX15" fmla="*/ 116673 w 339411"/>
                <a:gd name="connsiteY15" fmla="*/ 265166 h 339411"/>
                <a:gd name="connsiteX16" fmla="*/ 137886 w 339411"/>
                <a:gd name="connsiteY16" fmla="*/ 265166 h 339411"/>
                <a:gd name="connsiteX17" fmla="*/ 169706 w 339411"/>
                <a:gd name="connsiteY17" fmla="*/ 296985 h 339411"/>
                <a:gd name="connsiteX18" fmla="*/ 296985 w 339411"/>
                <a:gd name="connsiteY18" fmla="*/ 169706 h 339411"/>
                <a:gd name="connsiteX19" fmla="*/ 265166 w 339411"/>
                <a:gd name="connsiteY19" fmla="*/ 137886 h 339411"/>
                <a:gd name="connsiteX20" fmla="*/ 265166 w 339411"/>
                <a:gd name="connsiteY20" fmla="*/ 116673 h 339411"/>
                <a:gd name="connsiteX21" fmla="*/ 286379 w 339411"/>
                <a:gd name="connsiteY21" fmla="*/ 116673 h 339411"/>
                <a:gd name="connsiteX22" fmla="*/ 339411 w 339411"/>
                <a:gd name="connsiteY22" fmla="*/ 169706 h 339411"/>
                <a:gd name="connsiteX23" fmla="*/ 286379 w 339411"/>
                <a:gd name="connsiteY23" fmla="*/ 222738 h 339411"/>
                <a:gd name="connsiteX24" fmla="*/ 265166 w 339411"/>
                <a:gd name="connsiteY24" fmla="*/ 222738 h 339411"/>
                <a:gd name="connsiteX25" fmla="*/ 265166 w 339411"/>
                <a:gd name="connsiteY25" fmla="*/ 201525 h 339411"/>
                <a:gd name="connsiteX26" fmla="*/ 296985 w 339411"/>
                <a:gd name="connsiteY26" fmla="*/ 169706 h 339411"/>
                <a:gd name="connsiteX27" fmla="*/ 169706 w 339411"/>
                <a:gd name="connsiteY27" fmla="*/ 42426 h 339411"/>
                <a:gd name="connsiteX28" fmla="*/ 137886 w 339411"/>
                <a:gd name="connsiteY28" fmla="*/ 74246 h 339411"/>
                <a:gd name="connsiteX29" fmla="*/ 116673 w 339411"/>
                <a:gd name="connsiteY29" fmla="*/ 74246 h 339411"/>
                <a:gd name="connsiteX30" fmla="*/ 116673 w 339411"/>
                <a:gd name="connsiteY30" fmla="*/ 53033 h 339411"/>
                <a:gd name="connsiteX31" fmla="*/ 169706 w 339411"/>
                <a:gd name="connsiteY31" fmla="*/ 0 h 339411"/>
                <a:gd name="connsiteX32" fmla="*/ 222738 w 339411"/>
                <a:gd name="connsiteY32" fmla="*/ 53033 h 339411"/>
                <a:gd name="connsiteX33" fmla="*/ 222738 w 339411"/>
                <a:gd name="connsiteY33" fmla="*/ 74246 h 339411"/>
                <a:gd name="connsiteX34" fmla="*/ 201525 w 339411"/>
                <a:gd name="connsiteY34" fmla="*/ 74246 h 339411"/>
                <a:gd name="connsiteX35" fmla="*/ 169706 w 339411"/>
                <a:gd name="connsiteY35" fmla="*/ 42426 h 339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39411" h="339411">
                  <a:moveTo>
                    <a:pt x="42426" y="169706"/>
                  </a:moveTo>
                  <a:lnTo>
                    <a:pt x="74246" y="201525"/>
                  </a:lnTo>
                  <a:cubicBezTo>
                    <a:pt x="80104" y="209810"/>
                    <a:pt x="80104" y="216881"/>
                    <a:pt x="74246" y="222738"/>
                  </a:cubicBezTo>
                  <a:cubicBezTo>
                    <a:pt x="68388" y="228597"/>
                    <a:pt x="61317" y="228597"/>
                    <a:pt x="53033" y="222738"/>
                  </a:cubicBezTo>
                  <a:lnTo>
                    <a:pt x="0" y="169706"/>
                  </a:lnTo>
                  <a:lnTo>
                    <a:pt x="53033" y="116673"/>
                  </a:lnTo>
                  <a:cubicBezTo>
                    <a:pt x="60104" y="109602"/>
                    <a:pt x="67175" y="109602"/>
                    <a:pt x="74246" y="116673"/>
                  </a:cubicBezTo>
                  <a:cubicBezTo>
                    <a:pt x="81317" y="123744"/>
                    <a:pt x="81317" y="130815"/>
                    <a:pt x="74246" y="137886"/>
                  </a:cubicBezTo>
                  <a:lnTo>
                    <a:pt x="42426" y="169706"/>
                  </a:lnTo>
                  <a:close/>
                  <a:moveTo>
                    <a:pt x="169706" y="296985"/>
                  </a:moveTo>
                  <a:lnTo>
                    <a:pt x="201525" y="265166"/>
                  </a:lnTo>
                  <a:cubicBezTo>
                    <a:pt x="209810" y="259307"/>
                    <a:pt x="216881" y="259307"/>
                    <a:pt x="222738" y="265166"/>
                  </a:cubicBezTo>
                  <a:cubicBezTo>
                    <a:pt x="228597" y="271023"/>
                    <a:pt x="228597" y="278094"/>
                    <a:pt x="222738" y="286379"/>
                  </a:cubicBezTo>
                  <a:lnTo>
                    <a:pt x="169706" y="339411"/>
                  </a:lnTo>
                  <a:lnTo>
                    <a:pt x="116673" y="286379"/>
                  </a:lnTo>
                  <a:cubicBezTo>
                    <a:pt x="109602" y="279308"/>
                    <a:pt x="109602" y="272237"/>
                    <a:pt x="116673" y="265166"/>
                  </a:cubicBezTo>
                  <a:cubicBezTo>
                    <a:pt x="123744" y="258095"/>
                    <a:pt x="130815" y="258095"/>
                    <a:pt x="137886" y="265166"/>
                  </a:cubicBezTo>
                  <a:lnTo>
                    <a:pt x="169706" y="296985"/>
                  </a:lnTo>
                  <a:close/>
                  <a:moveTo>
                    <a:pt x="296985" y="169706"/>
                  </a:moveTo>
                  <a:lnTo>
                    <a:pt x="265166" y="137886"/>
                  </a:lnTo>
                  <a:cubicBezTo>
                    <a:pt x="259307" y="129602"/>
                    <a:pt x="259307" y="122530"/>
                    <a:pt x="265166" y="116673"/>
                  </a:cubicBezTo>
                  <a:cubicBezTo>
                    <a:pt x="271023" y="110815"/>
                    <a:pt x="278094" y="110815"/>
                    <a:pt x="286379" y="116673"/>
                  </a:cubicBezTo>
                  <a:lnTo>
                    <a:pt x="339411" y="169706"/>
                  </a:lnTo>
                  <a:lnTo>
                    <a:pt x="286379" y="222738"/>
                  </a:lnTo>
                  <a:cubicBezTo>
                    <a:pt x="279308" y="229809"/>
                    <a:pt x="272237" y="229809"/>
                    <a:pt x="265166" y="222738"/>
                  </a:cubicBezTo>
                  <a:cubicBezTo>
                    <a:pt x="258095" y="215667"/>
                    <a:pt x="258095" y="208596"/>
                    <a:pt x="265166" y="201525"/>
                  </a:cubicBezTo>
                  <a:lnTo>
                    <a:pt x="296985" y="169706"/>
                  </a:lnTo>
                  <a:close/>
                  <a:moveTo>
                    <a:pt x="169706" y="42426"/>
                  </a:moveTo>
                  <a:lnTo>
                    <a:pt x="137886" y="74246"/>
                  </a:lnTo>
                  <a:cubicBezTo>
                    <a:pt x="129602" y="80104"/>
                    <a:pt x="122530" y="80104"/>
                    <a:pt x="116673" y="74246"/>
                  </a:cubicBezTo>
                  <a:cubicBezTo>
                    <a:pt x="110815" y="68388"/>
                    <a:pt x="110815" y="61317"/>
                    <a:pt x="116673" y="53033"/>
                  </a:cubicBezTo>
                  <a:lnTo>
                    <a:pt x="169706" y="0"/>
                  </a:lnTo>
                  <a:lnTo>
                    <a:pt x="222738" y="53033"/>
                  </a:lnTo>
                  <a:cubicBezTo>
                    <a:pt x="229809" y="60104"/>
                    <a:pt x="229809" y="67175"/>
                    <a:pt x="222738" y="74246"/>
                  </a:cubicBezTo>
                  <a:cubicBezTo>
                    <a:pt x="215667" y="81317"/>
                    <a:pt x="208596" y="81317"/>
                    <a:pt x="201525" y="74246"/>
                  </a:cubicBezTo>
                  <a:lnTo>
                    <a:pt x="169706" y="42426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77" name="Рисунок 50">
            <a:extLst>
              <a:ext uri="{FF2B5EF4-FFF2-40B4-BE49-F238E27FC236}">
                <a16:creationId xmlns:a16="http://schemas.microsoft.com/office/drawing/2014/main" id="{2380289E-F07A-A743-A4E1-DA754DF2BAB6}"/>
              </a:ext>
            </a:extLst>
          </p:cNvPr>
          <p:cNvGrpSpPr/>
          <p:nvPr/>
        </p:nvGrpSpPr>
        <p:grpSpPr>
          <a:xfrm>
            <a:off x="6671133" y="1096153"/>
            <a:ext cx="360000" cy="360000"/>
            <a:chOff x="6750338" y="1412875"/>
            <a:chExt cx="360000" cy="360000"/>
          </a:xfrm>
        </p:grpSpPr>
        <p:sp>
          <p:nvSpPr>
            <p:cNvPr id="278" name="Полилиния 277">
              <a:extLst>
                <a:ext uri="{FF2B5EF4-FFF2-40B4-BE49-F238E27FC236}">
                  <a16:creationId xmlns:a16="http://schemas.microsoft.com/office/drawing/2014/main" id="{7B4AF702-8641-7C44-9F6B-70C6DE24932C}"/>
                </a:ext>
              </a:extLst>
            </p:cNvPr>
            <p:cNvSpPr/>
            <p:nvPr/>
          </p:nvSpPr>
          <p:spPr>
            <a:xfrm>
              <a:off x="6750338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" name="Скругленный прямоугольник 278">
              <a:extLst>
                <a:ext uri="{FF2B5EF4-FFF2-40B4-BE49-F238E27FC236}">
                  <a16:creationId xmlns:a16="http://schemas.microsoft.com/office/drawing/2014/main" id="{9CA724D3-F69A-B84C-AF41-587DEA272DE9}"/>
                </a:ext>
              </a:extLst>
            </p:cNvPr>
            <p:cNvSpPr/>
            <p:nvPr/>
          </p:nvSpPr>
          <p:spPr>
            <a:xfrm>
              <a:off x="6855338" y="1578474"/>
              <a:ext cx="147600" cy="28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" name="Полилиния 279">
              <a:extLst>
                <a:ext uri="{FF2B5EF4-FFF2-40B4-BE49-F238E27FC236}">
                  <a16:creationId xmlns:a16="http://schemas.microsoft.com/office/drawing/2014/main" id="{04C15532-CCCB-E747-AB96-988C29383755}"/>
                </a:ext>
              </a:extLst>
            </p:cNvPr>
            <p:cNvSpPr/>
            <p:nvPr/>
          </p:nvSpPr>
          <p:spPr>
            <a:xfrm rot="5400000">
              <a:off x="6930338" y="1532875"/>
              <a:ext cx="209999" cy="119999"/>
            </a:xfrm>
            <a:custGeom>
              <a:avLst/>
              <a:gdLst>
                <a:gd name="connsiteX0" fmla="*/ 25606 w 209999"/>
                <a:gd name="connsiteY0" fmla="*/ 115606 h 119999"/>
                <a:gd name="connsiteX1" fmla="*/ 4393 w 209999"/>
                <a:gd name="connsiteY1" fmla="*/ 115606 h 119999"/>
                <a:gd name="connsiteX2" fmla="*/ 4393 w 209999"/>
                <a:gd name="connsiteY2" fmla="*/ 94393 h 119999"/>
                <a:gd name="connsiteX3" fmla="*/ 94393 w 209999"/>
                <a:gd name="connsiteY3" fmla="*/ 4393 h 119999"/>
                <a:gd name="connsiteX4" fmla="*/ 115135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5 h 119999"/>
                <a:gd name="connsiteX7" fmla="*/ 184864 w 209999"/>
                <a:gd name="connsiteY7" fmla="*/ 108558 h 119999"/>
                <a:gd name="connsiteX8" fmla="*/ 105451 w 209999"/>
                <a:gd name="connsiteY8" fmla="*/ 35761 h 119999"/>
                <a:gd name="connsiteX9" fmla="*/ 25606 w 209999"/>
                <a:gd name="connsiteY9" fmla="*/ 115606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6" y="115606"/>
                  </a:moveTo>
                  <a:cubicBezTo>
                    <a:pt x="19749" y="121464"/>
                    <a:pt x="10251" y="121464"/>
                    <a:pt x="4393" y="115606"/>
                  </a:cubicBezTo>
                  <a:cubicBezTo>
                    <a:pt x="-1464" y="109749"/>
                    <a:pt x="-1464" y="100251"/>
                    <a:pt x="4393" y="94393"/>
                  </a:cubicBezTo>
                  <a:lnTo>
                    <a:pt x="94393" y="4393"/>
                  </a:lnTo>
                  <a:cubicBezTo>
                    <a:pt x="100072" y="-1285"/>
                    <a:pt x="109216" y="-1484"/>
                    <a:pt x="115135" y="3943"/>
                  </a:cubicBezTo>
                  <a:lnTo>
                    <a:pt x="205135" y="86442"/>
                  </a:lnTo>
                  <a:cubicBezTo>
                    <a:pt x="211242" y="92040"/>
                    <a:pt x="211654" y="101529"/>
                    <a:pt x="206058" y="107635"/>
                  </a:cubicBezTo>
                  <a:cubicBezTo>
                    <a:pt x="200460" y="113742"/>
                    <a:pt x="190971" y="114156"/>
                    <a:pt x="184864" y="108558"/>
                  </a:cubicBezTo>
                  <a:lnTo>
                    <a:pt x="105451" y="35761"/>
                  </a:lnTo>
                  <a:lnTo>
                    <a:pt x="25606" y="115606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" name="Полилиния 280">
              <a:extLst>
                <a:ext uri="{FF2B5EF4-FFF2-40B4-BE49-F238E27FC236}">
                  <a16:creationId xmlns:a16="http://schemas.microsoft.com/office/drawing/2014/main" id="{B9306F2A-11FE-5346-9F21-9713B3E7254F}"/>
                </a:ext>
              </a:extLst>
            </p:cNvPr>
            <p:cNvSpPr/>
            <p:nvPr/>
          </p:nvSpPr>
          <p:spPr>
            <a:xfrm rot="-5400000">
              <a:off x="6720338" y="1532875"/>
              <a:ext cx="209999" cy="119999"/>
            </a:xfrm>
            <a:custGeom>
              <a:avLst/>
              <a:gdLst>
                <a:gd name="connsiteX0" fmla="*/ 25607 w 209999"/>
                <a:gd name="connsiteY0" fmla="*/ 115606 h 119999"/>
                <a:gd name="connsiteX1" fmla="*/ 4393 w 209999"/>
                <a:gd name="connsiteY1" fmla="*/ 115606 h 119999"/>
                <a:gd name="connsiteX2" fmla="*/ 4393 w 209999"/>
                <a:gd name="connsiteY2" fmla="*/ 94393 h 119999"/>
                <a:gd name="connsiteX3" fmla="*/ 94393 w 209999"/>
                <a:gd name="connsiteY3" fmla="*/ 4393 h 119999"/>
                <a:gd name="connsiteX4" fmla="*/ 115136 w 209999"/>
                <a:gd name="connsiteY4" fmla="*/ 3943 h 119999"/>
                <a:gd name="connsiteX5" fmla="*/ 205136 w 209999"/>
                <a:gd name="connsiteY5" fmla="*/ 86442 h 119999"/>
                <a:gd name="connsiteX6" fmla="*/ 206058 w 209999"/>
                <a:gd name="connsiteY6" fmla="*/ 107635 h 119999"/>
                <a:gd name="connsiteX7" fmla="*/ 184865 w 209999"/>
                <a:gd name="connsiteY7" fmla="*/ 108558 h 119999"/>
                <a:gd name="connsiteX8" fmla="*/ 105451 w 209999"/>
                <a:gd name="connsiteY8" fmla="*/ 35761 h 119999"/>
                <a:gd name="connsiteX9" fmla="*/ 25607 w 209999"/>
                <a:gd name="connsiteY9" fmla="*/ 115606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6"/>
                  </a:moveTo>
                  <a:cubicBezTo>
                    <a:pt x="19749" y="121464"/>
                    <a:pt x="10251" y="121464"/>
                    <a:pt x="4393" y="115606"/>
                  </a:cubicBezTo>
                  <a:cubicBezTo>
                    <a:pt x="-1464" y="109749"/>
                    <a:pt x="-1464" y="100251"/>
                    <a:pt x="4393" y="94393"/>
                  </a:cubicBezTo>
                  <a:lnTo>
                    <a:pt x="94393" y="4393"/>
                  </a:lnTo>
                  <a:cubicBezTo>
                    <a:pt x="100072" y="-1285"/>
                    <a:pt x="109216" y="-1484"/>
                    <a:pt x="115136" y="3943"/>
                  </a:cubicBezTo>
                  <a:lnTo>
                    <a:pt x="205136" y="86442"/>
                  </a:lnTo>
                  <a:cubicBezTo>
                    <a:pt x="211242" y="92040"/>
                    <a:pt x="211655" y="101529"/>
                    <a:pt x="206058" y="107635"/>
                  </a:cubicBezTo>
                  <a:cubicBezTo>
                    <a:pt x="200460" y="113742"/>
                    <a:pt x="190971" y="114156"/>
                    <a:pt x="184865" y="108558"/>
                  </a:cubicBezTo>
                  <a:lnTo>
                    <a:pt x="105451" y="35761"/>
                  </a:lnTo>
                  <a:lnTo>
                    <a:pt x="25607" y="115606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82" name="Рисунок 51">
            <a:extLst>
              <a:ext uri="{FF2B5EF4-FFF2-40B4-BE49-F238E27FC236}">
                <a16:creationId xmlns:a16="http://schemas.microsoft.com/office/drawing/2014/main" id="{26D28715-25D4-E342-A5AD-42A4A3C459EE}"/>
              </a:ext>
            </a:extLst>
          </p:cNvPr>
          <p:cNvGrpSpPr/>
          <p:nvPr/>
        </p:nvGrpSpPr>
        <p:grpSpPr>
          <a:xfrm>
            <a:off x="7426266" y="1096153"/>
            <a:ext cx="360000" cy="360000"/>
            <a:chOff x="7505471" y="1412875"/>
            <a:chExt cx="360000" cy="360000"/>
          </a:xfrm>
        </p:grpSpPr>
        <p:sp>
          <p:nvSpPr>
            <p:cNvPr id="283" name="Полилиния 282">
              <a:extLst>
                <a:ext uri="{FF2B5EF4-FFF2-40B4-BE49-F238E27FC236}">
                  <a16:creationId xmlns:a16="http://schemas.microsoft.com/office/drawing/2014/main" id="{BB699E98-A11A-D645-BC6F-2309703DFBDE}"/>
                </a:ext>
              </a:extLst>
            </p:cNvPr>
            <p:cNvSpPr/>
            <p:nvPr/>
          </p:nvSpPr>
          <p:spPr>
            <a:xfrm>
              <a:off x="7505471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" name="Скругленный прямоугольник 283">
              <a:extLst>
                <a:ext uri="{FF2B5EF4-FFF2-40B4-BE49-F238E27FC236}">
                  <a16:creationId xmlns:a16="http://schemas.microsoft.com/office/drawing/2014/main" id="{9C5EE02A-3C59-6F4F-9601-9BE65E8A4695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7613470" y="1581473"/>
              <a:ext cx="144000" cy="28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" name="Полилиния 284">
              <a:extLst>
                <a:ext uri="{FF2B5EF4-FFF2-40B4-BE49-F238E27FC236}">
                  <a16:creationId xmlns:a16="http://schemas.microsoft.com/office/drawing/2014/main" id="{0DEF4C4D-E261-7D40-AE3E-E52F44E23F63}"/>
                </a:ext>
              </a:extLst>
            </p:cNvPr>
            <p:cNvSpPr/>
            <p:nvPr/>
          </p:nvSpPr>
          <p:spPr>
            <a:xfrm>
              <a:off x="7580471" y="1427874"/>
              <a:ext cx="209999" cy="120000"/>
            </a:xfrm>
            <a:custGeom>
              <a:avLst/>
              <a:gdLst>
                <a:gd name="connsiteX0" fmla="*/ 25607 w 209999"/>
                <a:gd name="connsiteY0" fmla="*/ 115607 h 120000"/>
                <a:gd name="connsiteX1" fmla="*/ 4393 w 209999"/>
                <a:gd name="connsiteY1" fmla="*/ 115607 h 120000"/>
                <a:gd name="connsiteX2" fmla="*/ 4393 w 209999"/>
                <a:gd name="connsiteY2" fmla="*/ 94393 h 120000"/>
                <a:gd name="connsiteX3" fmla="*/ 94394 w 209999"/>
                <a:gd name="connsiteY3" fmla="*/ 4393 h 120000"/>
                <a:gd name="connsiteX4" fmla="*/ 115136 w 209999"/>
                <a:gd name="connsiteY4" fmla="*/ 3943 h 120000"/>
                <a:gd name="connsiteX5" fmla="*/ 205135 w 209999"/>
                <a:gd name="connsiteY5" fmla="*/ 86443 h 120000"/>
                <a:gd name="connsiteX6" fmla="*/ 206058 w 209999"/>
                <a:gd name="connsiteY6" fmla="*/ 107636 h 120000"/>
                <a:gd name="connsiteX7" fmla="*/ 184865 w 209999"/>
                <a:gd name="connsiteY7" fmla="*/ 108557 h 120000"/>
                <a:gd name="connsiteX8" fmla="*/ 105452 w 209999"/>
                <a:gd name="connsiteY8" fmla="*/ 35762 h 120000"/>
                <a:gd name="connsiteX9" fmla="*/ 25607 w 209999"/>
                <a:gd name="connsiteY9" fmla="*/ 115607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20000">
                  <a:moveTo>
                    <a:pt x="25607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3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3"/>
                  </a:lnTo>
                  <a:cubicBezTo>
                    <a:pt x="211242" y="92041"/>
                    <a:pt x="211655" y="101529"/>
                    <a:pt x="206058" y="107636"/>
                  </a:cubicBezTo>
                  <a:cubicBezTo>
                    <a:pt x="200460" y="113743"/>
                    <a:pt x="190971" y="114155"/>
                    <a:pt x="184865" y="108557"/>
                  </a:cubicBezTo>
                  <a:lnTo>
                    <a:pt x="105452" y="35762"/>
                  </a:lnTo>
                  <a:lnTo>
                    <a:pt x="25607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" name="Полилиния 285">
              <a:extLst>
                <a:ext uri="{FF2B5EF4-FFF2-40B4-BE49-F238E27FC236}">
                  <a16:creationId xmlns:a16="http://schemas.microsoft.com/office/drawing/2014/main" id="{6ED2F20D-F150-1E4D-8CC0-0524722D7CC9}"/>
                </a:ext>
              </a:extLst>
            </p:cNvPr>
            <p:cNvSpPr/>
            <p:nvPr/>
          </p:nvSpPr>
          <p:spPr>
            <a:xfrm rot="-10800000">
              <a:off x="7580471" y="1637875"/>
              <a:ext cx="209999" cy="119999"/>
            </a:xfrm>
            <a:custGeom>
              <a:avLst/>
              <a:gdLst>
                <a:gd name="connsiteX0" fmla="*/ 25607 w 209999"/>
                <a:gd name="connsiteY0" fmla="*/ 115606 h 119999"/>
                <a:gd name="connsiteX1" fmla="*/ 4393 w 209999"/>
                <a:gd name="connsiteY1" fmla="*/ 115606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2 h 119999"/>
                <a:gd name="connsiteX5" fmla="*/ 205135 w 209999"/>
                <a:gd name="connsiteY5" fmla="*/ 86442 h 119999"/>
                <a:gd name="connsiteX6" fmla="*/ 206058 w 209999"/>
                <a:gd name="connsiteY6" fmla="*/ 107635 h 119999"/>
                <a:gd name="connsiteX7" fmla="*/ 184865 w 209999"/>
                <a:gd name="connsiteY7" fmla="*/ 108558 h 119999"/>
                <a:gd name="connsiteX8" fmla="*/ 105452 w 209999"/>
                <a:gd name="connsiteY8" fmla="*/ 35761 h 119999"/>
                <a:gd name="connsiteX9" fmla="*/ 25607 w 209999"/>
                <a:gd name="connsiteY9" fmla="*/ 115606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6"/>
                  </a:moveTo>
                  <a:cubicBezTo>
                    <a:pt x="19749" y="121464"/>
                    <a:pt x="10251" y="121464"/>
                    <a:pt x="4393" y="115606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6"/>
                    <a:pt x="109217" y="-1484"/>
                    <a:pt x="115136" y="3942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5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1"/>
                  </a:lnTo>
                  <a:lnTo>
                    <a:pt x="25607" y="115606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87" name="Рисунок 52">
            <a:extLst>
              <a:ext uri="{FF2B5EF4-FFF2-40B4-BE49-F238E27FC236}">
                <a16:creationId xmlns:a16="http://schemas.microsoft.com/office/drawing/2014/main" id="{CC57CB5D-CC70-7F47-AB48-4934CF78E921}"/>
              </a:ext>
            </a:extLst>
          </p:cNvPr>
          <p:cNvGrpSpPr/>
          <p:nvPr/>
        </p:nvGrpSpPr>
        <p:grpSpPr>
          <a:xfrm>
            <a:off x="8936532" y="1096153"/>
            <a:ext cx="360000" cy="360000"/>
            <a:chOff x="9015737" y="1412875"/>
            <a:chExt cx="360000" cy="360000"/>
          </a:xfrm>
        </p:grpSpPr>
        <p:sp>
          <p:nvSpPr>
            <p:cNvPr id="288" name="Полилиния 287">
              <a:extLst>
                <a:ext uri="{FF2B5EF4-FFF2-40B4-BE49-F238E27FC236}">
                  <a16:creationId xmlns:a16="http://schemas.microsoft.com/office/drawing/2014/main" id="{0D913400-565B-7146-BB5B-7E44666FBD76}"/>
                </a:ext>
              </a:extLst>
            </p:cNvPr>
            <p:cNvSpPr/>
            <p:nvPr/>
          </p:nvSpPr>
          <p:spPr>
            <a:xfrm>
              <a:off x="9015737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" name="Скругленный прямоугольник 288">
              <a:extLst>
                <a:ext uri="{FF2B5EF4-FFF2-40B4-BE49-F238E27FC236}">
                  <a16:creationId xmlns:a16="http://schemas.microsoft.com/office/drawing/2014/main" id="{17A008AA-8520-9B48-8E87-5BA63EE837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81336" y="1462882"/>
              <a:ext cx="28800" cy="201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" name="Полилиния 289">
              <a:extLst>
                <a:ext uri="{FF2B5EF4-FFF2-40B4-BE49-F238E27FC236}">
                  <a16:creationId xmlns:a16="http://schemas.microsoft.com/office/drawing/2014/main" id="{5ECC1813-B3DB-6B40-8006-259D8E5FE84D}"/>
                </a:ext>
              </a:extLst>
            </p:cNvPr>
            <p:cNvSpPr/>
            <p:nvPr/>
          </p:nvSpPr>
          <p:spPr>
            <a:xfrm flipV="1">
              <a:off x="9090737" y="1547875"/>
              <a:ext cx="209999" cy="119999"/>
            </a:xfrm>
            <a:custGeom>
              <a:avLst/>
              <a:gdLst>
                <a:gd name="connsiteX0" fmla="*/ 25607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7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7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" name="Скругленный прямоугольник 290">
              <a:extLst>
                <a:ext uri="{FF2B5EF4-FFF2-40B4-BE49-F238E27FC236}">
                  <a16:creationId xmlns:a16="http://schemas.microsoft.com/office/drawing/2014/main" id="{7B03BBEB-0EDA-4748-B507-0EB09EBDCC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60736" y="1697874"/>
              <a:ext cx="259200" cy="28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92" name="Рисунок 53">
            <a:extLst>
              <a:ext uri="{FF2B5EF4-FFF2-40B4-BE49-F238E27FC236}">
                <a16:creationId xmlns:a16="http://schemas.microsoft.com/office/drawing/2014/main" id="{9901666B-5898-6249-B0C4-2DBF8DB650DB}"/>
              </a:ext>
            </a:extLst>
          </p:cNvPr>
          <p:cNvGrpSpPr/>
          <p:nvPr/>
        </p:nvGrpSpPr>
        <p:grpSpPr>
          <a:xfrm>
            <a:off x="9691665" y="1096153"/>
            <a:ext cx="360000" cy="360000"/>
            <a:chOff x="9770870" y="1412875"/>
            <a:chExt cx="360000" cy="360000"/>
          </a:xfrm>
        </p:grpSpPr>
        <p:sp>
          <p:nvSpPr>
            <p:cNvPr id="293" name="Полилиния 292">
              <a:extLst>
                <a:ext uri="{FF2B5EF4-FFF2-40B4-BE49-F238E27FC236}">
                  <a16:creationId xmlns:a16="http://schemas.microsoft.com/office/drawing/2014/main" id="{73B5EB8A-A4AC-3046-A6FE-52D7DC4759A3}"/>
                </a:ext>
              </a:extLst>
            </p:cNvPr>
            <p:cNvSpPr/>
            <p:nvPr/>
          </p:nvSpPr>
          <p:spPr>
            <a:xfrm>
              <a:off x="977087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" name="Скругленный прямоугольник 293">
              <a:extLst>
                <a:ext uri="{FF2B5EF4-FFF2-40B4-BE49-F238E27FC236}">
                  <a16:creationId xmlns:a16="http://schemas.microsoft.com/office/drawing/2014/main" id="{4E728027-3BBF-084E-ABBF-257A161F43EB}"/>
                </a:ext>
              </a:extLst>
            </p:cNvPr>
            <p:cNvSpPr>
              <a:spLocks noChangeAspect="1"/>
            </p:cNvSpPr>
            <p:nvPr/>
          </p:nvSpPr>
          <p:spPr>
            <a:xfrm rot="16200000" flipV="1">
              <a:off x="9962270" y="1495207"/>
              <a:ext cx="28800" cy="201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" name="Скругленный прямоугольник 294">
              <a:extLst>
                <a:ext uri="{FF2B5EF4-FFF2-40B4-BE49-F238E27FC236}">
                  <a16:creationId xmlns:a16="http://schemas.microsoft.com/office/drawing/2014/main" id="{617F136E-5383-8D4F-8E20-D9D98DE8F5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5870" y="1465807"/>
              <a:ext cx="28800" cy="2592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" name="Полилиния 295">
              <a:extLst>
                <a:ext uri="{FF2B5EF4-FFF2-40B4-BE49-F238E27FC236}">
                  <a16:creationId xmlns:a16="http://schemas.microsoft.com/office/drawing/2014/main" id="{35139821-C540-924F-B491-CE07957A4ACD}"/>
                </a:ext>
              </a:extLst>
            </p:cNvPr>
            <p:cNvSpPr/>
            <p:nvPr/>
          </p:nvSpPr>
          <p:spPr>
            <a:xfrm rot="16200000">
              <a:off x="9830870" y="1535408"/>
              <a:ext cx="209999" cy="119999"/>
            </a:xfrm>
            <a:custGeom>
              <a:avLst/>
              <a:gdLst>
                <a:gd name="connsiteX0" fmla="*/ 25606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6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6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6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97" name="Рисунок 56">
            <a:extLst>
              <a:ext uri="{FF2B5EF4-FFF2-40B4-BE49-F238E27FC236}">
                <a16:creationId xmlns:a16="http://schemas.microsoft.com/office/drawing/2014/main" id="{B10E1D40-3F2E-2049-BDD4-36A4BA622E09}"/>
              </a:ext>
            </a:extLst>
          </p:cNvPr>
          <p:cNvGrpSpPr/>
          <p:nvPr/>
        </p:nvGrpSpPr>
        <p:grpSpPr>
          <a:xfrm>
            <a:off x="8181399" y="1096153"/>
            <a:ext cx="360000" cy="360000"/>
            <a:chOff x="8260604" y="1412875"/>
            <a:chExt cx="360000" cy="360000"/>
          </a:xfrm>
        </p:grpSpPr>
        <p:sp>
          <p:nvSpPr>
            <p:cNvPr id="298" name="Полилиния 297">
              <a:extLst>
                <a:ext uri="{FF2B5EF4-FFF2-40B4-BE49-F238E27FC236}">
                  <a16:creationId xmlns:a16="http://schemas.microsoft.com/office/drawing/2014/main" id="{15CB28EA-7ADA-7C47-BCC5-744170DFFE85}"/>
                </a:ext>
              </a:extLst>
            </p:cNvPr>
            <p:cNvSpPr/>
            <p:nvPr/>
          </p:nvSpPr>
          <p:spPr>
            <a:xfrm>
              <a:off x="826060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" name="Скругленный прямоугольник 298">
              <a:extLst>
                <a:ext uri="{FF2B5EF4-FFF2-40B4-BE49-F238E27FC236}">
                  <a16:creationId xmlns:a16="http://schemas.microsoft.com/office/drawing/2014/main" id="{ED5DD213-DF01-8548-AADE-3D00B6CB0E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25604" y="1487875"/>
              <a:ext cx="28800" cy="201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" name="Полилиния 299">
              <a:extLst>
                <a:ext uri="{FF2B5EF4-FFF2-40B4-BE49-F238E27FC236}">
                  <a16:creationId xmlns:a16="http://schemas.microsoft.com/office/drawing/2014/main" id="{FA838C73-5B55-2347-916D-358BED88DC1A}"/>
                </a:ext>
              </a:extLst>
            </p:cNvPr>
            <p:cNvSpPr/>
            <p:nvPr/>
          </p:nvSpPr>
          <p:spPr>
            <a:xfrm>
              <a:off x="8335604" y="1487874"/>
              <a:ext cx="209999" cy="119999"/>
            </a:xfrm>
            <a:custGeom>
              <a:avLst/>
              <a:gdLst>
                <a:gd name="connsiteX0" fmla="*/ 25607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7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7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01" name="Рисунок 57">
            <a:extLst>
              <a:ext uri="{FF2B5EF4-FFF2-40B4-BE49-F238E27FC236}">
                <a16:creationId xmlns:a16="http://schemas.microsoft.com/office/drawing/2014/main" id="{983418EB-42F4-1245-B7FA-895DAB9AA9D0}"/>
              </a:ext>
            </a:extLst>
          </p:cNvPr>
          <p:cNvGrpSpPr/>
          <p:nvPr/>
        </p:nvGrpSpPr>
        <p:grpSpPr>
          <a:xfrm>
            <a:off x="5916000" y="1096153"/>
            <a:ext cx="360000" cy="360000"/>
            <a:chOff x="5995205" y="1412875"/>
            <a:chExt cx="360000" cy="360000"/>
          </a:xfrm>
        </p:grpSpPr>
        <p:sp>
          <p:nvSpPr>
            <p:cNvPr id="302" name="Полилиния 301">
              <a:extLst>
                <a:ext uri="{FF2B5EF4-FFF2-40B4-BE49-F238E27FC236}">
                  <a16:creationId xmlns:a16="http://schemas.microsoft.com/office/drawing/2014/main" id="{3EDA849D-E004-D740-AC66-27200C509992}"/>
                </a:ext>
              </a:extLst>
            </p:cNvPr>
            <p:cNvSpPr/>
            <p:nvPr/>
          </p:nvSpPr>
          <p:spPr>
            <a:xfrm>
              <a:off x="5995205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" name="Скругленный прямоугольник 302">
              <a:extLst>
                <a:ext uri="{FF2B5EF4-FFF2-40B4-BE49-F238E27FC236}">
                  <a16:creationId xmlns:a16="http://schemas.microsoft.com/office/drawing/2014/main" id="{392AACB5-6BF2-1944-9ABD-A15AB9A8A5F0}"/>
                </a:ext>
              </a:extLst>
            </p:cNvPr>
            <p:cNvSpPr/>
            <p:nvPr/>
          </p:nvSpPr>
          <p:spPr>
            <a:xfrm>
              <a:off x="6055205" y="1486643"/>
              <a:ext cx="246563" cy="4623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" name="Полилиния 303">
              <a:extLst>
                <a:ext uri="{FF2B5EF4-FFF2-40B4-BE49-F238E27FC236}">
                  <a16:creationId xmlns:a16="http://schemas.microsoft.com/office/drawing/2014/main" id="{D534404A-033C-1747-B694-C5471C482B1F}"/>
                </a:ext>
              </a:extLst>
            </p:cNvPr>
            <p:cNvSpPr/>
            <p:nvPr/>
          </p:nvSpPr>
          <p:spPr>
            <a:xfrm>
              <a:off x="6055205" y="1562875"/>
              <a:ext cx="240000" cy="120000"/>
            </a:xfrm>
            <a:custGeom>
              <a:avLst/>
              <a:gdLst>
                <a:gd name="connsiteX0" fmla="*/ 22500 w 240000"/>
                <a:gd name="connsiteY0" fmla="*/ 75000 h 120000"/>
                <a:gd name="connsiteX1" fmla="*/ 217500 w 240000"/>
                <a:gd name="connsiteY1" fmla="*/ 75000 h 120000"/>
                <a:gd name="connsiteX2" fmla="*/ 240000 w 240000"/>
                <a:gd name="connsiteY2" fmla="*/ 97500 h 120000"/>
                <a:gd name="connsiteX3" fmla="*/ 217500 w 240000"/>
                <a:gd name="connsiteY3" fmla="*/ 120000 h 120000"/>
                <a:gd name="connsiteX4" fmla="*/ 22500 w 240000"/>
                <a:gd name="connsiteY4" fmla="*/ 120000 h 120000"/>
                <a:gd name="connsiteX5" fmla="*/ 0 w 240000"/>
                <a:gd name="connsiteY5" fmla="*/ 97500 h 120000"/>
                <a:gd name="connsiteX6" fmla="*/ 22500 w 240000"/>
                <a:gd name="connsiteY6" fmla="*/ 75000 h 120000"/>
                <a:gd name="connsiteX7" fmla="*/ 22500 w 240000"/>
                <a:gd name="connsiteY7" fmla="*/ 0 h 120000"/>
                <a:gd name="connsiteX8" fmla="*/ 127500 w 240000"/>
                <a:gd name="connsiteY8" fmla="*/ 0 h 120000"/>
                <a:gd name="connsiteX9" fmla="*/ 150000 w 240000"/>
                <a:gd name="connsiteY9" fmla="*/ 22500 h 120000"/>
                <a:gd name="connsiteX10" fmla="*/ 127500 w 240000"/>
                <a:gd name="connsiteY10" fmla="*/ 45000 h 120000"/>
                <a:gd name="connsiteX11" fmla="*/ 22500 w 240000"/>
                <a:gd name="connsiteY11" fmla="*/ 45000 h 120000"/>
                <a:gd name="connsiteX12" fmla="*/ 0 w 240000"/>
                <a:gd name="connsiteY12" fmla="*/ 22500 h 120000"/>
                <a:gd name="connsiteX13" fmla="*/ 22500 w 240000"/>
                <a:gd name="connsiteY13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120000">
                  <a:moveTo>
                    <a:pt x="22500" y="75000"/>
                  </a:moveTo>
                  <a:lnTo>
                    <a:pt x="217500" y="75000"/>
                  </a:lnTo>
                  <a:cubicBezTo>
                    <a:pt x="229926" y="75000"/>
                    <a:pt x="240000" y="85074"/>
                    <a:pt x="240000" y="97500"/>
                  </a:cubicBezTo>
                  <a:cubicBezTo>
                    <a:pt x="240000" y="109926"/>
                    <a:pt x="229926" y="120000"/>
                    <a:pt x="217500" y="120000"/>
                  </a:cubicBezTo>
                  <a:lnTo>
                    <a:pt x="22500" y="120000"/>
                  </a:lnTo>
                  <a:cubicBezTo>
                    <a:pt x="10074" y="120000"/>
                    <a:pt x="0" y="109926"/>
                    <a:pt x="0" y="97500"/>
                  </a:cubicBezTo>
                  <a:cubicBezTo>
                    <a:pt x="0" y="85074"/>
                    <a:pt x="10074" y="75000"/>
                    <a:pt x="22500" y="75000"/>
                  </a:cubicBezTo>
                  <a:close/>
                  <a:moveTo>
                    <a:pt x="22500" y="0"/>
                  </a:moveTo>
                  <a:lnTo>
                    <a:pt x="127500" y="0"/>
                  </a:lnTo>
                  <a:cubicBezTo>
                    <a:pt x="139926" y="0"/>
                    <a:pt x="150000" y="10074"/>
                    <a:pt x="150000" y="22500"/>
                  </a:cubicBezTo>
                  <a:cubicBezTo>
                    <a:pt x="150000" y="34926"/>
                    <a:pt x="139926" y="45000"/>
                    <a:pt x="127500" y="45000"/>
                  </a:cubicBezTo>
                  <a:lnTo>
                    <a:pt x="22500" y="45000"/>
                  </a:ln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05" name="Рисунок 58">
            <a:extLst>
              <a:ext uri="{FF2B5EF4-FFF2-40B4-BE49-F238E27FC236}">
                <a16:creationId xmlns:a16="http://schemas.microsoft.com/office/drawing/2014/main" id="{98B4CA16-94FA-9B43-86DA-F08EF635D59D}"/>
              </a:ext>
            </a:extLst>
          </p:cNvPr>
          <p:cNvGrpSpPr/>
          <p:nvPr/>
        </p:nvGrpSpPr>
        <p:grpSpPr>
          <a:xfrm>
            <a:off x="2895468" y="1096153"/>
            <a:ext cx="360000" cy="360000"/>
            <a:chOff x="2974673" y="1412875"/>
            <a:chExt cx="360000" cy="360000"/>
          </a:xfrm>
        </p:grpSpPr>
        <p:sp>
          <p:nvSpPr>
            <p:cNvPr id="306" name="Полилиния 305">
              <a:extLst>
                <a:ext uri="{FF2B5EF4-FFF2-40B4-BE49-F238E27FC236}">
                  <a16:creationId xmlns:a16="http://schemas.microsoft.com/office/drawing/2014/main" id="{CD00FEC8-5FDC-6949-8CCB-A349D4896E6C}"/>
                </a:ext>
              </a:extLst>
            </p:cNvPr>
            <p:cNvSpPr/>
            <p:nvPr/>
          </p:nvSpPr>
          <p:spPr>
            <a:xfrm>
              <a:off x="2974673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" name="Полилиния 306">
              <a:extLst>
                <a:ext uri="{FF2B5EF4-FFF2-40B4-BE49-F238E27FC236}">
                  <a16:creationId xmlns:a16="http://schemas.microsoft.com/office/drawing/2014/main" id="{38B94F4D-142D-024C-9059-C2E3BB13E750}"/>
                </a:ext>
              </a:extLst>
            </p:cNvPr>
            <p:cNvSpPr/>
            <p:nvPr/>
          </p:nvSpPr>
          <p:spPr>
            <a:xfrm>
              <a:off x="3004673" y="1472875"/>
              <a:ext cx="300000" cy="75000"/>
            </a:xfrm>
            <a:custGeom>
              <a:avLst/>
              <a:gdLst>
                <a:gd name="connsiteX0" fmla="*/ 285000 w 300000"/>
                <a:gd name="connsiteY0" fmla="*/ 0 h 75000"/>
                <a:gd name="connsiteX1" fmla="*/ 300000 w 300000"/>
                <a:gd name="connsiteY1" fmla="*/ 0 h 75000"/>
                <a:gd name="connsiteX2" fmla="*/ 300000 w 300000"/>
                <a:gd name="connsiteY2" fmla="*/ 75000 h 75000"/>
                <a:gd name="connsiteX3" fmla="*/ 285000 w 300000"/>
                <a:gd name="connsiteY3" fmla="*/ 75000 h 75000"/>
                <a:gd name="connsiteX4" fmla="*/ 15000 w 300000"/>
                <a:gd name="connsiteY4" fmla="*/ 75000 h 75000"/>
                <a:gd name="connsiteX5" fmla="*/ 0 w 300000"/>
                <a:gd name="connsiteY5" fmla="*/ 75000 h 75000"/>
                <a:gd name="connsiteX6" fmla="*/ 0 w 300000"/>
                <a:gd name="connsiteY6" fmla="*/ 0 h 75000"/>
                <a:gd name="connsiteX7" fmla="*/ 15000 w 300000"/>
                <a:gd name="connsiteY7" fmla="*/ 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0" h="75000">
                  <a:moveTo>
                    <a:pt x="285000" y="0"/>
                  </a:moveTo>
                  <a:cubicBezTo>
                    <a:pt x="293284" y="0"/>
                    <a:pt x="300000" y="0"/>
                    <a:pt x="300000" y="0"/>
                  </a:cubicBezTo>
                  <a:lnTo>
                    <a:pt x="300000" y="75000"/>
                  </a:lnTo>
                  <a:cubicBezTo>
                    <a:pt x="300000" y="75000"/>
                    <a:pt x="293284" y="75000"/>
                    <a:pt x="285000" y="75000"/>
                  </a:cubicBezTo>
                  <a:lnTo>
                    <a:pt x="15000" y="75000"/>
                  </a:lnTo>
                  <a:cubicBezTo>
                    <a:pt x="6716" y="75000"/>
                    <a:pt x="0" y="75000"/>
                    <a:pt x="0" y="75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" name="Полилиния 307">
              <a:extLst>
                <a:ext uri="{FF2B5EF4-FFF2-40B4-BE49-F238E27FC236}">
                  <a16:creationId xmlns:a16="http://schemas.microsoft.com/office/drawing/2014/main" id="{0544710B-C0C6-9A48-B093-5951138EB025}"/>
                </a:ext>
              </a:extLst>
            </p:cNvPr>
            <p:cNvSpPr/>
            <p:nvPr/>
          </p:nvSpPr>
          <p:spPr>
            <a:xfrm>
              <a:off x="3049673" y="1517875"/>
              <a:ext cx="210000" cy="210000"/>
            </a:xfrm>
            <a:custGeom>
              <a:avLst/>
              <a:gdLst>
                <a:gd name="connsiteX0" fmla="*/ 0 w 210000"/>
                <a:gd name="connsiteY0" fmla="*/ 0 h 210000"/>
                <a:gd name="connsiteX1" fmla="*/ 45000 w 210000"/>
                <a:gd name="connsiteY1" fmla="*/ 0 h 210000"/>
                <a:gd name="connsiteX2" fmla="*/ 45000 w 210000"/>
                <a:gd name="connsiteY2" fmla="*/ 210000 h 210000"/>
                <a:gd name="connsiteX3" fmla="*/ 30000 w 210000"/>
                <a:gd name="connsiteY3" fmla="*/ 210000 h 210000"/>
                <a:gd name="connsiteX4" fmla="*/ 0 w 210000"/>
                <a:gd name="connsiteY4" fmla="*/ 180000 h 210000"/>
                <a:gd name="connsiteX5" fmla="*/ 0 w 210000"/>
                <a:gd name="connsiteY5" fmla="*/ 0 h 210000"/>
                <a:gd name="connsiteX6" fmla="*/ 210000 w 210000"/>
                <a:gd name="connsiteY6" fmla="*/ 0 h 210000"/>
                <a:gd name="connsiteX7" fmla="*/ 210000 w 210000"/>
                <a:gd name="connsiteY7" fmla="*/ 180000 h 210000"/>
                <a:gd name="connsiteX8" fmla="*/ 180000 w 210000"/>
                <a:gd name="connsiteY8" fmla="*/ 210000 h 210000"/>
                <a:gd name="connsiteX9" fmla="*/ 90000 w 210000"/>
                <a:gd name="connsiteY9" fmla="*/ 210000 h 210000"/>
                <a:gd name="connsiteX10" fmla="*/ 90000 w 210000"/>
                <a:gd name="connsiteY10" fmla="*/ 0 h 210000"/>
                <a:gd name="connsiteX11" fmla="*/ 210000 w 210000"/>
                <a:gd name="connsiteY11" fmla="*/ 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0000" h="210000">
                  <a:moveTo>
                    <a:pt x="0" y="0"/>
                  </a:moveTo>
                  <a:lnTo>
                    <a:pt x="45000" y="0"/>
                  </a:lnTo>
                  <a:lnTo>
                    <a:pt x="45000" y="210000"/>
                  </a:lnTo>
                  <a:lnTo>
                    <a:pt x="30000" y="210000"/>
                  </a:lnTo>
                  <a:cubicBezTo>
                    <a:pt x="13431" y="210000"/>
                    <a:pt x="0" y="196569"/>
                    <a:pt x="0" y="180000"/>
                  </a:cubicBezTo>
                  <a:lnTo>
                    <a:pt x="0" y="0"/>
                  </a:lnTo>
                  <a:close/>
                  <a:moveTo>
                    <a:pt x="210000" y="0"/>
                  </a:moveTo>
                  <a:lnTo>
                    <a:pt x="210000" y="180000"/>
                  </a:lnTo>
                  <a:cubicBezTo>
                    <a:pt x="210000" y="196569"/>
                    <a:pt x="196569" y="210000"/>
                    <a:pt x="180000" y="210000"/>
                  </a:cubicBezTo>
                  <a:lnTo>
                    <a:pt x="90000" y="210000"/>
                  </a:lnTo>
                  <a:lnTo>
                    <a:pt x="90000" y="0"/>
                  </a:lnTo>
                  <a:lnTo>
                    <a:pt x="210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09" name="Рисунок 59">
            <a:extLst>
              <a:ext uri="{FF2B5EF4-FFF2-40B4-BE49-F238E27FC236}">
                <a16:creationId xmlns:a16="http://schemas.microsoft.com/office/drawing/2014/main" id="{80A0C60C-F661-EB47-B36A-BADAB86C2324}"/>
              </a:ext>
            </a:extLst>
          </p:cNvPr>
          <p:cNvGrpSpPr/>
          <p:nvPr/>
        </p:nvGrpSpPr>
        <p:grpSpPr>
          <a:xfrm>
            <a:off x="2140335" y="1096153"/>
            <a:ext cx="360000" cy="360000"/>
            <a:chOff x="2219540" y="1412875"/>
            <a:chExt cx="360000" cy="360000"/>
          </a:xfrm>
        </p:grpSpPr>
        <p:sp>
          <p:nvSpPr>
            <p:cNvPr id="310" name="Полилиния 309">
              <a:extLst>
                <a:ext uri="{FF2B5EF4-FFF2-40B4-BE49-F238E27FC236}">
                  <a16:creationId xmlns:a16="http://schemas.microsoft.com/office/drawing/2014/main" id="{C0DB7595-0ED6-B348-A683-57C2D5281D32}"/>
                </a:ext>
              </a:extLst>
            </p:cNvPr>
            <p:cNvSpPr/>
            <p:nvPr/>
          </p:nvSpPr>
          <p:spPr>
            <a:xfrm>
              <a:off x="221954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" name="Полилиния 310">
              <a:extLst>
                <a:ext uri="{FF2B5EF4-FFF2-40B4-BE49-F238E27FC236}">
                  <a16:creationId xmlns:a16="http://schemas.microsoft.com/office/drawing/2014/main" id="{7D508FDE-F809-0E48-AD61-D802BA318829}"/>
                </a:ext>
              </a:extLst>
            </p:cNvPr>
            <p:cNvSpPr/>
            <p:nvPr/>
          </p:nvSpPr>
          <p:spPr>
            <a:xfrm rot="-2700000">
              <a:off x="2286506" y="1585906"/>
              <a:ext cx="120000" cy="120000"/>
            </a:xfrm>
            <a:custGeom>
              <a:avLst/>
              <a:gdLst>
                <a:gd name="connsiteX0" fmla="*/ 120000 w 120000"/>
                <a:gd name="connsiteY0" fmla="*/ 45000 h 120000"/>
                <a:gd name="connsiteX1" fmla="*/ 75000 w 120000"/>
                <a:gd name="connsiteY1" fmla="*/ 45000 h 120000"/>
                <a:gd name="connsiteX2" fmla="*/ 60000 w 120000"/>
                <a:gd name="connsiteY2" fmla="*/ 60000 h 120000"/>
                <a:gd name="connsiteX3" fmla="*/ 75000 w 120000"/>
                <a:gd name="connsiteY3" fmla="*/ 75000 h 120000"/>
                <a:gd name="connsiteX4" fmla="*/ 120000 w 120000"/>
                <a:gd name="connsiteY4" fmla="*/ 75000 h 120000"/>
                <a:gd name="connsiteX5" fmla="*/ 120000 w 120000"/>
                <a:gd name="connsiteY5" fmla="*/ 90000 h 120000"/>
                <a:gd name="connsiteX6" fmla="*/ 90000 w 120000"/>
                <a:gd name="connsiteY6" fmla="*/ 120000 h 120000"/>
                <a:gd name="connsiteX7" fmla="*/ 30000 w 120000"/>
                <a:gd name="connsiteY7" fmla="*/ 120000 h 120000"/>
                <a:gd name="connsiteX8" fmla="*/ 0 w 120000"/>
                <a:gd name="connsiteY8" fmla="*/ 90000 h 120000"/>
                <a:gd name="connsiteX9" fmla="*/ 0 w 120000"/>
                <a:gd name="connsiteY9" fmla="*/ 30000 h 120000"/>
                <a:gd name="connsiteX10" fmla="*/ 30000 w 120000"/>
                <a:gd name="connsiteY10" fmla="*/ 0 h 120000"/>
                <a:gd name="connsiteX11" fmla="*/ 90000 w 120000"/>
                <a:gd name="connsiteY11" fmla="*/ 0 h 120000"/>
                <a:gd name="connsiteX12" fmla="*/ 120000 w 120000"/>
                <a:gd name="connsiteY12" fmla="*/ 30000 h 120000"/>
                <a:gd name="connsiteX13" fmla="*/ 120000 w 120000"/>
                <a:gd name="connsiteY13" fmla="*/ 4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0000" h="120000">
                  <a:moveTo>
                    <a:pt x="120000" y="45000"/>
                  </a:moveTo>
                  <a:lnTo>
                    <a:pt x="75000" y="45000"/>
                  </a:lnTo>
                  <a:cubicBezTo>
                    <a:pt x="66716" y="45000"/>
                    <a:pt x="60000" y="51716"/>
                    <a:pt x="60000" y="60000"/>
                  </a:cubicBezTo>
                  <a:cubicBezTo>
                    <a:pt x="60000" y="68285"/>
                    <a:pt x="66716" y="75000"/>
                    <a:pt x="75000" y="75000"/>
                  </a:cubicBezTo>
                  <a:lnTo>
                    <a:pt x="120000" y="75000"/>
                  </a:lnTo>
                  <a:lnTo>
                    <a:pt x="120000" y="90000"/>
                  </a:lnTo>
                  <a:cubicBezTo>
                    <a:pt x="120000" y="106569"/>
                    <a:pt x="106568" y="120000"/>
                    <a:pt x="90000" y="120000"/>
                  </a:cubicBezTo>
                  <a:lnTo>
                    <a:pt x="30000" y="120000"/>
                  </a:lnTo>
                  <a:cubicBezTo>
                    <a:pt x="13431" y="120000"/>
                    <a:pt x="0" y="106569"/>
                    <a:pt x="0" y="90000"/>
                  </a:cubicBezTo>
                  <a:lnTo>
                    <a:pt x="0" y="30000"/>
                  </a:lnTo>
                  <a:cubicBezTo>
                    <a:pt x="0" y="13433"/>
                    <a:pt x="13431" y="0"/>
                    <a:pt x="30000" y="0"/>
                  </a:cubicBezTo>
                  <a:lnTo>
                    <a:pt x="90000" y="0"/>
                  </a:lnTo>
                  <a:cubicBezTo>
                    <a:pt x="106568" y="0"/>
                    <a:pt x="120000" y="13433"/>
                    <a:pt x="120000" y="30000"/>
                  </a:cubicBezTo>
                  <a:lnTo>
                    <a:pt x="120000" y="4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" name="Полилиния 311">
              <a:extLst>
                <a:ext uri="{FF2B5EF4-FFF2-40B4-BE49-F238E27FC236}">
                  <a16:creationId xmlns:a16="http://schemas.microsoft.com/office/drawing/2014/main" id="{64B748BC-E8FD-B04A-96C1-9ED238139234}"/>
                </a:ext>
              </a:extLst>
            </p:cNvPr>
            <p:cNvSpPr/>
            <p:nvPr/>
          </p:nvSpPr>
          <p:spPr>
            <a:xfrm rot="-2700000">
              <a:off x="2392572" y="1479842"/>
              <a:ext cx="120000" cy="120000"/>
            </a:xfrm>
            <a:custGeom>
              <a:avLst/>
              <a:gdLst>
                <a:gd name="connsiteX0" fmla="*/ 0 w 120000"/>
                <a:gd name="connsiteY0" fmla="*/ 75000 h 120000"/>
                <a:gd name="connsiteX1" fmla="*/ 45000 w 120000"/>
                <a:gd name="connsiteY1" fmla="*/ 75000 h 120000"/>
                <a:gd name="connsiteX2" fmla="*/ 60000 w 120000"/>
                <a:gd name="connsiteY2" fmla="*/ 60000 h 120000"/>
                <a:gd name="connsiteX3" fmla="*/ 45000 w 120000"/>
                <a:gd name="connsiteY3" fmla="*/ 45000 h 120000"/>
                <a:gd name="connsiteX4" fmla="*/ 0 w 120000"/>
                <a:gd name="connsiteY4" fmla="*/ 45000 h 120000"/>
                <a:gd name="connsiteX5" fmla="*/ 0 w 120000"/>
                <a:gd name="connsiteY5" fmla="*/ 30000 h 120000"/>
                <a:gd name="connsiteX6" fmla="*/ 30000 w 120000"/>
                <a:gd name="connsiteY6" fmla="*/ 0 h 120000"/>
                <a:gd name="connsiteX7" fmla="*/ 90000 w 120000"/>
                <a:gd name="connsiteY7" fmla="*/ 0 h 120000"/>
                <a:gd name="connsiteX8" fmla="*/ 120000 w 120000"/>
                <a:gd name="connsiteY8" fmla="*/ 30000 h 120000"/>
                <a:gd name="connsiteX9" fmla="*/ 120000 w 120000"/>
                <a:gd name="connsiteY9" fmla="*/ 90000 h 120000"/>
                <a:gd name="connsiteX10" fmla="*/ 90000 w 120000"/>
                <a:gd name="connsiteY10" fmla="*/ 120000 h 120000"/>
                <a:gd name="connsiteX11" fmla="*/ 30000 w 120000"/>
                <a:gd name="connsiteY11" fmla="*/ 120000 h 120000"/>
                <a:gd name="connsiteX12" fmla="*/ 0 w 120000"/>
                <a:gd name="connsiteY12" fmla="*/ 90000 h 120000"/>
                <a:gd name="connsiteX13" fmla="*/ 0 w 120000"/>
                <a:gd name="connsiteY13" fmla="*/ 7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0000" h="120000">
                  <a:moveTo>
                    <a:pt x="0" y="75000"/>
                  </a:moveTo>
                  <a:lnTo>
                    <a:pt x="45000" y="75000"/>
                  </a:lnTo>
                  <a:cubicBezTo>
                    <a:pt x="53285" y="75000"/>
                    <a:pt x="60000" y="68284"/>
                    <a:pt x="60000" y="60000"/>
                  </a:cubicBezTo>
                  <a:cubicBezTo>
                    <a:pt x="60000" y="51716"/>
                    <a:pt x="53285" y="45000"/>
                    <a:pt x="45000" y="45000"/>
                  </a:cubicBezTo>
                  <a:lnTo>
                    <a:pt x="0" y="45000"/>
                  </a:lnTo>
                  <a:lnTo>
                    <a:pt x="0" y="30000"/>
                  </a:lnTo>
                  <a:cubicBezTo>
                    <a:pt x="0" y="13431"/>
                    <a:pt x="13433" y="0"/>
                    <a:pt x="30000" y="0"/>
                  </a:cubicBezTo>
                  <a:lnTo>
                    <a:pt x="90000" y="0"/>
                  </a:lnTo>
                  <a:cubicBezTo>
                    <a:pt x="106569" y="0"/>
                    <a:pt x="120000" y="13431"/>
                    <a:pt x="120000" y="30000"/>
                  </a:cubicBezTo>
                  <a:lnTo>
                    <a:pt x="120000" y="90000"/>
                  </a:lnTo>
                  <a:cubicBezTo>
                    <a:pt x="120000" y="106568"/>
                    <a:pt x="106569" y="120000"/>
                    <a:pt x="90000" y="120000"/>
                  </a:cubicBezTo>
                  <a:lnTo>
                    <a:pt x="30000" y="120000"/>
                  </a:lnTo>
                  <a:cubicBezTo>
                    <a:pt x="13433" y="120000"/>
                    <a:pt x="0" y="106568"/>
                    <a:pt x="0" y="90000"/>
                  </a:cubicBezTo>
                  <a:lnTo>
                    <a:pt x="0" y="7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13" name="Рисунок 60">
            <a:extLst>
              <a:ext uri="{FF2B5EF4-FFF2-40B4-BE49-F238E27FC236}">
                <a16:creationId xmlns:a16="http://schemas.microsoft.com/office/drawing/2014/main" id="{F7BD71FF-8848-484E-B0A6-1ECD408A64A0}"/>
              </a:ext>
            </a:extLst>
          </p:cNvPr>
          <p:cNvGrpSpPr/>
          <p:nvPr/>
        </p:nvGrpSpPr>
        <p:grpSpPr>
          <a:xfrm>
            <a:off x="1385202" y="1096153"/>
            <a:ext cx="360000" cy="360000"/>
            <a:chOff x="1464407" y="1412875"/>
            <a:chExt cx="360000" cy="360000"/>
          </a:xfrm>
        </p:grpSpPr>
        <p:sp>
          <p:nvSpPr>
            <p:cNvPr id="314" name="Полилиния 313">
              <a:extLst>
                <a:ext uri="{FF2B5EF4-FFF2-40B4-BE49-F238E27FC236}">
                  <a16:creationId xmlns:a16="http://schemas.microsoft.com/office/drawing/2014/main" id="{0B1AB302-AACE-8F41-A3CE-DBD1CF6A4ACA}"/>
                </a:ext>
              </a:extLst>
            </p:cNvPr>
            <p:cNvSpPr/>
            <p:nvPr/>
          </p:nvSpPr>
          <p:spPr>
            <a:xfrm>
              <a:off x="1464407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" name="Полилиния 314">
              <a:extLst>
                <a:ext uri="{FF2B5EF4-FFF2-40B4-BE49-F238E27FC236}">
                  <a16:creationId xmlns:a16="http://schemas.microsoft.com/office/drawing/2014/main" id="{6C189AD0-304C-E74A-8B80-1B5D261D3FF8}"/>
                </a:ext>
              </a:extLst>
            </p:cNvPr>
            <p:cNvSpPr/>
            <p:nvPr/>
          </p:nvSpPr>
          <p:spPr>
            <a:xfrm rot="-2700000">
              <a:off x="1520766" y="1596513"/>
              <a:ext cx="120000" cy="120000"/>
            </a:xfrm>
            <a:custGeom>
              <a:avLst/>
              <a:gdLst>
                <a:gd name="connsiteX0" fmla="*/ 120001 w 120000"/>
                <a:gd name="connsiteY0" fmla="*/ 45000 h 120000"/>
                <a:gd name="connsiteX1" fmla="*/ 75000 w 120000"/>
                <a:gd name="connsiteY1" fmla="*/ 45000 h 120000"/>
                <a:gd name="connsiteX2" fmla="*/ 60000 w 120000"/>
                <a:gd name="connsiteY2" fmla="*/ 60000 h 120000"/>
                <a:gd name="connsiteX3" fmla="*/ 75000 w 120000"/>
                <a:gd name="connsiteY3" fmla="*/ 75000 h 120000"/>
                <a:gd name="connsiteX4" fmla="*/ 120001 w 120000"/>
                <a:gd name="connsiteY4" fmla="*/ 75000 h 120000"/>
                <a:gd name="connsiteX5" fmla="*/ 120001 w 120000"/>
                <a:gd name="connsiteY5" fmla="*/ 90000 h 120000"/>
                <a:gd name="connsiteX6" fmla="*/ 90000 w 120000"/>
                <a:gd name="connsiteY6" fmla="*/ 120000 h 120000"/>
                <a:gd name="connsiteX7" fmla="*/ 30000 w 120000"/>
                <a:gd name="connsiteY7" fmla="*/ 120000 h 120000"/>
                <a:gd name="connsiteX8" fmla="*/ 0 w 120000"/>
                <a:gd name="connsiteY8" fmla="*/ 90000 h 120000"/>
                <a:gd name="connsiteX9" fmla="*/ 0 w 120000"/>
                <a:gd name="connsiteY9" fmla="*/ 30000 h 120000"/>
                <a:gd name="connsiteX10" fmla="*/ 30000 w 120000"/>
                <a:gd name="connsiteY10" fmla="*/ 0 h 120000"/>
                <a:gd name="connsiteX11" fmla="*/ 90000 w 120000"/>
                <a:gd name="connsiteY11" fmla="*/ 0 h 120000"/>
                <a:gd name="connsiteX12" fmla="*/ 120001 w 120000"/>
                <a:gd name="connsiteY12" fmla="*/ 30000 h 120000"/>
                <a:gd name="connsiteX13" fmla="*/ 120001 w 120000"/>
                <a:gd name="connsiteY13" fmla="*/ 4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0000" h="120000">
                  <a:moveTo>
                    <a:pt x="120001" y="45000"/>
                  </a:moveTo>
                  <a:lnTo>
                    <a:pt x="75000" y="45000"/>
                  </a:lnTo>
                  <a:cubicBezTo>
                    <a:pt x="66716" y="45000"/>
                    <a:pt x="60000" y="51717"/>
                    <a:pt x="60000" y="60000"/>
                  </a:cubicBezTo>
                  <a:cubicBezTo>
                    <a:pt x="60000" y="68285"/>
                    <a:pt x="66716" y="75000"/>
                    <a:pt x="75000" y="75000"/>
                  </a:cubicBezTo>
                  <a:lnTo>
                    <a:pt x="120001" y="75000"/>
                  </a:lnTo>
                  <a:lnTo>
                    <a:pt x="120001" y="90000"/>
                  </a:lnTo>
                  <a:cubicBezTo>
                    <a:pt x="120001" y="106569"/>
                    <a:pt x="106568" y="120000"/>
                    <a:pt x="90000" y="120000"/>
                  </a:cubicBezTo>
                  <a:lnTo>
                    <a:pt x="30000" y="120000"/>
                  </a:lnTo>
                  <a:cubicBezTo>
                    <a:pt x="13431" y="120000"/>
                    <a:pt x="0" y="106569"/>
                    <a:pt x="0" y="90000"/>
                  </a:cubicBezTo>
                  <a:lnTo>
                    <a:pt x="0" y="30000"/>
                  </a:lnTo>
                  <a:cubicBezTo>
                    <a:pt x="0" y="13432"/>
                    <a:pt x="13431" y="0"/>
                    <a:pt x="30000" y="0"/>
                  </a:cubicBezTo>
                  <a:lnTo>
                    <a:pt x="90000" y="0"/>
                  </a:lnTo>
                  <a:cubicBezTo>
                    <a:pt x="106568" y="0"/>
                    <a:pt x="120001" y="13432"/>
                    <a:pt x="120001" y="30000"/>
                  </a:cubicBezTo>
                  <a:lnTo>
                    <a:pt x="120001" y="4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" name="Полилиния 315">
              <a:extLst>
                <a:ext uri="{FF2B5EF4-FFF2-40B4-BE49-F238E27FC236}">
                  <a16:creationId xmlns:a16="http://schemas.microsoft.com/office/drawing/2014/main" id="{9000C967-4C2A-B14F-A5E9-B370F974998D}"/>
                </a:ext>
              </a:extLst>
            </p:cNvPr>
            <p:cNvSpPr/>
            <p:nvPr/>
          </p:nvSpPr>
          <p:spPr>
            <a:xfrm rot="-2700000">
              <a:off x="1648046" y="1469236"/>
              <a:ext cx="120000" cy="120000"/>
            </a:xfrm>
            <a:custGeom>
              <a:avLst/>
              <a:gdLst>
                <a:gd name="connsiteX0" fmla="*/ 0 w 120000"/>
                <a:gd name="connsiteY0" fmla="*/ 75000 h 120000"/>
                <a:gd name="connsiteX1" fmla="*/ 45000 w 120000"/>
                <a:gd name="connsiteY1" fmla="*/ 75000 h 120000"/>
                <a:gd name="connsiteX2" fmla="*/ 60000 w 120000"/>
                <a:gd name="connsiteY2" fmla="*/ 60000 h 120000"/>
                <a:gd name="connsiteX3" fmla="*/ 45000 w 120000"/>
                <a:gd name="connsiteY3" fmla="*/ 45000 h 120000"/>
                <a:gd name="connsiteX4" fmla="*/ 0 w 120000"/>
                <a:gd name="connsiteY4" fmla="*/ 45000 h 120000"/>
                <a:gd name="connsiteX5" fmla="*/ 0 w 120000"/>
                <a:gd name="connsiteY5" fmla="*/ 30000 h 120000"/>
                <a:gd name="connsiteX6" fmla="*/ 30000 w 120000"/>
                <a:gd name="connsiteY6" fmla="*/ 0 h 120000"/>
                <a:gd name="connsiteX7" fmla="*/ 90000 w 120000"/>
                <a:gd name="connsiteY7" fmla="*/ 0 h 120000"/>
                <a:gd name="connsiteX8" fmla="*/ 120000 w 120000"/>
                <a:gd name="connsiteY8" fmla="*/ 30000 h 120000"/>
                <a:gd name="connsiteX9" fmla="*/ 120000 w 120000"/>
                <a:gd name="connsiteY9" fmla="*/ 90000 h 120000"/>
                <a:gd name="connsiteX10" fmla="*/ 90000 w 120000"/>
                <a:gd name="connsiteY10" fmla="*/ 120001 h 120000"/>
                <a:gd name="connsiteX11" fmla="*/ 30000 w 120000"/>
                <a:gd name="connsiteY11" fmla="*/ 120001 h 120000"/>
                <a:gd name="connsiteX12" fmla="*/ 0 w 120000"/>
                <a:gd name="connsiteY12" fmla="*/ 90000 h 120000"/>
                <a:gd name="connsiteX13" fmla="*/ 0 w 120000"/>
                <a:gd name="connsiteY13" fmla="*/ 7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0000" h="120000">
                  <a:moveTo>
                    <a:pt x="0" y="75000"/>
                  </a:moveTo>
                  <a:lnTo>
                    <a:pt x="45000" y="75000"/>
                  </a:lnTo>
                  <a:cubicBezTo>
                    <a:pt x="53285" y="75000"/>
                    <a:pt x="60000" y="68284"/>
                    <a:pt x="60000" y="60000"/>
                  </a:cubicBezTo>
                  <a:cubicBezTo>
                    <a:pt x="60000" y="51716"/>
                    <a:pt x="53285" y="45000"/>
                    <a:pt x="45000" y="45000"/>
                  </a:cubicBezTo>
                  <a:lnTo>
                    <a:pt x="0" y="45000"/>
                  </a:lnTo>
                  <a:lnTo>
                    <a:pt x="0" y="30000"/>
                  </a:lnTo>
                  <a:cubicBezTo>
                    <a:pt x="0" y="13431"/>
                    <a:pt x="13432" y="0"/>
                    <a:pt x="30000" y="0"/>
                  </a:cubicBezTo>
                  <a:lnTo>
                    <a:pt x="90000" y="0"/>
                  </a:lnTo>
                  <a:cubicBezTo>
                    <a:pt x="106569" y="0"/>
                    <a:pt x="120000" y="13431"/>
                    <a:pt x="120000" y="30000"/>
                  </a:cubicBezTo>
                  <a:lnTo>
                    <a:pt x="120000" y="90000"/>
                  </a:lnTo>
                  <a:cubicBezTo>
                    <a:pt x="120000" y="106568"/>
                    <a:pt x="106569" y="120001"/>
                    <a:pt x="90000" y="120001"/>
                  </a:cubicBezTo>
                  <a:lnTo>
                    <a:pt x="30000" y="120001"/>
                  </a:lnTo>
                  <a:cubicBezTo>
                    <a:pt x="13432" y="120001"/>
                    <a:pt x="0" y="106568"/>
                    <a:pt x="0" y="90000"/>
                  </a:cubicBezTo>
                  <a:lnTo>
                    <a:pt x="0" y="7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" name="Полилиния 316">
              <a:extLst>
                <a:ext uri="{FF2B5EF4-FFF2-40B4-BE49-F238E27FC236}">
                  <a16:creationId xmlns:a16="http://schemas.microsoft.com/office/drawing/2014/main" id="{0797CEAC-4A3A-EE40-B98E-CC57CBF1B70A}"/>
                </a:ext>
              </a:extLst>
            </p:cNvPr>
            <p:cNvSpPr/>
            <p:nvPr/>
          </p:nvSpPr>
          <p:spPr>
            <a:xfrm rot="-2700000">
              <a:off x="1469021" y="1464308"/>
              <a:ext cx="171213" cy="72426"/>
            </a:xfrm>
            <a:custGeom>
              <a:avLst/>
              <a:gdLst>
                <a:gd name="connsiteX0" fmla="*/ 83787 w 171213"/>
                <a:gd name="connsiteY0" fmla="*/ 0 h 72426"/>
                <a:gd name="connsiteX1" fmla="*/ 98787 w 171213"/>
                <a:gd name="connsiteY1" fmla="*/ 15000 h 72426"/>
                <a:gd name="connsiteX2" fmla="*/ 98787 w 171213"/>
                <a:gd name="connsiteY2" fmla="*/ 45000 h 72426"/>
                <a:gd name="connsiteX3" fmla="*/ 83787 w 171213"/>
                <a:gd name="connsiteY3" fmla="*/ 60000 h 72426"/>
                <a:gd name="connsiteX4" fmla="*/ 68787 w 171213"/>
                <a:gd name="connsiteY4" fmla="*/ 45000 h 72426"/>
                <a:gd name="connsiteX5" fmla="*/ 68787 w 171213"/>
                <a:gd name="connsiteY5" fmla="*/ 15000 h 72426"/>
                <a:gd name="connsiteX6" fmla="*/ 83787 w 171213"/>
                <a:gd name="connsiteY6" fmla="*/ 0 h 72426"/>
                <a:gd name="connsiteX7" fmla="*/ 166819 w 171213"/>
                <a:gd name="connsiteY7" fmla="*/ 25607 h 72426"/>
                <a:gd name="connsiteX8" fmla="*/ 166819 w 171213"/>
                <a:gd name="connsiteY8" fmla="*/ 46820 h 72426"/>
                <a:gd name="connsiteX9" fmla="*/ 145606 w 171213"/>
                <a:gd name="connsiteY9" fmla="*/ 68033 h 72426"/>
                <a:gd name="connsiteX10" fmla="*/ 124393 w 171213"/>
                <a:gd name="connsiteY10" fmla="*/ 68033 h 72426"/>
                <a:gd name="connsiteX11" fmla="*/ 124393 w 171213"/>
                <a:gd name="connsiteY11" fmla="*/ 46820 h 72426"/>
                <a:gd name="connsiteX12" fmla="*/ 145606 w 171213"/>
                <a:gd name="connsiteY12" fmla="*/ 25607 h 72426"/>
                <a:gd name="connsiteX13" fmla="*/ 166819 w 171213"/>
                <a:gd name="connsiteY13" fmla="*/ 25607 h 72426"/>
                <a:gd name="connsiteX14" fmla="*/ 4393 w 171213"/>
                <a:gd name="connsiteY14" fmla="*/ 25607 h 72426"/>
                <a:gd name="connsiteX15" fmla="*/ 25607 w 171213"/>
                <a:gd name="connsiteY15" fmla="*/ 25607 h 72426"/>
                <a:gd name="connsiteX16" fmla="*/ 46820 w 171213"/>
                <a:gd name="connsiteY16" fmla="*/ 46820 h 72426"/>
                <a:gd name="connsiteX17" fmla="*/ 46820 w 171213"/>
                <a:gd name="connsiteY17" fmla="*/ 68033 h 72426"/>
                <a:gd name="connsiteX18" fmla="*/ 25607 w 171213"/>
                <a:gd name="connsiteY18" fmla="*/ 68033 h 72426"/>
                <a:gd name="connsiteX19" fmla="*/ 4393 w 171213"/>
                <a:gd name="connsiteY19" fmla="*/ 46820 h 72426"/>
                <a:gd name="connsiteX20" fmla="*/ 4393 w 171213"/>
                <a:gd name="connsiteY20" fmla="*/ 25607 h 72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1213" h="72426">
                  <a:moveTo>
                    <a:pt x="83787" y="0"/>
                  </a:moveTo>
                  <a:cubicBezTo>
                    <a:pt x="92071" y="0"/>
                    <a:pt x="98787" y="6716"/>
                    <a:pt x="98787" y="15000"/>
                  </a:cubicBezTo>
                  <a:lnTo>
                    <a:pt x="98787" y="45000"/>
                  </a:lnTo>
                  <a:cubicBezTo>
                    <a:pt x="98787" y="53284"/>
                    <a:pt x="92071" y="60000"/>
                    <a:pt x="83787" y="60000"/>
                  </a:cubicBezTo>
                  <a:cubicBezTo>
                    <a:pt x="75503" y="60000"/>
                    <a:pt x="68787" y="53284"/>
                    <a:pt x="68787" y="45000"/>
                  </a:cubicBezTo>
                  <a:lnTo>
                    <a:pt x="68787" y="15000"/>
                  </a:lnTo>
                  <a:cubicBezTo>
                    <a:pt x="68787" y="6716"/>
                    <a:pt x="75503" y="0"/>
                    <a:pt x="83787" y="0"/>
                  </a:cubicBezTo>
                  <a:close/>
                  <a:moveTo>
                    <a:pt x="166819" y="25607"/>
                  </a:moveTo>
                  <a:cubicBezTo>
                    <a:pt x="172678" y="31464"/>
                    <a:pt x="172678" y="40962"/>
                    <a:pt x="166819" y="46820"/>
                  </a:cubicBezTo>
                  <a:lnTo>
                    <a:pt x="145606" y="68033"/>
                  </a:lnTo>
                  <a:cubicBezTo>
                    <a:pt x="139749" y="73891"/>
                    <a:pt x="130251" y="73891"/>
                    <a:pt x="124393" y="68033"/>
                  </a:cubicBezTo>
                  <a:cubicBezTo>
                    <a:pt x="118536" y="62175"/>
                    <a:pt x="118536" y="52678"/>
                    <a:pt x="124393" y="46820"/>
                  </a:cubicBezTo>
                  <a:lnTo>
                    <a:pt x="145606" y="25607"/>
                  </a:lnTo>
                  <a:cubicBezTo>
                    <a:pt x="151464" y="19749"/>
                    <a:pt x="160962" y="19749"/>
                    <a:pt x="166819" y="25607"/>
                  </a:cubicBezTo>
                  <a:close/>
                  <a:moveTo>
                    <a:pt x="4393" y="25607"/>
                  </a:moveTo>
                  <a:cubicBezTo>
                    <a:pt x="10251" y="19749"/>
                    <a:pt x="19749" y="19749"/>
                    <a:pt x="25607" y="25607"/>
                  </a:cubicBezTo>
                  <a:lnTo>
                    <a:pt x="46820" y="46820"/>
                  </a:lnTo>
                  <a:cubicBezTo>
                    <a:pt x="52678" y="52678"/>
                    <a:pt x="52678" y="62175"/>
                    <a:pt x="46820" y="68033"/>
                  </a:cubicBezTo>
                  <a:cubicBezTo>
                    <a:pt x="40962" y="73891"/>
                    <a:pt x="31464" y="73891"/>
                    <a:pt x="25607" y="68033"/>
                  </a:cubicBezTo>
                  <a:lnTo>
                    <a:pt x="4393" y="46820"/>
                  </a:lnTo>
                  <a:cubicBezTo>
                    <a:pt x="-1464" y="40962"/>
                    <a:pt x="-1464" y="31464"/>
                    <a:pt x="4393" y="25607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" name="Полилиния 317">
              <a:extLst>
                <a:ext uri="{FF2B5EF4-FFF2-40B4-BE49-F238E27FC236}">
                  <a16:creationId xmlns:a16="http://schemas.microsoft.com/office/drawing/2014/main" id="{F20EB791-A254-2E49-8B23-AC1B8FA42AEE}"/>
                </a:ext>
              </a:extLst>
            </p:cNvPr>
            <p:cNvSpPr/>
            <p:nvPr/>
          </p:nvSpPr>
          <p:spPr>
            <a:xfrm rot="-2700000" flipV="1">
              <a:off x="1649333" y="1644620"/>
              <a:ext cx="171213" cy="72427"/>
            </a:xfrm>
            <a:custGeom>
              <a:avLst/>
              <a:gdLst>
                <a:gd name="connsiteX0" fmla="*/ 83787 w 171213"/>
                <a:gd name="connsiteY0" fmla="*/ 0 h 72427"/>
                <a:gd name="connsiteX1" fmla="*/ 98787 w 171213"/>
                <a:gd name="connsiteY1" fmla="*/ 15000 h 72427"/>
                <a:gd name="connsiteX2" fmla="*/ 98787 w 171213"/>
                <a:gd name="connsiteY2" fmla="*/ 45000 h 72427"/>
                <a:gd name="connsiteX3" fmla="*/ 83787 w 171213"/>
                <a:gd name="connsiteY3" fmla="*/ 60000 h 72427"/>
                <a:gd name="connsiteX4" fmla="*/ 68787 w 171213"/>
                <a:gd name="connsiteY4" fmla="*/ 45000 h 72427"/>
                <a:gd name="connsiteX5" fmla="*/ 68787 w 171213"/>
                <a:gd name="connsiteY5" fmla="*/ 15000 h 72427"/>
                <a:gd name="connsiteX6" fmla="*/ 83787 w 171213"/>
                <a:gd name="connsiteY6" fmla="*/ 0 h 72427"/>
                <a:gd name="connsiteX7" fmla="*/ 166819 w 171213"/>
                <a:gd name="connsiteY7" fmla="*/ 25608 h 72427"/>
                <a:gd name="connsiteX8" fmla="*/ 166819 w 171213"/>
                <a:gd name="connsiteY8" fmla="*/ 46821 h 72427"/>
                <a:gd name="connsiteX9" fmla="*/ 145606 w 171213"/>
                <a:gd name="connsiteY9" fmla="*/ 68034 h 72427"/>
                <a:gd name="connsiteX10" fmla="*/ 124393 w 171213"/>
                <a:gd name="connsiteY10" fmla="*/ 68034 h 72427"/>
                <a:gd name="connsiteX11" fmla="*/ 124393 w 171213"/>
                <a:gd name="connsiteY11" fmla="*/ 46821 h 72427"/>
                <a:gd name="connsiteX12" fmla="*/ 145606 w 171213"/>
                <a:gd name="connsiteY12" fmla="*/ 25608 h 72427"/>
                <a:gd name="connsiteX13" fmla="*/ 166819 w 171213"/>
                <a:gd name="connsiteY13" fmla="*/ 25608 h 72427"/>
                <a:gd name="connsiteX14" fmla="*/ 4393 w 171213"/>
                <a:gd name="connsiteY14" fmla="*/ 25608 h 72427"/>
                <a:gd name="connsiteX15" fmla="*/ 25606 w 171213"/>
                <a:gd name="connsiteY15" fmla="*/ 25608 h 72427"/>
                <a:gd name="connsiteX16" fmla="*/ 46819 w 171213"/>
                <a:gd name="connsiteY16" fmla="*/ 46821 h 72427"/>
                <a:gd name="connsiteX17" fmla="*/ 46819 w 171213"/>
                <a:gd name="connsiteY17" fmla="*/ 68034 h 72427"/>
                <a:gd name="connsiteX18" fmla="*/ 25606 w 171213"/>
                <a:gd name="connsiteY18" fmla="*/ 68034 h 72427"/>
                <a:gd name="connsiteX19" fmla="*/ 4393 w 171213"/>
                <a:gd name="connsiteY19" fmla="*/ 46821 h 72427"/>
                <a:gd name="connsiteX20" fmla="*/ 4393 w 171213"/>
                <a:gd name="connsiteY20" fmla="*/ 25608 h 72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1213" h="72427">
                  <a:moveTo>
                    <a:pt x="83787" y="0"/>
                  </a:moveTo>
                  <a:cubicBezTo>
                    <a:pt x="92071" y="0"/>
                    <a:pt x="98787" y="6717"/>
                    <a:pt x="98787" y="15000"/>
                  </a:cubicBezTo>
                  <a:lnTo>
                    <a:pt x="98787" y="45000"/>
                  </a:lnTo>
                  <a:cubicBezTo>
                    <a:pt x="98787" y="53285"/>
                    <a:pt x="92071" y="60000"/>
                    <a:pt x="83787" y="60000"/>
                  </a:cubicBezTo>
                  <a:cubicBezTo>
                    <a:pt x="75502" y="60000"/>
                    <a:pt x="68787" y="53285"/>
                    <a:pt x="68787" y="45000"/>
                  </a:cubicBezTo>
                  <a:lnTo>
                    <a:pt x="68787" y="15000"/>
                  </a:lnTo>
                  <a:cubicBezTo>
                    <a:pt x="68787" y="6717"/>
                    <a:pt x="75502" y="0"/>
                    <a:pt x="83787" y="0"/>
                  </a:cubicBezTo>
                  <a:close/>
                  <a:moveTo>
                    <a:pt x="166819" y="25608"/>
                  </a:moveTo>
                  <a:cubicBezTo>
                    <a:pt x="172678" y="31465"/>
                    <a:pt x="172678" y="40962"/>
                    <a:pt x="166819" y="46821"/>
                  </a:cubicBezTo>
                  <a:lnTo>
                    <a:pt x="145606" y="68034"/>
                  </a:lnTo>
                  <a:cubicBezTo>
                    <a:pt x="139749" y="73892"/>
                    <a:pt x="130251" y="73892"/>
                    <a:pt x="124393" y="68034"/>
                  </a:cubicBezTo>
                  <a:cubicBezTo>
                    <a:pt x="118536" y="62177"/>
                    <a:pt x="118536" y="52679"/>
                    <a:pt x="124393" y="46821"/>
                  </a:cubicBezTo>
                  <a:lnTo>
                    <a:pt x="145606" y="25608"/>
                  </a:lnTo>
                  <a:cubicBezTo>
                    <a:pt x="151465" y="19749"/>
                    <a:pt x="160962" y="19749"/>
                    <a:pt x="166819" y="25608"/>
                  </a:cubicBezTo>
                  <a:close/>
                  <a:moveTo>
                    <a:pt x="4393" y="25608"/>
                  </a:moveTo>
                  <a:cubicBezTo>
                    <a:pt x="10251" y="19749"/>
                    <a:pt x="19749" y="19749"/>
                    <a:pt x="25606" y="25608"/>
                  </a:cubicBezTo>
                  <a:lnTo>
                    <a:pt x="46819" y="46821"/>
                  </a:lnTo>
                  <a:cubicBezTo>
                    <a:pt x="52678" y="52679"/>
                    <a:pt x="52678" y="62177"/>
                    <a:pt x="46819" y="68034"/>
                  </a:cubicBezTo>
                  <a:cubicBezTo>
                    <a:pt x="40962" y="73892"/>
                    <a:pt x="31465" y="73892"/>
                    <a:pt x="25606" y="68034"/>
                  </a:cubicBezTo>
                  <a:lnTo>
                    <a:pt x="4393" y="46821"/>
                  </a:lnTo>
                  <a:cubicBezTo>
                    <a:pt x="-1464" y="40962"/>
                    <a:pt x="-1464" y="31465"/>
                    <a:pt x="4393" y="25608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19" name="Рисунок 61">
            <a:extLst>
              <a:ext uri="{FF2B5EF4-FFF2-40B4-BE49-F238E27FC236}">
                <a16:creationId xmlns:a16="http://schemas.microsoft.com/office/drawing/2014/main" id="{5E58EECA-6AE2-7942-BD39-859A4B04E268}"/>
              </a:ext>
            </a:extLst>
          </p:cNvPr>
          <p:cNvGrpSpPr/>
          <p:nvPr/>
        </p:nvGrpSpPr>
        <p:grpSpPr>
          <a:xfrm>
            <a:off x="630069" y="1096153"/>
            <a:ext cx="360000" cy="360000"/>
            <a:chOff x="709274" y="1412875"/>
            <a:chExt cx="360000" cy="360000"/>
          </a:xfrm>
        </p:grpSpPr>
        <p:sp>
          <p:nvSpPr>
            <p:cNvPr id="320" name="Полилиния 319">
              <a:extLst>
                <a:ext uri="{FF2B5EF4-FFF2-40B4-BE49-F238E27FC236}">
                  <a16:creationId xmlns:a16="http://schemas.microsoft.com/office/drawing/2014/main" id="{FA752F44-80B6-DB4B-9B1F-9972E2D7C216}"/>
                </a:ext>
              </a:extLst>
            </p:cNvPr>
            <p:cNvSpPr/>
            <p:nvPr/>
          </p:nvSpPr>
          <p:spPr>
            <a:xfrm>
              <a:off x="70927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" name="Полилиния 320">
              <a:extLst>
                <a:ext uri="{FF2B5EF4-FFF2-40B4-BE49-F238E27FC236}">
                  <a16:creationId xmlns:a16="http://schemas.microsoft.com/office/drawing/2014/main" id="{9A388CAD-37A3-5549-91B7-D05B8DA994BE}"/>
                </a:ext>
              </a:extLst>
            </p:cNvPr>
            <p:cNvSpPr/>
            <p:nvPr/>
          </p:nvSpPr>
          <p:spPr>
            <a:xfrm>
              <a:off x="731994" y="1465595"/>
              <a:ext cx="322591" cy="242132"/>
            </a:xfrm>
            <a:custGeom>
              <a:avLst/>
              <a:gdLst>
                <a:gd name="connsiteX0" fmla="*/ 205918 w 322591"/>
                <a:gd name="connsiteY0" fmla="*/ 184705 h 242132"/>
                <a:gd name="connsiteX1" fmla="*/ 301378 w 322591"/>
                <a:gd name="connsiteY1" fmla="*/ 89246 h 242132"/>
                <a:gd name="connsiteX2" fmla="*/ 322591 w 322591"/>
                <a:gd name="connsiteY2" fmla="*/ 110460 h 242132"/>
                <a:gd name="connsiteX3" fmla="*/ 227133 w 322591"/>
                <a:gd name="connsiteY3" fmla="*/ 205918 h 242132"/>
                <a:gd name="connsiteX4" fmla="*/ 205918 w 322591"/>
                <a:gd name="connsiteY4" fmla="*/ 184705 h 242132"/>
                <a:gd name="connsiteX5" fmla="*/ 4393 w 322591"/>
                <a:gd name="connsiteY5" fmla="*/ 195312 h 242132"/>
                <a:gd name="connsiteX6" fmla="*/ 152886 w 322591"/>
                <a:gd name="connsiteY6" fmla="*/ 46820 h 242132"/>
                <a:gd name="connsiteX7" fmla="*/ 174099 w 322591"/>
                <a:gd name="connsiteY7" fmla="*/ 46820 h 242132"/>
                <a:gd name="connsiteX8" fmla="*/ 195312 w 322591"/>
                <a:gd name="connsiteY8" fmla="*/ 68033 h 242132"/>
                <a:gd name="connsiteX9" fmla="*/ 195312 w 322591"/>
                <a:gd name="connsiteY9" fmla="*/ 89246 h 242132"/>
                <a:gd name="connsiteX10" fmla="*/ 46820 w 322591"/>
                <a:gd name="connsiteY10" fmla="*/ 237739 h 242132"/>
                <a:gd name="connsiteX11" fmla="*/ 25607 w 322591"/>
                <a:gd name="connsiteY11" fmla="*/ 237739 h 242132"/>
                <a:gd name="connsiteX12" fmla="*/ 4393 w 322591"/>
                <a:gd name="connsiteY12" fmla="*/ 216525 h 242132"/>
                <a:gd name="connsiteX13" fmla="*/ 4393 w 322591"/>
                <a:gd name="connsiteY13" fmla="*/ 195312 h 242132"/>
                <a:gd name="connsiteX14" fmla="*/ 216525 w 322591"/>
                <a:gd name="connsiteY14" fmla="*/ 4393 h 242132"/>
                <a:gd name="connsiteX15" fmla="*/ 237739 w 322591"/>
                <a:gd name="connsiteY15" fmla="*/ 25607 h 242132"/>
                <a:gd name="connsiteX16" fmla="*/ 237739 w 322591"/>
                <a:gd name="connsiteY16" fmla="*/ 46820 h 242132"/>
                <a:gd name="connsiteX17" fmla="*/ 227133 w 322591"/>
                <a:gd name="connsiteY17" fmla="*/ 57426 h 242132"/>
                <a:gd name="connsiteX18" fmla="*/ 205918 w 322591"/>
                <a:gd name="connsiteY18" fmla="*/ 57426 h 242132"/>
                <a:gd name="connsiteX19" fmla="*/ 184705 w 322591"/>
                <a:gd name="connsiteY19" fmla="*/ 36213 h 242132"/>
                <a:gd name="connsiteX20" fmla="*/ 184705 w 322591"/>
                <a:gd name="connsiteY20" fmla="*/ 15000 h 242132"/>
                <a:gd name="connsiteX21" fmla="*/ 195312 w 322591"/>
                <a:gd name="connsiteY21" fmla="*/ 4393 h 242132"/>
                <a:gd name="connsiteX22" fmla="*/ 216525 w 322591"/>
                <a:gd name="connsiteY22" fmla="*/ 4393 h 242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2591" h="242132">
                  <a:moveTo>
                    <a:pt x="205918" y="184705"/>
                  </a:moveTo>
                  <a:lnTo>
                    <a:pt x="301378" y="89246"/>
                  </a:lnTo>
                  <a:lnTo>
                    <a:pt x="322591" y="110460"/>
                  </a:lnTo>
                  <a:lnTo>
                    <a:pt x="227133" y="205918"/>
                  </a:lnTo>
                  <a:lnTo>
                    <a:pt x="205918" y="184705"/>
                  </a:lnTo>
                  <a:close/>
                  <a:moveTo>
                    <a:pt x="4393" y="195312"/>
                  </a:moveTo>
                  <a:lnTo>
                    <a:pt x="152886" y="46820"/>
                  </a:lnTo>
                  <a:cubicBezTo>
                    <a:pt x="158743" y="40962"/>
                    <a:pt x="168241" y="40962"/>
                    <a:pt x="174099" y="46820"/>
                  </a:cubicBezTo>
                  <a:lnTo>
                    <a:pt x="195312" y="68033"/>
                  </a:lnTo>
                  <a:cubicBezTo>
                    <a:pt x="201171" y="73891"/>
                    <a:pt x="201171" y="83388"/>
                    <a:pt x="195312" y="89246"/>
                  </a:cubicBezTo>
                  <a:lnTo>
                    <a:pt x="46820" y="237739"/>
                  </a:lnTo>
                  <a:cubicBezTo>
                    <a:pt x="40962" y="243597"/>
                    <a:pt x="31464" y="243597"/>
                    <a:pt x="25607" y="237739"/>
                  </a:cubicBezTo>
                  <a:lnTo>
                    <a:pt x="4393" y="216525"/>
                  </a:lnTo>
                  <a:cubicBezTo>
                    <a:pt x="-1464" y="210667"/>
                    <a:pt x="-1464" y="201171"/>
                    <a:pt x="4393" y="195312"/>
                  </a:cubicBezTo>
                  <a:close/>
                  <a:moveTo>
                    <a:pt x="216525" y="4393"/>
                  </a:moveTo>
                  <a:lnTo>
                    <a:pt x="237739" y="25607"/>
                  </a:lnTo>
                  <a:cubicBezTo>
                    <a:pt x="243597" y="31464"/>
                    <a:pt x="243597" y="40962"/>
                    <a:pt x="237739" y="46820"/>
                  </a:cubicBezTo>
                  <a:lnTo>
                    <a:pt x="227133" y="57426"/>
                  </a:lnTo>
                  <a:cubicBezTo>
                    <a:pt x="221274" y="63284"/>
                    <a:pt x="211777" y="63284"/>
                    <a:pt x="205918" y="57426"/>
                  </a:cubicBezTo>
                  <a:lnTo>
                    <a:pt x="184705" y="36213"/>
                  </a:lnTo>
                  <a:cubicBezTo>
                    <a:pt x="178848" y="30355"/>
                    <a:pt x="178848" y="20858"/>
                    <a:pt x="184705" y="15000"/>
                  </a:cubicBezTo>
                  <a:lnTo>
                    <a:pt x="195312" y="4393"/>
                  </a:lnTo>
                  <a:cubicBezTo>
                    <a:pt x="201171" y="-1464"/>
                    <a:pt x="210667" y="-1464"/>
                    <a:pt x="216525" y="4393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" name="Полилиния 321">
              <a:extLst>
                <a:ext uri="{FF2B5EF4-FFF2-40B4-BE49-F238E27FC236}">
                  <a16:creationId xmlns:a16="http://schemas.microsoft.com/office/drawing/2014/main" id="{E3CA9C7A-49EB-EB41-8EAE-B4DDD4628140}"/>
                </a:ext>
              </a:extLst>
            </p:cNvPr>
            <p:cNvSpPr/>
            <p:nvPr/>
          </p:nvSpPr>
          <p:spPr>
            <a:xfrm rot="2700000">
              <a:off x="834200" y="1466128"/>
              <a:ext cx="164999" cy="135000"/>
            </a:xfrm>
            <a:custGeom>
              <a:avLst/>
              <a:gdLst>
                <a:gd name="connsiteX0" fmla="*/ 165000 w 164999"/>
                <a:gd name="connsiteY0" fmla="*/ 0 h 135000"/>
                <a:gd name="connsiteX1" fmla="*/ 90000 w 164999"/>
                <a:gd name="connsiteY1" fmla="*/ 30000 h 135000"/>
                <a:gd name="connsiteX2" fmla="*/ 0 w 164999"/>
                <a:gd name="connsiteY2" fmla="*/ 30000 h 135000"/>
                <a:gd name="connsiteX3" fmla="*/ 0 w 164999"/>
                <a:gd name="connsiteY3" fmla="*/ 105001 h 135000"/>
                <a:gd name="connsiteX4" fmla="*/ 90000 w 164999"/>
                <a:gd name="connsiteY4" fmla="*/ 105001 h 135000"/>
                <a:gd name="connsiteX5" fmla="*/ 165000 w 164999"/>
                <a:gd name="connsiteY5" fmla="*/ 135001 h 135000"/>
                <a:gd name="connsiteX6" fmla="*/ 165000 w 164999"/>
                <a:gd name="connsiteY6" fmla="*/ 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999" h="135000">
                  <a:moveTo>
                    <a:pt x="165000" y="0"/>
                  </a:moveTo>
                  <a:cubicBezTo>
                    <a:pt x="130000" y="20000"/>
                    <a:pt x="105000" y="30000"/>
                    <a:pt x="90000" y="30000"/>
                  </a:cubicBezTo>
                  <a:cubicBezTo>
                    <a:pt x="75000" y="30000"/>
                    <a:pt x="45000" y="30000"/>
                    <a:pt x="0" y="30000"/>
                  </a:cubicBezTo>
                  <a:lnTo>
                    <a:pt x="0" y="105001"/>
                  </a:lnTo>
                  <a:cubicBezTo>
                    <a:pt x="40000" y="105001"/>
                    <a:pt x="70000" y="105001"/>
                    <a:pt x="90000" y="105001"/>
                  </a:cubicBezTo>
                  <a:cubicBezTo>
                    <a:pt x="110001" y="105001"/>
                    <a:pt x="135000" y="115000"/>
                    <a:pt x="165000" y="135001"/>
                  </a:cubicBezTo>
                  <a:lnTo>
                    <a:pt x="165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23" name="Рисунок 62">
            <a:extLst>
              <a:ext uri="{FF2B5EF4-FFF2-40B4-BE49-F238E27FC236}">
                <a16:creationId xmlns:a16="http://schemas.microsoft.com/office/drawing/2014/main" id="{EABE676D-0BE6-044B-96EF-B8845076AF78}"/>
              </a:ext>
            </a:extLst>
          </p:cNvPr>
          <p:cNvGrpSpPr/>
          <p:nvPr/>
        </p:nvGrpSpPr>
        <p:grpSpPr>
          <a:xfrm>
            <a:off x="1410956" y="5807534"/>
            <a:ext cx="360000" cy="360000"/>
            <a:chOff x="1490161" y="6124256"/>
            <a:chExt cx="360000" cy="360000"/>
          </a:xfrm>
        </p:grpSpPr>
        <p:sp>
          <p:nvSpPr>
            <p:cNvPr id="324" name="Полилиния 323">
              <a:extLst>
                <a:ext uri="{FF2B5EF4-FFF2-40B4-BE49-F238E27FC236}">
                  <a16:creationId xmlns:a16="http://schemas.microsoft.com/office/drawing/2014/main" id="{B267365E-C6A9-3742-AFBB-7DE64CC16AA7}"/>
                </a:ext>
              </a:extLst>
            </p:cNvPr>
            <p:cNvSpPr/>
            <p:nvPr/>
          </p:nvSpPr>
          <p:spPr>
            <a:xfrm>
              <a:off x="149016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" name="Полилиния 324">
              <a:extLst>
                <a:ext uri="{FF2B5EF4-FFF2-40B4-BE49-F238E27FC236}">
                  <a16:creationId xmlns:a16="http://schemas.microsoft.com/office/drawing/2014/main" id="{F30F8274-75DA-1948-8488-D9A0F40BF781}"/>
                </a:ext>
              </a:extLst>
            </p:cNvPr>
            <p:cNvSpPr/>
            <p:nvPr/>
          </p:nvSpPr>
          <p:spPr>
            <a:xfrm>
              <a:off x="1495518" y="6184256"/>
              <a:ext cx="339642" cy="240000"/>
            </a:xfrm>
            <a:custGeom>
              <a:avLst/>
              <a:gdLst>
                <a:gd name="connsiteX0" fmla="*/ 120948 w 339642"/>
                <a:gd name="connsiteY0" fmla="*/ 240000 h 240000"/>
                <a:gd name="connsiteX1" fmla="*/ 309643 w 339642"/>
                <a:gd name="connsiteY1" fmla="*/ 240000 h 240000"/>
                <a:gd name="connsiteX2" fmla="*/ 339643 w 339642"/>
                <a:gd name="connsiteY2" fmla="*/ 210000 h 240000"/>
                <a:gd name="connsiteX3" fmla="*/ 339643 w 339642"/>
                <a:gd name="connsiteY3" fmla="*/ 30000 h 240000"/>
                <a:gd name="connsiteX4" fmla="*/ 309643 w 339642"/>
                <a:gd name="connsiteY4" fmla="*/ 0 h 240000"/>
                <a:gd name="connsiteX5" fmla="*/ 120948 w 339642"/>
                <a:gd name="connsiteY5" fmla="*/ 0 h 240000"/>
                <a:gd name="connsiteX6" fmla="*/ 110389 w 339642"/>
                <a:gd name="connsiteY6" fmla="*/ 4346 h 240000"/>
                <a:gd name="connsiteX7" fmla="*/ 4441 w 339642"/>
                <a:gd name="connsiteY7" fmla="*/ 109345 h 240000"/>
                <a:gd name="connsiteX8" fmla="*/ 4346 w 339642"/>
                <a:gd name="connsiteY8" fmla="*/ 130559 h 240000"/>
                <a:gd name="connsiteX9" fmla="*/ 4441 w 339642"/>
                <a:gd name="connsiteY9" fmla="*/ 130655 h 240000"/>
                <a:gd name="connsiteX10" fmla="*/ 110389 w 339642"/>
                <a:gd name="connsiteY10" fmla="*/ 235655 h 240000"/>
                <a:gd name="connsiteX11" fmla="*/ 120948 w 339642"/>
                <a:gd name="connsiteY11" fmla="*/ 24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9642" h="240000">
                  <a:moveTo>
                    <a:pt x="120948" y="240000"/>
                  </a:moveTo>
                  <a:lnTo>
                    <a:pt x="309643" y="240000"/>
                  </a:lnTo>
                  <a:cubicBezTo>
                    <a:pt x="326212" y="240000"/>
                    <a:pt x="339643" y="226569"/>
                    <a:pt x="339643" y="210000"/>
                  </a:cubicBezTo>
                  <a:lnTo>
                    <a:pt x="339643" y="30000"/>
                  </a:lnTo>
                  <a:cubicBezTo>
                    <a:pt x="339643" y="13431"/>
                    <a:pt x="326212" y="0"/>
                    <a:pt x="309643" y="0"/>
                  </a:cubicBezTo>
                  <a:lnTo>
                    <a:pt x="120948" y="0"/>
                  </a:lnTo>
                  <a:cubicBezTo>
                    <a:pt x="116993" y="0"/>
                    <a:pt x="113198" y="1562"/>
                    <a:pt x="110389" y="4346"/>
                  </a:cubicBezTo>
                  <a:lnTo>
                    <a:pt x="4441" y="109345"/>
                  </a:lnTo>
                  <a:cubicBezTo>
                    <a:pt x="-1443" y="115178"/>
                    <a:pt x="-1486" y="124674"/>
                    <a:pt x="4346" y="130559"/>
                  </a:cubicBezTo>
                  <a:cubicBezTo>
                    <a:pt x="4377" y="130590"/>
                    <a:pt x="4409" y="130623"/>
                    <a:pt x="4441" y="130655"/>
                  </a:cubicBezTo>
                  <a:lnTo>
                    <a:pt x="110389" y="235655"/>
                  </a:lnTo>
                  <a:cubicBezTo>
                    <a:pt x="113198" y="238439"/>
                    <a:pt x="116993" y="240000"/>
                    <a:pt x="120948" y="24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" name="Полилиния 325">
              <a:extLst>
                <a:ext uri="{FF2B5EF4-FFF2-40B4-BE49-F238E27FC236}">
                  <a16:creationId xmlns:a16="http://schemas.microsoft.com/office/drawing/2014/main" id="{B1D89D06-C07C-5E47-994D-71FE75899938}"/>
                </a:ext>
              </a:extLst>
            </p:cNvPr>
            <p:cNvSpPr/>
            <p:nvPr/>
          </p:nvSpPr>
          <p:spPr>
            <a:xfrm>
              <a:off x="1653340" y="6257436"/>
              <a:ext cx="93640" cy="93640"/>
            </a:xfrm>
            <a:custGeom>
              <a:avLst/>
              <a:gdLst>
                <a:gd name="connsiteX0" fmla="*/ 25607 w 93640"/>
                <a:gd name="connsiteY0" fmla="*/ 46820 h 93640"/>
                <a:gd name="connsiteX1" fmla="*/ 4394 w 93640"/>
                <a:gd name="connsiteY1" fmla="*/ 25607 h 93640"/>
                <a:gd name="connsiteX2" fmla="*/ 4394 w 93640"/>
                <a:gd name="connsiteY2" fmla="*/ 4393 h 93640"/>
                <a:gd name="connsiteX3" fmla="*/ 25607 w 93640"/>
                <a:gd name="connsiteY3" fmla="*/ 4393 h 93640"/>
                <a:gd name="connsiteX4" fmla="*/ 46820 w 93640"/>
                <a:gd name="connsiteY4" fmla="*/ 25607 h 93640"/>
                <a:gd name="connsiteX5" fmla="*/ 68033 w 93640"/>
                <a:gd name="connsiteY5" fmla="*/ 4393 h 93640"/>
                <a:gd name="connsiteX6" fmla="*/ 89246 w 93640"/>
                <a:gd name="connsiteY6" fmla="*/ 4393 h 93640"/>
                <a:gd name="connsiteX7" fmla="*/ 89246 w 93640"/>
                <a:gd name="connsiteY7" fmla="*/ 25607 h 93640"/>
                <a:gd name="connsiteX8" fmla="*/ 68033 w 93640"/>
                <a:gd name="connsiteY8" fmla="*/ 46820 h 93640"/>
                <a:gd name="connsiteX9" fmla="*/ 89246 w 93640"/>
                <a:gd name="connsiteY9" fmla="*/ 68033 h 93640"/>
                <a:gd name="connsiteX10" fmla="*/ 89246 w 93640"/>
                <a:gd name="connsiteY10" fmla="*/ 89246 h 93640"/>
                <a:gd name="connsiteX11" fmla="*/ 68033 w 93640"/>
                <a:gd name="connsiteY11" fmla="*/ 89246 h 93640"/>
                <a:gd name="connsiteX12" fmla="*/ 46820 w 93640"/>
                <a:gd name="connsiteY12" fmla="*/ 68033 h 93640"/>
                <a:gd name="connsiteX13" fmla="*/ 25607 w 93640"/>
                <a:gd name="connsiteY13" fmla="*/ 89246 h 93640"/>
                <a:gd name="connsiteX14" fmla="*/ 4394 w 93640"/>
                <a:gd name="connsiteY14" fmla="*/ 89246 h 93640"/>
                <a:gd name="connsiteX15" fmla="*/ 4394 w 93640"/>
                <a:gd name="connsiteY15" fmla="*/ 68033 h 93640"/>
                <a:gd name="connsiteX16" fmla="*/ 25607 w 93640"/>
                <a:gd name="connsiteY16" fmla="*/ 46820 h 93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3640" h="93640">
                  <a:moveTo>
                    <a:pt x="25607" y="46820"/>
                  </a:moveTo>
                  <a:lnTo>
                    <a:pt x="4394" y="25607"/>
                  </a:lnTo>
                  <a:cubicBezTo>
                    <a:pt x="-1465" y="19749"/>
                    <a:pt x="-1465" y="10251"/>
                    <a:pt x="4394" y="4393"/>
                  </a:cubicBezTo>
                  <a:cubicBezTo>
                    <a:pt x="10252" y="-1464"/>
                    <a:pt x="19750" y="-1464"/>
                    <a:pt x="25607" y="4393"/>
                  </a:cubicBezTo>
                  <a:lnTo>
                    <a:pt x="46820" y="25607"/>
                  </a:lnTo>
                  <a:lnTo>
                    <a:pt x="68033" y="4393"/>
                  </a:lnTo>
                  <a:cubicBezTo>
                    <a:pt x="73891" y="-1464"/>
                    <a:pt x="83389" y="-1464"/>
                    <a:pt x="89246" y="4393"/>
                  </a:cubicBezTo>
                  <a:cubicBezTo>
                    <a:pt x="95105" y="10251"/>
                    <a:pt x="95105" y="19749"/>
                    <a:pt x="89246" y="25607"/>
                  </a:cubicBezTo>
                  <a:lnTo>
                    <a:pt x="68033" y="46820"/>
                  </a:lnTo>
                  <a:lnTo>
                    <a:pt x="89246" y="68033"/>
                  </a:lnTo>
                  <a:cubicBezTo>
                    <a:pt x="95105" y="73890"/>
                    <a:pt x="95105" y="83388"/>
                    <a:pt x="89246" y="89246"/>
                  </a:cubicBezTo>
                  <a:cubicBezTo>
                    <a:pt x="83389" y="95105"/>
                    <a:pt x="73891" y="95105"/>
                    <a:pt x="68033" y="89246"/>
                  </a:cubicBezTo>
                  <a:lnTo>
                    <a:pt x="46820" y="68033"/>
                  </a:lnTo>
                  <a:lnTo>
                    <a:pt x="25607" y="89246"/>
                  </a:lnTo>
                  <a:cubicBezTo>
                    <a:pt x="19750" y="95105"/>
                    <a:pt x="10252" y="95105"/>
                    <a:pt x="4394" y="89246"/>
                  </a:cubicBezTo>
                  <a:cubicBezTo>
                    <a:pt x="-1465" y="83388"/>
                    <a:pt x="-1465" y="73890"/>
                    <a:pt x="4394" y="68033"/>
                  </a:cubicBezTo>
                  <a:lnTo>
                    <a:pt x="25607" y="4682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27" name="Рисунок 63">
            <a:extLst>
              <a:ext uri="{FF2B5EF4-FFF2-40B4-BE49-F238E27FC236}">
                <a16:creationId xmlns:a16="http://schemas.microsoft.com/office/drawing/2014/main" id="{378D1824-730E-D94C-93A7-08FDDBD5B910}"/>
              </a:ext>
            </a:extLst>
          </p:cNvPr>
          <p:cNvGrpSpPr/>
          <p:nvPr/>
        </p:nvGrpSpPr>
        <p:grpSpPr>
          <a:xfrm>
            <a:off x="2164108" y="5807534"/>
            <a:ext cx="360000" cy="360000"/>
            <a:chOff x="2243313" y="6124256"/>
            <a:chExt cx="360000" cy="360000"/>
          </a:xfrm>
        </p:grpSpPr>
        <p:sp>
          <p:nvSpPr>
            <p:cNvPr id="328" name="Полилиния 327">
              <a:extLst>
                <a:ext uri="{FF2B5EF4-FFF2-40B4-BE49-F238E27FC236}">
                  <a16:creationId xmlns:a16="http://schemas.microsoft.com/office/drawing/2014/main" id="{9C5D4A7A-B1E7-824A-A409-8551EFDC45B5}"/>
                </a:ext>
              </a:extLst>
            </p:cNvPr>
            <p:cNvSpPr/>
            <p:nvPr/>
          </p:nvSpPr>
          <p:spPr>
            <a:xfrm>
              <a:off x="224331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" name="Полилиния 328">
              <a:extLst>
                <a:ext uri="{FF2B5EF4-FFF2-40B4-BE49-F238E27FC236}">
                  <a16:creationId xmlns:a16="http://schemas.microsoft.com/office/drawing/2014/main" id="{F803C349-F52A-E045-A076-248BF0FA68CB}"/>
                </a:ext>
              </a:extLst>
            </p:cNvPr>
            <p:cNvSpPr/>
            <p:nvPr/>
          </p:nvSpPr>
          <p:spPr>
            <a:xfrm rot="10800000" flipV="1">
              <a:off x="2397202" y="6208318"/>
              <a:ext cx="116110" cy="191943"/>
            </a:xfrm>
            <a:custGeom>
              <a:avLst/>
              <a:gdLst>
                <a:gd name="connsiteX0" fmla="*/ 12431 w 116110"/>
                <a:gd name="connsiteY0" fmla="*/ 190096 h 191943"/>
                <a:gd name="connsiteX1" fmla="*/ 113541 w 116110"/>
                <a:gd name="connsiteY1" fmla="*/ 101902 h 191943"/>
                <a:gd name="connsiteX2" fmla="*/ 114263 w 116110"/>
                <a:gd name="connsiteY2" fmla="*/ 91321 h 191943"/>
                <a:gd name="connsiteX3" fmla="*/ 113557 w 116110"/>
                <a:gd name="connsiteY3" fmla="*/ 90613 h 191943"/>
                <a:gd name="connsiteX4" fmla="*/ 12447 w 116110"/>
                <a:gd name="connsiteY4" fmla="*/ 1863 h 191943"/>
                <a:gd name="connsiteX5" fmla="*/ 1863 w 116110"/>
                <a:gd name="connsiteY5" fmla="*/ 2553 h 191943"/>
                <a:gd name="connsiteX6" fmla="*/ 0 w 116110"/>
                <a:gd name="connsiteY6" fmla="*/ 7500 h 191943"/>
                <a:gd name="connsiteX7" fmla="*/ 0 w 116110"/>
                <a:gd name="connsiteY7" fmla="*/ 184444 h 191943"/>
                <a:gd name="connsiteX8" fmla="*/ 7500 w 116110"/>
                <a:gd name="connsiteY8" fmla="*/ 191944 h 191943"/>
                <a:gd name="connsiteX9" fmla="*/ 12431 w 116110"/>
                <a:gd name="connsiteY9" fmla="*/ 190096 h 191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0" h="191943">
                  <a:moveTo>
                    <a:pt x="12431" y="190096"/>
                  </a:moveTo>
                  <a:lnTo>
                    <a:pt x="113541" y="101902"/>
                  </a:lnTo>
                  <a:cubicBezTo>
                    <a:pt x="116663" y="99179"/>
                    <a:pt x="116985" y="94442"/>
                    <a:pt x="114263" y="91321"/>
                  </a:cubicBezTo>
                  <a:cubicBezTo>
                    <a:pt x="114043" y="91069"/>
                    <a:pt x="113808" y="90833"/>
                    <a:pt x="113557" y="90613"/>
                  </a:cubicBezTo>
                  <a:lnTo>
                    <a:pt x="12447" y="1863"/>
                  </a:lnTo>
                  <a:cubicBezTo>
                    <a:pt x="9335" y="-869"/>
                    <a:pt x="4596" y="-561"/>
                    <a:pt x="1863" y="2553"/>
                  </a:cubicBezTo>
                  <a:cubicBezTo>
                    <a:pt x="661" y="3921"/>
                    <a:pt x="0" y="5679"/>
                    <a:pt x="0" y="7500"/>
                  </a:cubicBezTo>
                  <a:lnTo>
                    <a:pt x="0" y="184444"/>
                  </a:lnTo>
                  <a:cubicBezTo>
                    <a:pt x="0" y="188585"/>
                    <a:pt x="3357" y="191944"/>
                    <a:pt x="7500" y="191944"/>
                  </a:cubicBezTo>
                  <a:cubicBezTo>
                    <a:pt x="9312" y="191944"/>
                    <a:pt x="11064" y="191287"/>
                    <a:pt x="12431" y="190096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" name="Полилиния 329">
              <a:extLst>
                <a:ext uri="{FF2B5EF4-FFF2-40B4-BE49-F238E27FC236}">
                  <a16:creationId xmlns:a16="http://schemas.microsoft.com/office/drawing/2014/main" id="{FE7D0D8D-FBA2-F947-818F-242A56005C7A}"/>
                </a:ext>
              </a:extLst>
            </p:cNvPr>
            <p:cNvSpPr/>
            <p:nvPr/>
          </p:nvSpPr>
          <p:spPr>
            <a:xfrm rot="10800000" flipV="1">
              <a:off x="2307202" y="6208318"/>
              <a:ext cx="116110" cy="191943"/>
            </a:xfrm>
            <a:custGeom>
              <a:avLst/>
              <a:gdLst>
                <a:gd name="connsiteX0" fmla="*/ 12430 w 116110"/>
                <a:gd name="connsiteY0" fmla="*/ 190096 h 191943"/>
                <a:gd name="connsiteX1" fmla="*/ 113541 w 116110"/>
                <a:gd name="connsiteY1" fmla="*/ 101902 h 191943"/>
                <a:gd name="connsiteX2" fmla="*/ 114263 w 116110"/>
                <a:gd name="connsiteY2" fmla="*/ 91321 h 191943"/>
                <a:gd name="connsiteX3" fmla="*/ 113558 w 116110"/>
                <a:gd name="connsiteY3" fmla="*/ 90613 h 191943"/>
                <a:gd name="connsiteX4" fmla="*/ 12448 w 116110"/>
                <a:gd name="connsiteY4" fmla="*/ 1863 h 191943"/>
                <a:gd name="connsiteX5" fmla="*/ 1863 w 116110"/>
                <a:gd name="connsiteY5" fmla="*/ 2553 h 191943"/>
                <a:gd name="connsiteX6" fmla="*/ 0 w 116110"/>
                <a:gd name="connsiteY6" fmla="*/ 7500 h 191943"/>
                <a:gd name="connsiteX7" fmla="*/ 0 w 116110"/>
                <a:gd name="connsiteY7" fmla="*/ 184444 h 191943"/>
                <a:gd name="connsiteX8" fmla="*/ 7500 w 116110"/>
                <a:gd name="connsiteY8" fmla="*/ 191944 h 191943"/>
                <a:gd name="connsiteX9" fmla="*/ 12430 w 116110"/>
                <a:gd name="connsiteY9" fmla="*/ 190096 h 191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0" h="191943">
                  <a:moveTo>
                    <a:pt x="12430" y="190096"/>
                  </a:moveTo>
                  <a:lnTo>
                    <a:pt x="113541" y="101902"/>
                  </a:lnTo>
                  <a:cubicBezTo>
                    <a:pt x="116663" y="99179"/>
                    <a:pt x="116985" y="94442"/>
                    <a:pt x="114263" y="91321"/>
                  </a:cubicBezTo>
                  <a:cubicBezTo>
                    <a:pt x="114044" y="91069"/>
                    <a:pt x="113808" y="90833"/>
                    <a:pt x="113558" y="90613"/>
                  </a:cubicBezTo>
                  <a:lnTo>
                    <a:pt x="12448" y="1863"/>
                  </a:lnTo>
                  <a:cubicBezTo>
                    <a:pt x="9334" y="-869"/>
                    <a:pt x="4596" y="-561"/>
                    <a:pt x="1863" y="2553"/>
                  </a:cubicBezTo>
                  <a:cubicBezTo>
                    <a:pt x="662" y="3921"/>
                    <a:pt x="0" y="5679"/>
                    <a:pt x="0" y="7500"/>
                  </a:cubicBezTo>
                  <a:lnTo>
                    <a:pt x="0" y="184444"/>
                  </a:lnTo>
                  <a:cubicBezTo>
                    <a:pt x="0" y="188585"/>
                    <a:pt x="3358" y="191944"/>
                    <a:pt x="7500" y="191944"/>
                  </a:cubicBezTo>
                  <a:cubicBezTo>
                    <a:pt x="9313" y="191944"/>
                    <a:pt x="11064" y="191287"/>
                    <a:pt x="12430" y="190096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31" name="Рисунок 64">
            <a:extLst>
              <a:ext uri="{FF2B5EF4-FFF2-40B4-BE49-F238E27FC236}">
                <a16:creationId xmlns:a16="http://schemas.microsoft.com/office/drawing/2014/main" id="{B80AD89F-E400-2943-9DF7-D7F7A2CDEA9B}"/>
              </a:ext>
            </a:extLst>
          </p:cNvPr>
          <p:cNvGrpSpPr/>
          <p:nvPr/>
        </p:nvGrpSpPr>
        <p:grpSpPr>
          <a:xfrm>
            <a:off x="2917260" y="5807534"/>
            <a:ext cx="360000" cy="360000"/>
            <a:chOff x="2996465" y="6124256"/>
            <a:chExt cx="360000" cy="360000"/>
          </a:xfrm>
        </p:grpSpPr>
        <p:sp>
          <p:nvSpPr>
            <p:cNvPr id="332" name="Полилиния 331">
              <a:extLst>
                <a:ext uri="{FF2B5EF4-FFF2-40B4-BE49-F238E27FC236}">
                  <a16:creationId xmlns:a16="http://schemas.microsoft.com/office/drawing/2014/main" id="{C3B6BFDC-BEDE-3D47-B306-4E7DED9B9922}"/>
                </a:ext>
              </a:extLst>
            </p:cNvPr>
            <p:cNvSpPr/>
            <p:nvPr/>
          </p:nvSpPr>
          <p:spPr>
            <a:xfrm>
              <a:off x="299646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" name="Полилиния 332">
              <a:extLst>
                <a:ext uri="{FF2B5EF4-FFF2-40B4-BE49-F238E27FC236}">
                  <a16:creationId xmlns:a16="http://schemas.microsoft.com/office/drawing/2014/main" id="{DDA1AD7D-85C7-1040-A058-D205F289199D}"/>
                </a:ext>
              </a:extLst>
            </p:cNvPr>
            <p:cNvSpPr/>
            <p:nvPr/>
          </p:nvSpPr>
          <p:spPr>
            <a:xfrm>
              <a:off x="3116465" y="6184256"/>
              <a:ext cx="120000" cy="75000"/>
            </a:xfrm>
            <a:custGeom>
              <a:avLst/>
              <a:gdLst>
                <a:gd name="connsiteX0" fmla="*/ 90000 w 120000"/>
                <a:gd name="connsiteY0" fmla="*/ 75000 h 75000"/>
                <a:gd name="connsiteX1" fmla="*/ 90000 w 120000"/>
                <a:gd name="connsiteY1" fmla="*/ 60000 h 75000"/>
                <a:gd name="connsiteX2" fmla="*/ 60000 w 120000"/>
                <a:gd name="connsiteY2" fmla="*/ 30000 h 75000"/>
                <a:gd name="connsiteX3" fmla="*/ 30000 w 120000"/>
                <a:gd name="connsiteY3" fmla="*/ 60000 h 75000"/>
                <a:gd name="connsiteX4" fmla="*/ 30000 w 120000"/>
                <a:gd name="connsiteY4" fmla="*/ 75000 h 75000"/>
                <a:gd name="connsiteX5" fmla="*/ 0 w 120000"/>
                <a:gd name="connsiteY5" fmla="*/ 75000 h 75000"/>
                <a:gd name="connsiteX6" fmla="*/ 0 w 120000"/>
                <a:gd name="connsiteY6" fmla="*/ 60000 h 75000"/>
                <a:gd name="connsiteX7" fmla="*/ 60000 w 120000"/>
                <a:gd name="connsiteY7" fmla="*/ 0 h 75000"/>
                <a:gd name="connsiteX8" fmla="*/ 120000 w 120000"/>
                <a:gd name="connsiteY8" fmla="*/ 60000 h 75000"/>
                <a:gd name="connsiteX9" fmla="*/ 120000 w 120000"/>
                <a:gd name="connsiteY9" fmla="*/ 75000 h 75000"/>
                <a:gd name="connsiteX10" fmla="*/ 90000 w 120000"/>
                <a:gd name="connsiteY10" fmla="*/ 75000 h 75000"/>
                <a:gd name="connsiteX11" fmla="*/ 90000 w 120000"/>
                <a:gd name="connsiteY11" fmla="*/ 75000 h 75000"/>
                <a:gd name="connsiteX12" fmla="*/ 90000 w 120000"/>
                <a:gd name="connsiteY12" fmla="*/ 60000 h 75000"/>
                <a:gd name="connsiteX13" fmla="*/ 60000 w 120000"/>
                <a:gd name="connsiteY13" fmla="*/ 30000 h 75000"/>
                <a:gd name="connsiteX14" fmla="*/ 30000 w 120000"/>
                <a:gd name="connsiteY14" fmla="*/ 60000 h 75000"/>
                <a:gd name="connsiteX15" fmla="*/ 30000 w 120000"/>
                <a:gd name="connsiteY15" fmla="*/ 75000 h 75000"/>
                <a:gd name="connsiteX16" fmla="*/ 0 w 120000"/>
                <a:gd name="connsiteY16" fmla="*/ 75000 h 75000"/>
                <a:gd name="connsiteX17" fmla="*/ 0 w 120000"/>
                <a:gd name="connsiteY17" fmla="*/ 60000 h 75000"/>
                <a:gd name="connsiteX18" fmla="*/ 60000 w 120000"/>
                <a:gd name="connsiteY18" fmla="*/ 0 h 75000"/>
                <a:gd name="connsiteX19" fmla="*/ 120000 w 120000"/>
                <a:gd name="connsiteY19" fmla="*/ 60000 h 75000"/>
                <a:gd name="connsiteX20" fmla="*/ 120000 w 120000"/>
                <a:gd name="connsiteY20" fmla="*/ 75000 h 75000"/>
                <a:gd name="connsiteX21" fmla="*/ 90000 w 120000"/>
                <a:gd name="connsiteY21" fmla="*/ 750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0000" h="75000">
                  <a:moveTo>
                    <a:pt x="90000" y="75000"/>
                  </a:moveTo>
                  <a:lnTo>
                    <a:pt x="90000" y="60000"/>
                  </a:ln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lnTo>
                    <a:pt x="30000" y="75000"/>
                  </a:lnTo>
                  <a:lnTo>
                    <a:pt x="0" y="75000"/>
                  </a:lnTo>
                  <a:lnTo>
                    <a:pt x="0" y="60000"/>
                  </a:ln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lnTo>
                    <a:pt x="120000" y="75000"/>
                  </a:lnTo>
                  <a:lnTo>
                    <a:pt x="90000" y="75000"/>
                  </a:lnTo>
                  <a:close/>
                  <a:moveTo>
                    <a:pt x="90000" y="75000"/>
                  </a:moveTo>
                  <a:lnTo>
                    <a:pt x="90000" y="60000"/>
                  </a:ln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lnTo>
                    <a:pt x="30000" y="75000"/>
                  </a:lnTo>
                  <a:lnTo>
                    <a:pt x="0" y="75000"/>
                  </a:lnTo>
                  <a:lnTo>
                    <a:pt x="0" y="60000"/>
                  </a:ln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lnTo>
                    <a:pt x="120000" y="75000"/>
                  </a:lnTo>
                  <a:lnTo>
                    <a:pt x="90000" y="75000"/>
                  </a:ln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" name="Полилиния 333">
              <a:extLst>
                <a:ext uri="{FF2B5EF4-FFF2-40B4-BE49-F238E27FC236}">
                  <a16:creationId xmlns:a16="http://schemas.microsoft.com/office/drawing/2014/main" id="{A4DEF600-7501-CA42-8936-1E0F825F5E41}"/>
                </a:ext>
              </a:extLst>
            </p:cNvPr>
            <p:cNvSpPr/>
            <p:nvPr/>
          </p:nvSpPr>
          <p:spPr>
            <a:xfrm>
              <a:off x="3061878" y="6259256"/>
              <a:ext cx="229177" cy="180000"/>
            </a:xfrm>
            <a:custGeom>
              <a:avLst/>
              <a:gdLst>
                <a:gd name="connsiteX0" fmla="*/ 37293 w 229177"/>
                <a:gd name="connsiteY0" fmla="*/ 0 h 180000"/>
                <a:gd name="connsiteX1" fmla="*/ 191880 w 229177"/>
                <a:gd name="connsiteY1" fmla="*/ 0 h 180000"/>
                <a:gd name="connsiteX2" fmla="*/ 206676 w 229177"/>
                <a:gd name="connsiteY2" fmla="*/ 12534 h 180000"/>
                <a:gd name="connsiteX3" fmla="*/ 228765 w 229177"/>
                <a:gd name="connsiteY3" fmla="*/ 145068 h 180000"/>
                <a:gd name="connsiteX4" fmla="*/ 204105 w 229177"/>
                <a:gd name="connsiteY4" fmla="*/ 179592 h 180000"/>
                <a:gd name="connsiteX5" fmla="*/ 199173 w 229177"/>
                <a:gd name="connsiteY5" fmla="*/ 180000 h 180000"/>
                <a:gd name="connsiteX6" fmla="*/ 30000 w 229177"/>
                <a:gd name="connsiteY6" fmla="*/ 180000 h 180000"/>
                <a:gd name="connsiteX7" fmla="*/ 0 w 229177"/>
                <a:gd name="connsiteY7" fmla="*/ 150000 h 180000"/>
                <a:gd name="connsiteX8" fmla="*/ 408 w 229177"/>
                <a:gd name="connsiteY8" fmla="*/ 145068 h 180000"/>
                <a:gd name="connsiteX9" fmla="*/ 22497 w 229177"/>
                <a:gd name="connsiteY9" fmla="*/ 12534 h 180000"/>
                <a:gd name="connsiteX10" fmla="*/ 37293 w 229177"/>
                <a:gd name="connsiteY10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177" h="180000">
                  <a:moveTo>
                    <a:pt x="37293" y="0"/>
                  </a:moveTo>
                  <a:lnTo>
                    <a:pt x="191880" y="0"/>
                  </a:lnTo>
                  <a:cubicBezTo>
                    <a:pt x="199212" y="0"/>
                    <a:pt x="205470" y="5301"/>
                    <a:pt x="206676" y="12534"/>
                  </a:cubicBezTo>
                  <a:lnTo>
                    <a:pt x="228765" y="145068"/>
                  </a:lnTo>
                  <a:cubicBezTo>
                    <a:pt x="231489" y="161411"/>
                    <a:pt x="220447" y="176868"/>
                    <a:pt x="204105" y="179592"/>
                  </a:cubicBezTo>
                  <a:cubicBezTo>
                    <a:pt x="202474" y="179864"/>
                    <a:pt x="200824" y="180000"/>
                    <a:pt x="199173" y="180000"/>
                  </a:cubicBezTo>
                  <a:lnTo>
                    <a:pt x="30000" y="180000"/>
                  </a:lnTo>
                  <a:cubicBezTo>
                    <a:pt x="13431" y="180000"/>
                    <a:pt x="0" y="166569"/>
                    <a:pt x="0" y="150000"/>
                  </a:cubicBezTo>
                  <a:cubicBezTo>
                    <a:pt x="0" y="148347"/>
                    <a:pt x="136" y="146699"/>
                    <a:pt x="408" y="145068"/>
                  </a:cubicBezTo>
                  <a:lnTo>
                    <a:pt x="22497" y="12534"/>
                  </a:lnTo>
                  <a:cubicBezTo>
                    <a:pt x="23703" y="5301"/>
                    <a:pt x="29961" y="0"/>
                    <a:pt x="37293" y="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35" name="Рисунок 65">
            <a:extLst>
              <a:ext uri="{FF2B5EF4-FFF2-40B4-BE49-F238E27FC236}">
                <a16:creationId xmlns:a16="http://schemas.microsoft.com/office/drawing/2014/main" id="{2890E63A-38C5-0E40-99DE-C10CDEFE632D}"/>
              </a:ext>
            </a:extLst>
          </p:cNvPr>
          <p:cNvGrpSpPr/>
          <p:nvPr/>
        </p:nvGrpSpPr>
        <p:grpSpPr>
          <a:xfrm>
            <a:off x="3670412" y="5807534"/>
            <a:ext cx="360000" cy="360000"/>
            <a:chOff x="3749617" y="6124256"/>
            <a:chExt cx="360000" cy="360000"/>
          </a:xfrm>
        </p:grpSpPr>
        <p:sp>
          <p:nvSpPr>
            <p:cNvPr id="336" name="Полилиния 335">
              <a:extLst>
                <a:ext uri="{FF2B5EF4-FFF2-40B4-BE49-F238E27FC236}">
                  <a16:creationId xmlns:a16="http://schemas.microsoft.com/office/drawing/2014/main" id="{E70E8E38-32D0-484D-B5D2-35E265B5F201}"/>
                </a:ext>
              </a:extLst>
            </p:cNvPr>
            <p:cNvSpPr/>
            <p:nvPr/>
          </p:nvSpPr>
          <p:spPr>
            <a:xfrm>
              <a:off x="3749617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" name="Полилиния 336">
              <a:extLst>
                <a:ext uri="{FF2B5EF4-FFF2-40B4-BE49-F238E27FC236}">
                  <a16:creationId xmlns:a16="http://schemas.microsoft.com/office/drawing/2014/main" id="{26851B8B-9825-CE4C-A05F-CC4517C39F8D}"/>
                </a:ext>
              </a:extLst>
            </p:cNvPr>
            <p:cNvSpPr/>
            <p:nvPr/>
          </p:nvSpPr>
          <p:spPr>
            <a:xfrm>
              <a:off x="3811433" y="6184256"/>
              <a:ext cx="236367" cy="255000"/>
            </a:xfrm>
            <a:custGeom>
              <a:avLst/>
              <a:gdLst>
                <a:gd name="connsiteX0" fmla="*/ 27327 w 236367"/>
                <a:gd name="connsiteY0" fmla="*/ 0 h 255000"/>
                <a:gd name="connsiteX1" fmla="*/ 209040 w 236367"/>
                <a:gd name="connsiteY1" fmla="*/ 0 h 255000"/>
                <a:gd name="connsiteX2" fmla="*/ 224015 w 236367"/>
                <a:gd name="connsiteY2" fmla="*/ 14119 h 255000"/>
                <a:gd name="connsiteX3" fmla="*/ 236315 w 236367"/>
                <a:gd name="connsiteY3" fmla="*/ 223239 h 255000"/>
                <a:gd name="connsiteX4" fmla="*/ 208128 w 236367"/>
                <a:gd name="connsiteY4" fmla="*/ 254948 h 255000"/>
                <a:gd name="connsiteX5" fmla="*/ 206367 w 236367"/>
                <a:gd name="connsiteY5" fmla="*/ 255000 h 255000"/>
                <a:gd name="connsiteX6" fmla="*/ 30000 w 236367"/>
                <a:gd name="connsiteY6" fmla="*/ 255000 h 255000"/>
                <a:gd name="connsiteX7" fmla="*/ 0 w 236367"/>
                <a:gd name="connsiteY7" fmla="*/ 225000 h 255000"/>
                <a:gd name="connsiteX8" fmla="*/ 52 w 236367"/>
                <a:gd name="connsiteY8" fmla="*/ 223239 h 255000"/>
                <a:gd name="connsiteX9" fmla="*/ 12353 w 236367"/>
                <a:gd name="connsiteY9" fmla="*/ 14119 h 255000"/>
                <a:gd name="connsiteX10" fmla="*/ 27327 w 236367"/>
                <a:gd name="connsiteY10" fmla="*/ 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6367" h="255000">
                  <a:moveTo>
                    <a:pt x="27327" y="0"/>
                  </a:moveTo>
                  <a:lnTo>
                    <a:pt x="209040" y="0"/>
                  </a:lnTo>
                  <a:cubicBezTo>
                    <a:pt x="216982" y="0"/>
                    <a:pt x="223548" y="6191"/>
                    <a:pt x="224015" y="14119"/>
                  </a:cubicBezTo>
                  <a:lnTo>
                    <a:pt x="236315" y="223239"/>
                  </a:lnTo>
                  <a:cubicBezTo>
                    <a:pt x="237288" y="239778"/>
                    <a:pt x="224669" y="253976"/>
                    <a:pt x="208128" y="254948"/>
                  </a:cubicBezTo>
                  <a:cubicBezTo>
                    <a:pt x="207541" y="254982"/>
                    <a:pt x="206955" y="255000"/>
                    <a:pt x="206367" y="255000"/>
                  </a:cubicBezTo>
                  <a:lnTo>
                    <a:pt x="30000" y="255000"/>
                  </a:lnTo>
                  <a:cubicBezTo>
                    <a:pt x="13431" y="255000"/>
                    <a:pt x="0" y="241569"/>
                    <a:pt x="0" y="225000"/>
                  </a:cubicBezTo>
                  <a:cubicBezTo>
                    <a:pt x="0" y="224412"/>
                    <a:pt x="17" y="223826"/>
                    <a:pt x="52" y="223239"/>
                  </a:cubicBezTo>
                  <a:lnTo>
                    <a:pt x="12353" y="14119"/>
                  </a:lnTo>
                  <a:cubicBezTo>
                    <a:pt x="12819" y="6191"/>
                    <a:pt x="19385" y="0"/>
                    <a:pt x="2732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" name="Полилиния 337">
              <a:extLst>
                <a:ext uri="{FF2B5EF4-FFF2-40B4-BE49-F238E27FC236}">
                  <a16:creationId xmlns:a16="http://schemas.microsoft.com/office/drawing/2014/main" id="{FD8A237A-557E-C24A-A2CE-175CCDD622E5}"/>
                </a:ext>
              </a:extLst>
            </p:cNvPr>
            <p:cNvSpPr/>
            <p:nvPr/>
          </p:nvSpPr>
          <p:spPr>
            <a:xfrm>
              <a:off x="3854617" y="6229256"/>
              <a:ext cx="150000" cy="75000"/>
            </a:xfrm>
            <a:custGeom>
              <a:avLst/>
              <a:gdLst>
                <a:gd name="connsiteX0" fmla="*/ 0 w 150000"/>
                <a:gd name="connsiteY0" fmla="*/ 0 h 75000"/>
                <a:gd name="connsiteX1" fmla="*/ 30000 w 150000"/>
                <a:gd name="connsiteY1" fmla="*/ 0 h 75000"/>
                <a:gd name="connsiteX2" fmla="*/ 75000 w 150000"/>
                <a:gd name="connsiteY2" fmla="*/ 45000 h 75000"/>
                <a:gd name="connsiteX3" fmla="*/ 120000 w 150000"/>
                <a:gd name="connsiteY3" fmla="*/ 0 h 75000"/>
                <a:gd name="connsiteX4" fmla="*/ 150000 w 150000"/>
                <a:gd name="connsiteY4" fmla="*/ 0 h 75000"/>
                <a:gd name="connsiteX5" fmla="*/ 75000 w 150000"/>
                <a:gd name="connsiteY5" fmla="*/ 75000 h 75000"/>
                <a:gd name="connsiteX6" fmla="*/ 0 w 150000"/>
                <a:gd name="connsiteY6" fmla="*/ 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000" h="75000">
                  <a:moveTo>
                    <a:pt x="0" y="0"/>
                  </a:moveTo>
                  <a:lnTo>
                    <a:pt x="30000" y="0"/>
                  </a:lnTo>
                  <a:cubicBezTo>
                    <a:pt x="30000" y="24853"/>
                    <a:pt x="50146" y="45000"/>
                    <a:pt x="75000" y="45000"/>
                  </a:cubicBezTo>
                  <a:cubicBezTo>
                    <a:pt x="99854" y="45000"/>
                    <a:pt x="120000" y="24853"/>
                    <a:pt x="120000" y="0"/>
                  </a:cubicBezTo>
                  <a:lnTo>
                    <a:pt x="150000" y="0"/>
                  </a:lnTo>
                  <a:cubicBezTo>
                    <a:pt x="150000" y="41421"/>
                    <a:pt x="116421" y="75000"/>
                    <a:pt x="75000" y="75000"/>
                  </a:cubicBezTo>
                  <a:cubicBezTo>
                    <a:pt x="33579" y="75000"/>
                    <a:pt x="0" y="4142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39" name="Рисунок 66">
            <a:extLst>
              <a:ext uri="{FF2B5EF4-FFF2-40B4-BE49-F238E27FC236}">
                <a16:creationId xmlns:a16="http://schemas.microsoft.com/office/drawing/2014/main" id="{8AF4B447-F4BA-DD4D-9D9C-97932887B3B3}"/>
              </a:ext>
            </a:extLst>
          </p:cNvPr>
          <p:cNvGrpSpPr/>
          <p:nvPr/>
        </p:nvGrpSpPr>
        <p:grpSpPr>
          <a:xfrm>
            <a:off x="4423564" y="5807534"/>
            <a:ext cx="360000" cy="360000"/>
            <a:chOff x="4502769" y="6124256"/>
            <a:chExt cx="360000" cy="360000"/>
          </a:xfrm>
        </p:grpSpPr>
        <p:sp>
          <p:nvSpPr>
            <p:cNvPr id="340" name="Полилиния 339">
              <a:extLst>
                <a:ext uri="{FF2B5EF4-FFF2-40B4-BE49-F238E27FC236}">
                  <a16:creationId xmlns:a16="http://schemas.microsoft.com/office/drawing/2014/main" id="{E2AA7C32-99D9-3041-B6F1-6FB8D5E2451F}"/>
                </a:ext>
              </a:extLst>
            </p:cNvPr>
            <p:cNvSpPr/>
            <p:nvPr/>
          </p:nvSpPr>
          <p:spPr>
            <a:xfrm>
              <a:off x="450276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" name="Полилиния 340">
              <a:extLst>
                <a:ext uri="{FF2B5EF4-FFF2-40B4-BE49-F238E27FC236}">
                  <a16:creationId xmlns:a16="http://schemas.microsoft.com/office/drawing/2014/main" id="{33AEC89D-6DE5-EF40-B13C-FAEBF3E06251}"/>
                </a:ext>
              </a:extLst>
            </p:cNvPr>
            <p:cNvSpPr/>
            <p:nvPr/>
          </p:nvSpPr>
          <p:spPr>
            <a:xfrm>
              <a:off x="4540574" y="6154256"/>
              <a:ext cx="284407" cy="300000"/>
            </a:xfrm>
            <a:custGeom>
              <a:avLst/>
              <a:gdLst>
                <a:gd name="connsiteX0" fmla="*/ 142192 w 284407"/>
                <a:gd name="connsiteY0" fmla="*/ 0 h 300000"/>
                <a:gd name="connsiteX1" fmla="*/ 142192 w 284407"/>
                <a:gd name="connsiteY1" fmla="*/ 0 h 300000"/>
                <a:gd name="connsiteX2" fmla="*/ 223598 w 284407"/>
                <a:gd name="connsiteY2" fmla="*/ 50312 h 300000"/>
                <a:gd name="connsiteX3" fmla="*/ 273442 w 284407"/>
                <a:gd name="connsiteY3" fmla="*/ 150000 h 300000"/>
                <a:gd name="connsiteX4" fmla="*/ 227090 w 284407"/>
                <a:gd name="connsiteY4" fmla="*/ 289058 h 300000"/>
                <a:gd name="connsiteX5" fmla="*/ 180737 w 284407"/>
                <a:gd name="connsiteY5" fmla="*/ 300000 h 300000"/>
                <a:gd name="connsiteX6" fmla="*/ 103647 w 284407"/>
                <a:gd name="connsiteY6" fmla="*/ 300000 h 300000"/>
                <a:gd name="connsiteX7" fmla="*/ 0 w 284407"/>
                <a:gd name="connsiteY7" fmla="*/ 196353 h 300000"/>
                <a:gd name="connsiteX8" fmla="*/ 10942 w 284407"/>
                <a:gd name="connsiteY8" fmla="*/ 150000 h 300000"/>
                <a:gd name="connsiteX9" fmla="*/ 60787 w 284407"/>
                <a:gd name="connsiteY9" fmla="*/ 50312 h 300000"/>
                <a:gd name="connsiteX10" fmla="*/ 142192 w 284407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4407" h="300000">
                  <a:moveTo>
                    <a:pt x="142192" y="0"/>
                  </a:moveTo>
                  <a:lnTo>
                    <a:pt x="142192" y="0"/>
                  </a:lnTo>
                  <a:cubicBezTo>
                    <a:pt x="176666" y="0"/>
                    <a:pt x="208181" y="19477"/>
                    <a:pt x="223598" y="50312"/>
                  </a:cubicBezTo>
                  <a:lnTo>
                    <a:pt x="273442" y="150000"/>
                  </a:lnTo>
                  <a:cubicBezTo>
                    <a:pt x="299042" y="201200"/>
                    <a:pt x="278290" y="263459"/>
                    <a:pt x="227090" y="289058"/>
                  </a:cubicBezTo>
                  <a:cubicBezTo>
                    <a:pt x="212698" y="296253"/>
                    <a:pt x="196828" y="300000"/>
                    <a:pt x="180737" y="300000"/>
                  </a:cubicBezTo>
                  <a:lnTo>
                    <a:pt x="103647" y="300000"/>
                  </a:lnTo>
                  <a:cubicBezTo>
                    <a:pt x="46404" y="300000"/>
                    <a:pt x="0" y="253596"/>
                    <a:pt x="0" y="196353"/>
                  </a:cubicBezTo>
                  <a:cubicBezTo>
                    <a:pt x="0" y="180263"/>
                    <a:pt x="3746" y="164393"/>
                    <a:pt x="10942" y="150000"/>
                  </a:cubicBezTo>
                  <a:lnTo>
                    <a:pt x="60787" y="50312"/>
                  </a:lnTo>
                  <a:cubicBezTo>
                    <a:pt x="76204" y="19477"/>
                    <a:pt x="107719" y="0"/>
                    <a:pt x="142192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" name="Полилиния 341">
              <a:extLst>
                <a:ext uri="{FF2B5EF4-FFF2-40B4-BE49-F238E27FC236}">
                  <a16:creationId xmlns:a16="http://schemas.microsoft.com/office/drawing/2014/main" id="{D9142A3E-CDBB-104F-9FA2-56D5AE968D91}"/>
                </a:ext>
              </a:extLst>
            </p:cNvPr>
            <p:cNvSpPr/>
            <p:nvPr/>
          </p:nvSpPr>
          <p:spPr>
            <a:xfrm>
              <a:off x="4599329" y="6349256"/>
              <a:ext cx="166874" cy="53437"/>
            </a:xfrm>
            <a:custGeom>
              <a:avLst/>
              <a:gdLst>
                <a:gd name="connsiteX0" fmla="*/ 0 w 166874"/>
                <a:gd name="connsiteY0" fmla="*/ 22500 h 53437"/>
                <a:gd name="connsiteX1" fmla="*/ 16875 w 166874"/>
                <a:gd name="connsiteY1" fmla="*/ 0 h 53437"/>
                <a:gd name="connsiteX2" fmla="*/ 83437 w 166874"/>
                <a:gd name="connsiteY2" fmla="*/ 25313 h 53437"/>
                <a:gd name="connsiteX3" fmla="*/ 149999 w 166874"/>
                <a:gd name="connsiteY3" fmla="*/ 0 h 53437"/>
                <a:gd name="connsiteX4" fmla="*/ 166874 w 166874"/>
                <a:gd name="connsiteY4" fmla="*/ 22500 h 53437"/>
                <a:gd name="connsiteX5" fmla="*/ 83437 w 166874"/>
                <a:gd name="connsiteY5" fmla="*/ 53438 h 53437"/>
                <a:gd name="connsiteX6" fmla="*/ 0 w 166874"/>
                <a:gd name="connsiteY6" fmla="*/ 22500 h 5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6874" h="53437">
                  <a:moveTo>
                    <a:pt x="0" y="22500"/>
                  </a:moveTo>
                  <a:lnTo>
                    <a:pt x="16875" y="0"/>
                  </a:lnTo>
                  <a:cubicBezTo>
                    <a:pt x="39569" y="17021"/>
                    <a:pt x="61681" y="25313"/>
                    <a:pt x="83437" y="25313"/>
                  </a:cubicBezTo>
                  <a:cubicBezTo>
                    <a:pt x="105194" y="25313"/>
                    <a:pt x="127306" y="17021"/>
                    <a:pt x="149999" y="0"/>
                  </a:cubicBezTo>
                  <a:lnTo>
                    <a:pt x="166874" y="22500"/>
                  </a:lnTo>
                  <a:cubicBezTo>
                    <a:pt x="139568" y="42979"/>
                    <a:pt x="111682" y="53438"/>
                    <a:pt x="83437" y="53438"/>
                  </a:cubicBezTo>
                  <a:cubicBezTo>
                    <a:pt x="55193" y="53438"/>
                    <a:pt x="27306" y="42979"/>
                    <a:pt x="0" y="22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43" name="Рисунок 67">
            <a:extLst>
              <a:ext uri="{FF2B5EF4-FFF2-40B4-BE49-F238E27FC236}">
                <a16:creationId xmlns:a16="http://schemas.microsoft.com/office/drawing/2014/main" id="{3DD8ECC6-8024-8041-A2C1-566A2D67B395}"/>
              </a:ext>
            </a:extLst>
          </p:cNvPr>
          <p:cNvGrpSpPr/>
          <p:nvPr/>
        </p:nvGrpSpPr>
        <p:grpSpPr>
          <a:xfrm>
            <a:off x="5176716" y="5807534"/>
            <a:ext cx="360000" cy="360000"/>
            <a:chOff x="5255921" y="6124256"/>
            <a:chExt cx="360000" cy="360000"/>
          </a:xfrm>
        </p:grpSpPr>
        <p:sp>
          <p:nvSpPr>
            <p:cNvPr id="344" name="Полилиния 343">
              <a:extLst>
                <a:ext uri="{FF2B5EF4-FFF2-40B4-BE49-F238E27FC236}">
                  <a16:creationId xmlns:a16="http://schemas.microsoft.com/office/drawing/2014/main" id="{59AA1B5C-51B1-F543-A940-AFFAD74FE2C9}"/>
                </a:ext>
              </a:extLst>
            </p:cNvPr>
            <p:cNvSpPr/>
            <p:nvPr/>
          </p:nvSpPr>
          <p:spPr>
            <a:xfrm>
              <a:off x="525592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" name="Полилиния 344">
              <a:extLst>
                <a:ext uri="{FF2B5EF4-FFF2-40B4-BE49-F238E27FC236}">
                  <a16:creationId xmlns:a16="http://schemas.microsoft.com/office/drawing/2014/main" id="{AE69E7C4-3754-BD40-8A13-B1421E4C4069}"/>
                </a:ext>
              </a:extLst>
            </p:cNvPr>
            <p:cNvSpPr/>
            <p:nvPr/>
          </p:nvSpPr>
          <p:spPr>
            <a:xfrm>
              <a:off x="5280807" y="6154256"/>
              <a:ext cx="260113" cy="240000"/>
            </a:xfrm>
            <a:custGeom>
              <a:avLst/>
              <a:gdLst>
                <a:gd name="connsiteX0" fmla="*/ 80651 w 260113"/>
                <a:gd name="connsiteY0" fmla="*/ 228996 h 240000"/>
                <a:gd name="connsiteX1" fmla="*/ 13227 w 260113"/>
                <a:gd name="connsiteY1" fmla="*/ 183518 h 240000"/>
                <a:gd name="connsiteX2" fmla="*/ 5132 w 260113"/>
                <a:gd name="connsiteY2" fmla="*/ 141872 h 240000"/>
                <a:gd name="connsiteX3" fmla="*/ 46779 w 260113"/>
                <a:gd name="connsiteY3" fmla="*/ 133776 h 240000"/>
                <a:gd name="connsiteX4" fmla="*/ 80113 w 260113"/>
                <a:gd name="connsiteY4" fmla="*/ 156260 h 240000"/>
                <a:gd name="connsiteX5" fmla="*/ 80113 w 260113"/>
                <a:gd name="connsiteY5" fmla="*/ 90000 h 240000"/>
                <a:gd name="connsiteX6" fmla="*/ 170113 w 260113"/>
                <a:gd name="connsiteY6" fmla="*/ 0 h 240000"/>
                <a:gd name="connsiteX7" fmla="*/ 260113 w 260113"/>
                <a:gd name="connsiteY7" fmla="*/ 90000 h 240000"/>
                <a:gd name="connsiteX8" fmla="*/ 260113 w 260113"/>
                <a:gd name="connsiteY8" fmla="*/ 225000 h 240000"/>
                <a:gd name="connsiteX9" fmla="*/ 245113 w 260113"/>
                <a:gd name="connsiteY9" fmla="*/ 240000 h 240000"/>
                <a:gd name="connsiteX10" fmla="*/ 95113 w 260113"/>
                <a:gd name="connsiteY10" fmla="*/ 240000 h 240000"/>
                <a:gd name="connsiteX11" fmla="*/ 80651 w 260113"/>
                <a:gd name="connsiteY11" fmla="*/ 228996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0113" h="240000">
                  <a:moveTo>
                    <a:pt x="80651" y="228996"/>
                  </a:moveTo>
                  <a:lnTo>
                    <a:pt x="13227" y="183518"/>
                  </a:lnTo>
                  <a:cubicBezTo>
                    <a:pt x="-509" y="174254"/>
                    <a:pt x="-4133" y="155607"/>
                    <a:pt x="5132" y="141872"/>
                  </a:cubicBezTo>
                  <a:cubicBezTo>
                    <a:pt x="14397" y="128135"/>
                    <a:pt x="33043" y="124511"/>
                    <a:pt x="46779" y="133776"/>
                  </a:cubicBezTo>
                  <a:lnTo>
                    <a:pt x="80113" y="156260"/>
                  </a:lnTo>
                  <a:lnTo>
                    <a:pt x="80113" y="90000"/>
                  </a:lnTo>
                  <a:cubicBezTo>
                    <a:pt x="80113" y="40294"/>
                    <a:pt x="120407" y="0"/>
                    <a:pt x="170113" y="0"/>
                  </a:cubicBezTo>
                  <a:cubicBezTo>
                    <a:pt x="219819" y="0"/>
                    <a:pt x="260113" y="40294"/>
                    <a:pt x="260113" y="90000"/>
                  </a:cubicBezTo>
                  <a:lnTo>
                    <a:pt x="260113" y="225000"/>
                  </a:lnTo>
                  <a:cubicBezTo>
                    <a:pt x="260113" y="233285"/>
                    <a:pt x="253398" y="240000"/>
                    <a:pt x="245113" y="240000"/>
                  </a:cubicBezTo>
                  <a:lnTo>
                    <a:pt x="95113" y="240000"/>
                  </a:lnTo>
                  <a:cubicBezTo>
                    <a:pt x="88213" y="240000"/>
                    <a:pt x="82400" y="235341"/>
                    <a:pt x="80651" y="228996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" name="Скругленный прямоугольник 345">
              <a:extLst>
                <a:ext uri="{FF2B5EF4-FFF2-40B4-BE49-F238E27FC236}">
                  <a16:creationId xmlns:a16="http://schemas.microsoft.com/office/drawing/2014/main" id="{22DEF177-55F7-414A-BC54-71497D0B3C5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45920" y="6424255"/>
              <a:ext cx="201600" cy="28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47" name="Рисунок 68">
            <a:extLst>
              <a:ext uri="{FF2B5EF4-FFF2-40B4-BE49-F238E27FC236}">
                <a16:creationId xmlns:a16="http://schemas.microsoft.com/office/drawing/2014/main" id="{72E34B43-90FE-D349-9F48-C00C4A42553C}"/>
              </a:ext>
            </a:extLst>
          </p:cNvPr>
          <p:cNvGrpSpPr/>
          <p:nvPr/>
        </p:nvGrpSpPr>
        <p:grpSpPr>
          <a:xfrm>
            <a:off x="5929868" y="5807534"/>
            <a:ext cx="360000" cy="360000"/>
            <a:chOff x="6009073" y="6124256"/>
            <a:chExt cx="360000" cy="360000"/>
          </a:xfrm>
        </p:grpSpPr>
        <p:sp>
          <p:nvSpPr>
            <p:cNvPr id="348" name="Полилиния 347">
              <a:extLst>
                <a:ext uri="{FF2B5EF4-FFF2-40B4-BE49-F238E27FC236}">
                  <a16:creationId xmlns:a16="http://schemas.microsoft.com/office/drawing/2014/main" id="{B927ACBC-C5AB-554F-8A4D-281F19FB899E}"/>
                </a:ext>
              </a:extLst>
            </p:cNvPr>
            <p:cNvSpPr/>
            <p:nvPr/>
          </p:nvSpPr>
          <p:spPr>
            <a:xfrm>
              <a:off x="600907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" name="Полилиния 348">
              <a:extLst>
                <a:ext uri="{FF2B5EF4-FFF2-40B4-BE49-F238E27FC236}">
                  <a16:creationId xmlns:a16="http://schemas.microsoft.com/office/drawing/2014/main" id="{0FC204C9-E877-5140-998F-D00A0851E357}"/>
                </a:ext>
              </a:extLst>
            </p:cNvPr>
            <p:cNvSpPr/>
            <p:nvPr/>
          </p:nvSpPr>
          <p:spPr>
            <a:xfrm>
              <a:off x="6039073" y="6199256"/>
              <a:ext cx="300000" cy="225000"/>
            </a:xfrm>
            <a:custGeom>
              <a:avLst/>
              <a:gdLst>
                <a:gd name="connsiteX0" fmla="*/ 165000 w 300000"/>
                <a:gd name="connsiteY0" fmla="*/ 0 h 225000"/>
                <a:gd name="connsiteX1" fmla="*/ 195000 w 300000"/>
                <a:gd name="connsiteY1" fmla="*/ 0 h 225000"/>
                <a:gd name="connsiteX2" fmla="*/ 195000 w 300000"/>
                <a:gd name="connsiteY2" fmla="*/ 225000 h 225000"/>
                <a:gd name="connsiteX3" fmla="*/ 165000 w 300000"/>
                <a:gd name="connsiteY3" fmla="*/ 225000 h 225000"/>
                <a:gd name="connsiteX4" fmla="*/ 165000 w 300000"/>
                <a:gd name="connsiteY4" fmla="*/ 0 h 225000"/>
                <a:gd name="connsiteX5" fmla="*/ 45000 w 300000"/>
                <a:gd name="connsiteY5" fmla="*/ 0 h 225000"/>
                <a:gd name="connsiteX6" fmla="*/ 45000 w 300000"/>
                <a:gd name="connsiteY6" fmla="*/ 225000 h 225000"/>
                <a:gd name="connsiteX7" fmla="*/ 15000 w 300000"/>
                <a:gd name="connsiteY7" fmla="*/ 225000 h 225000"/>
                <a:gd name="connsiteX8" fmla="*/ 0 w 300000"/>
                <a:gd name="connsiteY8" fmla="*/ 210000 h 225000"/>
                <a:gd name="connsiteX9" fmla="*/ 0 w 300000"/>
                <a:gd name="connsiteY9" fmla="*/ 15000 h 225000"/>
                <a:gd name="connsiteX10" fmla="*/ 15000 w 300000"/>
                <a:gd name="connsiteY10" fmla="*/ 0 h 225000"/>
                <a:gd name="connsiteX11" fmla="*/ 45000 w 300000"/>
                <a:gd name="connsiteY11" fmla="*/ 0 h 225000"/>
                <a:gd name="connsiteX12" fmla="*/ 210000 w 300000"/>
                <a:gd name="connsiteY12" fmla="*/ 0 h 225000"/>
                <a:gd name="connsiteX13" fmla="*/ 240000 w 300000"/>
                <a:gd name="connsiteY13" fmla="*/ 0 h 225000"/>
                <a:gd name="connsiteX14" fmla="*/ 240000 w 300000"/>
                <a:gd name="connsiteY14" fmla="*/ 225000 h 225000"/>
                <a:gd name="connsiteX15" fmla="*/ 210000 w 300000"/>
                <a:gd name="connsiteY15" fmla="*/ 225000 h 225000"/>
                <a:gd name="connsiteX16" fmla="*/ 210000 w 300000"/>
                <a:gd name="connsiteY16" fmla="*/ 0 h 225000"/>
                <a:gd name="connsiteX17" fmla="*/ 270000 w 300000"/>
                <a:gd name="connsiteY17" fmla="*/ 0 h 225000"/>
                <a:gd name="connsiteX18" fmla="*/ 285000 w 300000"/>
                <a:gd name="connsiteY18" fmla="*/ 0 h 225000"/>
                <a:gd name="connsiteX19" fmla="*/ 300000 w 300000"/>
                <a:gd name="connsiteY19" fmla="*/ 15000 h 225000"/>
                <a:gd name="connsiteX20" fmla="*/ 300000 w 300000"/>
                <a:gd name="connsiteY20" fmla="*/ 210000 h 225000"/>
                <a:gd name="connsiteX21" fmla="*/ 285000 w 300000"/>
                <a:gd name="connsiteY21" fmla="*/ 225000 h 225000"/>
                <a:gd name="connsiteX22" fmla="*/ 270000 w 300000"/>
                <a:gd name="connsiteY22" fmla="*/ 225000 h 225000"/>
                <a:gd name="connsiteX23" fmla="*/ 270000 w 300000"/>
                <a:gd name="connsiteY23" fmla="*/ 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0000" h="225000">
                  <a:moveTo>
                    <a:pt x="165000" y="0"/>
                  </a:moveTo>
                  <a:lnTo>
                    <a:pt x="195000" y="0"/>
                  </a:lnTo>
                  <a:lnTo>
                    <a:pt x="195000" y="225000"/>
                  </a:lnTo>
                  <a:lnTo>
                    <a:pt x="165000" y="225000"/>
                  </a:lnTo>
                  <a:lnTo>
                    <a:pt x="165000" y="0"/>
                  </a:lnTo>
                  <a:close/>
                  <a:moveTo>
                    <a:pt x="45000" y="0"/>
                  </a:moveTo>
                  <a:lnTo>
                    <a:pt x="45000" y="225000"/>
                  </a:lnTo>
                  <a:lnTo>
                    <a:pt x="15000" y="225000"/>
                  </a:lnTo>
                  <a:cubicBezTo>
                    <a:pt x="6716" y="225000"/>
                    <a:pt x="0" y="218285"/>
                    <a:pt x="0" y="210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45000" y="0"/>
                  </a:lnTo>
                  <a:close/>
                  <a:moveTo>
                    <a:pt x="210000" y="0"/>
                  </a:moveTo>
                  <a:lnTo>
                    <a:pt x="240000" y="0"/>
                  </a:lnTo>
                  <a:lnTo>
                    <a:pt x="240000" y="225000"/>
                  </a:lnTo>
                  <a:lnTo>
                    <a:pt x="210000" y="225000"/>
                  </a:lnTo>
                  <a:lnTo>
                    <a:pt x="210000" y="0"/>
                  </a:lnTo>
                  <a:close/>
                  <a:moveTo>
                    <a:pt x="270000" y="0"/>
                  </a:moveTo>
                  <a:lnTo>
                    <a:pt x="285000" y="0"/>
                  </a:lnTo>
                  <a:cubicBezTo>
                    <a:pt x="293285" y="0"/>
                    <a:pt x="300000" y="6716"/>
                    <a:pt x="300000" y="15000"/>
                  </a:cubicBezTo>
                  <a:lnTo>
                    <a:pt x="300000" y="210000"/>
                  </a:lnTo>
                  <a:cubicBezTo>
                    <a:pt x="300000" y="218285"/>
                    <a:pt x="293285" y="225000"/>
                    <a:pt x="285000" y="225000"/>
                  </a:cubicBezTo>
                  <a:lnTo>
                    <a:pt x="270000" y="225000"/>
                  </a:lnTo>
                  <a:lnTo>
                    <a:pt x="270000" y="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" name="Скругленный прямоугольник 349">
              <a:extLst>
                <a:ext uri="{FF2B5EF4-FFF2-40B4-BE49-F238E27FC236}">
                  <a16:creationId xmlns:a16="http://schemas.microsoft.com/office/drawing/2014/main" id="{974AE25F-4788-2140-997D-D1F4B0E5E3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14072" y="6200725"/>
              <a:ext cx="28800" cy="2160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51" name="Рисунок 69">
            <a:extLst>
              <a:ext uri="{FF2B5EF4-FFF2-40B4-BE49-F238E27FC236}">
                <a16:creationId xmlns:a16="http://schemas.microsoft.com/office/drawing/2014/main" id="{C4970588-C90A-044D-89BD-F6F6894FB198}"/>
              </a:ext>
            </a:extLst>
          </p:cNvPr>
          <p:cNvGrpSpPr/>
          <p:nvPr/>
        </p:nvGrpSpPr>
        <p:grpSpPr>
          <a:xfrm>
            <a:off x="6683020" y="5807534"/>
            <a:ext cx="360000" cy="360000"/>
            <a:chOff x="6762225" y="6124256"/>
            <a:chExt cx="360000" cy="360000"/>
          </a:xfrm>
        </p:grpSpPr>
        <p:sp>
          <p:nvSpPr>
            <p:cNvPr id="352" name="Полилиния 351">
              <a:extLst>
                <a:ext uri="{FF2B5EF4-FFF2-40B4-BE49-F238E27FC236}">
                  <a16:creationId xmlns:a16="http://schemas.microsoft.com/office/drawing/2014/main" id="{301F9967-8282-FC4C-BD33-624450E0D2CE}"/>
                </a:ext>
              </a:extLst>
            </p:cNvPr>
            <p:cNvSpPr/>
            <p:nvPr/>
          </p:nvSpPr>
          <p:spPr>
            <a:xfrm>
              <a:off x="676222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" name="Полилиния 352">
              <a:extLst>
                <a:ext uri="{FF2B5EF4-FFF2-40B4-BE49-F238E27FC236}">
                  <a16:creationId xmlns:a16="http://schemas.microsoft.com/office/drawing/2014/main" id="{ED182213-2E17-4D4A-9B79-744BA0F0BCB8}"/>
                </a:ext>
              </a:extLst>
            </p:cNvPr>
            <p:cNvSpPr/>
            <p:nvPr/>
          </p:nvSpPr>
          <p:spPr>
            <a:xfrm>
              <a:off x="6822225" y="6184256"/>
              <a:ext cx="120000" cy="240000"/>
            </a:xfrm>
            <a:custGeom>
              <a:avLst/>
              <a:gdLst>
                <a:gd name="connsiteX0" fmla="*/ 0 w 120000"/>
                <a:gd name="connsiteY0" fmla="*/ 0 h 240000"/>
                <a:gd name="connsiteX1" fmla="*/ 120000 w 120000"/>
                <a:gd name="connsiteY1" fmla="*/ 0 h 240000"/>
                <a:gd name="connsiteX2" fmla="*/ 120000 w 120000"/>
                <a:gd name="connsiteY2" fmla="*/ 240000 h 240000"/>
                <a:gd name="connsiteX3" fmla="*/ 0 w 120000"/>
                <a:gd name="connsiteY3" fmla="*/ 24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00" h="240000">
                  <a:moveTo>
                    <a:pt x="0" y="0"/>
                  </a:moveTo>
                  <a:lnTo>
                    <a:pt x="120000" y="0"/>
                  </a:lnTo>
                  <a:lnTo>
                    <a:pt x="120000" y="240000"/>
                  </a:lnTo>
                  <a:lnTo>
                    <a:pt x="0" y="24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" name="Полилиния 353">
              <a:extLst>
                <a:ext uri="{FF2B5EF4-FFF2-40B4-BE49-F238E27FC236}">
                  <a16:creationId xmlns:a16="http://schemas.microsoft.com/office/drawing/2014/main" id="{52931503-725D-8743-89A2-DC3F17893555}"/>
                </a:ext>
              </a:extLst>
            </p:cNvPr>
            <p:cNvSpPr/>
            <p:nvPr/>
          </p:nvSpPr>
          <p:spPr>
            <a:xfrm>
              <a:off x="6822225" y="6184256"/>
              <a:ext cx="240000" cy="240000"/>
            </a:xfrm>
            <a:custGeom>
              <a:avLst/>
              <a:gdLst>
                <a:gd name="connsiteX0" fmla="*/ 30000 w 240000"/>
                <a:gd name="connsiteY0" fmla="*/ 210000 h 240000"/>
                <a:gd name="connsiteX1" fmla="*/ 75000 w 240000"/>
                <a:gd name="connsiteY1" fmla="*/ 210000 h 240000"/>
                <a:gd name="connsiteX2" fmla="*/ 90000 w 240000"/>
                <a:gd name="connsiteY2" fmla="*/ 225000 h 240000"/>
                <a:gd name="connsiteX3" fmla="*/ 75000 w 240000"/>
                <a:gd name="connsiteY3" fmla="*/ 240000 h 240000"/>
                <a:gd name="connsiteX4" fmla="*/ 0 w 240000"/>
                <a:gd name="connsiteY4" fmla="*/ 240000 h 240000"/>
                <a:gd name="connsiteX5" fmla="*/ 0 w 240000"/>
                <a:gd name="connsiteY5" fmla="*/ 165000 h 240000"/>
                <a:gd name="connsiteX6" fmla="*/ 15000 w 240000"/>
                <a:gd name="connsiteY6" fmla="*/ 150000 h 240000"/>
                <a:gd name="connsiteX7" fmla="*/ 30000 w 240000"/>
                <a:gd name="connsiteY7" fmla="*/ 165000 h 240000"/>
                <a:gd name="connsiteX8" fmla="*/ 30000 w 240000"/>
                <a:gd name="connsiteY8" fmla="*/ 210000 h 240000"/>
                <a:gd name="connsiteX9" fmla="*/ 210000 w 240000"/>
                <a:gd name="connsiteY9" fmla="*/ 210000 h 240000"/>
                <a:gd name="connsiteX10" fmla="*/ 210000 w 240000"/>
                <a:gd name="connsiteY10" fmla="*/ 165000 h 240000"/>
                <a:gd name="connsiteX11" fmla="*/ 225000 w 240000"/>
                <a:gd name="connsiteY11" fmla="*/ 150000 h 240000"/>
                <a:gd name="connsiteX12" fmla="*/ 240000 w 240000"/>
                <a:gd name="connsiteY12" fmla="*/ 165000 h 240000"/>
                <a:gd name="connsiteX13" fmla="*/ 240000 w 240000"/>
                <a:gd name="connsiteY13" fmla="*/ 240000 h 240000"/>
                <a:gd name="connsiteX14" fmla="*/ 165000 w 240000"/>
                <a:gd name="connsiteY14" fmla="*/ 240000 h 240000"/>
                <a:gd name="connsiteX15" fmla="*/ 150000 w 240000"/>
                <a:gd name="connsiteY15" fmla="*/ 225000 h 240000"/>
                <a:gd name="connsiteX16" fmla="*/ 165000 w 240000"/>
                <a:gd name="connsiteY16" fmla="*/ 210000 h 240000"/>
                <a:gd name="connsiteX17" fmla="*/ 210000 w 240000"/>
                <a:gd name="connsiteY17" fmla="*/ 210000 h 240000"/>
                <a:gd name="connsiteX18" fmla="*/ 210000 w 240000"/>
                <a:gd name="connsiteY18" fmla="*/ 30000 h 240000"/>
                <a:gd name="connsiteX19" fmla="*/ 165000 w 240000"/>
                <a:gd name="connsiteY19" fmla="*/ 30000 h 240000"/>
                <a:gd name="connsiteX20" fmla="*/ 150000 w 240000"/>
                <a:gd name="connsiteY20" fmla="*/ 15000 h 240000"/>
                <a:gd name="connsiteX21" fmla="*/ 165000 w 240000"/>
                <a:gd name="connsiteY21" fmla="*/ 0 h 240000"/>
                <a:gd name="connsiteX22" fmla="*/ 240000 w 240000"/>
                <a:gd name="connsiteY22" fmla="*/ 0 h 240000"/>
                <a:gd name="connsiteX23" fmla="*/ 240000 w 240000"/>
                <a:gd name="connsiteY23" fmla="*/ 75000 h 240000"/>
                <a:gd name="connsiteX24" fmla="*/ 225000 w 240000"/>
                <a:gd name="connsiteY24" fmla="*/ 90000 h 240000"/>
                <a:gd name="connsiteX25" fmla="*/ 210000 w 240000"/>
                <a:gd name="connsiteY25" fmla="*/ 75000 h 240000"/>
                <a:gd name="connsiteX26" fmla="*/ 210000 w 240000"/>
                <a:gd name="connsiteY26" fmla="*/ 30000 h 240000"/>
                <a:gd name="connsiteX27" fmla="*/ 30000 w 240000"/>
                <a:gd name="connsiteY27" fmla="*/ 30000 h 240000"/>
                <a:gd name="connsiteX28" fmla="*/ 30000 w 240000"/>
                <a:gd name="connsiteY28" fmla="*/ 75000 h 240000"/>
                <a:gd name="connsiteX29" fmla="*/ 15000 w 240000"/>
                <a:gd name="connsiteY29" fmla="*/ 90000 h 240000"/>
                <a:gd name="connsiteX30" fmla="*/ 0 w 240000"/>
                <a:gd name="connsiteY30" fmla="*/ 75000 h 240000"/>
                <a:gd name="connsiteX31" fmla="*/ 0 w 240000"/>
                <a:gd name="connsiteY31" fmla="*/ 0 h 240000"/>
                <a:gd name="connsiteX32" fmla="*/ 75000 w 240000"/>
                <a:gd name="connsiteY32" fmla="*/ 0 h 240000"/>
                <a:gd name="connsiteX33" fmla="*/ 90000 w 240000"/>
                <a:gd name="connsiteY33" fmla="*/ 15000 h 240000"/>
                <a:gd name="connsiteX34" fmla="*/ 75000 w 240000"/>
                <a:gd name="connsiteY34" fmla="*/ 30000 h 240000"/>
                <a:gd name="connsiteX35" fmla="*/ 30000 w 240000"/>
                <a:gd name="connsiteY35" fmla="*/ 3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40000" h="240000">
                  <a:moveTo>
                    <a:pt x="30000" y="210000"/>
                  </a:moveTo>
                  <a:lnTo>
                    <a:pt x="75000" y="210000"/>
                  </a:lnTo>
                  <a:cubicBezTo>
                    <a:pt x="85000" y="211716"/>
                    <a:pt x="90000" y="216716"/>
                    <a:pt x="90000" y="225000"/>
                  </a:cubicBezTo>
                  <a:cubicBezTo>
                    <a:pt x="90000" y="233285"/>
                    <a:pt x="85000" y="238284"/>
                    <a:pt x="75000" y="240000"/>
                  </a:cubicBezTo>
                  <a:lnTo>
                    <a:pt x="0" y="240000"/>
                  </a:lnTo>
                  <a:lnTo>
                    <a:pt x="0" y="165000"/>
                  </a:lnTo>
                  <a:cubicBezTo>
                    <a:pt x="0" y="155000"/>
                    <a:pt x="5000" y="150000"/>
                    <a:pt x="15000" y="150000"/>
                  </a:cubicBezTo>
                  <a:cubicBezTo>
                    <a:pt x="25000" y="150000"/>
                    <a:pt x="30000" y="155000"/>
                    <a:pt x="30000" y="165000"/>
                  </a:cubicBezTo>
                  <a:lnTo>
                    <a:pt x="30000" y="210000"/>
                  </a:lnTo>
                  <a:close/>
                  <a:moveTo>
                    <a:pt x="210000" y="210000"/>
                  </a:moveTo>
                  <a:lnTo>
                    <a:pt x="210000" y="165000"/>
                  </a:lnTo>
                  <a:cubicBezTo>
                    <a:pt x="211716" y="155000"/>
                    <a:pt x="216716" y="150000"/>
                    <a:pt x="225000" y="150000"/>
                  </a:cubicBezTo>
                  <a:cubicBezTo>
                    <a:pt x="233285" y="150000"/>
                    <a:pt x="238284" y="155000"/>
                    <a:pt x="240000" y="165000"/>
                  </a:cubicBezTo>
                  <a:lnTo>
                    <a:pt x="240000" y="240000"/>
                  </a:lnTo>
                  <a:lnTo>
                    <a:pt x="165000" y="240000"/>
                  </a:lnTo>
                  <a:cubicBezTo>
                    <a:pt x="155000" y="240000"/>
                    <a:pt x="150000" y="235001"/>
                    <a:pt x="150000" y="225000"/>
                  </a:cubicBezTo>
                  <a:cubicBezTo>
                    <a:pt x="150000" y="215000"/>
                    <a:pt x="155000" y="210000"/>
                    <a:pt x="165000" y="210000"/>
                  </a:cubicBezTo>
                  <a:lnTo>
                    <a:pt x="210000" y="210000"/>
                  </a:lnTo>
                  <a:close/>
                  <a:moveTo>
                    <a:pt x="210000" y="30000"/>
                  </a:moveTo>
                  <a:lnTo>
                    <a:pt x="165000" y="30000"/>
                  </a:lnTo>
                  <a:cubicBezTo>
                    <a:pt x="155000" y="28284"/>
                    <a:pt x="150000" y="23284"/>
                    <a:pt x="150000" y="15000"/>
                  </a:cubicBezTo>
                  <a:cubicBezTo>
                    <a:pt x="150000" y="6716"/>
                    <a:pt x="155000" y="1716"/>
                    <a:pt x="165000" y="0"/>
                  </a:cubicBezTo>
                  <a:lnTo>
                    <a:pt x="240000" y="0"/>
                  </a:lnTo>
                  <a:lnTo>
                    <a:pt x="240000" y="75000"/>
                  </a:lnTo>
                  <a:cubicBezTo>
                    <a:pt x="240000" y="85000"/>
                    <a:pt x="235001" y="90000"/>
                    <a:pt x="225000" y="90000"/>
                  </a:cubicBezTo>
                  <a:cubicBezTo>
                    <a:pt x="215000" y="90000"/>
                    <a:pt x="210000" y="85000"/>
                    <a:pt x="210000" y="75000"/>
                  </a:cubicBezTo>
                  <a:lnTo>
                    <a:pt x="210000" y="30000"/>
                  </a:lnTo>
                  <a:close/>
                  <a:moveTo>
                    <a:pt x="30000" y="30000"/>
                  </a:moveTo>
                  <a:lnTo>
                    <a:pt x="30000" y="75000"/>
                  </a:lnTo>
                  <a:cubicBezTo>
                    <a:pt x="28284" y="85000"/>
                    <a:pt x="23284" y="90000"/>
                    <a:pt x="15000" y="90000"/>
                  </a:cubicBezTo>
                  <a:cubicBezTo>
                    <a:pt x="6716" y="90000"/>
                    <a:pt x="1716" y="85000"/>
                    <a:pt x="0" y="75000"/>
                  </a:cubicBezTo>
                  <a:lnTo>
                    <a:pt x="0" y="0"/>
                  </a:lnTo>
                  <a:lnTo>
                    <a:pt x="75000" y="0"/>
                  </a:lnTo>
                  <a:cubicBezTo>
                    <a:pt x="85000" y="0"/>
                    <a:pt x="90000" y="5000"/>
                    <a:pt x="90000" y="15000"/>
                  </a:cubicBezTo>
                  <a:cubicBezTo>
                    <a:pt x="90000" y="25000"/>
                    <a:pt x="85000" y="30000"/>
                    <a:pt x="75000" y="30000"/>
                  </a:cubicBezTo>
                  <a:lnTo>
                    <a:pt x="30000" y="3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55" name="Рисунок 70">
            <a:extLst>
              <a:ext uri="{FF2B5EF4-FFF2-40B4-BE49-F238E27FC236}">
                <a16:creationId xmlns:a16="http://schemas.microsoft.com/office/drawing/2014/main" id="{E2D3AFB5-B502-F847-B379-EC1A4D873307}"/>
              </a:ext>
            </a:extLst>
          </p:cNvPr>
          <p:cNvGrpSpPr/>
          <p:nvPr/>
        </p:nvGrpSpPr>
        <p:grpSpPr>
          <a:xfrm>
            <a:off x="7436172" y="5807534"/>
            <a:ext cx="360000" cy="360000"/>
            <a:chOff x="7515377" y="6124256"/>
            <a:chExt cx="360000" cy="360000"/>
          </a:xfrm>
        </p:grpSpPr>
        <p:sp>
          <p:nvSpPr>
            <p:cNvPr id="356" name="Полилиния 355">
              <a:extLst>
                <a:ext uri="{FF2B5EF4-FFF2-40B4-BE49-F238E27FC236}">
                  <a16:creationId xmlns:a16="http://schemas.microsoft.com/office/drawing/2014/main" id="{2CE7F04D-57D5-064D-B0EF-4503020B6454}"/>
                </a:ext>
              </a:extLst>
            </p:cNvPr>
            <p:cNvSpPr/>
            <p:nvPr/>
          </p:nvSpPr>
          <p:spPr>
            <a:xfrm>
              <a:off x="7515377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" name="Полилиния 356">
              <a:extLst>
                <a:ext uri="{FF2B5EF4-FFF2-40B4-BE49-F238E27FC236}">
                  <a16:creationId xmlns:a16="http://schemas.microsoft.com/office/drawing/2014/main" id="{8D9552FD-9169-D74D-9F5F-69F019D2D3C3}"/>
                </a:ext>
              </a:extLst>
            </p:cNvPr>
            <p:cNvSpPr/>
            <p:nvPr/>
          </p:nvSpPr>
          <p:spPr>
            <a:xfrm>
              <a:off x="7545377" y="6199256"/>
              <a:ext cx="300000" cy="225000"/>
            </a:xfrm>
            <a:custGeom>
              <a:avLst/>
              <a:gdLst>
                <a:gd name="connsiteX0" fmla="*/ 195000 w 300000"/>
                <a:gd name="connsiteY0" fmla="*/ 60000 h 225000"/>
                <a:gd name="connsiteX1" fmla="*/ 165000 w 300000"/>
                <a:gd name="connsiteY1" fmla="*/ 60000 h 225000"/>
                <a:gd name="connsiteX2" fmla="*/ 165000 w 300000"/>
                <a:gd name="connsiteY2" fmla="*/ 0 h 225000"/>
                <a:gd name="connsiteX3" fmla="*/ 195000 w 300000"/>
                <a:gd name="connsiteY3" fmla="*/ 0 h 225000"/>
                <a:gd name="connsiteX4" fmla="*/ 195000 w 300000"/>
                <a:gd name="connsiteY4" fmla="*/ 60000 h 225000"/>
                <a:gd name="connsiteX5" fmla="*/ 195000 w 300000"/>
                <a:gd name="connsiteY5" fmla="*/ 150000 h 225000"/>
                <a:gd name="connsiteX6" fmla="*/ 195000 w 300000"/>
                <a:gd name="connsiteY6" fmla="*/ 225000 h 225000"/>
                <a:gd name="connsiteX7" fmla="*/ 165000 w 300000"/>
                <a:gd name="connsiteY7" fmla="*/ 225000 h 225000"/>
                <a:gd name="connsiteX8" fmla="*/ 165000 w 300000"/>
                <a:gd name="connsiteY8" fmla="*/ 150000 h 225000"/>
                <a:gd name="connsiteX9" fmla="*/ 195000 w 300000"/>
                <a:gd name="connsiteY9" fmla="*/ 150000 h 225000"/>
                <a:gd name="connsiteX10" fmla="*/ 45000 w 300000"/>
                <a:gd name="connsiteY10" fmla="*/ 60000 h 225000"/>
                <a:gd name="connsiteX11" fmla="*/ 0 w 300000"/>
                <a:gd name="connsiteY11" fmla="*/ 60000 h 225000"/>
                <a:gd name="connsiteX12" fmla="*/ 0 w 300000"/>
                <a:gd name="connsiteY12" fmla="*/ 15000 h 225000"/>
                <a:gd name="connsiteX13" fmla="*/ 15000 w 300000"/>
                <a:gd name="connsiteY13" fmla="*/ 0 h 225000"/>
                <a:gd name="connsiteX14" fmla="*/ 45000 w 300000"/>
                <a:gd name="connsiteY14" fmla="*/ 0 h 225000"/>
                <a:gd name="connsiteX15" fmla="*/ 45000 w 300000"/>
                <a:gd name="connsiteY15" fmla="*/ 60000 h 225000"/>
                <a:gd name="connsiteX16" fmla="*/ 45000 w 300000"/>
                <a:gd name="connsiteY16" fmla="*/ 150000 h 225000"/>
                <a:gd name="connsiteX17" fmla="*/ 45000 w 300000"/>
                <a:gd name="connsiteY17" fmla="*/ 225000 h 225000"/>
                <a:gd name="connsiteX18" fmla="*/ 15000 w 300000"/>
                <a:gd name="connsiteY18" fmla="*/ 225000 h 225000"/>
                <a:gd name="connsiteX19" fmla="*/ 0 w 300000"/>
                <a:gd name="connsiteY19" fmla="*/ 210000 h 225000"/>
                <a:gd name="connsiteX20" fmla="*/ 0 w 300000"/>
                <a:gd name="connsiteY20" fmla="*/ 150000 h 225000"/>
                <a:gd name="connsiteX21" fmla="*/ 45000 w 300000"/>
                <a:gd name="connsiteY21" fmla="*/ 150000 h 225000"/>
                <a:gd name="connsiteX22" fmla="*/ 240000 w 300000"/>
                <a:gd name="connsiteY22" fmla="*/ 60000 h 225000"/>
                <a:gd name="connsiteX23" fmla="*/ 210000 w 300000"/>
                <a:gd name="connsiteY23" fmla="*/ 60000 h 225000"/>
                <a:gd name="connsiteX24" fmla="*/ 210000 w 300000"/>
                <a:gd name="connsiteY24" fmla="*/ 0 h 225000"/>
                <a:gd name="connsiteX25" fmla="*/ 240000 w 300000"/>
                <a:gd name="connsiteY25" fmla="*/ 0 h 225000"/>
                <a:gd name="connsiteX26" fmla="*/ 240000 w 300000"/>
                <a:gd name="connsiteY26" fmla="*/ 60000 h 225000"/>
                <a:gd name="connsiteX27" fmla="*/ 240000 w 300000"/>
                <a:gd name="connsiteY27" fmla="*/ 150000 h 225000"/>
                <a:gd name="connsiteX28" fmla="*/ 240000 w 300000"/>
                <a:gd name="connsiteY28" fmla="*/ 225000 h 225000"/>
                <a:gd name="connsiteX29" fmla="*/ 210000 w 300000"/>
                <a:gd name="connsiteY29" fmla="*/ 225000 h 225000"/>
                <a:gd name="connsiteX30" fmla="*/ 210000 w 300000"/>
                <a:gd name="connsiteY30" fmla="*/ 150000 h 225000"/>
                <a:gd name="connsiteX31" fmla="*/ 240000 w 300000"/>
                <a:gd name="connsiteY31" fmla="*/ 150000 h 225000"/>
                <a:gd name="connsiteX32" fmla="*/ 300000 w 300000"/>
                <a:gd name="connsiteY32" fmla="*/ 60000 h 225000"/>
                <a:gd name="connsiteX33" fmla="*/ 270000 w 300000"/>
                <a:gd name="connsiteY33" fmla="*/ 60000 h 225000"/>
                <a:gd name="connsiteX34" fmla="*/ 270000 w 300000"/>
                <a:gd name="connsiteY34" fmla="*/ 0 h 225000"/>
                <a:gd name="connsiteX35" fmla="*/ 285000 w 300000"/>
                <a:gd name="connsiteY35" fmla="*/ 0 h 225000"/>
                <a:gd name="connsiteX36" fmla="*/ 300000 w 300000"/>
                <a:gd name="connsiteY36" fmla="*/ 15000 h 225000"/>
                <a:gd name="connsiteX37" fmla="*/ 300000 w 300000"/>
                <a:gd name="connsiteY37" fmla="*/ 60000 h 225000"/>
                <a:gd name="connsiteX38" fmla="*/ 300000 w 300000"/>
                <a:gd name="connsiteY38" fmla="*/ 150000 h 225000"/>
                <a:gd name="connsiteX39" fmla="*/ 300000 w 300000"/>
                <a:gd name="connsiteY39" fmla="*/ 210000 h 225000"/>
                <a:gd name="connsiteX40" fmla="*/ 285000 w 300000"/>
                <a:gd name="connsiteY40" fmla="*/ 225000 h 225000"/>
                <a:gd name="connsiteX41" fmla="*/ 270000 w 300000"/>
                <a:gd name="connsiteY41" fmla="*/ 225000 h 225000"/>
                <a:gd name="connsiteX42" fmla="*/ 270000 w 300000"/>
                <a:gd name="connsiteY42" fmla="*/ 150000 h 225000"/>
                <a:gd name="connsiteX43" fmla="*/ 300000 w 300000"/>
                <a:gd name="connsiteY43" fmla="*/ 150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00000" h="225000">
                  <a:moveTo>
                    <a:pt x="195000" y="60000"/>
                  </a:moveTo>
                  <a:lnTo>
                    <a:pt x="165000" y="60000"/>
                  </a:lnTo>
                  <a:lnTo>
                    <a:pt x="165000" y="0"/>
                  </a:lnTo>
                  <a:lnTo>
                    <a:pt x="195000" y="0"/>
                  </a:lnTo>
                  <a:lnTo>
                    <a:pt x="195000" y="60000"/>
                  </a:lnTo>
                  <a:close/>
                  <a:moveTo>
                    <a:pt x="195000" y="150000"/>
                  </a:moveTo>
                  <a:lnTo>
                    <a:pt x="195000" y="225000"/>
                  </a:lnTo>
                  <a:lnTo>
                    <a:pt x="165000" y="225000"/>
                  </a:lnTo>
                  <a:lnTo>
                    <a:pt x="165000" y="150000"/>
                  </a:lnTo>
                  <a:lnTo>
                    <a:pt x="195000" y="150000"/>
                  </a:lnTo>
                  <a:close/>
                  <a:moveTo>
                    <a:pt x="45000" y="60000"/>
                  </a:moveTo>
                  <a:lnTo>
                    <a:pt x="0" y="60000"/>
                  </a:ln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45000" y="0"/>
                  </a:lnTo>
                  <a:lnTo>
                    <a:pt x="45000" y="60000"/>
                  </a:lnTo>
                  <a:close/>
                  <a:moveTo>
                    <a:pt x="45000" y="150000"/>
                  </a:moveTo>
                  <a:lnTo>
                    <a:pt x="45000" y="225000"/>
                  </a:lnTo>
                  <a:lnTo>
                    <a:pt x="15000" y="225000"/>
                  </a:lnTo>
                  <a:cubicBezTo>
                    <a:pt x="6716" y="225000"/>
                    <a:pt x="0" y="218285"/>
                    <a:pt x="0" y="210000"/>
                  </a:cubicBezTo>
                  <a:lnTo>
                    <a:pt x="0" y="150000"/>
                  </a:lnTo>
                  <a:lnTo>
                    <a:pt x="45000" y="150000"/>
                  </a:lnTo>
                  <a:close/>
                  <a:moveTo>
                    <a:pt x="240000" y="60000"/>
                  </a:moveTo>
                  <a:lnTo>
                    <a:pt x="210000" y="60000"/>
                  </a:lnTo>
                  <a:lnTo>
                    <a:pt x="210000" y="0"/>
                  </a:lnTo>
                  <a:lnTo>
                    <a:pt x="240000" y="0"/>
                  </a:lnTo>
                  <a:lnTo>
                    <a:pt x="240000" y="60000"/>
                  </a:lnTo>
                  <a:close/>
                  <a:moveTo>
                    <a:pt x="240000" y="150000"/>
                  </a:moveTo>
                  <a:lnTo>
                    <a:pt x="240000" y="225000"/>
                  </a:lnTo>
                  <a:lnTo>
                    <a:pt x="210000" y="225000"/>
                  </a:lnTo>
                  <a:lnTo>
                    <a:pt x="210000" y="150000"/>
                  </a:lnTo>
                  <a:lnTo>
                    <a:pt x="240000" y="150000"/>
                  </a:lnTo>
                  <a:close/>
                  <a:moveTo>
                    <a:pt x="300000" y="60000"/>
                  </a:moveTo>
                  <a:lnTo>
                    <a:pt x="270000" y="60000"/>
                  </a:lnTo>
                  <a:lnTo>
                    <a:pt x="270000" y="0"/>
                  </a:lnTo>
                  <a:lnTo>
                    <a:pt x="285000" y="0"/>
                  </a:lnTo>
                  <a:cubicBezTo>
                    <a:pt x="293285" y="0"/>
                    <a:pt x="300000" y="6716"/>
                    <a:pt x="300000" y="15000"/>
                  </a:cubicBezTo>
                  <a:lnTo>
                    <a:pt x="300000" y="60000"/>
                  </a:lnTo>
                  <a:close/>
                  <a:moveTo>
                    <a:pt x="300000" y="150000"/>
                  </a:moveTo>
                  <a:lnTo>
                    <a:pt x="300000" y="210000"/>
                  </a:lnTo>
                  <a:cubicBezTo>
                    <a:pt x="300000" y="218285"/>
                    <a:pt x="293285" y="225000"/>
                    <a:pt x="285000" y="225000"/>
                  </a:cubicBezTo>
                  <a:lnTo>
                    <a:pt x="270000" y="225000"/>
                  </a:lnTo>
                  <a:lnTo>
                    <a:pt x="270000" y="150000"/>
                  </a:lnTo>
                  <a:lnTo>
                    <a:pt x="300000" y="15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" name="Скругленный прямоугольник 357">
              <a:extLst>
                <a:ext uri="{FF2B5EF4-FFF2-40B4-BE49-F238E27FC236}">
                  <a16:creationId xmlns:a16="http://schemas.microsoft.com/office/drawing/2014/main" id="{98CC51E7-2320-9F43-80AC-F4F9A73073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15377" y="6297356"/>
              <a:ext cx="345600" cy="28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59" name="Рисунок 71">
            <a:extLst>
              <a:ext uri="{FF2B5EF4-FFF2-40B4-BE49-F238E27FC236}">
                <a16:creationId xmlns:a16="http://schemas.microsoft.com/office/drawing/2014/main" id="{ADD5D896-D10E-D943-A7B6-75409D2E3264}"/>
              </a:ext>
            </a:extLst>
          </p:cNvPr>
          <p:cNvGrpSpPr/>
          <p:nvPr/>
        </p:nvGrpSpPr>
        <p:grpSpPr>
          <a:xfrm>
            <a:off x="8219324" y="5852534"/>
            <a:ext cx="315000" cy="255000"/>
            <a:chOff x="8298529" y="6169256"/>
            <a:chExt cx="315000" cy="255000"/>
          </a:xfrm>
        </p:grpSpPr>
        <p:sp>
          <p:nvSpPr>
            <p:cNvPr id="360" name="Полилиния 359">
              <a:extLst>
                <a:ext uri="{FF2B5EF4-FFF2-40B4-BE49-F238E27FC236}">
                  <a16:creationId xmlns:a16="http://schemas.microsoft.com/office/drawing/2014/main" id="{9758BA28-DE93-6742-BB80-F25863666DF6}"/>
                </a:ext>
              </a:extLst>
            </p:cNvPr>
            <p:cNvSpPr/>
            <p:nvPr/>
          </p:nvSpPr>
          <p:spPr>
            <a:xfrm>
              <a:off x="8328529" y="6169256"/>
              <a:ext cx="90000" cy="120000"/>
            </a:xfrm>
            <a:custGeom>
              <a:avLst/>
              <a:gdLst>
                <a:gd name="connsiteX0" fmla="*/ 30000 w 90000"/>
                <a:gd name="connsiteY0" fmla="*/ 105000 h 120000"/>
                <a:gd name="connsiteX1" fmla="*/ 15000 w 90000"/>
                <a:gd name="connsiteY1" fmla="*/ 120000 h 120000"/>
                <a:gd name="connsiteX2" fmla="*/ 0 w 90000"/>
                <a:gd name="connsiteY2" fmla="*/ 105000 h 120000"/>
                <a:gd name="connsiteX3" fmla="*/ 0 w 90000"/>
                <a:gd name="connsiteY3" fmla="*/ 45000 h 120000"/>
                <a:gd name="connsiteX4" fmla="*/ 45000 w 90000"/>
                <a:gd name="connsiteY4" fmla="*/ 0 h 120000"/>
                <a:gd name="connsiteX5" fmla="*/ 90000 w 90000"/>
                <a:gd name="connsiteY5" fmla="*/ 45000 h 120000"/>
                <a:gd name="connsiteX6" fmla="*/ 75000 w 90000"/>
                <a:gd name="connsiteY6" fmla="*/ 60000 h 120000"/>
                <a:gd name="connsiteX7" fmla="*/ 60000 w 90000"/>
                <a:gd name="connsiteY7" fmla="*/ 45000 h 120000"/>
                <a:gd name="connsiteX8" fmla="*/ 45000 w 90000"/>
                <a:gd name="connsiteY8" fmla="*/ 30000 h 120000"/>
                <a:gd name="connsiteX9" fmla="*/ 30000 w 90000"/>
                <a:gd name="connsiteY9" fmla="*/ 45000 h 120000"/>
                <a:gd name="connsiteX10" fmla="*/ 30000 w 90000"/>
                <a:gd name="connsiteY10" fmla="*/ 10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0000" h="120000">
                  <a:moveTo>
                    <a:pt x="30000" y="105000"/>
                  </a:moveTo>
                  <a:cubicBezTo>
                    <a:pt x="30000" y="113285"/>
                    <a:pt x="23284" y="120000"/>
                    <a:pt x="15000" y="120000"/>
                  </a:cubicBezTo>
                  <a:cubicBezTo>
                    <a:pt x="6716" y="120000"/>
                    <a:pt x="0" y="113285"/>
                    <a:pt x="0" y="105000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ubicBezTo>
                    <a:pt x="90000" y="53284"/>
                    <a:pt x="83284" y="60000"/>
                    <a:pt x="75000" y="60000"/>
                  </a:cubicBezTo>
                  <a:cubicBezTo>
                    <a:pt x="66716" y="60000"/>
                    <a:pt x="60000" y="53284"/>
                    <a:pt x="60000" y="45000"/>
                  </a:cubicBezTo>
                  <a:cubicBezTo>
                    <a:pt x="60000" y="36716"/>
                    <a:pt x="53284" y="30000"/>
                    <a:pt x="45000" y="30000"/>
                  </a:cubicBezTo>
                  <a:cubicBezTo>
                    <a:pt x="36716" y="30000"/>
                    <a:pt x="30000" y="36716"/>
                    <a:pt x="30000" y="45000"/>
                  </a:cubicBezTo>
                  <a:lnTo>
                    <a:pt x="30000" y="10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" name="Полилиния 360">
              <a:extLst>
                <a:ext uri="{FF2B5EF4-FFF2-40B4-BE49-F238E27FC236}">
                  <a16:creationId xmlns:a16="http://schemas.microsoft.com/office/drawing/2014/main" id="{C3C4F814-F0B0-2146-85C3-244611282040}"/>
                </a:ext>
              </a:extLst>
            </p:cNvPr>
            <p:cNvSpPr/>
            <p:nvPr/>
          </p:nvSpPr>
          <p:spPr>
            <a:xfrm>
              <a:off x="8328529" y="6364256"/>
              <a:ext cx="240000" cy="60000"/>
            </a:xfrm>
            <a:custGeom>
              <a:avLst/>
              <a:gdLst>
                <a:gd name="connsiteX0" fmla="*/ 30000 w 240000"/>
                <a:gd name="connsiteY0" fmla="*/ 60000 h 60000"/>
                <a:gd name="connsiteX1" fmla="*/ 0 w 240000"/>
                <a:gd name="connsiteY1" fmla="*/ 60000 h 60000"/>
                <a:gd name="connsiteX2" fmla="*/ 75000 w 240000"/>
                <a:gd name="connsiteY2" fmla="*/ 0 h 60000"/>
                <a:gd name="connsiteX3" fmla="*/ 165000 w 240000"/>
                <a:gd name="connsiteY3" fmla="*/ 0 h 60000"/>
                <a:gd name="connsiteX4" fmla="*/ 240000 w 240000"/>
                <a:gd name="connsiteY4" fmla="*/ 60000 h 60000"/>
                <a:gd name="connsiteX5" fmla="*/ 210000 w 240000"/>
                <a:gd name="connsiteY5" fmla="*/ 60000 h 60000"/>
                <a:gd name="connsiteX6" fmla="*/ 165000 w 240000"/>
                <a:gd name="connsiteY6" fmla="*/ 30000 h 60000"/>
                <a:gd name="connsiteX7" fmla="*/ 75000 w 240000"/>
                <a:gd name="connsiteY7" fmla="*/ 30000 h 60000"/>
                <a:gd name="connsiteX8" fmla="*/ 30000 w 240000"/>
                <a:gd name="connsiteY8" fmla="*/ 6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0000" h="60000">
                  <a:moveTo>
                    <a:pt x="30000" y="60000"/>
                  </a:moveTo>
                  <a:lnTo>
                    <a:pt x="0" y="60000"/>
                  </a:lnTo>
                  <a:cubicBezTo>
                    <a:pt x="0" y="18579"/>
                    <a:pt x="33579" y="0"/>
                    <a:pt x="75000" y="0"/>
                  </a:cubicBezTo>
                  <a:lnTo>
                    <a:pt x="165000" y="0"/>
                  </a:lnTo>
                  <a:cubicBezTo>
                    <a:pt x="206421" y="0"/>
                    <a:pt x="240000" y="18579"/>
                    <a:pt x="240000" y="60000"/>
                  </a:cubicBezTo>
                  <a:lnTo>
                    <a:pt x="210000" y="60000"/>
                  </a:lnTo>
                  <a:cubicBezTo>
                    <a:pt x="210000" y="35146"/>
                    <a:pt x="189854" y="30000"/>
                    <a:pt x="165000" y="30000"/>
                  </a:cubicBezTo>
                  <a:lnTo>
                    <a:pt x="75000" y="30000"/>
                  </a:lnTo>
                  <a:cubicBezTo>
                    <a:pt x="50147" y="30000"/>
                    <a:pt x="30000" y="35146"/>
                    <a:pt x="30000" y="6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" name="Полилиния 361">
              <a:extLst>
                <a:ext uri="{FF2B5EF4-FFF2-40B4-BE49-F238E27FC236}">
                  <a16:creationId xmlns:a16="http://schemas.microsoft.com/office/drawing/2014/main" id="{116C7171-F1F1-2943-B198-4F97151303AB}"/>
                </a:ext>
              </a:extLst>
            </p:cNvPr>
            <p:cNvSpPr/>
            <p:nvPr/>
          </p:nvSpPr>
          <p:spPr>
            <a:xfrm>
              <a:off x="8298529" y="6259256"/>
              <a:ext cx="315000" cy="135000"/>
            </a:xfrm>
            <a:custGeom>
              <a:avLst/>
              <a:gdLst>
                <a:gd name="connsiteX0" fmla="*/ 0 w 315000"/>
                <a:gd name="connsiteY0" fmla="*/ 0 h 135000"/>
                <a:gd name="connsiteX1" fmla="*/ 315000 w 315000"/>
                <a:gd name="connsiteY1" fmla="*/ 0 h 135000"/>
                <a:gd name="connsiteX2" fmla="*/ 307413 w 315000"/>
                <a:gd name="connsiteY2" fmla="*/ 68283 h 135000"/>
                <a:gd name="connsiteX3" fmla="*/ 232872 w 315000"/>
                <a:gd name="connsiteY3" fmla="*/ 135000 h 135000"/>
                <a:gd name="connsiteX4" fmla="*/ 82128 w 315000"/>
                <a:gd name="connsiteY4" fmla="*/ 135000 h 135000"/>
                <a:gd name="connsiteX5" fmla="*/ 7587 w 315000"/>
                <a:gd name="connsiteY5" fmla="*/ 68283 h 135000"/>
                <a:gd name="connsiteX6" fmla="*/ 0 w 315000"/>
                <a:gd name="connsiteY6" fmla="*/ 0 h 135000"/>
                <a:gd name="connsiteX7" fmla="*/ 258750 w 315000"/>
                <a:gd name="connsiteY7" fmla="*/ 37500 h 135000"/>
                <a:gd name="connsiteX8" fmla="*/ 233250 w 315000"/>
                <a:gd name="connsiteY8" fmla="*/ 88500 h 135000"/>
                <a:gd name="connsiteX9" fmla="*/ 231000 w 315000"/>
                <a:gd name="connsiteY9" fmla="*/ 104250 h 135000"/>
                <a:gd name="connsiteX10" fmla="*/ 246750 w 315000"/>
                <a:gd name="connsiteY10" fmla="*/ 106500 h 135000"/>
                <a:gd name="connsiteX11" fmla="*/ 281250 w 315000"/>
                <a:gd name="connsiteY11" fmla="*/ 37500 h 135000"/>
                <a:gd name="connsiteX12" fmla="*/ 270000 w 315000"/>
                <a:gd name="connsiteY12" fmla="*/ 26250 h 135000"/>
                <a:gd name="connsiteX13" fmla="*/ 258750 w 315000"/>
                <a:gd name="connsiteY13" fmla="*/ 375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5000" h="135000">
                  <a:moveTo>
                    <a:pt x="0" y="0"/>
                  </a:moveTo>
                  <a:lnTo>
                    <a:pt x="315000" y="0"/>
                  </a:lnTo>
                  <a:lnTo>
                    <a:pt x="307413" y="68283"/>
                  </a:lnTo>
                  <a:cubicBezTo>
                    <a:pt x="303194" y="106264"/>
                    <a:pt x="271088" y="135000"/>
                    <a:pt x="232872" y="135000"/>
                  </a:cubicBezTo>
                  <a:lnTo>
                    <a:pt x="82128" y="135000"/>
                  </a:lnTo>
                  <a:cubicBezTo>
                    <a:pt x="43912" y="135000"/>
                    <a:pt x="11807" y="106264"/>
                    <a:pt x="7587" y="68283"/>
                  </a:cubicBezTo>
                  <a:lnTo>
                    <a:pt x="0" y="0"/>
                  </a:lnTo>
                  <a:close/>
                  <a:moveTo>
                    <a:pt x="258750" y="37500"/>
                  </a:moveTo>
                  <a:cubicBezTo>
                    <a:pt x="258750" y="58959"/>
                    <a:pt x="250418" y="75624"/>
                    <a:pt x="233250" y="88500"/>
                  </a:cubicBezTo>
                  <a:cubicBezTo>
                    <a:pt x="228279" y="92228"/>
                    <a:pt x="227273" y="99279"/>
                    <a:pt x="231000" y="104250"/>
                  </a:cubicBezTo>
                  <a:cubicBezTo>
                    <a:pt x="234728" y="109221"/>
                    <a:pt x="241779" y="110227"/>
                    <a:pt x="246750" y="106500"/>
                  </a:cubicBezTo>
                  <a:cubicBezTo>
                    <a:pt x="269583" y="89376"/>
                    <a:pt x="281250" y="66041"/>
                    <a:pt x="281250" y="37500"/>
                  </a:cubicBezTo>
                  <a:cubicBezTo>
                    <a:pt x="281250" y="31287"/>
                    <a:pt x="276213" y="26250"/>
                    <a:pt x="270000" y="26250"/>
                  </a:cubicBezTo>
                  <a:cubicBezTo>
                    <a:pt x="263787" y="26250"/>
                    <a:pt x="258750" y="31287"/>
                    <a:pt x="258750" y="375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63" name="Рисунок 72">
            <a:extLst>
              <a:ext uri="{FF2B5EF4-FFF2-40B4-BE49-F238E27FC236}">
                <a16:creationId xmlns:a16="http://schemas.microsoft.com/office/drawing/2014/main" id="{545CB43E-5B8D-1844-B5C7-343E7D550829}"/>
              </a:ext>
            </a:extLst>
          </p:cNvPr>
          <p:cNvGrpSpPr/>
          <p:nvPr/>
        </p:nvGrpSpPr>
        <p:grpSpPr>
          <a:xfrm>
            <a:off x="8942476" y="5807534"/>
            <a:ext cx="360000" cy="360000"/>
            <a:chOff x="9021681" y="6124256"/>
            <a:chExt cx="360000" cy="360000"/>
          </a:xfrm>
        </p:grpSpPr>
        <p:sp>
          <p:nvSpPr>
            <p:cNvPr id="364" name="Полилиния 363">
              <a:extLst>
                <a:ext uri="{FF2B5EF4-FFF2-40B4-BE49-F238E27FC236}">
                  <a16:creationId xmlns:a16="http://schemas.microsoft.com/office/drawing/2014/main" id="{3EDB22F8-F820-8F47-B387-ED299AE20CBA}"/>
                </a:ext>
              </a:extLst>
            </p:cNvPr>
            <p:cNvSpPr/>
            <p:nvPr/>
          </p:nvSpPr>
          <p:spPr>
            <a:xfrm>
              <a:off x="902168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" name="Полилиния 364">
              <a:extLst>
                <a:ext uri="{FF2B5EF4-FFF2-40B4-BE49-F238E27FC236}">
                  <a16:creationId xmlns:a16="http://schemas.microsoft.com/office/drawing/2014/main" id="{00931A46-D8EB-DF45-836A-3A683371C2AA}"/>
                </a:ext>
              </a:extLst>
            </p:cNvPr>
            <p:cNvSpPr/>
            <p:nvPr/>
          </p:nvSpPr>
          <p:spPr>
            <a:xfrm>
              <a:off x="9051681" y="6229256"/>
              <a:ext cx="255000" cy="150000"/>
            </a:xfrm>
            <a:custGeom>
              <a:avLst/>
              <a:gdLst>
                <a:gd name="connsiteX0" fmla="*/ 30000 w 255000"/>
                <a:gd name="connsiteY0" fmla="*/ 30000 h 150000"/>
                <a:gd name="connsiteX1" fmla="*/ 30000 w 255000"/>
                <a:gd name="connsiteY1" fmla="*/ 120000 h 150000"/>
                <a:gd name="connsiteX2" fmla="*/ 225000 w 255000"/>
                <a:gd name="connsiteY2" fmla="*/ 120000 h 150000"/>
                <a:gd name="connsiteX3" fmla="*/ 225000 w 255000"/>
                <a:gd name="connsiteY3" fmla="*/ 30000 h 150000"/>
                <a:gd name="connsiteX4" fmla="*/ 30000 w 255000"/>
                <a:gd name="connsiteY4" fmla="*/ 30000 h 150000"/>
                <a:gd name="connsiteX5" fmla="*/ 30000 w 255000"/>
                <a:gd name="connsiteY5" fmla="*/ 0 h 150000"/>
                <a:gd name="connsiteX6" fmla="*/ 225000 w 255000"/>
                <a:gd name="connsiteY6" fmla="*/ 0 h 150000"/>
                <a:gd name="connsiteX7" fmla="*/ 255000 w 255000"/>
                <a:gd name="connsiteY7" fmla="*/ 30000 h 150000"/>
                <a:gd name="connsiteX8" fmla="*/ 255000 w 255000"/>
                <a:gd name="connsiteY8" fmla="*/ 120000 h 150000"/>
                <a:gd name="connsiteX9" fmla="*/ 225000 w 255000"/>
                <a:gd name="connsiteY9" fmla="*/ 150000 h 150000"/>
                <a:gd name="connsiteX10" fmla="*/ 30000 w 255000"/>
                <a:gd name="connsiteY10" fmla="*/ 150000 h 150000"/>
                <a:gd name="connsiteX11" fmla="*/ 0 w 255000"/>
                <a:gd name="connsiteY11" fmla="*/ 120000 h 150000"/>
                <a:gd name="connsiteX12" fmla="*/ 0 w 255000"/>
                <a:gd name="connsiteY12" fmla="*/ 30000 h 150000"/>
                <a:gd name="connsiteX13" fmla="*/ 30000 w 255000"/>
                <a:gd name="connsiteY13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5000" h="150000">
                  <a:moveTo>
                    <a:pt x="30000" y="30000"/>
                  </a:moveTo>
                  <a:lnTo>
                    <a:pt x="30000" y="120000"/>
                  </a:lnTo>
                  <a:lnTo>
                    <a:pt x="225000" y="120000"/>
                  </a:lnTo>
                  <a:lnTo>
                    <a:pt x="225000" y="30000"/>
                  </a:lnTo>
                  <a:lnTo>
                    <a:pt x="30000" y="30000"/>
                  </a:lnTo>
                  <a:close/>
                  <a:moveTo>
                    <a:pt x="30000" y="0"/>
                  </a:moveTo>
                  <a:lnTo>
                    <a:pt x="225000" y="0"/>
                  </a:lnTo>
                  <a:cubicBezTo>
                    <a:pt x="241569" y="0"/>
                    <a:pt x="255000" y="13431"/>
                    <a:pt x="255000" y="30000"/>
                  </a:cubicBezTo>
                  <a:lnTo>
                    <a:pt x="255000" y="120000"/>
                  </a:lnTo>
                  <a:cubicBezTo>
                    <a:pt x="255000" y="136569"/>
                    <a:pt x="241569" y="150000"/>
                    <a:pt x="225000" y="150000"/>
                  </a:cubicBezTo>
                  <a:lnTo>
                    <a:pt x="30000" y="150000"/>
                  </a:lnTo>
                  <a:cubicBezTo>
                    <a:pt x="13431" y="150000"/>
                    <a:pt x="0" y="136569"/>
                    <a:pt x="0" y="12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" name="Полилиния 365">
              <a:extLst>
                <a:ext uri="{FF2B5EF4-FFF2-40B4-BE49-F238E27FC236}">
                  <a16:creationId xmlns:a16="http://schemas.microsoft.com/office/drawing/2014/main" id="{0D1E3175-B059-F74B-9671-FA5CF33A2640}"/>
                </a:ext>
              </a:extLst>
            </p:cNvPr>
            <p:cNvSpPr/>
            <p:nvPr/>
          </p:nvSpPr>
          <p:spPr>
            <a:xfrm>
              <a:off x="9159286" y="6273664"/>
              <a:ext cx="39153" cy="62538"/>
            </a:xfrm>
            <a:custGeom>
              <a:avLst/>
              <a:gdLst>
                <a:gd name="connsiteX0" fmla="*/ 17738 w 39153"/>
                <a:gd name="connsiteY0" fmla="*/ 61414 h 62538"/>
                <a:gd name="connsiteX1" fmla="*/ 38495 w 39153"/>
                <a:gd name="connsiteY1" fmla="*/ 35465 h 62538"/>
                <a:gd name="connsiteX2" fmla="*/ 38027 w 39153"/>
                <a:gd name="connsiteY2" fmla="*/ 31249 h 62538"/>
                <a:gd name="connsiteX3" fmla="*/ 36153 w 39153"/>
                <a:gd name="connsiteY3" fmla="*/ 30592 h 62538"/>
                <a:gd name="connsiteX4" fmla="*/ 27395 w 39153"/>
                <a:gd name="connsiteY4" fmla="*/ 30592 h 62538"/>
                <a:gd name="connsiteX5" fmla="*/ 27395 w 39153"/>
                <a:gd name="connsiteY5" fmla="*/ 3001 h 62538"/>
                <a:gd name="connsiteX6" fmla="*/ 24395 w 39153"/>
                <a:gd name="connsiteY6" fmla="*/ 0 h 62538"/>
                <a:gd name="connsiteX7" fmla="*/ 21899 w 39153"/>
                <a:gd name="connsiteY7" fmla="*/ 1336 h 62538"/>
                <a:gd name="connsiteX8" fmla="*/ 504 w 39153"/>
                <a:gd name="connsiteY8" fmla="*/ 33428 h 62538"/>
                <a:gd name="connsiteX9" fmla="*/ 1336 w 39153"/>
                <a:gd name="connsiteY9" fmla="*/ 37588 h 62538"/>
                <a:gd name="connsiteX10" fmla="*/ 3000 w 39153"/>
                <a:gd name="connsiteY10" fmla="*/ 38092 h 62538"/>
                <a:gd name="connsiteX11" fmla="*/ 12395 w 39153"/>
                <a:gd name="connsiteY11" fmla="*/ 38092 h 62538"/>
                <a:gd name="connsiteX12" fmla="*/ 12395 w 39153"/>
                <a:gd name="connsiteY12" fmla="*/ 59539 h 62538"/>
                <a:gd name="connsiteX13" fmla="*/ 15395 w 39153"/>
                <a:gd name="connsiteY13" fmla="*/ 62539 h 62538"/>
                <a:gd name="connsiteX14" fmla="*/ 17738 w 39153"/>
                <a:gd name="connsiteY14" fmla="*/ 61414 h 62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153" h="62538">
                  <a:moveTo>
                    <a:pt x="17738" y="61414"/>
                  </a:moveTo>
                  <a:lnTo>
                    <a:pt x="38495" y="35465"/>
                  </a:lnTo>
                  <a:cubicBezTo>
                    <a:pt x="39531" y="34172"/>
                    <a:pt x="39321" y="32284"/>
                    <a:pt x="38027" y="31249"/>
                  </a:cubicBezTo>
                  <a:cubicBezTo>
                    <a:pt x="37496" y="30824"/>
                    <a:pt x="36834" y="30592"/>
                    <a:pt x="36153" y="30592"/>
                  </a:cubicBezTo>
                  <a:lnTo>
                    <a:pt x="27395" y="30592"/>
                  </a:lnTo>
                  <a:lnTo>
                    <a:pt x="27395" y="3001"/>
                  </a:lnTo>
                  <a:cubicBezTo>
                    <a:pt x="27395" y="1343"/>
                    <a:pt x="26052" y="0"/>
                    <a:pt x="24395" y="0"/>
                  </a:cubicBezTo>
                  <a:cubicBezTo>
                    <a:pt x="23391" y="0"/>
                    <a:pt x="22455" y="501"/>
                    <a:pt x="21899" y="1336"/>
                  </a:cubicBezTo>
                  <a:lnTo>
                    <a:pt x="504" y="33428"/>
                  </a:lnTo>
                  <a:cubicBezTo>
                    <a:pt x="-415" y="34807"/>
                    <a:pt x="-42" y="36668"/>
                    <a:pt x="1336" y="37588"/>
                  </a:cubicBezTo>
                  <a:cubicBezTo>
                    <a:pt x="1829" y="37916"/>
                    <a:pt x="2408" y="38092"/>
                    <a:pt x="3000" y="38092"/>
                  </a:cubicBezTo>
                  <a:lnTo>
                    <a:pt x="12395" y="38092"/>
                  </a:lnTo>
                  <a:lnTo>
                    <a:pt x="12395" y="59539"/>
                  </a:lnTo>
                  <a:cubicBezTo>
                    <a:pt x="12395" y="61196"/>
                    <a:pt x="13737" y="62539"/>
                    <a:pt x="15395" y="62539"/>
                  </a:cubicBezTo>
                  <a:cubicBezTo>
                    <a:pt x="16307" y="62539"/>
                    <a:pt x="17168" y="62125"/>
                    <a:pt x="17738" y="61414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" name="Полилиния 366">
              <a:extLst>
                <a:ext uri="{FF2B5EF4-FFF2-40B4-BE49-F238E27FC236}">
                  <a16:creationId xmlns:a16="http://schemas.microsoft.com/office/drawing/2014/main" id="{DE4220AA-6D7A-3446-8959-C685FF8B38DF}"/>
                </a:ext>
              </a:extLst>
            </p:cNvPr>
            <p:cNvSpPr/>
            <p:nvPr/>
          </p:nvSpPr>
          <p:spPr>
            <a:xfrm>
              <a:off x="9321681" y="6274256"/>
              <a:ext cx="30000" cy="60000"/>
            </a:xfrm>
            <a:custGeom>
              <a:avLst/>
              <a:gdLst>
                <a:gd name="connsiteX0" fmla="*/ 0 w 30000"/>
                <a:gd name="connsiteY0" fmla="*/ 0 h 60000"/>
                <a:gd name="connsiteX1" fmla="*/ 15000 w 30000"/>
                <a:gd name="connsiteY1" fmla="*/ 0 h 60000"/>
                <a:gd name="connsiteX2" fmla="*/ 30000 w 30000"/>
                <a:gd name="connsiteY2" fmla="*/ 15000 h 60000"/>
                <a:gd name="connsiteX3" fmla="*/ 30000 w 30000"/>
                <a:gd name="connsiteY3" fmla="*/ 45000 h 60000"/>
                <a:gd name="connsiteX4" fmla="*/ 15000 w 30000"/>
                <a:gd name="connsiteY4" fmla="*/ 60000 h 60000"/>
                <a:gd name="connsiteX5" fmla="*/ 0 w 30000"/>
                <a:gd name="connsiteY5" fmla="*/ 60000 h 60000"/>
                <a:gd name="connsiteX6" fmla="*/ 0 w 30000"/>
                <a:gd name="connsiteY6" fmla="*/ 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" h="60000">
                  <a:moveTo>
                    <a:pt x="0" y="0"/>
                  </a:moveTo>
                  <a:lnTo>
                    <a:pt x="15000" y="0"/>
                  </a:lnTo>
                  <a:cubicBezTo>
                    <a:pt x="23284" y="0"/>
                    <a:pt x="30000" y="6715"/>
                    <a:pt x="30000" y="15000"/>
                  </a:cubicBezTo>
                  <a:lnTo>
                    <a:pt x="30000" y="45000"/>
                  </a:lnTo>
                  <a:cubicBezTo>
                    <a:pt x="30000" y="53285"/>
                    <a:pt x="23284" y="60000"/>
                    <a:pt x="15000" y="60000"/>
                  </a:cubicBezTo>
                  <a:lnTo>
                    <a:pt x="0" y="6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68" name="Рисунок 73">
            <a:extLst>
              <a:ext uri="{FF2B5EF4-FFF2-40B4-BE49-F238E27FC236}">
                <a16:creationId xmlns:a16="http://schemas.microsoft.com/office/drawing/2014/main" id="{8F81E0A1-7550-A749-9BAE-E4D72A1834D8}"/>
              </a:ext>
            </a:extLst>
          </p:cNvPr>
          <p:cNvGrpSpPr/>
          <p:nvPr/>
        </p:nvGrpSpPr>
        <p:grpSpPr>
          <a:xfrm>
            <a:off x="9695628" y="5807534"/>
            <a:ext cx="360000" cy="360000"/>
            <a:chOff x="9774833" y="6124256"/>
            <a:chExt cx="360000" cy="360000"/>
          </a:xfrm>
        </p:grpSpPr>
        <p:sp>
          <p:nvSpPr>
            <p:cNvPr id="369" name="Полилиния 368">
              <a:extLst>
                <a:ext uri="{FF2B5EF4-FFF2-40B4-BE49-F238E27FC236}">
                  <a16:creationId xmlns:a16="http://schemas.microsoft.com/office/drawing/2014/main" id="{F8296126-5F80-8343-A68D-6D27EF53A5E4}"/>
                </a:ext>
              </a:extLst>
            </p:cNvPr>
            <p:cNvSpPr/>
            <p:nvPr/>
          </p:nvSpPr>
          <p:spPr>
            <a:xfrm>
              <a:off x="977483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" name="Полилиния 369">
              <a:extLst>
                <a:ext uri="{FF2B5EF4-FFF2-40B4-BE49-F238E27FC236}">
                  <a16:creationId xmlns:a16="http://schemas.microsoft.com/office/drawing/2014/main" id="{6110A440-AB4F-E94C-A2AF-DDFC8FDA7747}"/>
                </a:ext>
              </a:extLst>
            </p:cNvPr>
            <p:cNvSpPr/>
            <p:nvPr/>
          </p:nvSpPr>
          <p:spPr>
            <a:xfrm>
              <a:off x="9804833" y="6229256"/>
              <a:ext cx="255000" cy="150000"/>
            </a:xfrm>
            <a:custGeom>
              <a:avLst/>
              <a:gdLst>
                <a:gd name="connsiteX0" fmla="*/ 30000 w 255000"/>
                <a:gd name="connsiteY0" fmla="*/ 30000 h 150000"/>
                <a:gd name="connsiteX1" fmla="*/ 30000 w 255000"/>
                <a:gd name="connsiteY1" fmla="*/ 120000 h 150000"/>
                <a:gd name="connsiteX2" fmla="*/ 225000 w 255000"/>
                <a:gd name="connsiteY2" fmla="*/ 120000 h 150000"/>
                <a:gd name="connsiteX3" fmla="*/ 225000 w 255000"/>
                <a:gd name="connsiteY3" fmla="*/ 30000 h 150000"/>
                <a:gd name="connsiteX4" fmla="*/ 30000 w 255000"/>
                <a:gd name="connsiteY4" fmla="*/ 30000 h 150000"/>
                <a:gd name="connsiteX5" fmla="*/ 30000 w 255000"/>
                <a:gd name="connsiteY5" fmla="*/ 0 h 150000"/>
                <a:gd name="connsiteX6" fmla="*/ 225000 w 255000"/>
                <a:gd name="connsiteY6" fmla="*/ 0 h 150000"/>
                <a:gd name="connsiteX7" fmla="*/ 255000 w 255000"/>
                <a:gd name="connsiteY7" fmla="*/ 30000 h 150000"/>
                <a:gd name="connsiteX8" fmla="*/ 255000 w 255000"/>
                <a:gd name="connsiteY8" fmla="*/ 120000 h 150000"/>
                <a:gd name="connsiteX9" fmla="*/ 225000 w 255000"/>
                <a:gd name="connsiteY9" fmla="*/ 150000 h 150000"/>
                <a:gd name="connsiteX10" fmla="*/ 30000 w 255000"/>
                <a:gd name="connsiteY10" fmla="*/ 150000 h 150000"/>
                <a:gd name="connsiteX11" fmla="*/ 0 w 255000"/>
                <a:gd name="connsiteY11" fmla="*/ 120000 h 150000"/>
                <a:gd name="connsiteX12" fmla="*/ 0 w 255000"/>
                <a:gd name="connsiteY12" fmla="*/ 30000 h 150000"/>
                <a:gd name="connsiteX13" fmla="*/ 30000 w 255000"/>
                <a:gd name="connsiteY13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5000" h="150000">
                  <a:moveTo>
                    <a:pt x="30000" y="30000"/>
                  </a:moveTo>
                  <a:lnTo>
                    <a:pt x="30000" y="120000"/>
                  </a:lnTo>
                  <a:lnTo>
                    <a:pt x="225000" y="120000"/>
                  </a:lnTo>
                  <a:lnTo>
                    <a:pt x="225000" y="30000"/>
                  </a:lnTo>
                  <a:lnTo>
                    <a:pt x="30000" y="30000"/>
                  </a:lnTo>
                  <a:close/>
                  <a:moveTo>
                    <a:pt x="30000" y="0"/>
                  </a:moveTo>
                  <a:lnTo>
                    <a:pt x="225000" y="0"/>
                  </a:lnTo>
                  <a:cubicBezTo>
                    <a:pt x="241569" y="0"/>
                    <a:pt x="255000" y="13431"/>
                    <a:pt x="255000" y="30000"/>
                  </a:cubicBezTo>
                  <a:lnTo>
                    <a:pt x="255000" y="120000"/>
                  </a:lnTo>
                  <a:cubicBezTo>
                    <a:pt x="255000" y="136569"/>
                    <a:pt x="241569" y="150000"/>
                    <a:pt x="225000" y="150000"/>
                  </a:cubicBezTo>
                  <a:lnTo>
                    <a:pt x="30000" y="150000"/>
                  </a:lnTo>
                  <a:cubicBezTo>
                    <a:pt x="13431" y="150000"/>
                    <a:pt x="0" y="136569"/>
                    <a:pt x="0" y="12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371" name="Полилиния 370">
              <a:extLst>
                <a:ext uri="{FF2B5EF4-FFF2-40B4-BE49-F238E27FC236}">
                  <a16:creationId xmlns:a16="http://schemas.microsoft.com/office/drawing/2014/main" id="{341EDB80-1D34-9E49-8796-0B2433950231}"/>
                </a:ext>
              </a:extLst>
            </p:cNvPr>
            <p:cNvSpPr/>
            <p:nvPr/>
          </p:nvSpPr>
          <p:spPr>
            <a:xfrm>
              <a:off x="10074833" y="6274256"/>
              <a:ext cx="30000" cy="60000"/>
            </a:xfrm>
            <a:custGeom>
              <a:avLst/>
              <a:gdLst>
                <a:gd name="connsiteX0" fmla="*/ 0 w 30000"/>
                <a:gd name="connsiteY0" fmla="*/ 0 h 60000"/>
                <a:gd name="connsiteX1" fmla="*/ 15000 w 30000"/>
                <a:gd name="connsiteY1" fmla="*/ 0 h 60000"/>
                <a:gd name="connsiteX2" fmla="*/ 30000 w 30000"/>
                <a:gd name="connsiteY2" fmla="*/ 15000 h 60000"/>
                <a:gd name="connsiteX3" fmla="*/ 30000 w 30000"/>
                <a:gd name="connsiteY3" fmla="*/ 45000 h 60000"/>
                <a:gd name="connsiteX4" fmla="*/ 15000 w 30000"/>
                <a:gd name="connsiteY4" fmla="*/ 60000 h 60000"/>
                <a:gd name="connsiteX5" fmla="*/ 0 w 30000"/>
                <a:gd name="connsiteY5" fmla="*/ 60000 h 60000"/>
                <a:gd name="connsiteX6" fmla="*/ 0 w 30000"/>
                <a:gd name="connsiteY6" fmla="*/ 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" h="60000">
                  <a:moveTo>
                    <a:pt x="0" y="0"/>
                  </a:moveTo>
                  <a:lnTo>
                    <a:pt x="15000" y="0"/>
                  </a:lnTo>
                  <a:cubicBezTo>
                    <a:pt x="23284" y="0"/>
                    <a:pt x="30000" y="6715"/>
                    <a:pt x="30000" y="15000"/>
                  </a:cubicBezTo>
                  <a:lnTo>
                    <a:pt x="30000" y="45000"/>
                  </a:lnTo>
                  <a:cubicBezTo>
                    <a:pt x="30000" y="53285"/>
                    <a:pt x="23284" y="60000"/>
                    <a:pt x="15000" y="60000"/>
                  </a:cubicBezTo>
                  <a:lnTo>
                    <a:pt x="0" y="6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72" name="Рисунок 74">
            <a:extLst>
              <a:ext uri="{FF2B5EF4-FFF2-40B4-BE49-F238E27FC236}">
                <a16:creationId xmlns:a16="http://schemas.microsoft.com/office/drawing/2014/main" id="{6F4B6B1C-62D6-E74A-9D5D-649289D7176D}"/>
              </a:ext>
            </a:extLst>
          </p:cNvPr>
          <p:cNvGrpSpPr/>
          <p:nvPr/>
        </p:nvGrpSpPr>
        <p:grpSpPr>
          <a:xfrm>
            <a:off x="10448780" y="5807534"/>
            <a:ext cx="360000" cy="360000"/>
            <a:chOff x="10527985" y="6124256"/>
            <a:chExt cx="360000" cy="360000"/>
          </a:xfrm>
        </p:grpSpPr>
        <p:sp>
          <p:nvSpPr>
            <p:cNvPr id="373" name="Полилиния 372">
              <a:extLst>
                <a:ext uri="{FF2B5EF4-FFF2-40B4-BE49-F238E27FC236}">
                  <a16:creationId xmlns:a16="http://schemas.microsoft.com/office/drawing/2014/main" id="{C5E87F94-257F-B64C-8A0F-54E1D7CFCCB7}"/>
                </a:ext>
              </a:extLst>
            </p:cNvPr>
            <p:cNvSpPr/>
            <p:nvPr/>
          </p:nvSpPr>
          <p:spPr>
            <a:xfrm>
              <a:off x="1052798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" name="Скругленный прямоугольник 373">
              <a:extLst>
                <a:ext uri="{FF2B5EF4-FFF2-40B4-BE49-F238E27FC236}">
                  <a16:creationId xmlns:a16="http://schemas.microsoft.com/office/drawing/2014/main" id="{CC4C59CF-CA3C-294F-AAFC-619C9E9D0B25}"/>
                </a:ext>
              </a:extLst>
            </p:cNvPr>
            <p:cNvSpPr/>
            <p:nvPr/>
          </p:nvSpPr>
          <p:spPr>
            <a:xfrm>
              <a:off x="10557985" y="6229256"/>
              <a:ext cx="255000" cy="150000"/>
            </a:xfrm>
            <a:prstGeom prst="roundRect">
              <a:avLst>
                <a:gd name="adj" fmla="val 24600"/>
              </a:avLst>
            </a:pr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" name="Полилиния 374">
              <a:extLst>
                <a:ext uri="{FF2B5EF4-FFF2-40B4-BE49-F238E27FC236}">
                  <a16:creationId xmlns:a16="http://schemas.microsoft.com/office/drawing/2014/main" id="{CB83B4EE-948B-2243-B338-A3262A131535}"/>
                </a:ext>
              </a:extLst>
            </p:cNvPr>
            <p:cNvSpPr/>
            <p:nvPr/>
          </p:nvSpPr>
          <p:spPr>
            <a:xfrm>
              <a:off x="10827985" y="6274256"/>
              <a:ext cx="30000" cy="60000"/>
            </a:xfrm>
            <a:custGeom>
              <a:avLst/>
              <a:gdLst>
                <a:gd name="connsiteX0" fmla="*/ 0 w 30000"/>
                <a:gd name="connsiteY0" fmla="*/ 0 h 60000"/>
                <a:gd name="connsiteX1" fmla="*/ 15000 w 30000"/>
                <a:gd name="connsiteY1" fmla="*/ 0 h 60000"/>
                <a:gd name="connsiteX2" fmla="*/ 30000 w 30000"/>
                <a:gd name="connsiteY2" fmla="*/ 15000 h 60000"/>
                <a:gd name="connsiteX3" fmla="*/ 30000 w 30000"/>
                <a:gd name="connsiteY3" fmla="*/ 45000 h 60000"/>
                <a:gd name="connsiteX4" fmla="*/ 15000 w 30000"/>
                <a:gd name="connsiteY4" fmla="*/ 60000 h 60000"/>
                <a:gd name="connsiteX5" fmla="*/ 0 w 30000"/>
                <a:gd name="connsiteY5" fmla="*/ 60000 h 60000"/>
                <a:gd name="connsiteX6" fmla="*/ 0 w 30000"/>
                <a:gd name="connsiteY6" fmla="*/ 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" h="60000">
                  <a:moveTo>
                    <a:pt x="0" y="0"/>
                  </a:moveTo>
                  <a:lnTo>
                    <a:pt x="15000" y="0"/>
                  </a:lnTo>
                  <a:cubicBezTo>
                    <a:pt x="23284" y="0"/>
                    <a:pt x="30000" y="6715"/>
                    <a:pt x="30000" y="15000"/>
                  </a:cubicBezTo>
                  <a:lnTo>
                    <a:pt x="30000" y="45000"/>
                  </a:lnTo>
                  <a:cubicBezTo>
                    <a:pt x="30000" y="53285"/>
                    <a:pt x="23284" y="60000"/>
                    <a:pt x="15000" y="60000"/>
                  </a:cubicBezTo>
                  <a:lnTo>
                    <a:pt x="0" y="6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76" name="Рисунок 75">
            <a:extLst>
              <a:ext uri="{FF2B5EF4-FFF2-40B4-BE49-F238E27FC236}">
                <a16:creationId xmlns:a16="http://schemas.microsoft.com/office/drawing/2014/main" id="{430A5298-7573-4B43-815D-CFFCD7D100A9}"/>
              </a:ext>
            </a:extLst>
          </p:cNvPr>
          <p:cNvGrpSpPr/>
          <p:nvPr/>
        </p:nvGrpSpPr>
        <p:grpSpPr>
          <a:xfrm>
            <a:off x="11201933" y="5807534"/>
            <a:ext cx="360000" cy="360000"/>
            <a:chOff x="11281138" y="6124256"/>
            <a:chExt cx="360000" cy="360000"/>
          </a:xfrm>
        </p:grpSpPr>
        <p:sp>
          <p:nvSpPr>
            <p:cNvPr id="377" name="Полилиния 376">
              <a:extLst>
                <a:ext uri="{FF2B5EF4-FFF2-40B4-BE49-F238E27FC236}">
                  <a16:creationId xmlns:a16="http://schemas.microsoft.com/office/drawing/2014/main" id="{67C1DDA6-6915-574E-B244-2F1838A48F2D}"/>
                </a:ext>
              </a:extLst>
            </p:cNvPr>
            <p:cNvSpPr/>
            <p:nvPr/>
          </p:nvSpPr>
          <p:spPr>
            <a:xfrm>
              <a:off x="11281138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" name="Полилиния 377">
              <a:extLst>
                <a:ext uri="{FF2B5EF4-FFF2-40B4-BE49-F238E27FC236}">
                  <a16:creationId xmlns:a16="http://schemas.microsoft.com/office/drawing/2014/main" id="{36F87BAF-5A26-1E4D-B245-26353548D7E7}"/>
                </a:ext>
              </a:extLst>
            </p:cNvPr>
            <p:cNvSpPr/>
            <p:nvPr/>
          </p:nvSpPr>
          <p:spPr>
            <a:xfrm>
              <a:off x="11311138" y="6229256"/>
              <a:ext cx="255000" cy="150000"/>
            </a:xfrm>
            <a:custGeom>
              <a:avLst/>
              <a:gdLst>
                <a:gd name="connsiteX0" fmla="*/ 135000 w 255000"/>
                <a:gd name="connsiteY0" fmla="*/ 30000 h 150000"/>
                <a:gd name="connsiteX1" fmla="*/ 135000 w 255000"/>
                <a:gd name="connsiteY1" fmla="*/ 120000 h 150000"/>
                <a:gd name="connsiteX2" fmla="*/ 225000 w 255000"/>
                <a:gd name="connsiteY2" fmla="*/ 120000 h 150000"/>
                <a:gd name="connsiteX3" fmla="*/ 225000 w 255000"/>
                <a:gd name="connsiteY3" fmla="*/ 30000 h 150000"/>
                <a:gd name="connsiteX4" fmla="*/ 135000 w 255000"/>
                <a:gd name="connsiteY4" fmla="*/ 30000 h 150000"/>
                <a:gd name="connsiteX5" fmla="*/ 30000 w 255000"/>
                <a:gd name="connsiteY5" fmla="*/ 0 h 150000"/>
                <a:gd name="connsiteX6" fmla="*/ 225000 w 255000"/>
                <a:gd name="connsiteY6" fmla="*/ 0 h 150000"/>
                <a:gd name="connsiteX7" fmla="*/ 255000 w 255000"/>
                <a:gd name="connsiteY7" fmla="*/ 30000 h 150000"/>
                <a:gd name="connsiteX8" fmla="*/ 255000 w 255000"/>
                <a:gd name="connsiteY8" fmla="*/ 120000 h 150000"/>
                <a:gd name="connsiteX9" fmla="*/ 225000 w 255000"/>
                <a:gd name="connsiteY9" fmla="*/ 150000 h 150000"/>
                <a:gd name="connsiteX10" fmla="*/ 30000 w 255000"/>
                <a:gd name="connsiteY10" fmla="*/ 150000 h 150000"/>
                <a:gd name="connsiteX11" fmla="*/ 0 w 255000"/>
                <a:gd name="connsiteY11" fmla="*/ 120000 h 150000"/>
                <a:gd name="connsiteX12" fmla="*/ 0 w 255000"/>
                <a:gd name="connsiteY12" fmla="*/ 30000 h 150000"/>
                <a:gd name="connsiteX13" fmla="*/ 30000 w 255000"/>
                <a:gd name="connsiteY13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5000" h="150000">
                  <a:moveTo>
                    <a:pt x="135000" y="30000"/>
                  </a:moveTo>
                  <a:lnTo>
                    <a:pt x="135000" y="120000"/>
                  </a:lnTo>
                  <a:lnTo>
                    <a:pt x="225000" y="120000"/>
                  </a:lnTo>
                  <a:lnTo>
                    <a:pt x="225000" y="30000"/>
                  </a:lnTo>
                  <a:lnTo>
                    <a:pt x="135000" y="30000"/>
                  </a:lnTo>
                  <a:close/>
                  <a:moveTo>
                    <a:pt x="30000" y="0"/>
                  </a:moveTo>
                  <a:lnTo>
                    <a:pt x="225000" y="0"/>
                  </a:lnTo>
                  <a:cubicBezTo>
                    <a:pt x="241569" y="0"/>
                    <a:pt x="255000" y="13431"/>
                    <a:pt x="255000" y="30000"/>
                  </a:cubicBezTo>
                  <a:lnTo>
                    <a:pt x="255000" y="120000"/>
                  </a:lnTo>
                  <a:cubicBezTo>
                    <a:pt x="255000" y="136569"/>
                    <a:pt x="241569" y="150000"/>
                    <a:pt x="225000" y="150000"/>
                  </a:cubicBezTo>
                  <a:lnTo>
                    <a:pt x="30000" y="150000"/>
                  </a:lnTo>
                  <a:cubicBezTo>
                    <a:pt x="13431" y="150000"/>
                    <a:pt x="0" y="136569"/>
                    <a:pt x="0" y="12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" name="Полилиния 378">
              <a:extLst>
                <a:ext uri="{FF2B5EF4-FFF2-40B4-BE49-F238E27FC236}">
                  <a16:creationId xmlns:a16="http://schemas.microsoft.com/office/drawing/2014/main" id="{C90BF725-1631-784F-8659-79128D38EC16}"/>
                </a:ext>
              </a:extLst>
            </p:cNvPr>
            <p:cNvSpPr/>
            <p:nvPr/>
          </p:nvSpPr>
          <p:spPr>
            <a:xfrm>
              <a:off x="11581138" y="6274256"/>
              <a:ext cx="30000" cy="60000"/>
            </a:xfrm>
            <a:custGeom>
              <a:avLst/>
              <a:gdLst>
                <a:gd name="connsiteX0" fmla="*/ 0 w 30000"/>
                <a:gd name="connsiteY0" fmla="*/ 0 h 60000"/>
                <a:gd name="connsiteX1" fmla="*/ 15000 w 30000"/>
                <a:gd name="connsiteY1" fmla="*/ 0 h 60000"/>
                <a:gd name="connsiteX2" fmla="*/ 30000 w 30000"/>
                <a:gd name="connsiteY2" fmla="*/ 15000 h 60000"/>
                <a:gd name="connsiteX3" fmla="*/ 30000 w 30000"/>
                <a:gd name="connsiteY3" fmla="*/ 45000 h 60000"/>
                <a:gd name="connsiteX4" fmla="*/ 15000 w 30000"/>
                <a:gd name="connsiteY4" fmla="*/ 60000 h 60000"/>
                <a:gd name="connsiteX5" fmla="*/ 0 w 30000"/>
                <a:gd name="connsiteY5" fmla="*/ 60000 h 60000"/>
                <a:gd name="connsiteX6" fmla="*/ 0 w 30000"/>
                <a:gd name="connsiteY6" fmla="*/ 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" h="60000">
                  <a:moveTo>
                    <a:pt x="0" y="0"/>
                  </a:moveTo>
                  <a:lnTo>
                    <a:pt x="15000" y="0"/>
                  </a:lnTo>
                  <a:cubicBezTo>
                    <a:pt x="23284" y="0"/>
                    <a:pt x="30000" y="6715"/>
                    <a:pt x="30000" y="15000"/>
                  </a:cubicBezTo>
                  <a:lnTo>
                    <a:pt x="30000" y="45000"/>
                  </a:lnTo>
                  <a:cubicBezTo>
                    <a:pt x="30000" y="53285"/>
                    <a:pt x="23284" y="60000"/>
                    <a:pt x="15000" y="60000"/>
                  </a:cubicBezTo>
                  <a:lnTo>
                    <a:pt x="0" y="6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80" name="Рисунок 76">
            <a:extLst>
              <a:ext uri="{FF2B5EF4-FFF2-40B4-BE49-F238E27FC236}">
                <a16:creationId xmlns:a16="http://schemas.microsoft.com/office/drawing/2014/main" id="{AF57DA61-40F1-5B4C-843D-0ADE0E9E8E83}"/>
              </a:ext>
            </a:extLst>
          </p:cNvPr>
          <p:cNvGrpSpPr/>
          <p:nvPr/>
        </p:nvGrpSpPr>
        <p:grpSpPr>
          <a:xfrm>
            <a:off x="657804" y="5807534"/>
            <a:ext cx="360000" cy="360000"/>
            <a:chOff x="737009" y="6124256"/>
            <a:chExt cx="360000" cy="360000"/>
          </a:xfrm>
        </p:grpSpPr>
        <p:sp>
          <p:nvSpPr>
            <p:cNvPr id="381" name="Полилиния 380">
              <a:extLst>
                <a:ext uri="{FF2B5EF4-FFF2-40B4-BE49-F238E27FC236}">
                  <a16:creationId xmlns:a16="http://schemas.microsoft.com/office/drawing/2014/main" id="{509F8CA6-3B68-EC48-92DC-5C71E5D5999C}"/>
                </a:ext>
              </a:extLst>
            </p:cNvPr>
            <p:cNvSpPr/>
            <p:nvPr/>
          </p:nvSpPr>
          <p:spPr>
            <a:xfrm>
              <a:off x="73700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" name="Полилиния 381">
              <a:extLst>
                <a:ext uri="{FF2B5EF4-FFF2-40B4-BE49-F238E27FC236}">
                  <a16:creationId xmlns:a16="http://schemas.microsoft.com/office/drawing/2014/main" id="{4DCB76C1-C16D-6B4B-9C92-C952569EBB1C}"/>
                </a:ext>
              </a:extLst>
            </p:cNvPr>
            <p:cNvSpPr/>
            <p:nvPr/>
          </p:nvSpPr>
          <p:spPr>
            <a:xfrm>
              <a:off x="767009" y="6394256"/>
              <a:ext cx="300000" cy="60000"/>
            </a:xfrm>
            <a:custGeom>
              <a:avLst/>
              <a:gdLst>
                <a:gd name="connsiteX0" fmla="*/ 30000 w 300000"/>
                <a:gd name="connsiteY0" fmla="*/ 60000 h 60000"/>
                <a:gd name="connsiteX1" fmla="*/ 0 w 300000"/>
                <a:gd name="connsiteY1" fmla="*/ 60000 h 60000"/>
                <a:gd name="connsiteX2" fmla="*/ 75000 w 300000"/>
                <a:gd name="connsiteY2" fmla="*/ 0 h 60000"/>
                <a:gd name="connsiteX3" fmla="*/ 225000 w 300000"/>
                <a:gd name="connsiteY3" fmla="*/ 0 h 60000"/>
                <a:gd name="connsiteX4" fmla="*/ 300000 w 300000"/>
                <a:gd name="connsiteY4" fmla="*/ 60000 h 60000"/>
                <a:gd name="connsiteX5" fmla="*/ 270000 w 300000"/>
                <a:gd name="connsiteY5" fmla="*/ 60000 h 60000"/>
                <a:gd name="connsiteX6" fmla="*/ 225000 w 300000"/>
                <a:gd name="connsiteY6" fmla="*/ 30000 h 60000"/>
                <a:gd name="connsiteX7" fmla="*/ 75000 w 300000"/>
                <a:gd name="connsiteY7" fmla="*/ 30000 h 60000"/>
                <a:gd name="connsiteX8" fmla="*/ 30000 w 300000"/>
                <a:gd name="connsiteY8" fmla="*/ 6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000" h="60000">
                  <a:moveTo>
                    <a:pt x="30000" y="60000"/>
                  </a:moveTo>
                  <a:lnTo>
                    <a:pt x="0" y="60000"/>
                  </a:lnTo>
                  <a:cubicBezTo>
                    <a:pt x="0" y="18579"/>
                    <a:pt x="33579" y="0"/>
                    <a:pt x="75000" y="0"/>
                  </a:cubicBezTo>
                  <a:lnTo>
                    <a:pt x="225000" y="0"/>
                  </a:lnTo>
                  <a:cubicBezTo>
                    <a:pt x="266421" y="0"/>
                    <a:pt x="300000" y="18579"/>
                    <a:pt x="300000" y="60000"/>
                  </a:cubicBezTo>
                  <a:lnTo>
                    <a:pt x="270000" y="60000"/>
                  </a:lnTo>
                  <a:cubicBezTo>
                    <a:pt x="270000" y="35146"/>
                    <a:pt x="249854" y="30000"/>
                    <a:pt x="225000" y="30000"/>
                  </a:cubicBezTo>
                  <a:lnTo>
                    <a:pt x="75000" y="30000"/>
                  </a:lnTo>
                  <a:cubicBezTo>
                    <a:pt x="50147" y="30000"/>
                    <a:pt x="30000" y="35146"/>
                    <a:pt x="30000" y="6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" name="Скругленный прямоугольник 382">
              <a:extLst>
                <a:ext uri="{FF2B5EF4-FFF2-40B4-BE49-F238E27FC236}">
                  <a16:creationId xmlns:a16="http://schemas.microsoft.com/office/drawing/2014/main" id="{9E721121-7532-BE41-B76A-89C32CF776E9}"/>
                </a:ext>
              </a:extLst>
            </p:cNvPr>
            <p:cNvSpPr/>
            <p:nvPr/>
          </p:nvSpPr>
          <p:spPr>
            <a:xfrm>
              <a:off x="752009" y="6334256"/>
              <a:ext cx="330000" cy="90000"/>
            </a:xfrm>
            <a:prstGeom prst="roundRect">
              <a:avLst/>
            </a:pr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" name="Полилиния 383">
              <a:extLst>
                <a:ext uri="{FF2B5EF4-FFF2-40B4-BE49-F238E27FC236}">
                  <a16:creationId xmlns:a16="http://schemas.microsoft.com/office/drawing/2014/main" id="{DB48D058-AFF4-4D49-9BFC-2BA4C73BF594}"/>
                </a:ext>
              </a:extLst>
            </p:cNvPr>
            <p:cNvSpPr/>
            <p:nvPr/>
          </p:nvSpPr>
          <p:spPr>
            <a:xfrm>
              <a:off x="782009" y="6214256"/>
              <a:ext cx="270000" cy="105000"/>
            </a:xfrm>
            <a:custGeom>
              <a:avLst/>
              <a:gdLst>
                <a:gd name="connsiteX0" fmla="*/ 150000 w 270000"/>
                <a:gd name="connsiteY0" fmla="*/ 105000 h 105000"/>
                <a:gd name="connsiteX1" fmla="*/ 120000 w 270000"/>
                <a:gd name="connsiteY1" fmla="*/ 105000 h 105000"/>
                <a:gd name="connsiteX2" fmla="*/ 120000 w 270000"/>
                <a:gd name="connsiteY2" fmla="*/ 90000 h 105000"/>
                <a:gd name="connsiteX3" fmla="*/ 105000 w 270000"/>
                <a:gd name="connsiteY3" fmla="*/ 75000 h 105000"/>
                <a:gd name="connsiteX4" fmla="*/ 45000 w 270000"/>
                <a:gd name="connsiteY4" fmla="*/ 75000 h 105000"/>
                <a:gd name="connsiteX5" fmla="*/ 30000 w 270000"/>
                <a:gd name="connsiteY5" fmla="*/ 90000 h 105000"/>
                <a:gd name="connsiteX6" fmla="*/ 30000 w 270000"/>
                <a:gd name="connsiteY6" fmla="*/ 105000 h 105000"/>
                <a:gd name="connsiteX7" fmla="*/ 15000 w 270000"/>
                <a:gd name="connsiteY7" fmla="*/ 105000 h 105000"/>
                <a:gd name="connsiteX8" fmla="*/ 0 w 270000"/>
                <a:gd name="connsiteY8" fmla="*/ 90000 h 105000"/>
                <a:gd name="connsiteX9" fmla="*/ 0 w 270000"/>
                <a:gd name="connsiteY9" fmla="*/ 30000 h 105000"/>
                <a:gd name="connsiteX10" fmla="*/ 30000 w 270000"/>
                <a:gd name="connsiteY10" fmla="*/ 0 h 105000"/>
                <a:gd name="connsiteX11" fmla="*/ 240000 w 270000"/>
                <a:gd name="connsiteY11" fmla="*/ 0 h 105000"/>
                <a:gd name="connsiteX12" fmla="*/ 270000 w 270000"/>
                <a:gd name="connsiteY12" fmla="*/ 30000 h 105000"/>
                <a:gd name="connsiteX13" fmla="*/ 270000 w 270000"/>
                <a:gd name="connsiteY13" fmla="*/ 90000 h 105000"/>
                <a:gd name="connsiteX14" fmla="*/ 255000 w 270000"/>
                <a:gd name="connsiteY14" fmla="*/ 105000 h 105000"/>
                <a:gd name="connsiteX15" fmla="*/ 240000 w 270000"/>
                <a:gd name="connsiteY15" fmla="*/ 105000 h 105000"/>
                <a:gd name="connsiteX16" fmla="*/ 240000 w 270000"/>
                <a:gd name="connsiteY16" fmla="*/ 90000 h 105000"/>
                <a:gd name="connsiteX17" fmla="*/ 225000 w 270000"/>
                <a:gd name="connsiteY17" fmla="*/ 75000 h 105000"/>
                <a:gd name="connsiteX18" fmla="*/ 165000 w 270000"/>
                <a:gd name="connsiteY18" fmla="*/ 75000 h 105000"/>
                <a:gd name="connsiteX19" fmla="*/ 150000 w 270000"/>
                <a:gd name="connsiteY19" fmla="*/ 90000 h 105000"/>
                <a:gd name="connsiteX20" fmla="*/ 150000 w 270000"/>
                <a:gd name="connsiteY20" fmla="*/ 10500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000" h="105000">
                  <a:moveTo>
                    <a:pt x="150000" y="105000"/>
                  </a:moveTo>
                  <a:lnTo>
                    <a:pt x="120000" y="105000"/>
                  </a:lnTo>
                  <a:lnTo>
                    <a:pt x="120000" y="90000"/>
                  </a:lnTo>
                  <a:cubicBezTo>
                    <a:pt x="120000" y="81715"/>
                    <a:pt x="113285" y="75000"/>
                    <a:pt x="105000" y="75000"/>
                  </a:cubicBezTo>
                  <a:lnTo>
                    <a:pt x="45000" y="75000"/>
                  </a:lnTo>
                  <a:cubicBezTo>
                    <a:pt x="36716" y="75000"/>
                    <a:pt x="30000" y="81715"/>
                    <a:pt x="30000" y="90000"/>
                  </a:cubicBezTo>
                  <a:lnTo>
                    <a:pt x="30000" y="105000"/>
                  </a:lnTo>
                  <a:lnTo>
                    <a:pt x="15000" y="105000"/>
                  </a:lnTo>
                  <a:cubicBezTo>
                    <a:pt x="6716" y="105000"/>
                    <a:pt x="0" y="98285"/>
                    <a:pt x="0" y="9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90000"/>
                  </a:lnTo>
                  <a:cubicBezTo>
                    <a:pt x="270000" y="98285"/>
                    <a:pt x="263285" y="105000"/>
                    <a:pt x="255000" y="105000"/>
                  </a:cubicBezTo>
                  <a:lnTo>
                    <a:pt x="240000" y="105000"/>
                  </a:lnTo>
                  <a:lnTo>
                    <a:pt x="240000" y="90000"/>
                  </a:lnTo>
                  <a:cubicBezTo>
                    <a:pt x="240000" y="81715"/>
                    <a:pt x="233285" y="75000"/>
                    <a:pt x="225000" y="75000"/>
                  </a:cubicBezTo>
                  <a:lnTo>
                    <a:pt x="165000" y="75000"/>
                  </a:lnTo>
                  <a:cubicBezTo>
                    <a:pt x="156716" y="75000"/>
                    <a:pt x="150000" y="81715"/>
                    <a:pt x="150000" y="90000"/>
                  </a:cubicBezTo>
                  <a:lnTo>
                    <a:pt x="150000" y="10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85" name="Рисунок 77">
            <a:extLst>
              <a:ext uri="{FF2B5EF4-FFF2-40B4-BE49-F238E27FC236}">
                <a16:creationId xmlns:a16="http://schemas.microsoft.com/office/drawing/2014/main" id="{FA8F68D0-33AF-DF49-B0DB-1B884BFD46E3}"/>
              </a:ext>
            </a:extLst>
          </p:cNvPr>
          <p:cNvGrpSpPr/>
          <p:nvPr/>
        </p:nvGrpSpPr>
        <p:grpSpPr>
          <a:xfrm>
            <a:off x="5929868" y="5134477"/>
            <a:ext cx="360000" cy="360000"/>
            <a:chOff x="6009073" y="5451199"/>
            <a:chExt cx="360000" cy="360000"/>
          </a:xfrm>
        </p:grpSpPr>
        <p:sp>
          <p:nvSpPr>
            <p:cNvPr id="386" name="Полилиния 385">
              <a:extLst>
                <a:ext uri="{FF2B5EF4-FFF2-40B4-BE49-F238E27FC236}">
                  <a16:creationId xmlns:a16="http://schemas.microsoft.com/office/drawing/2014/main" id="{B2FC582F-9B24-6A43-B474-FAF2EC4E2FF8}"/>
                </a:ext>
              </a:extLst>
            </p:cNvPr>
            <p:cNvSpPr/>
            <p:nvPr/>
          </p:nvSpPr>
          <p:spPr>
            <a:xfrm>
              <a:off x="6009073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" name="Полилиния 386">
              <a:extLst>
                <a:ext uri="{FF2B5EF4-FFF2-40B4-BE49-F238E27FC236}">
                  <a16:creationId xmlns:a16="http://schemas.microsoft.com/office/drawing/2014/main" id="{23CC15C9-6E60-784B-A40E-AAF344DD08BF}"/>
                </a:ext>
              </a:extLst>
            </p:cNvPr>
            <p:cNvSpPr/>
            <p:nvPr/>
          </p:nvSpPr>
          <p:spPr>
            <a:xfrm>
              <a:off x="6054776" y="5541199"/>
              <a:ext cx="268593" cy="124538"/>
            </a:xfrm>
            <a:custGeom>
              <a:avLst/>
              <a:gdLst>
                <a:gd name="connsiteX0" fmla="*/ 28594 w 268593"/>
                <a:gd name="connsiteY0" fmla="*/ 124539 h 124538"/>
                <a:gd name="connsiteX1" fmla="*/ 0 w 268593"/>
                <a:gd name="connsiteY1" fmla="*/ 115461 h 124538"/>
                <a:gd name="connsiteX2" fmla="*/ 134297 w 268593"/>
                <a:gd name="connsiteY2" fmla="*/ 0 h 124538"/>
                <a:gd name="connsiteX3" fmla="*/ 268593 w 268593"/>
                <a:gd name="connsiteY3" fmla="*/ 115461 h 124538"/>
                <a:gd name="connsiteX4" fmla="*/ 240000 w 268593"/>
                <a:gd name="connsiteY4" fmla="*/ 124539 h 124538"/>
                <a:gd name="connsiteX5" fmla="*/ 134297 w 268593"/>
                <a:gd name="connsiteY5" fmla="*/ 30000 h 124538"/>
                <a:gd name="connsiteX6" fmla="*/ 28594 w 268593"/>
                <a:gd name="connsiteY6" fmla="*/ 124539 h 124538"/>
                <a:gd name="connsiteX7" fmla="*/ 134297 w 268593"/>
                <a:gd name="connsiteY7" fmla="*/ 30000 h 124538"/>
                <a:gd name="connsiteX8" fmla="*/ 149297 w 268593"/>
                <a:gd name="connsiteY8" fmla="*/ 15000 h 124538"/>
                <a:gd name="connsiteX9" fmla="*/ 134297 w 268593"/>
                <a:gd name="connsiteY9" fmla="*/ 0 h 124538"/>
                <a:gd name="connsiteX10" fmla="*/ 119297 w 268593"/>
                <a:gd name="connsiteY10" fmla="*/ 15000 h 124538"/>
                <a:gd name="connsiteX11" fmla="*/ 134297 w 268593"/>
                <a:gd name="connsiteY11" fmla="*/ 30000 h 124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8593" h="124538">
                  <a:moveTo>
                    <a:pt x="28594" y="124539"/>
                  </a:moveTo>
                  <a:lnTo>
                    <a:pt x="0" y="115461"/>
                  </a:lnTo>
                  <a:cubicBezTo>
                    <a:pt x="24062" y="39666"/>
                    <a:pt x="69395" y="0"/>
                    <a:pt x="134297" y="0"/>
                  </a:cubicBezTo>
                  <a:cubicBezTo>
                    <a:pt x="199199" y="0"/>
                    <a:pt x="244532" y="39666"/>
                    <a:pt x="268593" y="115461"/>
                  </a:cubicBezTo>
                  <a:lnTo>
                    <a:pt x="240000" y="124539"/>
                  </a:lnTo>
                  <a:cubicBezTo>
                    <a:pt x="219617" y="60334"/>
                    <a:pt x="184950" y="30000"/>
                    <a:pt x="134297" y="30000"/>
                  </a:cubicBezTo>
                  <a:cubicBezTo>
                    <a:pt x="83644" y="30000"/>
                    <a:pt x="48976" y="60334"/>
                    <a:pt x="28594" y="124539"/>
                  </a:cubicBezTo>
                  <a:close/>
                  <a:moveTo>
                    <a:pt x="134297" y="30000"/>
                  </a:moveTo>
                  <a:cubicBezTo>
                    <a:pt x="142581" y="30000"/>
                    <a:pt x="149297" y="23284"/>
                    <a:pt x="149297" y="15000"/>
                  </a:cubicBezTo>
                  <a:cubicBezTo>
                    <a:pt x="149297" y="6716"/>
                    <a:pt x="142581" y="0"/>
                    <a:pt x="134297" y="0"/>
                  </a:cubicBezTo>
                  <a:cubicBezTo>
                    <a:pt x="126012" y="0"/>
                    <a:pt x="119297" y="6716"/>
                    <a:pt x="119297" y="15000"/>
                  </a:cubicBezTo>
                  <a:cubicBezTo>
                    <a:pt x="119297" y="23284"/>
                    <a:pt x="126012" y="30000"/>
                    <a:pt x="134297" y="3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" name="Полилиния 387">
              <a:extLst>
                <a:ext uri="{FF2B5EF4-FFF2-40B4-BE49-F238E27FC236}">
                  <a16:creationId xmlns:a16="http://schemas.microsoft.com/office/drawing/2014/main" id="{DC5BEB66-8BD4-AC4D-848E-FEFDF5C9DBD4}"/>
                </a:ext>
              </a:extLst>
            </p:cNvPr>
            <p:cNvSpPr/>
            <p:nvPr/>
          </p:nvSpPr>
          <p:spPr>
            <a:xfrm>
              <a:off x="6024073" y="5511199"/>
              <a:ext cx="330000" cy="225000"/>
            </a:xfrm>
            <a:custGeom>
              <a:avLst/>
              <a:gdLst>
                <a:gd name="connsiteX0" fmla="*/ 70987 w 330000"/>
                <a:gd name="connsiteY0" fmla="*/ 30000 h 225000"/>
                <a:gd name="connsiteX1" fmla="*/ 122561 w 330000"/>
                <a:gd name="connsiteY1" fmla="*/ 30000 h 225000"/>
                <a:gd name="connsiteX2" fmla="*/ 165000 w 330000"/>
                <a:gd name="connsiteY2" fmla="*/ 0 h 225000"/>
                <a:gd name="connsiteX3" fmla="*/ 207440 w 330000"/>
                <a:gd name="connsiteY3" fmla="*/ 30000 h 225000"/>
                <a:gd name="connsiteX4" fmla="*/ 259014 w 330000"/>
                <a:gd name="connsiteY4" fmla="*/ 30000 h 225000"/>
                <a:gd name="connsiteX5" fmla="*/ 285000 w 330000"/>
                <a:gd name="connsiteY5" fmla="*/ 15000 h 225000"/>
                <a:gd name="connsiteX6" fmla="*/ 315000 w 330000"/>
                <a:gd name="connsiteY6" fmla="*/ 45000 h 225000"/>
                <a:gd name="connsiteX7" fmla="*/ 285000 w 330000"/>
                <a:gd name="connsiteY7" fmla="*/ 75000 h 225000"/>
                <a:gd name="connsiteX8" fmla="*/ 259014 w 330000"/>
                <a:gd name="connsiteY8" fmla="*/ 60000 h 225000"/>
                <a:gd name="connsiteX9" fmla="*/ 207440 w 330000"/>
                <a:gd name="connsiteY9" fmla="*/ 60000 h 225000"/>
                <a:gd name="connsiteX10" fmla="*/ 165000 w 330000"/>
                <a:gd name="connsiteY10" fmla="*/ 90000 h 225000"/>
                <a:gd name="connsiteX11" fmla="*/ 122561 w 330000"/>
                <a:gd name="connsiteY11" fmla="*/ 60000 h 225000"/>
                <a:gd name="connsiteX12" fmla="*/ 70987 w 330000"/>
                <a:gd name="connsiteY12" fmla="*/ 60000 h 225000"/>
                <a:gd name="connsiteX13" fmla="*/ 45000 w 330000"/>
                <a:gd name="connsiteY13" fmla="*/ 75000 h 225000"/>
                <a:gd name="connsiteX14" fmla="*/ 15000 w 330000"/>
                <a:gd name="connsiteY14" fmla="*/ 45000 h 225000"/>
                <a:gd name="connsiteX15" fmla="*/ 45000 w 330000"/>
                <a:gd name="connsiteY15" fmla="*/ 15000 h 225000"/>
                <a:gd name="connsiteX16" fmla="*/ 70987 w 330000"/>
                <a:gd name="connsiteY16" fmla="*/ 30000 h 225000"/>
                <a:gd name="connsiteX17" fmla="*/ 165000 w 330000"/>
                <a:gd name="connsiteY17" fmla="*/ 60000 h 225000"/>
                <a:gd name="connsiteX18" fmla="*/ 180000 w 330000"/>
                <a:gd name="connsiteY18" fmla="*/ 45000 h 225000"/>
                <a:gd name="connsiteX19" fmla="*/ 165000 w 330000"/>
                <a:gd name="connsiteY19" fmla="*/ 30000 h 225000"/>
                <a:gd name="connsiteX20" fmla="*/ 150000 w 330000"/>
                <a:gd name="connsiteY20" fmla="*/ 45000 h 225000"/>
                <a:gd name="connsiteX21" fmla="*/ 165000 w 330000"/>
                <a:gd name="connsiteY21" fmla="*/ 60000 h 225000"/>
                <a:gd name="connsiteX22" fmla="*/ 45000 w 330000"/>
                <a:gd name="connsiteY22" fmla="*/ 225000 h 225000"/>
                <a:gd name="connsiteX23" fmla="*/ 0 w 330000"/>
                <a:gd name="connsiteY23" fmla="*/ 180000 h 225000"/>
                <a:gd name="connsiteX24" fmla="*/ 45000 w 330000"/>
                <a:gd name="connsiteY24" fmla="*/ 135000 h 225000"/>
                <a:gd name="connsiteX25" fmla="*/ 90000 w 330000"/>
                <a:gd name="connsiteY25" fmla="*/ 180000 h 225000"/>
                <a:gd name="connsiteX26" fmla="*/ 45000 w 330000"/>
                <a:gd name="connsiteY26" fmla="*/ 225000 h 225000"/>
                <a:gd name="connsiteX27" fmla="*/ 45000 w 330000"/>
                <a:gd name="connsiteY27" fmla="*/ 195000 h 225000"/>
                <a:gd name="connsiteX28" fmla="*/ 60000 w 330000"/>
                <a:gd name="connsiteY28" fmla="*/ 180000 h 225000"/>
                <a:gd name="connsiteX29" fmla="*/ 45000 w 330000"/>
                <a:gd name="connsiteY29" fmla="*/ 165000 h 225000"/>
                <a:gd name="connsiteX30" fmla="*/ 30000 w 330000"/>
                <a:gd name="connsiteY30" fmla="*/ 180000 h 225000"/>
                <a:gd name="connsiteX31" fmla="*/ 45000 w 330000"/>
                <a:gd name="connsiteY31" fmla="*/ 195000 h 225000"/>
                <a:gd name="connsiteX32" fmla="*/ 285000 w 330000"/>
                <a:gd name="connsiteY32" fmla="*/ 225000 h 225000"/>
                <a:gd name="connsiteX33" fmla="*/ 240000 w 330000"/>
                <a:gd name="connsiteY33" fmla="*/ 180000 h 225000"/>
                <a:gd name="connsiteX34" fmla="*/ 285000 w 330000"/>
                <a:gd name="connsiteY34" fmla="*/ 135000 h 225000"/>
                <a:gd name="connsiteX35" fmla="*/ 330000 w 330000"/>
                <a:gd name="connsiteY35" fmla="*/ 180000 h 225000"/>
                <a:gd name="connsiteX36" fmla="*/ 285000 w 330000"/>
                <a:gd name="connsiteY36" fmla="*/ 225000 h 225000"/>
                <a:gd name="connsiteX37" fmla="*/ 285000 w 330000"/>
                <a:gd name="connsiteY37" fmla="*/ 195000 h 225000"/>
                <a:gd name="connsiteX38" fmla="*/ 300000 w 330000"/>
                <a:gd name="connsiteY38" fmla="*/ 180000 h 225000"/>
                <a:gd name="connsiteX39" fmla="*/ 285000 w 330000"/>
                <a:gd name="connsiteY39" fmla="*/ 165000 h 225000"/>
                <a:gd name="connsiteX40" fmla="*/ 270000 w 330000"/>
                <a:gd name="connsiteY40" fmla="*/ 180000 h 225000"/>
                <a:gd name="connsiteX41" fmla="*/ 285000 w 330000"/>
                <a:gd name="connsiteY41" fmla="*/ 195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30000" h="225000">
                  <a:moveTo>
                    <a:pt x="70987" y="30000"/>
                  </a:moveTo>
                  <a:lnTo>
                    <a:pt x="122561" y="30000"/>
                  </a:lnTo>
                  <a:cubicBezTo>
                    <a:pt x="128738" y="12522"/>
                    <a:pt x="145407" y="0"/>
                    <a:pt x="165000" y="0"/>
                  </a:cubicBezTo>
                  <a:cubicBezTo>
                    <a:pt x="184593" y="0"/>
                    <a:pt x="201263" y="12522"/>
                    <a:pt x="207440" y="30000"/>
                  </a:cubicBezTo>
                  <a:lnTo>
                    <a:pt x="259014" y="30000"/>
                  </a:lnTo>
                  <a:cubicBezTo>
                    <a:pt x="264201" y="21033"/>
                    <a:pt x="273896" y="15000"/>
                    <a:pt x="285000" y="15000"/>
                  </a:cubicBezTo>
                  <a:cubicBezTo>
                    <a:pt x="301569" y="15000"/>
                    <a:pt x="315000" y="28431"/>
                    <a:pt x="315000" y="45000"/>
                  </a:cubicBezTo>
                  <a:cubicBezTo>
                    <a:pt x="315000" y="61569"/>
                    <a:pt x="301569" y="75000"/>
                    <a:pt x="285000" y="75000"/>
                  </a:cubicBezTo>
                  <a:cubicBezTo>
                    <a:pt x="273896" y="75000"/>
                    <a:pt x="264201" y="68967"/>
                    <a:pt x="259014" y="60000"/>
                  </a:cubicBezTo>
                  <a:lnTo>
                    <a:pt x="207440" y="60000"/>
                  </a:lnTo>
                  <a:cubicBezTo>
                    <a:pt x="201263" y="77478"/>
                    <a:pt x="184593" y="90000"/>
                    <a:pt x="165000" y="90000"/>
                  </a:cubicBezTo>
                  <a:cubicBezTo>
                    <a:pt x="145407" y="90000"/>
                    <a:pt x="128738" y="77478"/>
                    <a:pt x="122561" y="60000"/>
                  </a:cubicBezTo>
                  <a:lnTo>
                    <a:pt x="70987" y="60000"/>
                  </a:lnTo>
                  <a:cubicBezTo>
                    <a:pt x="65799" y="68967"/>
                    <a:pt x="56104" y="75000"/>
                    <a:pt x="45000" y="75000"/>
                  </a:cubicBezTo>
                  <a:cubicBezTo>
                    <a:pt x="28431" y="75000"/>
                    <a:pt x="15000" y="61569"/>
                    <a:pt x="15000" y="45000"/>
                  </a:cubicBezTo>
                  <a:cubicBezTo>
                    <a:pt x="15000" y="28431"/>
                    <a:pt x="28431" y="15000"/>
                    <a:pt x="45000" y="15000"/>
                  </a:cubicBezTo>
                  <a:cubicBezTo>
                    <a:pt x="56104" y="15000"/>
                    <a:pt x="65799" y="21033"/>
                    <a:pt x="70987" y="30000"/>
                  </a:cubicBezTo>
                  <a:close/>
                  <a:moveTo>
                    <a:pt x="165000" y="60000"/>
                  </a:moveTo>
                  <a:cubicBezTo>
                    <a:pt x="173285" y="60000"/>
                    <a:pt x="180000" y="53284"/>
                    <a:pt x="180000" y="45000"/>
                  </a:cubicBezTo>
                  <a:cubicBezTo>
                    <a:pt x="180000" y="36716"/>
                    <a:pt x="173285" y="30000"/>
                    <a:pt x="165000" y="30000"/>
                  </a:cubicBezTo>
                  <a:cubicBezTo>
                    <a:pt x="156716" y="30000"/>
                    <a:pt x="150000" y="36716"/>
                    <a:pt x="150000" y="45000"/>
                  </a:cubicBezTo>
                  <a:cubicBezTo>
                    <a:pt x="150000" y="53284"/>
                    <a:pt x="156716" y="60000"/>
                    <a:pt x="165000" y="60000"/>
                  </a:cubicBezTo>
                  <a:close/>
                  <a:moveTo>
                    <a:pt x="45000" y="225000"/>
                  </a:moveTo>
                  <a:cubicBezTo>
                    <a:pt x="20147" y="225000"/>
                    <a:pt x="0" y="204854"/>
                    <a:pt x="0" y="180000"/>
                  </a:cubicBezTo>
                  <a:cubicBezTo>
                    <a:pt x="0" y="155147"/>
                    <a:pt x="20147" y="135000"/>
                    <a:pt x="45000" y="135000"/>
                  </a:cubicBezTo>
                  <a:cubicBezTo>
                    <a:pt x="69853" y="135000"/>
                    <a:pt x="90000" y="155147"/>
                    <a:pt x="90000" y="180000"/>
                  </a:cubicBezTo>
                  <a:cubicBezTo>
                    <a:pt x="90000" y="204854"/>
                    <a:pt x="69853" y="225000"/>
                    <a:pt x="45000" y="225000"/>
                  </a:cubicBezTo>
                  <a:close/>
                  <a:moveTo>
                    <a:pt x="45000" y="195000"/>
                  </a:moveTo>
                  <a:cubicBezTo>
                    <a:pt x="53284" y="195000"/>
                    <a:pt x="60000" y="188285"/>
                    <a:pt x="60000" y="180000"/>
                  </a:cubicBezTo>
                  <a:cubicBezTo>
                    <a:pt x="60000" y="171716"/>
                    <a:pt x="53284" y="165000"/>
                    <a:pt x="45000" y="165000"/>
                  </a:cubicBezTo>
                  <a:cubicBezTo>
                    <a:pt x="36716" y="165000"/>
                    <a:pt x="30000" y="171716"/>
                    <a:pt x="30000" y="180000"/>
                  </a:cubicBezTo>
                  <a:cubicBezTo>
                    <a:pt x="30000" y="188285"/>
                    <a:pt x="36716" y="195000"/>
                    <a:pt x="45000" y="195000"/>
                  </a:cubicBezTo>
                  <a:close/>
                  <a:moveTo>
                    <a:pt x="285000" y="225000"/>
                  </a:moveTo>
                  <a:cubicBezTo>
                    <a:pt x="260147" y="225000"/>
                    <a:pt x="240000" y="204854"/>
                    <a:pt x="240000" y="180000"/>
                  </a:cubicBezTo>
                  <a:cubicBezTo>
                    <a:pt x="240000" y="155147"/>
                    <a:pt x="260147" y="135000"/>
                    <a:pt x="285000" y="135000"/>
                  </a:cubicBezTo>
                  <a:cubicBezTo>
                    <a:pt x="309854" y="135000"/>
                    <a:pt x="330000" y="155147"/>
                    <a:pt x="330000" y="180000"/>
                  </a:cubicBezTo>
                  <a:cubicBezTo>
                    <a:pt x="330000" y="204854"/>
                    <a:pt x="309854" y="225000"/>
                    <a:pt x="285000" y="225000"/>
                  </a:cubicBezTo>
                  <a:close/>
                  <a:moveTo>
                    <a:pt x="285000" y="195000"/>
                  </a:moveTo>
                  <a:cubicBezTo>
                    <a:pt x="293285" y="195000"/>
                    <a:pt x="300000" y="188285"/>
                    <a:pt x="300000" y="180000"/>
                  </a:cubicBezTo>
                  <a:cubicBezTo>
                    <a:pt x="300000" y="171716"/>
                    <a:pt x="293285" y="165000"/>
                    <a:pt x="285000" y="165000"/>
                  </a:cubicBezTo>
                  <a:cubicBezTo>
                    <a:pt x="276716" y="165000"/>
                    <a:pt x="270000" y="171716"/>
                    <a:pt x="270000" y="180000"/>
                  </a:cubicBezTo>
                  <a:cubicBezTo>
                    <a:pt x="270000" y="188285"/>
                    <a:pt x="276716" y="195000"/>
                    <a:pt x="285000" y="195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89" name="Рисунок 78">
            <a:extLst>
              <a:ext uri="{FF2B5EF4-FFF2-40B4-BE49-F238E27FC236}">
                <a16:creationId xmlns:a16="http://schemas.microsoft.com/office/drawing/2014/main" id="{29A6AF49-48B4-3C45-BE77-7735C7698293}"/>
              </a:ext>
            </a:extLst>
          </p:cNvPr>
          <p:cNvGrpSpPr/>
          <p:nvPr/>
        </p:nvGrpSpPr>
        <p:grpSpPr>
          <a:xfrm>
            <a:off x="5176716" y="5134477"/>
            <a:ext cx="360000" cy="360000"/>
            <a:chOff x="5255921" y="5451199"/>
            <a:chExt cx="360000" cy="360000"/>
          </a:xfrm>
        </p:grpSpPr>
        <p:sp>
          <p:nvSpPr>
            <p:cNvPr id="390" name="Полилиния 389">
              <a:extLst>
                <a:ext uri="{FF2B5EF4-FFF2-40B4-BE49-F238E27FC236}">
                  <a16:creationId xmlns:a16="http://schemas.microsoft.com/office/drawing/2014/main" id="{049B0DEF-6CC4-2E40-8494-556EBD4FB408}"/>
                </a:ext>
              </a:extLst>
            </p:cNvPr>
            <p:cNvSpPr/>
            <p:nvPr/>
          </p:nvSpPr>
          <p:spPr>
            <a:xfrm>
              <a:off x="5255921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" name="Полилиния 390">
              <a:extLst>
                <a:ext uri="{FF2B5EF4-FFF2-40B4-BE49-F238E27FC236}">
                  <a16:creationId xmlns:a16="http://schemas.microsoft.com/office/drawing/2014/main" id="{22E1007B-0272-9C41-BE46-8FE49989684E}"/>
                </a:ext>
              </a:extLst>
            </p:cNvPr>
            <p:cNvSpPr/>
            <p:nvPr/>
          </p:nvSpPr>
          <p:spPr>
            <a:xfrm>
              <a:off x="5286597" y="5518644"/>
              <a:ext cx="298646" cy="232713"/>
            </a:xfrm>
            <a:custGeom>
              <a:avLst/>
              <a:gdLst>
                <a:gd name="connsiteX0" fmla="*/ 161976 w 298646"/>
                <a:gd name="connsiteY0" fmla="*/ 172554 h 232713"/>
                <a:gd name="connsiteX1" fmla="*/ 136671 w 298646"/>
                <a:gd name="connsiteY1" fmla="*/ 172554 h 232713"/>
                <a:gd name="connsiteX2" fmla="*/ 134101 w 298646"/>
                <a:gd name="connsiteY2" fmla="*/ 182144 h 232713"/>
                <a:gd name="connsiteX3" fmla="*/ 50569 w 298646"/>
                <a:gd name="connsiteY3" fmla="*/ 230372 h 232713"/>
                <a:gd name="connsiteX4" fmla="*/ 2341 w 298646"/>
                <a:gd name="connsiteY4" fmla="*/ 146838 h 232713"/>
                <a:gd name="connsiteX5" fmla="*/ 28136 w 298646"/>
                <a:gd name="connsiteY5" fmla="*/ 50569 h 232713"/>
                <a:gd name="connsiteX6" fmla="*/ 111669 w 298646"/>
                <a:gd name="connsiteY6" fmla="*/ 2341 h 232713"/>
                <a:gd name="connsiteX7" fmla="*/ 149323 w 298646"/>
                <a:gd name="connsiteY7" fmla="*/ 28305 h 232713"/>
                <a:gd name="connsiteX8" fmla="*/ 186978 w 298646"/>
                <a:gd name="connsiteY8" fmla="*/ 2341 h 232713"/>
                <a:gd name="connsiteX9" fmla="*/ 270510 w 298646"/>
                <a:gd name="connsiteY9" fmla="*/ 50569 h 232713"/>
                <a:gd name="connsiteX10" fmla="*/ 296305 w 298646"/>
                <a:gd name="connsiteY10" fmla="*/ 146838 h 232713"/>
                <a:gd name="connsiteX11" fmla="*/ 248077 w 298646"/>
                <a:gd name="connsiteY11" fmla="*/ 230372 h 232713"/>
                <a:gd name="connsiteX12" fmla="*/ 164545 w 298646"/>
                <a:gd name="connsiteY12" fmla="*/ 182144 h 232713"/>
                <a:gd name="connsiteX13" fmla="*/ 161976 w 298646"/>
                <a:gd name="connsiteY13" fmla="*/ 172554 h 232713"/>
                <a:gd name="connsiteX14" fmla="*/ 231169 w 298646"/>
                <a:gd name="connsiteY14" fmla="*/ 204132 h 232713"/>
                <a:gd name="connsiteX15" fmla="*/ 272091 w 298646"/>
                <a:gd name="connsiteY15" fmla="*/ 161670 h 232713"/>
                <a:gd name="connsiteX16" fmla="*/ 231169 w 298646"/>
                <a:gd name="connsiteY16" fmla="*/ 119208 h 232713"/>
                <a:gd name="connsiteX17" fmla="*/ 190246 w 298646"/>
                <a:gd name="connsiteY17" fmla="*/ 161670 h 232713"/>
                <a:gd name="connsiteX18" fmla="*/ 231169 w 298646"/>
                <a:gd name="connsiteY18" fmla="*/ 204132 h 232713"/>
                <a:gd name="connsiteX19" fmla="*/ 67478 w 298646"/>
                <a:gd name="connsiteY19" fmla="*/ 204132 h 232713"/>
                <a:gd name="connsiteX20" fmla="*/ 108401 w 298646"/>
                <a:gd name="connsiteY20" fmla="*/ 161670 h 232713"/>
                <a:gd name="connsiteX21" fmla="*/ 67478 w 298646"/>
                <a:gd name="connsiteY21" fmla="*/ 119208 h 232713"/>
                <a:gd name="connsiteX22" fmla="*/ 26555 w 298646"/>
                <a:gd name="connsiteY22" fmla="*/ 161670 h 232713"/>
                <a:gd name="connsiteX23" fmla="*/ 67478 w 298646"/>
                <a:gd name="connsiteY23" fmla="*/ 204132 h 232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646" h="232713">
                  <a:moveTo>
                    <a:pt x="161976" y="172554"/>
                  </a:moveTo>
                  <a:lnTo>
                    <a:pt x="136671" y="172554"/>
                  </a:lnTo>
                  <a:lnTo>
                    <a:pt x="134101" y="182144"/>
                  </a:lnTo>
                  <a:cubicBezTo>
                    <a:pt x="124353" y="218529"/>
                    <a:pt x="86953" y="240122"/>
                    <a:pt x="50569" y="230372"/>
                  </a:cubicBezTo>
                  <a:cubicBezTo>
                    <a:pt x="14184" y="220623"/>
                    <a:pt x="-7408" y="183224"/>
                    <a:pt x="2341" y="146838"/>
                  </a:cubicBezTo>
                  <a:lnTo>
                    <a:pt x="28136" y="50569"/>
                  </a:lnTo>
                  <a:cubicBezTo>
                    <a:pt x="37886" y="14184"/>
                    <a:pt x="75285" y="-7408"/>
                    <a:pt x="111669" y="2341"/>
                  </a:cubicBezTo>
                  <a:cubicBezTo>
                    <a:pt x="127456" y="6571"/>
                    <a:pt x="140458" y="16006"/>
                    <a:pt x="149323" y="28305"/>
                  </a:cubicBezTo>
                  <a:cubicBezTo>
                    <a:pt x="158188" y="16006"/>
                    <a:pt x="171190" y="6571"/>
                    <a:pt x="186978" y="2341"/>
                  </a:cubicBezTo>
                  <a:cubicBezTo>
                    <a:pt x="223362" y="-7408"/>
                    <a:pt x="260761" y="14184"/>
                    <a:pt x="270510" y="50569"/>
                  </a:cubicBezTo>
                  <a:lnTo>
                    <a:pt x="296305" y="146838"/>
                  </a:lnTo>
                  <a:cubicBezTo>
                    <a:pt x="306055" y="183224"/>
                    <a:pt x="284463" y="220623"/>
                    <a:pt x="248077" y="230372"/>
                  </a:cubicBezTo>
                  <a:cubicBezTo>
                    <a:pt x="211693" y="240122"/>
                    <a:pt x="174294" y="218529"/>
                    <a:pt x="164545" y="182144"/>
                  </a:cubicBezTo>
                  <a:lnTo>
                    <a:pt x="161976" y="172554"/>
                  </a:lnTo>
                  <a:close/>
                  <a:moveTo>
                    <a:pt x="231169" y="204132"/>
                  </a:moveTo>
                  <a:cubicBezTo>
                    <a:pt x="253770" y="204132"/>
                    <a:pt x="272091" y="185121"/>
                    <a:pt x="272091" y="161670"/>
                  </a:cubicBezTo>
                  <a:cubicBezTo>
                    <a:pt x="272091" y="138219"/>
                    <a:pt x="253770" y="119208"/>
                    <a:pt x="231169" y="119208"/>
                  </a:cubicBezTo>
                  <a:cubicBezTo>
                    <a:pt x="208567" y="119208"/>
                    <a:pt x="190246" y="138219"/>
                    <a:pt x="190246" y="161670"/>
                  </a:cubicBezTo>
                  <a:cubicBezTo>
                    <a:pt x="190246" y="185121"/>
                    <a:pt x="208567" y="204132"/>
                    <a:pt x="231169" y="204132"/>
                  </a:cubicBezTo>
                  <a:close/>
                  <a:moveTo>
                    <a:pt x="67478" y="204132"/>
                  </a:moveTo>
                  <a:cubicBezTo>
                    <a:pt x="90079" y="204132"/>
                    <a:pt x="108401" y="185121"/>
                    <a:pt x="108401" y="161670"/>
                  </a:cubicBezTo>
                  <a:cubicBezTo>
                    <a:pt x="108401" y="138219"/>
                    <a:pt x="90079" y="119208"/>
                    <a:pt x="67478" y="119208"/>
                  </a:cubicBezTo>
                  <a:cubicBezTo>
                    <a:pt x="44877" y="119208"/>
                    <a:pt x="26555" y="138219"/>
                    <a:pt x="26555" y="161670"/>
                  </a:cubicBezTo>
                  <a:cubicBezTo>
                    <a:pt x="26555" y="185121"/>
                    <a:pt x="44877" y="204132"/>
                    <a:pt x="67478" y="204132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92" name="Рисунок 79">
            <a:extLst>
              <a:ext uri="{FF2B5EF4-FFF2-40B4-BE49-F238E27FC236}">
                <a16:creationId xmlns:a16="http://schemas.microsoft.com/office/drawing/2014/main" id="{5A8F6083-8ED7-8043-811B-44C01F935E06}"/>
              </a:ext>
            </a:extLst>
          </p:cNvPr>
          <p:cNvGrpSpPr/>
          <p:nvPr/>
        </p:nvGrpSpPr>
        <p:grpSpPr>
          <a:xfrm>
            <a:off x="8189324" y="5134477"/>
            <a:ext cx="360000" cy="360000"/>
            <a:chOff x="8268529" y="5451199"/>
            <a:chExt cx="360000" cy="360000"/>
          </a:xfrm>
        </p:grpSpPr>
        <p:sp>
          <p:nvSpPr>
            <p:cNvPr id="393" name="Полилиния 392">
              <a:extLst>
                <a:ext uri="{FF2B5EF4-FFF2-40B4-BE49-F238E27FC236}">
                  <a16:creationId xmlns:a16="http://schemas.microsoft.com/office/drawing/2014/main" id="{8D12B0EC-AA89-6449-8D1F-D6ED273D86AD}"/>
                </a:ext>
              </a:extLst>
            </p:cNvPr>
            <p:cNvSpPr/>
            <p:nvPr/>
          </p:nvSpPr>
          <p:spPr>
            <a:xfrm>
              <a:off x="8268529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" name="Скругленный прямоугольник 393">
              <a:extLst>
                <a:ext uri="{FF2B5EF4-FFF2-40B4-BE49-F238E27FC236}">
                  <a16:creationId xmlns:a16="http://schemas.microsoft.com/office/drawing/2014/main" id="{C1E690E7-D21E-1140-B39E-3B8487318E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33528" y="5473652"/>
              <a:ext cx="28800" cy="720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" name="Скругленный прямоугольник 394">
              <a:extLst>
                <a:ext uri="{FF2B5EF4-FFF2-40B4-BE49-F238E27FC236}">
                  <a16:creationId xmlns:a16="http://schemas.microsoft.com/office/drawing/2014/main" id="{E474C612-0ECD-0544-BEC6-7409F14062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33528" y="5683652"/>
              <a:ext cx="28800" cy="720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" name="Полилиния 395">
              <a:extLst>
                <a:ext uri="{FF2B5EF4-FFF2-40B4-BE49-F238E27FC236}">
                  <a16:creationId xmlns:a16="http://schemas.microsoft.com/office/drawing/2014/main" id="{0BBE450B-03C7-5746-B0D3-4FE6C1CC0566}"/>
                </a:ext>
              </a:extLst>
            </p:cNvPr>
            <p:cNvSpPr/>
            <p:nvPr/>
          </p:nvSpPr>
          <p:spPr>
            <a:xfrm>
              <a:off x="8373529" y="5519418"/>
              <a:ext cx="163125" cy="201780"/>
            </a:xfrm>
            <a:custGeom>
              <a:avLst/>
              <a:gdLst>
                <a:gd name="connsiteX0" fmla="*/ 163125 w 163125"/>
                <a:gd name="connsiteY0" fmla="*/ 143070 h 201780"/>
                <a:gd name="connsiteX1" fmla="*/ 156570 w 163125"/>
                <a:gd name="connsiteY1" fmla="*/ 170858 h 201780"/>
                <a:gd name="connsiteX2" fmla="*/ 139185 w 163125"/>
                <a:gd name="connsiteY2" fmla="*/ 188955 h 201780"/>
                <a:gd name="connsiteX3" fmla="*/ 114533 w 163125"/>
                <a:gd name="connsiteY3" fmla="*/ 198788 h 201780"/>
                <a:gd name="connsiteX4" fmla="*/ 86175 w 163125"/>
                <a:gd name="connsiteY4" fmla="*/ 201780 h 201780"/>
                <a:gd name="connsiteX5" fmla="*/ 0 w 163125"/>
                <a:gd name="connsiteY5" fmla="*/ 201780 h 201780"/>
                <a:gd name="connsiteX6" fmla="*/ 0 w 163125"/>
                <a:gd name="connsiteY6" fmla="*/ 0 h 201780"/>
                <a:gd name="connsiteX7" fmla="*/ 86175 w 163125"/>
                <a:gd name="connsiteY7" fmla="*/ 0 h 201780"/>
                <a:gd name="connsiteX8" fmla="*/ 110115 w 163125"/>
                <a:gd name="connsiteY8" fmla="*/ 2422 h 201780"/>
                <a:gd name="connsiteX9" fmla="*/ 132345 w 163125"/>
                <a:gd name="connsiteY9" fmla="*/ 10688 h 201780"/>
                <a:gd name="connsiteX10" fmla="*/ 148590 w 163125"/>
                <a:gd name="connsiteY10" fmla="*/ 26505 h 201780"/>
                <a:gd name="connsiteX11" fmla="*/ 154860 w 163125"/>
                <a:gd name="connsiteY11" fmla="*/ 51870 h 201780"/>
                <a:gd name="connsiteX12" fmla="*/ 145740 w 163125"/>
                <a:gd name="connsiteY12" fmla="*/ 79657 h 201780"/>
                <a:gd name="connsiteX13" fmla="*/ 121800 w 163125"/>
                <a:gd name="connsiteY13" fmla="*/ 95475 h 201780"/>
                <a:gd name="connsiteX14" fmla="*/ 137903 w 163125"/>
                <a:gd name="connsiteY14" fmla="*/ 101318 h 201780"/>
                <a:gd name="connsiteX15" fmla="*/ 151012 w 163125"/>
                <a:gd name="connsiteY15" fmla="*/ 111150 h 201780"/>
                <a:gd name="connsiteX16" fmla="*/ 159848 w 163125"/>
                <a:gd name="connsiteY16" fmla="*/ 125115 h 201780"/>
                <a:gd name="connsiteX17" fmla="*/ 163125 w 163125"/>
                <a:gd name="connsiteY17" fmla="*/ 143070 h 201780"/>
                <a:gd name="connsiteX18" fmla="*/ 107835 w 163125"/>
                <a:gd name="connsiteY18" fmla="*/ 58425 h 201780"/>
                <a:gd name="connsiteX19" fmla="*/ 99998 w 163125"/>
                <a:gd name="connsiteY19" fmla="*/ 43463 h 201780"/>
                <a:gd name="connsiteX20" fmla="*/ 76770 w 163125"/>
                <a:gd name="connsiteY20" fmla="*/ 38760 h 201780"/>
                <a:gd name="connsiteX21" fmla="*/ 52830 w 163125"/>
                <a:gd name="connsiteY21" fmla="*/ 38760 h 201780"/>
                <a:gd name="connsiteX22" fmla="*/ 52830 w 163125"/>
                <a:gd name="connsiteY22" fmla="*/ 80370 h 201780"/>
                <a:gd name="connsiteX23" fmla="*/ 79050 w 163125"/>
                <a:gd name="connsiteY23" fmla="*/ 80370 h 201780"/>
                <a:gd name="connsiteX24" fmla="*/ 100283 w 163125"/>
                <a:gd name="connsiteY24" fmla="*/ 74812 h 201780"/>
                <a:gd name="connsiteX25" fmla="*/ 107835 w 163125"/>
                <a:gd name="connsiteY25" fmla="*/ 58425 h 201780"/>
                <a:gd name="connsiteX26" fmla="*/ 114390 w 163125"/>
                <a:gd name="connsiteY26" fmla="*/ 138510 h 201780"/>
                <a:gd name="connsiteX27" fmla="*/ 104985 w 163125"/>
                <a:gd name="connsiteY27" fmla="*/ 121125 h 201780"/>
                <a:gd name="connsiteX28" fmla="*/ 79905 w 163125"/>
                <a:gd name="connsiteY28" fmla="*/ 116280 h 201780"/>
                <a:gd name="connsiteX29" fmla="*/ 52830 w 163125"/>
                <a:gd name="connsiteY29" fmla="*/ 116280 h 201780"/>
                <a:gd name="connsiteX30" fmla="*/ 52830 w 163125"/>
                <a:gd name="connsiteY30" fmla="*/ 162450 h 201780"/>
                <a:gd name="connsiteX31" fmla="*/ 80190 w 163125"/>
                <a:gd name="connsiteY31" fmla="*/ 162450 h 201780"/>
                <a:gd name="connsiteX32" fmla="*/ 92017 w 163125"/>
                <a:gd name="connsiteY32" fmla="*/ 161453 h 201780"/>
                <a:gd name="connsiteX33" fmla="*/ 103132 w 163125"/>
                <a:gd name="connsiteY33" fmla="*/ 157890 h 201780"/>
                <a:gd name="connsiteX34" fmla="*/ 111255 w 163125"/>
                <a:gd name="connsiteY34" fmla="*/ 150623 h 201780"/>
                <a:gd name="connsiteX35" fmla="*/ 114390 w 163125"/>
                <a:gd name="connsiteY35" fmla="*/ 138510 h 201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63125" h="201780">
                  <a:moveTo>
                    <a:pt x="163125" y="143070"/>
                  </a:moveTo>
                  <a:cubicBezTo>
                    <a:pt x="163125" y="154091"/>
                    <a:pt x="160940" y="163353"/>
                    <a:pt x="156570" y="170858"/>
                  </a:cubicBezTo>
                  <a:cubicBezTo>
                    <a:pt x="152201" y="178362"/>
                    <a:pt x="146405" y="184395"/>
                    <a:pt x="139185" y="188955"/>
                  </a:cubicBezTo>
                  <a:cubicBezTo>
                    <a:pt x="131966" y="193515"/>
                    <a:pt x="123747" y="196793"/>
                    <a:pt x="114533" y="198788"/>
                  </a:cubicBezTo>
                  <a:cubicBezTo>
                    <a:pt x="105318" y="200783"/>
                    <a:pt x="95865" y="201780"/>
                    <a:pt x="86175" y="201780"/>
                  </a:cubicBezTo>
                  <a:lnTo>
                    <a:pt x="0" y="201780"/>
                  </a:lnTo>
                  <a:lnTo>
                    <a:pt x="0" y="0"/>
                  </a:lnTo>
                  <a:lnTo>
                    <a:pt x="86175" y="0"/>
                  </a:lnTo>
                  <a:cubicBezTo>
                    <a:pt x="93965" y="0"/>
                    <a:pt x="101945" y="807"/>
                    <a:pt x="110115" y="2422"/>
                  </a:cubicBezTo>
                  <a:cubicBezTo>
                    <a:pt x="118286" y="4038"/>
                    <a:pt x="125695" y="6792"/>
                    <a:pt x="132345" y="10688"/>
                  </a:cubicBezTo>
                  <a:cubicBezTo>
                    <a:pt x="138995" y="14583"/>
                    <a:pt x="144410" y="19855"/>
                    <a:pt x="148590" y="26505"/>
                  </a:cubicBezTo>
                  <a:cubicBezTo>
                    <a:pt x="152771" y="33155"/>
                    <a:pt x="154860" y="41610"/>
                    <a:pt x="154860" y="51870"/>
                  </a:cubicBezTo>
                  <a:cubicBezTo>
                    <a:pt x="154860" y="63080"/>
                    <a:pt x="151820" y="72342"/>
                    <a:pt x="145740" y="79657"/>
                  </a:cubicBezTo>
                  <a:cubicBezTo>
                    <a:pt x="139660" y="86973"/>
                    <a:pt x="131681" y="92245"/>
                    <a:pt x="121800" y="95475"/>
                  </a:cubicBezTo>
                  <a:cubicBezTo>
                    <a:pt x="127500" y="96995"/>
                    <a:pt x="132867" y="98753"/>
                    <a:pt x="137903" y="101318"/>
                  </a:cubicBezTo>
                  <a:cubicBezTo>
                    <a:pt x="142938" y="103883"/>
                    <a:pt x="147307" y="107160"/>
                    <a:pt x="151012" y="111150"/>
                  </a:cubicBezTo>
                  <a:cubicBezTo>
                    <a:pt x="154718" y="115140"/>
                    <a:pt x="157662" y="119795"/>
                    <a:pt x="159848" y="125115"/>
                  </a:cubicBezTo>
                  <a:cubicBezTo>
                    <a:pt x="162033" y="130436"/>
                    <a:pt x="163125" y="136421"/>
                    <a:pt x="163125" y="143070"/>
                  </a:cubicBezTo>
                  <a:close/>
                  <a:moveTo>
                    <a:pt x="107835" y="58425"/>
                  </a:moveTo>
                  <a:cubicBezTo>
                    <a:pt x="107835" y="51585"/>
                    <a:pt x="105222" y="46598"/>
                    <a:pt x="99998" y="43463"/>
                  </a:cubicBezTo>
                  <a:cubicBezTo>
                    <a:pt x="94773" y="40328"/>
                    <a:pt x="87030" y="38760"/>
                    <a:pt x="76770" y="38760"/>
                  </a:cubicBezTo>
                  <a:lnTo>
                    <a:pt x="52830" y="38760"/>
                  </a:lnTo>
                  <a:lnTo>
                    <a:pt x="52830" y="80370"/>
                  </a:lnTo>
                  <a:lnTo>
                    <a:pt x="79050" y="80370"/>
                  </a:lnTo>
                  <a:cubicBezTo>
                    <a:pt x="88170" y="80370"/>
                    <a:pt x="95247" y="78518"/>
                    <a:pt x="100283" y="74812"/>
                  </a:cubicBezTo>
                  <a:cubicBezTo>
                    <a:pt x="105318" y="71108"/>
                    <a:pt x="107835" y="65645"/>
                    <a:pt x="107835" y="58425"/>
                  </a:cubicBezTo>
                  <a:close/>
                  <a:moveTo>
                    <a:pt x="114390" y="138510"/>
                  </a:moveTo>
                  <a:cubicBezTo>
                    <a:pt x="114390" y="130151"/>
                    <a:pt x="111255" y="124355"/>
                    <a:pt x="104985" y="121125"/>
                  </a:cubicBezTo>
                  <a:cubicBezTo>
                    <a:pt x="98715" y="117895"/>
                    <a:pt x="90356" y="116280"/>
                    <a:pt x="79905" y="116280"/>
                  </a:cubicBezTo>
                  <a:lnTo>
                    <a:pt x="52830" y="116280"/>
                  </a:lnTo>
                  <a:lnTo>
                    <a:pt x="52830" y="162450"/>
                  </a:lnTo>
                  <a:lnTo>
                    <a:pt x="80190" y="162450"/>
                  </a:lnTo>
                  <a:cubicBezTo>
                    <a:pt x="83990" y="162450"/>
                    <a:pt x="87933" y="162117"/>
                    <a:pt x="92017" y="161453"/>
                  </a:cubicBezTo>
                  <a:cubicBezTo>
                    <a:pt x="96102" y="160788"/>
                    <a:pt x="99807" y="159600"/>
                    <a:pt x="103132" y="157890"/>
                  </a:cubicBezTo>
                  <a:cubicBezTo>
                    <a:pt x="106458" y="156180"/>
                    <a:pt x="109166" y="153758"/>
                    <a:pt x="111255" y="150623"/>
                  </a:cubicBezTo>
                  <a:cubicBezTo>
                    <a:pt x="113345" y="147488"/>
                    <a:pt x="114390" y="143450"/>
                    <a:pt x="114390" y="13851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97" name="Рисунок 80">
            <a:extLst>
              <a:ext uri="{FF2B5EF4-FFF2-40B4-BE49-F238E27FC236}">
                <a16:creationId xmlns:a16="http://schemas.microsoft.com/office/drawing/2014/main" id="{6DBCEF62-7607-5F4A-B2B9-006B6F331B03}"/>
              </a:ext>
            </a:extLst>
          </p:cNvPr>
          <p:cNvGrpSpPr/>
          <p:nvPr/>
        </p:nvGrpSpPr>
        <p:grpSpPr>
          <a:xfrm>
            <a:off x="9740628" y="5179477"/>
            <a:ext cx="250235" cy="299999"/>
            <a:chOff x="9819833" y="5496199"/>
            <a:chExt cx="250235" cy="299999"/>
          </a:xfrm>
        </p:grpSpPr>
        <p:sp>
          <p:nvSpPr>
            <p:cNvPr id="398" name="Полилиния 397">
              <a:extLst>
                <a:ext uri="{FF2B5EF4-FFF2-40B4-BE49-F238E27FC236}">
                  <a16:creationId xmlns:a16="http://schemas.microsoft.com/office/drawing/2014/main" id="{5B4BB20F-0ED1-3642-B4F3-2348B44A2B1E}"/>
                </a:ext>
              </a:extLst>
            </p:cNvPr>
            <p:cNvSpPr/>
            <p:nvPr/>
          </p:nvSpPr>
          <p:spPr>
            <a:xfrm>
              <a:off x="9819833" y="5496199"/>
              <a:ext cx="250235" cy="225245"/>
            </a:xfrm>
            <a:custGeom>
              <a:avLst/>
              <a:gdLst>
                <a:gd name="connsiteX0" fmla="*/ 213036 w 250235"/>
                <a:gd name="connsiteY0" fmla="*/ 150000 h 225245"/>
                <a:gd name="connsiteX1" fmla="*/ 180000 w 250235"/>
                <a:gd name="connsiteY1" fmla="*/ 150000 h 225245"/>
                <a:gd name="connsiteX2" fmla="*/ 165000 w 250235"/>
                <a:gd name="connsiteY2" fmla="*/ 165000 h 225245"/>
                <a:gd name="connsiteX3" fmla="*/ 180000 w 250235"/>
                <a:gd name="connsiteY3" fmla="*/ 180000 h 225245"/>
                <a:gd name="connsiteX4" fmla="*/ 204628 w 250235"/>
                <a:gd name="connsiteY4" fmla="*/ 180000 h 225245"/>
                <a:gd name="connsiteX5" fmla="*/ 195018 w 250235"/>
                <a:gd name="connsiteY5" fmla="*/ 214294 h 225245"/>
                <a:gd name="connsiteX6" fmla="*/ 180575 w 250235"/>
                <a:gd name="connsiteY6" fmla="*/ 225246 h 225245"/>
                <a:gd name="connsiteX7" fmla="*/ 74531 w 250235"/>
                <a:gd name="connsiteY7" fmla="*/ 225246 h 225245"/>
                <a:gd name="connsiteX8" fmla="*/ 44531 w 250235"/>
                <a:gd name="connsiteY8" fmla="*/ 160552 h 225245"/>
                <a:gd name="connsiteX9" fmla="*/ 0 w 250235"/>
                <a:gd name="connsiteY9" fmla="*/ 82746 h 225245"/>
                <a:gd name="connsiteX10" fmla="*/ 44296 w 250235"/>
                <a:gd name="connsiteY10" fmla="*/ 246 h 225245"/>
                <a:gd name="connsiteX11" fmla="*/ 45371 w 250235"/>
                <a:gd name="connsiteY11" fmla="*/ 270 h 225245"/>
                <a:gd name="connsiteX12" fmla="*/ 235269 w 250235"/>
                <a:gd name="connsiteY12" fmla="*/ 220 h 225245"/>
                <a:gd name="connsiteX13" fmla="*/ 239280 w 250235"/>
                <a:gd name="connsiteY13" fmla="*/ 777 h 225245"/>
                <a:gd name="connsiteX14" fmla="*/ 249675 w 250235"/>
                <a:gd name="connsiteY14" fmla="*/ 19268 h 225245"/>
                <a:gd name="connsiteX15" fmla="*/ 246668 w 250235"/>
                <a:gd name="connsiteY15" fmla="*/ 30000 h 225245"/>
                <a:gd name="connsiteX16" fmla="*/ 180000 w 250235"/>
                <a:gd name="connsiteY16" fmla="*/ 30000 h 225245"/>
                <a:gd name="connsiteX17" fmla="*/ 165000 w 250235"/>
                <a:gd name="connsiteY17" fmla="*/ 45000 h 225245"/>
                <a:gd name="connsiteX18" fmla="*/ 180000 w 250235"/>
                <a:gd name="connsiteY18" fmla="*/ 60000 h 225245"/>
                <a:gd name="connsiteX19" fmla="*/ 238260 w 250235"/>
                <a:gd name="connsiteY19" fmla="*/ 60000 h 225245"/>
                <a:gd name="connsiteX20" fmla="*/ 229853 w 250235"/>
                <a:gd name="connsiteY20" fmla="*/ 90000 h 225245"/>
                <a:gd name="connsiteX21" fmla="*/ 180000 w 250235"/>
                <a:gd name="connsiteY21" fmla="*/ 90000 h 225245"/>
                <a:gd name="connsiteX22" fmla="*/ 165000 w 250235"/>
                <a:gd name="connsiteY22" fmla="*/ 105000 h 225245"/>
                <a:gd name="connsiteX23" fmla="*/ 180000 w 250235"/>
                <a:gd name="connsiteY23" fmla="*/ 120000 h 225245"/>
                <a:gd name="connsiteX24" fmla="*/ 221445 w 250235"/>
                <a:gd name="connsiteY24" fmla="*/ 120000 h 225245"/>
                <a:gd name="connsiteX25" fmla="*/ 213036 w 250235"/>
                <a:gd name="connsiteY25" fmla="*/ 150000 h 225245"/>
                <a:gd name="connsiteX26" fmla="*/ 51678 w 250235"/>
                <a:gd name="connsiteY26" fmla="*/ 120246 h 225245"/>
                <a:gd name="connsiteX27" fmla="*/ 51678 w 250235"/>
                <a:gd name="connsiteY27" fmla="*/ 30246 h 225245"/>
                <a:gd name="connsiteX28" fmla="*/ 29530 w 250235"/>
                <a:gd name="connsiteY28" fmla="*/ 75246 h 225245"/>
                <a:gd name="connsiteX29" fmla="*/ 51678 w 250235"/>
                <a:gd name="connsiteY29" fmla="*/ 120246 h 22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50235" h="225245">
                  <a:moveTo>
                    <a:pt x="213036" y="150000"/>
                  </a:moveTo>
                  <a:lnTo>
                    <a:pt x="180000" y="150000"/>
                  </a:lnTo>
                  <a:cubicBezTo>
                    <a:pt x="171716" y="150000"/>
                    <a:pt x="165000" y="156715"/>
                    <a:pt x="165000" y="165000"/>
                  </a:cubicBezTo>
                  <a:cubicBezTo>
                    <a:pt x="165000" y="173284"/>
                    <a:pt x="171716" y="180000"/>
                    <a:pt x="180000" y="180000"/>
                  </a:cubicBezTo>
                  <a:lnTo>
                    <a:pt x="204628" y="180000"/>
                  </a:lnTo>
                  <a:lnTo>
                    <a:pt x="195018" y="214294"/>
                  </a:lnTo>
                  <a:cubicBezTo>
                    <a:pt x="193203" y="220770"/>
                    <a:pt x="187299" y="225246"/>
                    <a:pt x="180575" y="225246"/>
                  </a:cubicBezTo>
                  <a:lnTo>
                    <a:pt x="74531" y="225246"/>
                  </a:lnTo>
                  <a:cubicBezTo>
                    <a:pt x="64843" y="225246"/>
                    <a:pt x="54843" y="203682"/>
                    <a:pt x="44531" y="160552"/>
                  </a:cubicBezTo>
                  <a:cubicBezTo>
                    <a:pt x="27326" y="149226"/>
                    <a:pt x="0" y="118668"/>
                    <a:pt x="0" y="82746"/>
                  </a:cubicBezTo>
                  <a:cubicBezTo>
                    <a:pt x="0" y="37183"/>
                    <a:pt x="19832" y="246"/>
                    <a:pt x="44296" y="246"/>
                  </a:cubicBezTo>
                  <a:cubicBezTo>
                    <a:pt x="44655" y="246"/>
                    <a:pt x="45013" y="254"/>
                    <a:pt x="45371" y="270"/>
                  </a:cubicBezTo>
                  <a:cubicBezTo>
                    <a:pt x="46509" y="-72"/>
                    <a:pt x="109808" y="-89"/>
                    <a:pt x="235269" y="220"/>
                  </a:cubicBezTo>
                  <a:cubicBezTo>
                    <a:pt x="236625" y="223"/>
                    <a:pt x="237975" y="411"/>
                    <a:pt x="239280" y="777"/>
                  </a:cubicBezTo>
                  <a:cubicBezTo>
                    <a:pt x="247257" y="3012"/>
                    <a:pt x="251912" y="11291"/>
                    <a:pt x="249675" y="19268"/>
                  </a:cubicBezTo>
                  <a:lnTo>
                    <a:pt x="246668" y="30000"/>
                  </a:lnTo>
                  <a:lnTo>
                    <a:pt x="180000" y="30000"/>
                  </a:lnTo>
                  <a:cubicBezTo>
                    <a:pt x="171716" y="30000"/>
                    <a:pt x="165000" y="36716"/>
                    <a:pt x="165000" y="45000"/>
                  </a:cubicBezTo>
                  <a:cubicBezTo>
                    <a:pt x="165000" y="53284"/>
                    <a:pt x="171716" y="60000"/>
                    <a:pt x="180000" y="60000"/>
                  </a:cubicBezTo>
                  <a:lnTo>
                    <a:pt x="238260" y="60000"/>
                  </a:lnTo>
                  <a:lnTo>
                    <a:pt x="229853" y="90000"/>
                  </a:lnTo>
                  <a:lnTo>
                    <a:pt x="180000" y="90000"/>
                  </a:lnTo>
                  <a:cubicBezTo>
                    <a:pt x="171716" y="90000"/>
                    <a:pt x="165000" y="96716"/>
                    <a:pt x="165000" y="105000"/>
                  </a:cubicBezTo>
                  <a:cubicBezTo>
                    <a:pt x="165000" y="113284"/>
                    <a:pt x="171716" y="120000"/>
                    <a:pt x="180000" y="120000"/>
                  </a:cubicBezTo>
                  <a:lnTo>
                    <a:pt x="221445" y="120000"/>
                  </a:lnTo>
                  <a:lnTo>
                    <a:pt x="213036" y="150000"/>
                  </a:lnTo>
                  <a:close/>
                  <a:moveTo>
                    <a:pt x="51678" y="120246"/>
                  </a:moveTo>
                  <a:lnTo>
                    <a:pt x="51678" y="30246"/>
                  </a:lnTo>
                  <a:cubicBezTo>
                    <a:pt x="36913" y="37746"/>
                    <a:pt x="29530" y="47228"/>
                    <a:pt x="29530" y="75246"/>
                  </a:cubicBezTo>
                  <a:cubicBezTo>
                    <a:pt x="29530" y="106443"/>
                    <a:pt x="48351" y="120246"/>
                    <a:pt x="51678" y="120246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" name="Полилиния 398">
              <a:extLst>
                <a:ext uri="{FF2B5EF4-FFF2-40B4-BE49-F238E27FC236}">
                  <a16:creationId xmlns:a16="http://schemas.microsoft.com/office/drawing/2014/main" id="{50E06452-8A93-4148-8032-09A5EF14DF8B}"/>
                </a:ext>
              </a:extLst>
            </p:cNvPr>
            <p:cNvSpPr/>
            <p:nvPr/>
          </p:nvSpPr>
          <p:spPr>
            <a:xfrm>
              <a:off x="9834833" y="5736199"/>
              <a:ext cx="210000" cy="60000"/>
            </a:xfrm>
            <a:custGeom>
              <a:avLst/>
              <a:gdLst>
                <a:gd name="connsiteX0" fmla="*/ 30000 w 210000"/>
                <a:gd name="connsiteY0" fmla="*/ 0 h 60000"/>
                <a:gd name="connsiteX1" fmla="*/ 180000 w 210000"/>
                <a:gd name="connsiteY1" fmla="*/ 0 h 60000"/>
                <a:gd name="connsiteX2" fmla="*/ 210000 w 210000"/>
                <a:gd name="connsiteY2" fmla="*/ 30000 h 60000"/>
                <a:gd name="connsiteX3" fmla="*/ 210000 w 210000"/>
                <a:gd name="connsiteY3" fmla="*/ 52500 h 60000"/>
                <a:gd name="connsiteX4" fmla="*/ 202500 w 210000"/>
                <a:gd name="connsiteY4" fmla="*/ 60000 h 60000"/>
                <a:gd name="connsiteX5" fmla="*/ 7500 w 210000"/>
                <a:gd name="connsiteY5" fmla="*/ 60000 h 60000"/>
                <a:gd name="connsiteX6" fmla="*/ 0 w 210000"/>
                <a:gd name="connsiteY6" fmla="*/ 52500 h 60000"/>
                <a:gd name="connsiteX7" fmla="*/ 0 w 210000"/>
                <a:gd name="connsiteY7" fmla="*/ 30000 h 60000"/>
                <a:gd name="connsiteX8" fmla="*/ 30000 w 210000"/>
                <a:gd name="connsiteY8" fmla="*/ 0 h 60000"/>
                <a:gd name="connsiteX9" fmla="*/ 105000 w 210000"/>
                <a:gd name="connsiteY9" fmla="*/ 45000 h 60000"/>
                <a:gd name="connsiteX10" fmla="*/ 120000 w 210000"/>
                <a:gd name="connsiteY10" fmla="*/ 30000 h 60000"/>
                <a:gd name="connsiteX11" fmla="*/ 105000 w 210000"/>
                <a:gd name="connsiteY11" fmla="*/ 15000 h 60000"/>
                <a:gd name="connsiteX12" fmla="*/ 90000 w 210000"/>
                <a:gd name="connsiteY12" fmla="*/ 30000 h 60000"/>
                <a:gd name="connsiteX13" fmla="*/ 105000 w 210000"/>
                <a:gd name="connsiteY13" fmla="*/ 45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0000" h="60000">
                  <a:moveTo>
                    <a:pt x="30000" y="0"/>
                  </a:moveTo>
                  <a:lnTo>
                    <a:pt x="180000" y="0"/>
                  </a:lnTo>
                  <a:cubicBezTo>
                    <a:pt x="196569" y="0"/>
                    <a:pt x="210000" y="13431"/>
                    <a:pt x="210000" y="30000"/>
                  </a:cubicBezTo>
                  <a:lnTo>
                    <a:pt x="210000" y="52500"/>
                  </a:lnTo>
                  <a:cubicBezTo>
                    <a:pt x="210000" y="56642"/>
                    <a:pt x="206642" y="60000"/>
                    <a:pt x="202500" y="60000"/>
                  </a:cubicBezTo>
                  <a:lnTo>
                    <a:pt x="7500" y="60000"/>
                  </a:lnTo>
                  <a:cubicBezTo>
                    <a:pt x="3358" y="60000"/>
                    <a:pt x="0" y="56642"/>
                    <a:pt x="0" y="525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105000" y="45000"/>
                  </a:moveTo>
                  <a:cubicBezTo>
                    <a:pt x="113285" y="45000"/>
                    <a:pt x="120000" y="38284"/>
                    <a:pt x="120000" y="30000"/>
                  </a:cubicBezTo>
                  <a:cubicBezTo>
                    <a:pt x="120000" y="21716"/>
                    <a:pt x="113285" y="15000"/>
                    <a:pt x="105000" y="15000"/>
                  </a:cubicBezTo>
                  <a:cubicBezTo>
                    <a:pt x="96715" y="15000"/>
                    <a:pt x="90000" y="21716"/>
                    <a:pt x="90000" y="30000"/>
                  </a:cubicBezTo>
                  <a:cubicBezTo>
                    <a:pt x="90000" y="38284"/>
                    <a:pt x="96715" y="45000"/>
                    <a:pt x="105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00" name="Рисунок 81">
            <a:extLst>
              <a:ext uri="{FF2B5EF4-FFF2-40B4-BE49-F238E27FC236}">
                <a16:creationId xmlns:a16="http://schemas.microsoft.com/office/drawing/2014/main" id="{2B87A48E-D886-DE40-A760-4A629A2E27F7}"/>
              </a:ext>
            </a:extLst>
          </p:cNvPr>
          <p:cNvGrpSpPr/>
          <p:nvPr/>
        </p:nvGrpSpPr>
        <p:grpSpPr>
          <a:xfrm>
            <a:off x="7436172" y="5134477"/>
            <a:ext cx="360000" cy="360000"/>
            <a:chOff x="7515377" y="5451199"/>
            <a:chExt cx="360000" cy="360000"/>
          </a:xfrm>
        </p:grpSpPr>
        <p:sp>
          <p:nvSpPr>
            <p:cNvPr id="401" name="Полилиния 400">
              <a:extLst>
                <a:ext uri="{FF2B5EF4-FFF2-40B4-BE49-F238E27FC236}">
                  <a16:creationId xmlns:a16="http://schemas.microsoft.com/office/drawing/2014/main" id="{DC9E5B5C-52E7-E448-AABC-806557025135}"/>
                </a:ext>
              </a:extLst>
            </p:cNvPr>
            <p:cNvSpPr/>
            <p:nvPr/>
          </p:nvSpPr>
          <p:spPr>
            <a:xfrm>
              <a:off x="7515377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" name="Полилиния 401">
              <a:extLst>
                <a:ext uri="{FF2B5EF4-FFF2-40B4-BE49-F238E27FC236}">
                  <a16:creationId xmlns:a16="http://schemas.microsoft.com/office/drawing/2014/main" id="{12BCB160-AAFB-3E42-A014-DBF5D76F0FD0}"/>
                </a:ext>
              </a:extLst>
            </p:cNvPr>
            <p:cNvSpPr/>
            <p:nvPr/>
          </p:nvSpPr>
          <p:spPr>
            <a:xfrm>
              <a:off x="7605376" y="5556198"/>
              <a:ext cx="180001" cy="217523"/>
            </a:xfrm>
            <a:custGeom>
              <a:avLst/>
              <a:gdLst>
                <a:gd name="connsiteX0" fmla="*/ 90000 w 180001"/>
                <a:gd name="connsiteY0" fmla="*/ 102681 h 217523"/>
                <a:gd name="connsiteX1" fmla="*/ 90000 w 180001"/>
                <a:gd name="connsiteY1" fmla="*/ 176385 h 217523"/>
                <a:gd name="connsiteX2" fmla="*/ 139688 w 180001"/>
                <a:gd name="connsiteY2" fmla="*/ 147399 h 217523"/>
                <a:gd name="connsiteX3" fmla="*/ 90000 w 180001"/>
                <a:gd name="connsiteY3" fmla="*/ 102681 h 217523"/>
                <a:gd name="connsiteX4" fmla="*/ 60000 w 180001"/>
                <a:gd name="connsiteY4" fmla="*/ 75681 h 217523"/>
                <a:gd name="connsiteX5" fmla="*/ 4966 w 180001"/>
                <a:gd name="connsiteY5" fmla="*/ 26149 h 217523"/>
                <a:gd name="connsiteX6" fmla="*/ 3851 w 180001"/>
                <a:gd name="connsiteY6" fmla="*/ 4966 h 217523"/>
                <a:gd name="connsiteX7" fmla="*/ 25034 w 180001"/>
                <a:gd name="connsiteY7" fmla="*/ 3851 h 217523"/>
                <a:gd name="connsiteX8" fmla="*/ 175035 w 180001"/>
                <a:gd name="connsiteY8" fmla="*/ 138851 h 217523"/>
                <a:gd name="connsiteX9" fmla="*/ 172559 w 180001"/>
                <a:gd name="connsiteY9" fmla="*/ 162957 h 217523"/>
                <a:gd name="connsiteX10" fmla="*/ 82559 w 180001"/>
                <a:gd name="connsiteY10" fmla="*/ 215457 h 217523"/>
                <a:gd name="connsiteX11" fmla="*/ 60000 w 180001"/>
                <a:gd name="connsiteY11" fmla="*/ 202500 h 217523"/>
                <a:gd name="connsiteX12" fmla="*/ 60000 w 180001"/>
                <a:gd name="connsiteY12" fmla="*/ 75681 h 21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001" h="217523">
                  <a:moveTo>
                    <a:pt x="90000" y="102681"/>
                  </a:moveTo>
                  <a:lnTo>
                    <a:pt x="90000" y="176385"/>
                  </a:lnTo>
                  <a:lnTo>
                    <a:pt x="139688" y="147399"/>
                  </a:lnTo>
                  <a:lnTo>
                    <a:pt x="90000" y="102681"/>
                  </a:lnTo>
                  <a:close/>
                  <a:moveTo>
                    <a:pt x="60000" y="75681"/>
                  </a:moveTo>
                  <a:lnTo>
                    <a:pt x="4966" y="26149"/>
                  </a:lnTo>
                  <a:cubicBezTo>
                    <a:pt x="-1192" y="20608"/>
                    <a:pt x="-1691" y="11123"/>
                    <a:pt x="3851" y="4966"/>
                  </a:cubicBezTo>
                  <a:cubicBezTo>
                    <a:pt x="9392" y="-1192"/>
                    <a:pt x="18877" y="-1691"/>
                    <a:pt x="25034" y="3851"/>
                  </a:cubicBezTo>
                  <a:lnTo>
                    <a:pt x="175035" y="138851"/>
                  </a:lnTo>
                  <a:cubicBezTo>
                    <a:pt x="182589" y="145650"/>
                    <a:pt x="181338" y="157836"/>
                    <a:pt x="172559" y="162957"/>
                  </a:cubicBezTo>
                  <a:lnTo>
                    <a:pt x="82559" y="215457"/>
                  </a:lnTo>
                  <a:cubicBezTo>
                    <a:pt x="72558" y="221291"/>
                    <a:pt x="60000" y="214077"/>
                    <a:pt x="60000" y="202500"/>
                  </a:cubicBezTo>
                  <a:lnTo>
                    <a:pt x="60000" y="7568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" name="Полилиния 402">
              <a:extLst>
                <a:ext uri="{FF2B5EF4-FFF2-40B4-BE49-F238E27FC236}">
                  <a16:creationId xmlns:a16="http://schemas.microsoft.com/office/drawing/2014/main" id="{C40196F4-05C3-714F-BE8B-82E1D1FC209D}"/>
                </a:ext>
              </a:extLst>
            </p:cNvPr>
            <p:cNvSpPr/>
            <p:nvPr/>
          </p:nvSpPr>
          <p:spPr>
            <a:xfrm>
              <a:off x="7605376" y="5481171"/>
              <a:ext cx="180000" cy="225027"/>
            </a:xfrm>
            <a:custGeom>
              <a:avLst/>
              <a:gdLst>
                <a:gd name="connsiteX0" fmla="*/ 90000 w 180000"/>
                <a:gd name="connsiteY0" fmla="*/ 126591 h 225027"/>
                <a:gd name="connsiteX1" fmla="*/ 140978 w 180000"/>
                <a:gd name="connsiteY1" fmla="*/ 83260 h 225027"/>
                <a:gd name="connsiteX2" fmla="*/ 90000 w 180000"/>
                <a:gd name="connsiteY2" fmla="*/ 45027 h 225027"/>
                <a:gd name="connsiteX3" fmla="*/ 90000 w 180000"/>
                <a:gd name="connsiteY3" fmla="*/ 126591 h 225027"/>
                <a:gd name="connsiteX4" fmla="*/ 60000 w 180000"/>
                <a:gd name="connsiteY4" fmla="*/ 15027 h 225027"/>
                <a:gd name="connsiteX5" fmla="*/ 84000 w 180000"/>
                <a:gd name="connsiteY5" fmla="*/ 3027 h 225027"/>
                <a:gd name="connsiteX6" fmla="*/ 174000 w 180000"/>
                <a:gd name="connsiteY6" fmla="*/ 70527 h 225027"/>
                <a:gd name="connsiteX7" fmla="*/ 174714 w 180000"/>
                <a:gd name="connsiteY7" fmla="*/ 93956 h 225027"/>
                <a:gd name="connsiteX8" fmla="*/ 24715 w 180000"/>
                <a:gd name="connsiteY8" fmla="*/ 221456 h 225027"/>
                <a:gd name="connsiteX9" fmla="*/ 3571 w 180000"/>
                <a:gd name="connsiteY9" fmla="*/ 219741 h 225027"/>
                <a:gd name="connsiteX10" fmla="*/ 5286 w 180000"/>
                <a:gd name="connsiteY10" fmla="*/ 198599 h 225027"/>
                <a:gd name="connsiteX11" fmla="*/ 60000 w 180000"/>
                <a:gd name="connsiteY11" fmla="*/ 152091 h 225027"/>
                <a:gd name="connsiteX12" fmla="*/ 60000 w 180000"/>
                <a:gd name="connsiteY12" fmla="*/ 15027 h 225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000" h="225027">
                  <a:moveTo>
                    <a:pt x="90000" y="126591"/>
                  </a:moveTo>
                  <a:lnTo>
                    <a:pt x="140978" y="83260"/>
                  </a:lnTo>
                  <a:lnTo>
                    <a:pt x="90000" y="45027"/>
                  </a:lnTo>
                  <a:lnTo>
                    <a:pt x="90000" y="126591"/>
                  </a:lnTo>
                  <a:close/>
                  <a:moveTo>
                    <a:pt x="60000" y="15027"/>
                  </a:moveTo>
                  <a:cubicBezTo>
                    <a:pt x="60000" y="2667"/>
                    <a:pt x="74112" y="-4389"/>
                    <a:pt x="84000" y="3027"/>
                  </a:cubicBezTo>
                  <a:lnTo>
                    <a:pt x="174000" y="70527"/>
                  </a:lnTo>
                  <a:cubicBezTo>
                    <a:pt x="181698" y="76300"/>
                    <a:pt x="182046" y="87725"/>
                    <a:pt x="174714" y="93956"/>
                  </a:cubicBezTo>
                  <a:lnTo>
                    <a:pt x="24715" y="221456"/>
                  </a:lnTo>
                  <a:cubicBezTo>
                    <a:pt x="18403" y="226821"/>
                    <a:pt x="8937" y="226055"/>
                    <a:pt x="3571" y="219741"/>
                  </a:cubicBezTo>
                  <a:cubicBezTo>
                    <a:pt x="-1794" y="213429"/>
                    <a:pt x="-1027" y="203963"/>
                    <a:pt x="5286" y="198599"/>
                  </a:cubicBezTo>
                  <a:lnTo>
                    <a:pt x="60000" y="152091"/>
                  </a:lnTo>
                  <a:lnTo>
                    <a:pt x="60000" y="15027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04" name="Рисунок 82">
            <a:extLst>
              <a:ext uri="{FF2B5EF4-FFF2-40B4-BE49-F238E27FC236}">
                <a16:creationId xmlns:a16="http://schemas.microsoft.com/office/drawing/2014/main" id="{C8CC6BB6-8350-4948-BB38-A91240891639}"/>
              </a:ext>
            </a:extLst>
          </p:cNvPr>
          <p:cNvGrpSpPr/>
          <p:nvPr/>
        </p:nvGrpSpPr>
        <p:grpSpPr>
          <a:xfrm>
            <a:off x="4423564" y="5134477"/>
            <a:ext cx="360000" cy="360000"/>
            <a:chOff x="4502769" y="5451199"/>
            <a:chExt cx="360000" cy="360000"/>
          </a:xfrm>
        </p:grpSpPr>
        <p:sp>
          <p:nvSpPr>
            <p:cNvPr id="405" name="Полилиния 404">
              <a:extLst>
                <a:ext uri="{FF2B5EF4-FFF2-40B4-BE49-F238E27FC236}">
                  <a16:creationId xmlns:a16="http://schemas.microsoft.com/office/drawing/2014/main" id="{34211E73-8022-124F-BD51-A349C170CD89}"/>
                </a:ext>
              </a:extLst>
            </p:cNvPr>
            <p:cNvSpPr/>
            <p:nvPr/>
          </p:nvSpPr>
          <p:spPr>
            <a:xfrm>
              <a:off x="4502769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" name="Полилиния 405">
              <a:extLst>
                <a:ext uri="{FF2B5EF4-FFF2-40B4-BE49-F238E27FC236}">
                  <a16:creationId xmlns:a16="http://schemas.microsoft.com/office/drawing/2014/main" id="{A9D8EB8A-FB7E-D348-A356-D53D6A8F04CF}"/>
                </a:ext>
              </a:extLst>
            </p:cNvPr>
            <p:cNvSpPr/>
            <p:nvPr/>
          </p:nvSpPr>
          <p:spPr>
            <a:xfrm>
              <a:off x="4612869" y="5523199"/>
              <a:ext cx="158399" cy="212999"/>
            </a:xfrm>
            <a:custGeom>
              <a:avLst/>
              <a:gdLst>
                <a:gd name="connsiteX0" fmla="*/ 0 w 158399"/>
                <a:gd name="connsiteY0" fmla="*/ 213000 h 212999"/>
                <a:gd name="connsiteX1" fmla="*/ 0 w 158399"/>
                <a:gd name="connsiteY1" fmla="*/ 0 h 212999"/>
                <a:gd name="connsiteX2" fmla="*/ 80100 w 158399"/>
                <a:gd name="connsiteY2" fmla="*/ 0 h 212999"/>
                <a:gd name="connsiteX3" fmla="*/ 143400 w 158399"/>
                <a:gd name="connsiteY3" fmla="*/ 63300 h 212999"/>
                <a:gd name="connsiteX4" fmla="*/ 128400 w 158399"/>
                <a:gd name="connsiteY4" fmla="*/ 99900 h 212999"/>
                <a:gd name="connsiteX5" fmla="*/ 158400 w 158399"/>
                <a:gd name="connsiteY5" fmla="*/ 149700 h 212999"/>
                <a:gd name="connsiteX6" fmla="*/ 93900 w 158399"/>
                <a:gd name="connsiteY6" fmla="*/ 213000 h 212999"/>
                <a:gd name="connsiteX7" fmla="*/ 0 w 158399"/>
                <a:gd name="connsiteY7" fmla="*/ 213000 h 212999"/>
                <a:gd name="connsiteX8" fmla="*/ 48000 w 158399"/>
                <a:gd name="connsiteY8" fmla="*/ 168900 h 212999"/>
                <a:gd name="connsiteX9" fmla="*/ 89400 w 158399"/>
                <a:gd name="connsiteY9" fmla="*/ 168900 h 212999"/>
                <a:gd name="connsiteX10" fmla="*/ 111600 w 158399"/>
                <a:gd name="connsiteY10" fmla="*/ 147900 h 212999"/>
                <a:gd name="connsiteX11" fmla="*/ 89400 w 158399"/>
                <a:gd name="connsiteY11" fmla="*/ 126600 h 212999"/>
                <a:gd name="connsiteX12" fmla="*/ 48000 w 158399"/>
                <a:gd name="connsiteY12" fmla="*/ 126600 h 212999"/>
                <a:gd name="connsiteX13" fmla="*/ 48000 w 158399"/>
                <a:gd name="connsiteY13" fmla="*/ 168900 h 212999"/>
                <a:gd name="connsiteX14" fmla="*/ 48000 w 158399"/>
                <a:gd name="connsiteY14" fmla="*/ 86100 h 212999"/>
                <a:gd name="connsiteX15" fmla="*/ 74700 w 158399"/>
                <a:gd name="connsiteY15" fmla="*/ 86100 h 212999"/>
                <a:gd name="connsiteX16" fmla="*/ 96900 w 158399"/>
                <a:gd name="connsiteY16" fmla="*/ 65100 h 212999"/>
                <a:gd name="connsiteX17" fmla="*/ 74700 w 158399"/>
                <a:gd name="connsiteY17" fmla="*/ 43800 h 212999"/>
                <a:gd name="connsiteX18" fmla="*/ 48000 w 158399"/>
                <a:gd name="connsiteY18" fmla="*/ 43800 h 212999"/>
                <a:gd name="connsiteX19" fmla="*/ 48000 w 158399"/>
                <a:gd name="connsiteY19" fmla="*/ 86100 h 21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8399" h="212999">
                  <a:moveTo>
                    <a:pt x="0" y="213000"/>
                  </a:moveTo>
                  <a:lnTo>
                    <a:pt x="0" y="0"/>
                  </a:lnTo>
                  <a:lnTo>
                    <a:pt x="80100" y="0"/>
                  </a:lnTo>
                  <a:cubicBezTo>
                    <a:pt x="114900" y="0"/>
                    <a:pt x="143400" y="28500"/>
                    <a:pt x="143400" y="63300"/>
                  </a:cubicBezTo>
                  <a:cubicBezTo>
                    <a:pt x="143400" y="78300"/>
                    <a:pt x="137700" y="90600"/>
                    <a:pt x="128400" y="99900"/>
                  </a:cubicBezTo>
                  <a:cubicBezTo>
                    <a:pt x="146400" y="109500"/>
                    <a:pt x="158400" y="126900"/>
                    <a:pt x="158400" y="149700"/>
                  </a:cubicBezTo>
                  <a:cubicBezTo>
                    <a:pt x="158400" y="184800"/>
                    <a:pt x="129900" y="213000"/>
                    <a:pt x="93900" y="213000"/>
                  </a:cubicBezTo>
                  <a:lnTo>
                    <a:pt x="0" y="213000"/>
                  </a:lnTo>
                  <a:close/>
                  <a:moveTo>
                    <a:pt x="48000" y="168900"/>
                  </a:moveTo>
                  <a:lnTo>
                    <a:pt x="89400" y="168900"/>
                  </a:lnTo>
                  <a:cubicBezTo>
                    <a:pt x="102300" y="168900"/>
                    <a:pt x="111600" y="159600"/>
                    <a:pt x="111600" y="147900"/>
                  </a:cubicBezTo>
                  <a:cubicBezTo>
                    <a:pt x="111600" y="136200"/>
                    <a:pt x="102300" y="126600"/>
                    <a:pt x="89400" y="126600"/>
                  </a:cubicBezTo>
                  <a:lnTo>
                    <a:pt x="48000" y="126600"/>
                  </a:lnTo>
                  <a:lnTo>
                    <a:pt x="48000" y="168900"/>
                  </a:lnTo>
                  <a:close/>
                  <a:moveTo>
                    <a:pt x="48000" y="86100"/>
                  </a:moveTo>
                  <a:lnTo>
                    <a:pt x="74700" y="86100"/>
                  </a:lnTo>
                  <a:cubicBezTo>
                    <a:pt x="87600" y="86100"/>
                    <a:pt x="96900" y="76800"/>
                    <a:pt x="96900" y="65100"/>
                  </a:cubicBezTo>
                  <a:cubicBezTo>
                    <a:pt x="96900" y="53400"/>
                    <a:pt x="87600" y="43800"/>
                    <a:pt x="74700" y="43800"/>
                  </a:cubicBezTo>
                  <a:lnTo>
                    <a:pt x="48000" y="43800"/>
                  </a:lnTo>
                  <a:lnTo>
                    <a:pt x="48000" y="861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07" name="Рисунок 83">
            <a:extLst>
              <a:ext uri="{FF2B5EF4-FFF2-40B4-BE49-F238E27FC236}">
                <a16:creationId xmlns:a16="http://schemas.microsoft.com/office/drawing/2014/main" id="{FA6F11D1-4210-614C-B118-E34BD4AB1D5C}"/>
              </a:ext>
            </a:extLst>
          </p:cNvPr>
          <p:cNvGrpSpPr/>
          <p:nvPr/>
        </p:nvGrpSpPr>
        <p:grpSpPr>
          <a:xfrm>
            <a:off x="3670412" y="5134477"/>
            <a:ext cx="360000" cy="360000"/>
            <a:chOff x="3749617" y="5451199"/>
            <a:chExt cx="360000" cy="360000"/>
          </a:xfrm>
        </p:grpSpPr>
        <p:sp>
          <p:nvSpPr>
            <p:cNvPr id="408" name="Полилиния 407">
              <a:extLst>
                <a:ext uri="{FF2B5EF4-FFF2-40B4-BE49-F238E27FC236}">
                  <a16:creationId xmlns:a16="http://schemas.microsoft.com/office/drawing/2014/main" id="{D9CC5659-8BED-4446-AC51-93E57D7D84A2}"/>
                </a:ext>
              </a:extLst>
            </p:cNvPr>
            <p:cNvSpPr/>
            <p:nvPr/>
          </p:nvSpPr>
          <p:spPr>
            <a:xfrm>
              <a:off x="3749617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" name="Полилиния 408">
              <a:extLst>
                <a:ext uri="{FF2B5EF4-FFF2-40B4-BE49-F238E27FC236}">
                  <a16:creationId xmlns:a16="http://schemas.microsoft.com/office/drawing/2014/main" id="{EB5F99AA-DF65-B84B-9CA5-2B4A969C3EA2}"/>
                </a:ext>
              </a:extLst>
            </p:cNvPr>
            <p:cNvSpPr/>
            <p:nvPr/>
          </p:nvSpPr>
          <p:spPr>
            <a:xfrm>
              <a:off x="3809617" y="5481199"/>
              <a:ext cx="240000" cy="300000"/>
            </a:xfrm>
            <a:custGeom>
              <a:avLst/>
              <a:gdLst>
                <a:gd name="connsiteX0" fmla="*/ 240000 w 240000"/>
                <a:gd name="connsiteY0" fmla="*/ 240000 h 300000"/>
                <a:gd name="connsiteX1" fmla="*/ 60000 w 240000"/>
                <a:gd name="connsiteY1" fmla="*/ 240000 h 300000"/>
                <a:gd name="connsiteX2" fmla="*/ 45000 w 240000"/>
                <a:gd name="connsiteY2" fmla="*/ 255000 h 300000"/>
                <a:gd name="connsiteX3" fmla="*/ 60000 w 240000"/>
                <a:gd name="connsiteY3" fmla="*/ 270000 h 300000"/>
                <a:gd name="connsiteX4" fmla="*/ 240000 w 240000"/>
                <a:gd name="connsiteY4" fmla="*/ 270000 h 300000"/>
                <a:gd name="connsiteX5" fmla="*/ 240000 w 240000"/>
                <a:gd name="connsiteY5" fmla="*/ 285000 h 300000"/>
                <a:gd name="connsiteX6" fmla="*/ 225000 w 240000"/>
                <a:gd name="connsiteY6" fmla="*/ 300000 h 300000"/>
                <a:gd name="connsiteX7" fmla="*/ 45000 w 240000"/>
                <a:gd name="connsiteY7" fmla="*/ 300000 h 300000"/>
                <a:gd name="connsiteX8" fmla="*/ 0 w 240000"/>
                <a:gd name="connsiteY8" fmla="*/ 255000 h 300000"/>
                <a:gd name="connsiteX9" fmla="*/ 0 w 240000"/>
                <a:gd name="connsiteY9" fmla="*/ 45000 h 300000"/>
                <a:gd name="connsiteX10" fmla="*/ 45000 w 240000"/>
                <a:gd name="connsiteY10" fmla="*/ 0 h 300000"/>
                <a:gd name="connsiteX11" fmla="*/ 225000 w 240000"/>
                <a:gd name="connsiteY11" fmla="*/ 0 h 300000"/>
                <a:gd name="connsiteX12" fmla="*/ 240000 w 240000"/>
                <a:gd name="connsiteY12" fmla="*/ 15000 h 300000"/>
                <a:gd name="connsiteX13" fmla="*/ 240000 w 240000"/>
                <a:gd name="connsiteY13" fmla="*/ 24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300000">
                  <a:moveTo>
                    <a:pt x="240000" y="240000"/>
                  </a:moveTo>
                  <a:lnTo>
                    <a:pt x="60000" y="240000"/>
                  </a:lnTo>
                  <a:cubicBezTo>
                    <a:pt x="51716" y="240000"/>
                    <a:pt x="45000" y="246716"/>
                    <a:pt x="45000" y="255000"/>
                  </a:cubicBezTo>
                  <a:cubicBezTo>
                    <a:pt x="45000" y="263285"/>
                    <a:pt x="51716" y="270000"/>
                    <a:pt x="60000" y="270000"/>
                  </a:cubicBezTo>
                  <a:lnTo>
                    <a:pt x="240000" y="270000"/>
                  </a:lnTo>
                  <a:lnTo>
                    <a:pt x="240000" y="285000"/>
                  </a:lnTo>
                  <a:cubicBezTo>
                    <a:pt x="240000" y="294404"/>
                    <a:pt x="234627" y="300000"/>
                    <a:pt x="225000" y="300000"/>
                  </a:cubicBezTo>
                  <a:lnTo>
                    <a:pt x="45000" y="300000"/>
                  </a:lnTo>
                  <a:cubicBezTo>
                    <a:pt x="18804" y="300000"/>
                    <a:pt x="0" y="280413"/>
                    <a:pt x="0" y="255000"/>
                  </a:cubicBezTo>
                  <a:lnTo>
                    <a:pt x="0" y="45000"/>
                  </a:lnTo>
                  <a:cubicBezTo>
                    <a:pt x="0" y="19588"/>
                    <a:pt x="18804" y="0"/>
                    <a:pt x="45000" y="0"/>
                  </a:cubicBezTo>
                  <a:lnTo>
                    <a:pt x="225000" y="0"/>
                  </a:lnTo>
                  <a:cubicBezTo>
                    <a:pt x="234627" y="0"/>
                    <a:pt x="240000" y="5597"/>
                    <a:pt x="240000" y="15000"/>
                  </a:cubicBezTo>
                  <a:lnTo>
                    <a:pt x="240000" y="24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10" name="Рисунок 84">
            <a:extLst>
              <a:ext uri="{FF2B5EF4-FFF2-40B4-BE49-F238E27FC236}">
                <a16:creationId xmlns:a16="http://schemas.microsoft.com/office/drawing/2014/main" id="{1626FCAC-E873-0E48-81A7-D07176EF6E09}"/>
              </a:ext>
            </a:extLst>
          </p:cNvPr>
          <p:cNvGrpSpPr/>
          <p:nvPr/>
        </p:nvGrpSpPr>
        <p:grpSpPr>
          <a:xfrm>
            <a:off x="11201933" y="5134477"/>
            <a:ext cx="360000" cy="360000"/>
            <a:chOff x="11281138" y="5451199"/>
            <a:chExt cx="360000" cy="360000"/>
          </a:xfrm>
        </p:grpSpPr>
        <p:sp>
          <p:nvSpPr>
            <p:cNvPr id="411" name="Полилиния 410">
              <a:extLst>
                <a:ext uri="{FF2B5EF4-FFF2-40B4-BE49-F238E27FC236}">
                  <a16:creationId xmlns:a16="http://schemas.microsoft.com/office/drawing/2014/main" id="{FB529A3B-A4EC-E845-A0F4-92453F564C8A}"/>
                </a:ext>
              </a:extLst>
            </p:cNvPr>
            <p:cNvSpPr/>
            <p:nvPr/>
          </p:nvSpPr>
          <p:spPr>
            <a:xfrm>
              <a:off x="11281138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2" name="Полилиния 411">
              <a:extLst>
                <a:ext uri="{FF2B5EF4-FFF2-40B4-BE49-F238E27FC236}">
                  <a16:creationId xmlns:a16="http://schemas.microsoft.com/office/drawing/2014/main" id="{11D7C847-802C-DC48-93BB-DD8D29BDBB65}"/>
                </a:ext>
              </a:extLst>
            </p:cNvPr>
            <p:cNvSpPr/>
            <p:nvPr/>
          </p:nvSpPr>
          <p:spPr>
            <a:xfrm>
              <a:off x="11371138" y="5511199"/>
              <a:ext cx="180000" cy="220902"/>
            </a:xfrm>
            <a:custGeom>
              <a:avLst/>
              <a:gdLst>
                <a:gd name="connsiteX0" fmla="*/ 30000 w 180000"/>
                <a:gd name="connsiteY0" fmla="*/ 0 h 220902"/>
                <a:gd name="connsiteX1" fmla="*/ 150000 w 180000"/>
                <a:gd name="connsiteY1" fmla="*/ 0 h 220902"/>
                <a:gd name="connsiteX2" fmla="*/ 180000 w 180000"/>
                <a:gd name="connsiteY2" fmla="*/ 30000 h 220902"/>
                <a:gd name="connsiteX3" fmla="*/ 180000 w 180000"/>
                <a:gd name="connsiteY3" fmla="*/ 205902 h 220902"/>
                <a:gd name="connsiteX4" fmla="*/ 165000 w 180000"/>
                <a:gd name="connsiteY4" fmla="*/ 220902 h 220902"/>
                <a:gd name="connsiteX5" fmla="*/ 154865 w 180000"/>
                <a:gd name="connsiteY5" fmla="*/ 216959 h 220902"/>
                <a:gd name="connsiteX6" fmla="*/ 100136 w 180000"/>
                <a:gd name="connsiteY6" fmla="*/ 166791 h 220902"/>
                <a:gd name="connsiteX7" fmla="*/ 79865 w 180000"/>
                <a:gd name="connsiteY7" fmla="*/ 166791 h 220902"/>
                <a:gd name="connsiteX8" fmla="*/ 25136 w 180000"/>
                <a:gd name="connsiteY8" fmla="*/ 216959 h 220902"/>
                <a:gd name="connsiteX9" fmla="*/ 3943 w 180000"/>
                <a:gd name="connsiteY9" fmla="*/ 216038 h 220902"/>
                <a:gd name="connsiteX10" fmla="*/ 0 w 180000"/>
                <a:gd name="connsiteY10" fmla="*/ 205902 h 220902"/>
                <a:gd name="connsiteX11" fmla="*/ 0 w 180000"/>
                <a:gd name="connsiteY11" fmla="*/ 30000 h 220902"/>
                <a:gd name="connsiteX12" fmla="*/ 30000 w 180000"/>
                <a:gd name="connsiteY12" fmla="*/ 0 h 22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000" h="220902">
                  <a:moveTo>
                    <a:pt x="30000" y="0"/>
                  </a:moveTo>
                  <a:lnTo>
                    <a:pt x="150000" y="0"/>
                  </a:lnTo>
                  <a:cubicBezTo>
                    <a:pt x="166569" y="0"/>
                    <a:pt x="180000" y="13431"/>
                    <a:pt x="180000" y="30000"/>
                  </a:cubicBezTo>
                  <a:lnTo>
                    <a:pt x="180000" y="205902"/>
                  </a:lnTo>
                  <a:cubicBezTo>
                    <a:pt x="180000" y="214185"/>
                    <a:pt x="173285" y="220902"/>
                    <a:pt x="165000" y="220902"/>
                  </a:cubicBezTo>
                  <a:cubicBezTo>
                    <a:pt x="161247" y="220902"/>
                    <a:pt x="157630" y="219495"/>
                    <a:pt x="154865" y="216959"/>
                  </a:cubicBezTo>
                  <a:lnTo>
                    <a:pt x="100136" y="166791"/>
                  </a:lnTo>
                  <a:cubicBezTo>
                    <a:pt x="94401" y="161535"/>
                    <a:pt x="85599" y="161535"/>
                    <a:pt x="79865" y="166791"/>
                  </a:cubicBezTo>
                  <a:lnTo>
                    <a:pt x="25136" y="216959"/>
                  </a:lnTo>
                  <a:cubicBezTo>
                    <a:pt x="19029" y="222556"/>
                    <a:pt x="9541" y="222144"/>
                    <a:pt x="3943" y="216038"/>
                  </a:cubicBezTo>
                  <a:cubicBezTo>
                    <a:pt x="1407" y="213272"/>
                    <a:pt x="0" y="209655"/>
                    <a:pt x="0" y="205902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413" name="Рисунок 85">
            <a:extLst>
              <a:ext uri="{FF2B5EF4-FFF2-40B4-BE49-F238E27FC236}">
                <a16:creationId xmlns:a16="http://schemas.microsoft.com/office/drawing/2014/main" id="{C4F8F527-F7A2-8F4C-A9D4-6BB315826994}"/>
              </a:ext>
            </a:extLst>
          </p:cNvPr>
          <p:cNvGrpSpPr/>
          <p:nvPr/>
        </p:nvGrpSpPr>
        <p:grpSpPr>
          <a:xfrm>
            <a:off x="8942476" y="5134477"/>
            <a:ext cx="360000" cy="360000"/>
            <a:chOff x="9021681" y="5451199"/>
            <a:chExt cx="360000" cy="360000"/>
          </a:xfrm>
        </p:grpSpPr>
        <p:sp>
          <p:nvSpPr>
            <p:cNvPr id="414" name="Полилиния 413">
              <a:extLst>
                <a:ext uri="{FF2B5EF4-FFF2-40B4-BE49-F238E27FC236}">
                  <a16:creationId xmlns:a16="http://schemas.microsoft.com/office/drawing/2014/main" id="{C6513EF5-4847-5B49-B380-8BBBD2F6994A}"/>
                </a:ext>
              </a:extLst>
            </p:cNvPr>
            <p:cNvSpPr/>
            <p:nvPr/>
          </p:nvSpPr>
          <p:spPr>
            <a:xfrm>
              <a:off x="9021681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5" name="Полилиния 414">
              <a:extLst>
                <a:ext uri="{FF2B5EF4-FFF2-40B4-BE49-F238E27FC236}">
                  <a16:creationId xmlns:a16="http://schemas.microsoft.com/office/drawing/2014/main" id="{9944FE90-30C8-A447-9F26-21A419B08349}"/>
                </a:ext>
              </a:extLst>
            </p:cNvPr>
            <p:cNvSpPr/>
            <p:nvPr/>
          </p:nvSpPr>
          <p:spPr>
            <a:xfrm>
              <a:off x="9216681" y="5526293"/>
              <a:ext cx="135000" cy="206063"/>
            </a:xfrm>
            <a:custGeom>
              <a:avLst/>
              <a:gdLst>
                <a:gd name="connsiteX0" fmla="*/ 10283 w 135000"/>
                <a:gd name="connsiteY0" fmla="*/ 205528 h 206063"/>
                <a:gd name="connsiteX1" fmla="*/ 135000 w 135000"/>
                <a:gd name="connsiteY1" fmla="*/ 179905 h 206063"/>
                <a:gd name="connsiteX2" fmla="*/ 135000 w 135000"/>
                <a:gd name="connsiteY2" fmla="*/ 7500 h 206063"/>
                <a:gd name="connsiteX3" fmla="*/ 135000 w 135000"/>
                <a:gd name="connsiteY3" fmla="*/ 7500 h 206063"/>
                <a:gd name="connsiteX4" fmla="*/ 127500 w 135000"/>
                <a:gd name="connsiteY4" fmla="*/ 0 h 206063"/>
                <a:gd name="connsiteX5" fmla="*/ 127310 w 135000"/>
                <a:gd name="connsiteY5" fmla="*/ 2 h 206063"/>
                <a:gd name="connsiteX6" fmla="*/ 0 w 135000"/>
                <a:gd name="connsiteY6" fmla="*/ 29905 h 206063"/>
                <a:gd name="connsiteX7" fmla="*/ 0 w 135000"/>
                <a:gd name="connsiteY7" fmla="*/ 198564 h 206063"/>
                <a:gd name="connsiteX8" fmla="*/ 0 w 135000"/>
                <a:gd name="connsiteY8" fmla="*/ 198564 h 206063"/>
                <a:gd name="connsiteX9" fmla="*/ 7500 w 135000"/>
                <a:gd name="connsiteY9" fmla="*/ 206064 h 206063"/>
                <a:gd name="connsiteX10" fmla="*/ 10283 w 135000"/>
                <a:gd name="connsiteY10" fmla="*/ 205528 h 206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000" h="206063">
                  <a:moveTo>
                    <a:pt x="10283" y="205528"/>
                  </a:moveTo>
                  <a:cubicBezTo>
                    <a:pt x="43671" y="192190"/>
                    <a:pt x="85243" y="183649"/>
                    <a:pt x="135000" y="179905"/>
                  </a:cubicBezTo>
                  <a:cubicBezTo>
                    <a:pt x="135000" y="178893"/>
                    <a:pt x="135000" y="121425"/>
                    <a:pt x="135000" y="7500"/>
                  </a:cubicBezTo>
                  <a:lnTo>
                    <a:pt x="135000" y="7500"/>
                  </a:lnTo>
                  <a:cubicBezTo>
                    <a:pt x="135000" y="3358"/>
                    <a:pt x="131642" y="0"/>
                    <a:pt x="127500" y="0"/>
                  </a:cubicBezTo>
                  <a:cubicBezTo>
                    <a:pt x="127437" y="0"/>
                    <a:pt x="127374" y="1"/>
                    <a:pt x="127310" y="2"/>
                  </a:cubicBezTo>
                  <a:cubicBezTo>
                    <a:pt x="84873" y="1077"/>
                    <a:pt x="42436" y="11044"/>
                    <a:pt x="0" y="29905"/>
                  </a:cubicBezTo>
                  <a:cubicBezTo>
                    <a:pt x="0" y="30573"/>
                    <a:pt x="0" y="86793"/>
                    <a:pt x="0" y="198564"/>
                  </a:cubicBezTo>
                  <a:lnTo>
                    <a:pt x="0" y="198564"/>
                  </a:lnTo>
                  <a:cubicBezTo>
                    <a:pt x="0" y="202705"/>
                    <a:pt x="3357" y="206064"/>
                    <a:pt x="7500" y="206064"/>
                  </a:cubicBezTo>
                  <a:cubicBezTo>
                    <a:pt x="8453" y="206064"/>
                    <a:pt x="9398" y="205882"/>
                    <a:pt x="10283" y="205528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6" name="Полилиния 415">
              <a:extLst>
                <a:ext uri="{FF2B5EF4-FFF2-40B4-BE49-F238E27FC236}">
                  <a16:creationId xmlns:a16="http://schemas.microsoft.com/office/drawing/2014/main" id="{12D3A16C-067B-C74D-94D2-171A00FFA411}"/>
                </a:ext>
              </a:extLst>
            </p:cNvPr>
            <p:cNvSpPr/>
            <p:nvPr/>
          </p:nvSpPr>
          <p:spPr>
            <a:xfrm>
              <a:off x="9051680" y="5526293"/>
              <a:ext cx="135000" cy="206063"/>
            </a:xfrm>
            <a:custGeom>
              <a:avLst/>
              <a:gdLst>
                <a:gd name="connsiteX0" fmla="*/ 124718 w 135000"/>
                <a:gd name="connsiteY0" fmla="*/ 205528 h 206063"/>
                <a:gd name="connsiteX1" fmla="*/ 0 w 135000"/>
                <a:gd name="connsiteY1" fmla="*/ 179905 h 206063"/>
                <a:gd name="connsiteX2" fmla="*/ 0 w 135000"/>
                <a:gd name="connsiteY2" fmla="*/ 7500 h 206063"/>
                <a:gd name="connsiteX3" fmla="*/ 0 w 135000"/>
                <a:gd name="connsiteY3" fmla="*/ 7500 h 206063"/>
                <a:gd name="connsiteX4" fmla="*/ 7500 w 135000"/>
                <a:gd name="connsiteY4" fmla="*/ 0 h 206063"/>
                <a:gd name="connsiteX5" fmla="*/ 7690 w 135000"/>
                <a:gd name="connsiteY5" fmla="*/ 2 h 206063"/>
                <a:gd name="connsiteX6" fmla="*/ 135000 w 135000"/>
                <a:gd name="connsiteY6" fmla="*/ 29905 h 206063"/>
                <a:gd name="connsiteX7" fmla="*/ 135000 w 135000"/>
                <a:gd name="connsiteY7" fmla="*/ 198564 h 206063"/>
                <a:gd name="connsiteX8" fmla="*/ 135000 w 135000"/>
                <a:gd name="connsiteY8" fmla="*/ 198564 h 206063"/>
                <a:gd name="connsiteX9" fmla="*/ 127500 w 135000"/>
                <a:gd name="connsiteY9" fmla="*/ 206064 h 206063"/>
                <a:gd name="connsiteX10" fmla="*/ 124718 w 135000"/>
                <a:gd name="connsiteY10" fmla="*/ 205528 h 206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000" h="206063">
                  <a:moveTo>
                    <a:pt x="124718" y="205528"/>
                  </a:moveTo>
                  <a:cubicBezTo>
                    <a:pt x="91329" y="192190"/>
                    <a:pt x="49757" y="183649"/>
                    <a:pt x="0" y="179905"/>
                  </a:cubicBezTo>
                  <a:cubicBezTo>
                    <a:pt x="0" y="178893"/>
                    <a:pt x="0" y="121425"/>
                    <a:pt x="0" y="7500"/>
                  </a:cubicBezTo>
                  <a:lnTo>
                    <a:pt x="0" y="7500"/>
                  </a:lnTo>
                  <a:cubicBezTo>
                    <a:pt x="0" y="3358"/>
                    <a:pt x="3358" y="0"/>
                    <a:pt x="7500" y="0"/>
                  </a:cubicBezTo>
                  <a:cubicBezTo>
                    <a:pt x="7563" y="0"/>
                    <a:pt x="7626" y="1"/>
                    <a:pt x="7690" y="2"/>
                  </a:cubicBezTo>
                  <a:cubicBezTo>
                    <a:pt x="50126" y="1077"/>
                    <a:pt x="92563" y="11044"/>
                    <a:pt x="135000" y="29905"/>
                  </a:cubicBezTo>
                  <a:cubicBezTo>
                    <a:pt x="135000" y="30573"/>
                    <a:pt x="135000" y="86793"/>
                    <a:pt x="135000" y="198564"/>
                  </a:cubicBezTo>
                  <a:lnTo>
                    <a:pt x="135000" y="198564"/>
                  </a:lnTo>
                  <a:cubicBezTo>
                    <a:pt x="135000" y="202705"/>
                    <a:pt x="131642" y="206064"/>
                    <a:pt x="127500" y="206064"/>
                  </a:cubicBezTo>
                  <a:cubicBezTo>
                    <a:pt x="126546" y="206064"/>
                    <a:pt x="125603" y="205882"/>
                    <a:pt x="124718" y="205528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17" name="Рисунок 86">
            <a:extLst>
              <a:ext uri="{FF2B5EF4-FFF2-40B4-BE49-F238E27FC236}">
                <a16:creationId xmlns:a16="http://schemas.microsoft.com/office/drawing/2014/main" id="{AC6396D0-4320-9440-8D37-783770198432}"/>
              </a:ext>
            </a:extLst>
          </p:cNvPr>
          <p:cNvGrpSpPr/>
          <p:nvPr/>
        </p:nvGrpSpPr>
        <p:grpSpPr>
          <a:xfrm>
            <a:off x="10448780" y="5134477"/>
            <a:ext cx="360000" cy="360000"/>
            <a:chOff x="10527985" y="5451199"/>
            <a:chExt cx="360000" cy="360000"/>
          </a:xfrm>
        </p:grpSpPr>
        <p:sp>
          <p:nvSpPr>
            <p:cNvPr id="418" name="Полилиния 417">
              <a:extLst>
                <a:ext uri="{FF2B5EF4-FFF2-40B4-BE49-F238E27FC236}">
                  <a16:creationId xmlns:a16="http://schemas.microsoft.com/office/drawing/2014/main" id="{C2312BB4-93BE-9C48-BB88-71A52E2C91FA}"/>
                </a:ext>
              </a:extLst>
            </p:cNvPr>
            <p:cNvSpPr/>
            <p:nvPr/>
          </p:nvSpPr>
          <p:spPr>
            <a:xfrm>
              <a:off x="10527985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9" name="Полилиния 418">
              <a:extLst>
                <a:ext uri="{FF2B5EF4-FFF2-40B4-BE49-F238E27FC236}">
                  <a16:creationId xmlns:a16="http://schemas.microsoft.com/office/drawing/2014/main" id="{77EE8D01-53D0-D640-AF9D-22B143ECEF82}"/>
                </a:ext>
              </a:extLst>
            </p:cNvPr>
            <p:cNvSpPr/>
            <p:nvPr/>
          </p:nvSpPr>
          <p:spPr>
            <a:xfrm>
              <a:off x="10587985" y="5511199"/>
              <a:ext cx="240000" cy="240000"/>
            </a:xfrm>
            <a:custGeom>
              <a:avLst/>
              <a:gdLst>
                <a:gd name="connsiteX0" fmla="*/ 45000 w 240000"/>
                <a:gd name="connsiteY0" fmla="*/ 30000 h 240000"/>
                <a:gd name="connsiteX1" fmla="*/ 30000 w 240000"/>
                <a:gd name="connsiteY1" fmla="*/ 45000 h 240000"/>
                <a:gd name="connsiteX2" fmla="*/ 30000 w 240000"/>
                <a:gd name="connsiteY2" fmla="*/ 195000 h 240000"/>
                <a:gd name="connsiteX3" fmla="*/ 45000 w 240000"/>
                <a:gd name="connsiteY3" fmla="*/ 210000 h 240000"/>
                <a:gd name="connsiteX4" fmla="*/ 195000 w 240000"/>
                <a:gd name="connsiteY4" fmla="*/ 210000 h 240000"/>
                <a:gd name="connsiteX5" fmla="*/ 210000 w 240000"/>
                <a:gd name="connsiteY5" fmla="*/ 195000 h 240000"/>
                <a:gd name="connsiteX6" fmla="*/ 210000 w 240000"/>
                <a:gd name="connsiteY6" fmla="*/ 45000 h 240000"/>
                <a:gd name="connsiteX7" fmla="*/ 195000 w 240000"/>
                <a:gd name="connsiteY7" fmla="*/ 30000 h 240000"/>
                <a:gd name="connsiteX8" fmla="*/ 45000 w 240000"/>
                <a:gd name="connsiteY8" fmla="*/ 30000 h 240000"/>
                <a:gd name="connsiteX9" fmla="*/ 45000 w 240000"/>
                <a:gd name="connsiteY9" fmla="*/ 0 h 240000"/>
                <a:gd name="connsiteX10" fmla="*/ 195000 w 240000"/>
                <a:gd name="connsiteY10" fmla="*/ 0 h 240000"/>
                <a:gd name="connsiteX11" fmla="*/ 240000 w 240000"/>
                <a:gd name="connsiteY11" fmla="*/ 45000 h 240000"/>
                <a:gd name="connsiteX12" fmla="*/ 240000 w 240000"/>
                <a:gd name="connsiteY12" fmla="*/ 195000 h 240000"/>
                <a:gd name="connsiteX13" fmla="*/ 195000 w 240000"/>
                <a:gd name="connsiteY13" fmla="*/ 240000 h 240000"/>
                <a:gd name="connsiteX14" fmla="*/ 45000 w 240000"/>
                <a:gd name="connsiteY14" fmla="*/ 240000 h 240000"/>
                <a:gd name="connsiteX15" fmla="*/ 0 w 240000"/>
                <a:gd name="connsiteY15" fmla="*/ 195000 h 240000"/>
                <a:gd name="connsiteX16" fmla="*/ 0 w 240000"/>
                <a:gd name="connsiteY16" fmla="*/ 45000 h 240000"/>
                <a:gd name="connsiteX17" fmla="*/ 45000 w 240000"/>
                <a:gd name="connsiteY17" fmla="*/ 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000" h="240000">
                  <a:moveTo>
                    <a:pt x="45000" y="30000"/>
                  </a:moveTo>
                  <a:cubicBezTo>
                    <a:pt x="36716" y="30000"/>
                    <a:pt x="30000" y="36716"/>
                    <a:pt x="30000" y="45000"/>
                  </a:cubicBezTo>
                  <a:lnTo>
                    <a:pt x="30000" y="195000"/>
                  </a:lnTo>
                  <a:cubicBezTo>
                    <a:pt x="30000" y="203285"/>
                    <a:pt x="36716" y="210000"/>
                    <a:pt x="45000" y="210000"/>
                  </a:cubicBezTo>
                  <a:lnTo>
                    <a:pt x="195000" y="210000"/>
                  </a:lnTo>
                  <a:cubicBezTo>
                    <a:pt x="203285" y="210000"/>
                    <a:pt x="210000" y="203285"/>
                    <a:pt x="210000" y="195000"/>
                  </a:cubicBezTo>
                  <a:lnTo>
                    <a:pt x="210000" y="45000"/>
                  </a:lnTo>
                  <a:cubicBezTo>
                    <a:pt x="210000" y="36716"/>
                    <a:pt x="203285" y="30000"/>
                    <a:pt x="195000" y="30000"/>
                  </a:cubicBezTo>
                  <a:lnTo>
                    <a:pt x="45000" y="30000"/>
                  </a:lnTo>
                  <a:close/>
                  <a:moveTo>
                    <a:pt x="45000" y="0"/>
                  </a:moveTo>
                  <a:lnTo>
                    <a:pt x="195000" y="0"/>
                  </a:lnTo>
                  <a:cubicBezTo>
                    <a:pt x="219854" y="0"/>
                    <a:pt x="240000" y="20147"/>
                    <a:pt x="240000" y="45000"/>
                  </a:cubicBezTo>
                  <a:lnTo>
                    <a:pt x="240000" y="195000"/>
                  </a:lnTo>
                  <a:cubicBezTo>
                    <a:pt x="240000" y="219854"/>
                    <a:pt x="219854" y="240000"/>
                    <a:pt x="195000" y="240000"/>
                  </a:cubicBezTo>
                  <a:lnTo>
                    <a:pt x="45000" y="240000"/>
                  </a:lnTo>
                  <a:cubicBezTo>
                    <a:pt x="20147" y="240000"/>
                    <a:pt x="0" y="219854"/>
                    <a:pt x="0" y="195000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420" name="Рисунок 87">
            <a:extLst>
              <a:ext uri="{FF2B5EF4-FFF2-40B4-BE49-F238E27FC236}">
                <a16:creationId xmlns:a16="http://schemas.microsoft.com/office/drawing/2014/main" id="{647A96AB-48B2-5A49-B31E-AA9F1C1216B6}"/>
              </a:ext>
            </a:extLst>
          </p:cNvPr>
          <p:cNvGrpSpPr/>
          <p:nvPr/>
        </p:nvGrpSpPr>
        <p:grpSpPr>
          <a:xfrm>
            <a:off x="6683020" y="5134477"/>
            <a:ext cx="360000" cy="360000"/>
            <a:chOff x="6762225" y="5451199"/>
            <a:chExt cx="360000" cy="360000"/>
          </a:xfrm>
        </p:grpSpPr>
        <p:sp>
          <p:nvSpPr>
            <p:cNvPr id="421" name="Полилиния 420">
              <a:extLst>
                <a:ext uri="{FF2B5EF4-FFF2-40B4-BE49-F238E27FC236}">
                  <a16:creationId xmlns:a16="http://schemas.microsoft.com/office/drawing/2014/main" id="{A4B2B862-7C9A-5F49-A746-BE1561BABF15}"/>
                </a:ext>
              </a:extLst>
            </p:cNvPr>
            <p:cNvSpPr/>
            <p:nvPr/>
          </p:nvSpPr>
          <p:spPr>
            <a:xfrm>
              <a:off x="6762225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2" name="Полилиния 421">
              <a:extLst>
                <a:ext uri="{FF2B5EF4-FFF2-40B4-BE49-F238E27FC236}">
                  <a16:creationId xmlns:a16="http://schemas.microsoft.com/office/drawing/2014/main" id="{6386164B-B4D3-1949-B95A-0FB9A994DE84}"/>
                </a:ext>
              </a:extLst>
            </p:cNvPr>
            <p:cNvSpPr/>
            <p:nvPr/>
          </p:nvSpPr>
          <p:spPr>
            <a:xfrm>
              <a:off x="6882225" y="5706199"/>
              <a:ext cx="120000" cy="45000"/>
            </a:xfrm>
            <a:custGeom>
              <a:avLst/>
              <a:gdLst>
                <a:gd name="connsiteX0" fmla="*/ 0 w 120000"/>
                <a:gd name="connsiteY0" fmla="*/ 0 h 45000"/>
                <a:gd name="connsiteX1" fmla="*/ 120000 w 120000"/>
                <a:gd name="connsiteY1" fmla="*/ 0 h 45000"/>
                <a:gd name="connsiteX2" fmla="*/ 120000 w 120000"/>
                <a:gd name="connsiteY2" fmla="*/ 30000 h 45000"/>
                <a:gd name="connsiteX3" fmla="*/ 105000 w 120000"/>
                <a:gd name="connsiteY3" fmla="*/ 45000 h 45000"/>
                <a:gd name="connsiteX4" fmla="*/ 15000 w 120000"/>
                <a:gd name="connsiteY4" fmla="*/ 45000 h 45000"/>
                <a:gd name="connsiteX5" fmla="*/ 0 w 120000"/>
                <a:gd name="connsiteY5" fmla="*/ 30000 h 45000"/>
                <a:gd name="connsiteX6" fmla="*/ 0 w 120000"/>
                <a:gd name="connsiteY6" fmla="*/ 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000" h="45000">
                  <a:moveTo>
                    <a:pt x="0" y="0"/>
                  </a:moveTo>
                  <a:lnTo>
                    <a:pt x="120000" y="0"/>
                  </a:lnTo>
                  <a:lnTo>
                    <a:pt x="120000" y="30000"/>
                  </a:lnTo>
                  <a:cubicBezTo>
                    <a:pt x="120000" y="38284"/>
                    <a:pt x="113285" y="45000"/>
                    <a:pt x="105000" y="45000"/>
                  </a:cubicBezTo>
                  <a:lnTo>
                    <a:pt x="15000" y="45000"/>
                  </a:lnTo>
                  <a:cubicBezTo>
                    <a:pt x="6716" y="45000"/>
                    <a:pt x="0" y="38284"/>
                    <a:pt x="0" y="300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3" name="Полилиния 422">
              <a:extLst>
                <a:ext uri="{FF2B5EF4-FFF2-40B4-BE49-F238E27FC236}">
                  <a16:creationId xmlns:a16="http://schemas.microsoft.com/office/drawing/2014/main" id="{1E0069A6-5A63-2B41-9A4A-7805CAC263E5}"/>
                </a:ext>
              </a:extLst>
            </p:cNvPr>
            <p:cNvSpPr/>
            <p:nvPr/>
          </p:nvSpPr>
          <p:spPr>
            <a:xfrm>
              <a:off x="6792225" y="5556199"/>
              <a:ext cx="300000" cy="165000"/>
            </a:xfrm>
            <a:custGeom>
              <a:avLst/>
              <a:gdLst>
                <a:gd name="connsiteX0" fmla="*/ 0 w 300000"/>
                <a:gd name="connsiteY0" fmla="*/ 0 h 165000"/>
                <a:gd name="connsiteX1" fmla="*/ 300000 w 300000"/>
                <a:gd name="connsiteY1" fmla="*/ 0 h 165000"/>
                <a:gd name="connsiteX2" fmla="*/ 300000 w 300000"/>
                <a:gd name="connsiteY2" fmla="*/ 15000 h 165000"/>
                <a:gd name="connsiteX3" fmla="*/ 150000 w 300000"/>
                <a:gd name="connsiteY3" fmla="*/ 165000 h 165000"/>
                <a:gd name="connsiteX4" fmla="*/ 0 w 300000"/>
                <a:gd name="connsiteY4" fmla="*/ 15000 h 165000"/>
                <a:gd name="connsiteX5" fmla="*/ 0 w 300000"/>
                <a:gd name="connsiteY5" fmla="*/ 0 h 165000"/>
                <a:gd name="connsiteX6" fmla="*/ 233714 w 300000"/>
                <a:gd name="connsiteY6" fmla="*/ 39091 h 165000"/>
                <a:gd name="connsiteX7" fmla="*/ 173292 w 300000"/>
                <a:gd name="connsiteY7" fmla="*/ 106584 h 165000"/>
                <a:gd name="connsiteX8" fmla="*/ 166584 w 300000"/>
                <a:gd name="connsiteY8" fmla="*/ 126708 h 165000"/>
                <a:gd name="connsiteX9" fmla="*/ 186708 w 300000"/>
                <a:gd name="connsiteY9" fmla="*/ 133416 h 165000"/>
                <a:gd name="connsiteX10" fmla="*/ 261287 w 300000"/>
                <a:gd name="connsiteY10" fmla="*/ 50909 h 165000"/>
                <a:gd name="connsiteX11" fmla="*/ 253409 w 300000"/>
                <a:gd name="connsiteY11" fmla="*/ 31213 h 165000"/>
                <a:gd name="connsiteX12" fmla="*/ 233714 w 300000"/>
                <a:gd name="connsiteY12" fmla="*/ 39091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0000" h="165000">
                  <a:moveTo>
                    <a:pt x="0" y="0"/>
                  </a:moveTo>
                  <a:lnTo>
                    <a:pt x="300000" y="0"/>
                  </a:lnTo>
                  <a:lnTo>
                    <a:pt x="300000" y="15000"/>
                  </a:lnTo>
                  <a:cubicBezTo>
                    <a:pt x="300000" y="97842"/>
                    <a:pt x="232842" y="165000"/>
                    <a:pt x="150000" y="165000"/>
                  </a:cubicBezTo>
                  <a:cubicBezTo>
                    <a:pt x="67157" y="165000"/>
                    <a:pt x="0" y="97842"/>
                    <a:pt x="0" y="15000"/>
                  </a:cubicBezTo>
                  <a:lnTo>
                    <a:pt x="0" y="0"/>
                  </a:lnTo>
                  <a:close/>
                  <a:moveTo>
                    <a:pt x="233714" y="39091"/>
                  </a:moveTo>
                  <a:cubicBezTo>
                    <a:pt x="220065" y="70937"/>
                    <a:pt x="200001" y="93228"/>
                    <a:pt x="173292" y="106584"/>
                  </a:cubicBezTo>
                  <a:cubicBezTo>
                    <a:pt x="165882" y="110289"/>
                    <a:pt x="162879" y="119298"/>
                    <a:pt x="166584" y="126708"/>
                  </a:cubicBezTo>
                  <a:cubicBezTo>
                    <a:pt x="170289" y="134118"/>
                    <a:pt x="179298" y="137121"/>
                    <a:pt x="186708" y="133416"/>
                  </a:cubicBezTo>
                  <a:cubicBezTo>
                    <a:pt x="219999" y="116772"/>
                    <a:pt x="244935" y="89064"/>
                    <a:pt x="261287" y="50909"/>
                  </a:cubicBezTo>
                  <a:cubicBezTo>
                    <a:pt x="264551" y="43294"/>
                    <a:pt x="261023" y="34476"/>
                    <a:pt x="253409" y="31213"/>
                  </a:cubicBezTo>
                  <a:cubicBezTo>
                    <a:pt x="245794" y="27950"/>
                    <a:pt x="236976" y="31477"/>
                    <a:pt x="233714" y="39091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24" name="Рисунок 88">
            <a:extLst>
              <a:ext uri="{FF2B5EF4-FFF2-40B4-BE49-F238E27FC236}">
                <a16:creationId xmlns:a16="http://schemas.microsoft.com/office/drawing/2014/main" id="{F9D0DBE1-3069-D542-A83F-0C13C03862F0}"/>
              </a:ext>
            </a:extLst>
          </p:cNvPr>
          <p:cNvGrpSpPr/>
          <p:nvPr/>
        </p:nvGrpSpPr>
        <p:grpSpPr>
          <a:xfrm>
            <a:off x="2917260" y="5134477"/>
            <a:ext cx="360000" cy="360000"/>
            <a:chOff x="2996465" y="5451199"/>
            <a:chExt cx="360000" cy="360000"/>
          </a:xfrm>
        </p:grpSpPr>
        <p:sp>
          <p:nvSpPr>
            <p:cNvPr id="425" name="Полилиния 424">
              <a:extLst>
                <a:ext uri="{FF2B5EF4-FFF2-40B4-BE49-F238E27FC236}">
                  <a16:creationId xmlns:a16="http://schemas.microsoft.com/office/drawing/2014/main" id="{AD724820-3112-4943-A5D8-C41AEB19DD96}"/>
                </a:ext>
              </a:extLst>
            </p:cNvPr>
            <p:cNvSpPr/>
            <p:nvPr/>
          </p:nvSpPr>
          <p:spPr>
            <a:xfrm>
              <a:off x="2996465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6" name="Полилиния 425">
              <a:extLst>
                <a:ext uri="{FF2B5EF4-FFF2-40B4-BE49-F238E27FC236}">
                  <a16:creationId xmlns:a16="http://schemas.microsoft.com/office/drawing/2014/main" id="{823D68E8-D480-C647-8B89-D3ED6CAC5463}"/>
                </a:ext>
              </a:extLst>
            </p:cNvPr>
            <p:cNvSpPr/>
            <p:nvPr/>
          </p:nvSpPr>
          <p:spPr>
            <a:xfrm>
              <a:off x="3056465" y="5496199"/>
              <a:ext cx="240000" cy="52500"/>
            </a:xfrm>
            <a:custGeom>
              <a:avLst/>
              <a:gdLst>
                <a:gd name="connsiteX0" fmla="*/ 30000 w 240000"/>
                <a:gd name="connsiteY0" fmla="*/ 0 h 52500"/>
                <a:gd name="connsiteX1" fmla="*/ 210000 w 240000"/>
                <a:gd name="connsiteY1" fmla="*/ 0 h 52500"/>
                <a:gd name="connsiteX2" fmla="*/ 240000 w 240000"/>
                <a:gd name="connsiteY2" fmla="*/ 52500 h 52500"/>
                <a:gd name="connsiteX3" fmla="*/ 0 w 240000"/>
                <a:gd name="connsiteY3" fmla="*/ 52500 h 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000" h="52500">
                  <a:moveTo>
                    <a:pt x="30000" y="0"/>
                  </a:moveTo>
                  <a:lnTo>
                    <a:pt x="210000" y="0"/>
                  </a:lnTo>
                  <a:lnTo>
                    <a:pt x="240000" y="52500"/>
                  </a:lnTo>
                  <a:lnTo>
                    <a:pt x="0" y="525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7" name="Полилиния 426">
              <a:extLst>
                <a:ext uri="{FF2B5EF4-FFF2-40B4-BE49-F238E27FC236}">
                  <a16:creationId xmlns:a16="http://schemas.microsoft.com/office/drawing/2014/main" id="{0E0ACE30-74DC-4449-93A1-1545F41E9388}"/>
                </a:ext>
              </a:extLst>
            </p:cNvPr>
            <p:cNvSpPr/>
            <p:nvPr/>
          </p:nvSpPr>
          <p:spPr>
            <a:xfrm>
              <a:off x="3056465" y="5526199"/>
              <a:ext cx="240000" cy="240000"/>
            </a:xfrm>
            <a:custGeom>
              <a:avLst/>
              <a:gdLst>
                <a:gd name="connsiteX0" fmla="*/ 30000 w 240000"/>
                <a:gd name="connsiteY0" fmla="*/ 0 h 240000"/>
                <a:gd name="connsiteX1" fmla="*/ 210000 w 240000"/>
                <a:gd name="connsiteY1" fmla="*/ 0 h 240000"/>
                <a:gd name="connsiteX2" fmla="*/ 240000 w 240000"/>
                <a:gd name="connsiteY2" fmla="*/ 30000 h 240000"/>
                <a:gd name="connsiteX3" fmla="*/ 240000 w 240000"/>
                <a:gd name="connsiteY3" fmla="*/ 210000 h 240000"/>
                <a:gd name="connsiteX4" fmla="*/ 210000 w 240000"/>
                <a:gd name="connsiteY4" fmla="*/ 240000 h 240000"/>
                <a:gd name="connsiteX5" fmla="*/ 30000 w 240000"/>
                <a:gd name="connsiteY5" fmla="*/ 240000 h 240000"/>
                <a:gd name="connsiteX6" fmla="*/ 0 w 240000"/>
                <a:gd name="connsiteY6" fmla="*/ 210000 h 240000"/>
                <a:gd name="connsiteX7" fmla="*/ 0 w 240000"/>
                <a:gd name="connsiteY7" fmla="*/ 30000 h 240000"/>
                <a:gd name="connsiteX8" fmla="*/ 30000 w 240000"/>
                <a:gd name="connsiteY8" fmla="*/ 0 h 240000"/>
                <a:gd name="connsiteX9" fmla="*/ 75000 w 240000"/>
                <a:gd name="connsiteY9" fmla="*/ 60000 h 240000"/>
                <a:gd name="connsiteX10" fmla="*/ 60000 w 240000"/>
                <a:gd name="connsiteY10" fmla="*/ 75000 h 240000"/>
                <a:gd name="connsiteX11" fmla="*/ 75000 w 240000"/>
                <a:gd name="connsiteY11" fmla="*/ 90000 h 240000"/>
                <a:gd name="connsiteX12" fmla="*/ 165000 w 240000"/>
                <a:gd name="connsiteY12" fmla="*/ 90000 h 240000"/>
                <a:gd name="connsiteX13" fmla="*/ 180000 w 240000"/>
                <a:gd name="connsiteY13" fmla="*/ 75000 h 240000"/>
                <a:gd name="connsiteX14" fmla="*/ 165000 w 240000"/>
                <a:gd name="connsiteY14" fmla="*/ 60000 h 240000"/>
                <a:gd name="connsiteX15" fmla="*/ 75000 w 240000"/>
                <a:gd name="connsiteY15" fmla="*/ 6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0000" h="240000">
                  <a:moveTo>
                    <a:pt x="30000" y="0"/>
                  </a:moveTo>
                  <a:lnTo>
                    <a:pt x="210000" y="0"/>
                  </a:lnTo>
                  <a:cubicBezTo>
                    <a:pt x="226569" y="0"/>
                    <a:pt x="240000" y="13431"/>
                    <a:pt x="240000" y="30000"/>
                  </a:cubicBezTo>
                  <a:lnTo>
                    <a:pt x="240000" y="210000"/>
                  </a:lnTo>
                  <a:cubicBezTo>
                    <a:pt x="240000" y="226569"/>
                    <a:pt x="226569" y="240000"/>
                    <a:pt x="210000" y="240000"/>
                  </a:cubicBezTo>
                  <a:lnTo>
                    <a:pt x="30000" y="240000"/>
                  </a:lnTo>
                  <a:cubicBezTo>
                    <a:pt x="13431" y="240000"/>
                    <a:pt x="0" y="226569"/>
                    <a:pt x="0" y="21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75000" y="60000"/>
                  </a:moveTo>
                  <a:cubicBezTo>
                    <a:pt x="66716" y="60000"/>
                    <a:pt x="60000" y="66716"/>
                    <a:pt x="60000" y="75000"/>
                  </a:cubicBezTo>
                  <a:cubicBezTo>
                    <a:pt x="60000" y="83285"/>
                    <a:pt x="66716" y="90000"/>
                    <a:pt x="75000" y="90000"/>
                  </a:cubicBezTo>
                  <a:lnTo>
                    <a:pt x="165000" y="90000"/>
                  </a:lnTo>
                  <a:cubicBezTo>
                    <a:pt x="173285" y="90000"/>
                    <a:pt x="180000" y="83285"/>
                    <a:pt x="180000" y="75000"/>
                  </a:cubicBezTo>
                  <a:cubicBezTo>
                    <a:pt x="180000" y="66716"/>
                    <a:pt x="173285" y="60000"/>
                    <a:pt x="165000" y="60000"/>
                  </a:cubicBezTo>
                  <a:lnTo>
                    <a:pt x="75000" y="6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28" name="Рисунок 89">
            <a:extLst>
              <a:ext uri="{FF2B5EF4-FFF2-40B4-BE49-F238E27FC236}">
                <a16:creationId xmlns:a16="http://schemas.microsoft.com/office/drawing/2014/main" id="{96B610EE-4888-A04A-8E0B-6BFFC0B9094B}"/>
              </a:ext>
            </a:extLst>
          </p:cNvPr>
          <p:cNvGrpSpPr/>
          <p:nvPr/>
        </p:nvGrpSpPr>
        <p:grpSpPr>
          <a:xfrm>
            <a:off x="2164108" y="5134477"/>
            <a:ext cx="360000" cy="360000"/>
            <a:chOff x="2243313" y="5451199"/>
            <a:chExt cx="360000" cy="360000"/>
          </a:xfrm>
        </p:grpSpPr>
        <p:sp>
          <p:nvSpPr>
            <p:cNvPr id="429" name="Полилиния 428">
              <a:extLst>
                <a:ext uri="{FF2B5EF4-FFF2-40B4-BE49-F238E27FC236}">
                  <a16:creationId xmlns:a16="http://schemas.microsoft.com/office/drawing/2014/main" id="{2B8782F6-378D-AA4E-A6ED-CC188B46E45A}"/>
                </a:ext>
              </a:extLst>
            </p:cNvPr>
            <p:cNvSpPr/>
            <p:nvPr/>
          </p:nvSpPr>
          <p:spPr>
            <a:xfrm>
              <a:off x="2243313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0" name="Полилиния 429">
              <a:extLst>
                <a:ext uri="{FF2B5EF4-FFF2-40B4-BE49-F238E27FC236}">
                  <a16:creationId xmlns:a16="http://schemas.microsoft.com/office/drawing/2014/main" id="{A05336CE-EF23-C64B-BC65-B811B20F978E}"/>
                </a:ext>
              </a:extLst>
            </p:cNvPr>
            <p:cNvSpPr/>
            <p:nvPr/>
          </p:nvSpPr>
          <p:spPr>
            <a:xfrm>
              <a:off x="2303313" y="5594735"/>
              <a:ext cx="240000" cy="178129"/>
            </a:xfrm>
            <a:custGeom>
              <a:avLst/>
              <a:gdLst>
                <a:gd name="connsiteX0" fmla="*/ 0 w 240000"/>
                <a:gd name="connsiteY0" fmla="*/ 1584 h 178129"/>
                <a:gd name="connsiteX1" fmla="*/ 103204 w 240000"/>
                <a:gd name="connsiteY1" fmla="*/ 61168 h 178129"/>
                <a:gd name="connsiteX2" fmla="*/ 106667 w 240000"/>
                <a:gd name="connsiteY2" fmla="*/ 62568 h 178129"/>
                <a:gd name="connsiteX3" fmla="*/ 106667 w 240000"/>
                <a:gd name="connsiteY3" fmla="*/ 178129 h 178129"/>
                <a:gd name="connsiteX4" fmla="*/ 7360 w 240000"/>
                <a:gd name="connsiteY4" fmla="*/ 119361 h 178129"/>
                <a:gd name="connsiteX5" fmla="*/ 0 w 240000"/>
                <a:gd name="connsiteY5" fmla="*/ 106452 h 178129"/>
                <a:gd name="connsiteX6" fmla="*/ 0 w 240000"/>
                <a:gd name="connsiteY6" fmla="*/ 1584 h 178129"/>
                <a:gd name="connsiteX7" fmla="*/ 240000 w 240000"/>
                <a:gd name="connsiteY7" fmla="*/ 0 h 178129"/>
                <a:gd name="connsiteX8" fmla="*/ 240000 w 240000"/>
                <a:gd name="connsiteY8" fmla="*/ 106452 h 178129"/>
                <a:gd name="connsiteX9" fmla="*/ 232640 w 240000"/>
                <a:gd name="connsiteY9" fmla="*/ 119361 h 178129"/>
                <a:gd name="connsiteX10" fmla="*/ 133334 w 240000"/>
                <a:gd name="connsiteY10" fmla="*/ 178129 h 178129"/>
                <a:gd name="connsiteX11" fmla="*/ 133334 w 240000"/>
                <a:gd name="connsiteY11" fmla="*/ 61555 h 178129"/>
                <a:gd name="connsiteX12" fmla="*/ 134052 w 240000"/>
                <a:gd name="connsiteY12" fmla="*/ 61168 h 178129"/>
                <a:gd name="connsiteX13" fmla="*/ 240000 w 240000"/>
                <a:gd name="connsiteY13" fmla="*/ 0 h 17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178129">
                  <a:moveTo>
                    <a:pt x="0" y="1584"/>
                  </a:moveTo>
                  <a:lnTo>
                    <a:pt x="103204" y="61168"/>
                  </a:lnTo>
                  <a:cubicBezTo>
                    <a:pt x="104315" y="61810"/>
                    <a:pt x="105480" y="62274"/>
                    <a:pt x="106667" y="62568"/>
                  </a:cubicBezTo>
                  <a:lnTo>
                    <a:pt x="106667" y="178129"/>
                  </a:lnTo>
                  <a:lnTo>
                    <a:pt x="7360" y="119361"/>
                  </a:lnTo>
                  <a:cubicBezTo>
                    <a:pt x="2798" y="116661"/>
                    <a:pt x="0" y="111753"/>
                    <a:pt x="0" y="106452"/>
                  </a:cubicBezTo>
                  <a:lnTo>
                    <a:pt x="0" y="1584"/>
                  </a:lnTo>
                  <a:close/>
                  <a:moveTo>
                    <a:pt x="240000" y="0"/>
                  </a:moveTo>
                  <a:lnTo>
                    <a:pt x="240000" y="106452"/>
                  </a:lnTo>
                  <a:cubicBezTo>
                    <a:pt x="240000" y="111753"/>
                    <a:pt x="237201" y="116661"/>
                    <a:pt x="232640" y="119361"/>
                  </a:cubicBezTo>
                  <a:lnTo>
                    <a:pt x="133334" y="178129"/>
                  </a:lnTo>
                  <a:lnTo>
                    <a:pt x="133334" y="61555"/>
                  </a:lnTo>
                  <a:cubicBezTo>
                    <a:pt x="133575" y="61435"/>
                    <a:pt x="133815" y="61306"/>
                    <a:pt x="134052" y="61168"/>
                  </a:cubicBezTo>
                  <a:lnTo>
                    <a:pt x="240000" y="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31" name="Полилиния 430">
              <a:extLst>
                <a:ext uri="{FF2B5EF4-FFF2-40B4-BE49-F238E27FC236}">
                  <a16:creationId xmlns:a16="http://schemas.microsoft.com/office/drawing/2014/main" id="{968BD3C0-EADB-8042-BF48-BC0F9C9ADC64}"/>
                </a:ext>
              </a:extLst>
            </p:cNvPr>
            <p:cNvSpPr/>
            <p:nvPr/>
          </p:nvSpPr>
          <p:spPr>
            <a:xfrm>
              <a:off x="2306554" y="5505788"/>
              <a:ext cx="232598" cy="128512"/>
            </a:xfrm>
            <a:custGeom>
              <a:avLst/>
              <a:gdLst>
                <a:gd name="connsiteX0" fmla="*/ 0 w 232598"/>
                <a:gd name="connsiteY0" fmla="*/ 61611 h 128512"/>
                <a:gd name="connsiteX1" fmla="*/ 4707 w 232598"/>
                <a:gd name="connsiteY1" fmla="*/ 57686 h 128512"/>
                <a:gd name="connsiteX2" fmla="*/ 109707 w 232598"/>
                <a:gd name="connsiteY2" fmla="*/ 1761 h 128512"/>
                <a:gd name="connsiteX3" fmla="*/ 123810 w 232598"/>
                <a:gd name="connsiteY3" fmla="*/ 1761 h 128512"/>
                <a:gd name="connsiteX4" fmla="*/ 228810 w 232598"/>
                <a:gd name="connsiteY4" fmla="*/ 57686 h 128512"/>
                <a:gd name="connsiteX5" fmla="*/ 232599 w 232598"/>
                <a:gd name="connsiteY5" fmla="*/ 60557 h 128512"/>
                <a:gd name="connsiteX6" fmla="*/ 117477 w 232598"/>
                <a:gd name="connsiteY6" fmla="*/ 127022 h 128512"/>
                <a:gd name="connsiteX7" fmla="*/ 115386 w 232598"/>
                <a:gd name="connsiteY7" fmla="*/ 128513 h 128512"/>
                <a:gd name="connsiteX8" fmla="*/ 113296 w 232598"/>
                <a:gd name="connsiteY8" fmla="*/ 127022 h 128512"/>
                <a:gd name="connsiteX9" fmla="*/ 0 w 232598"/>
                <a:gd name="connsiteY9" fmla="*/ 61611 h 128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2598" h="128512">
                  <a:moveTo>
                    <a:pt x="0" y="61611"/>
                  </a:moveTo>
                  <a:cubicBezTo>
                    <a:pt x="1261" y="60020"/>
                    <a:pt x="2852" y="58674"/>
                    <a:pt x="4707" y="57686"/>
                  </a:cubicBezTo>
                  <a:lnTo>
                    <a:pt x="109707" y="1761"/>
                  </a:lnTo>
                  <a:cubicBezTo>
                    <a:pt x="114115" y="-587"/>
                    <a:pt x="119401" y="-587"/>
                    <a:pt x="123810" y="1761"/>
                  </a:cubicBezTo>
                  <a:lnTo>
                    <a:pt x="228810" y="57686"/>
                  </a:lnTo>
                  <a:cubicBezTo>
                    <a:pt x="230239" y="58448"/>
                    <a:pt x="231513" y="59422"/>
                    <a:pt x="232599" y="60557"/>
                  </a:cubicBezTo>
                  <a:lnTo>
                    <a:pt x="117477" y="127022"/>
                  </a:lnTo>
                  <a:cubicBezTo>
                    <a:pt x="116721" y="127460"/>
                    <a:pt x="116022" y="127959"/>
                    <a:pt x="115386" y="128513"/>
                  </a:cubicBezTo>
                  <a:cubicBezTo>
                    <a:pt x="114750" y="127959"/>
                    <a:pt x="114052" y="127460"/>
                    <a:pt x="113296" y="127022"/>
                  </a:cubicBezTo>
                  <a:lnTo>
                    <a:pt x="0" y="6161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32" name="Рисунок 90">
            <a:extLst>
              <a:ext uri="{FF2B5EF4-FFF2-40B4-BE49-F238E27FC236}">
                <a16:creationId xmlns:a16="http://schemas.microsoft.com/office/drawing/2014/main" id="{7F1ECB86-9632-794B-AE48-8F5E87F0E620}"/>
              </a:ext>
            </a:extLst>
          </p:cNvPr>
          <p:cNvGrpSpPr/>
          <p:nvPr/>
        </p:nvGrpSpPr>
        <p:grpSpPr>
          <a:xfrm>
            <a:off x="1410956" y="5134477"/>
            <a:ext cx="360000" cy="360000"/>
            <a:chOff x="1490161" y="5451199"/>
            <a:chExt cx="360000" cy="360000"/>
          </a:xfrm>
        </p:grpSpPr>
        <p:sp>
          <p:nvSpPr>
            <p:cNvPr id="433" name="Полилиния 432">
              <a:extLst>
                <a:ext uri="{FF2B5EF4-FFF2-40B4-BE49-F238E27FC236}">
                  <a16:creationId xmlns:a16="http://schemas.microsoft.com/office/drawing/2014/main" id="{A2CABDD0-A378-4A4E-81AD-91CBFB4A673F}"/>
                </a:ext>
              </a:extLst>
            </p:cNvPr>
            <p:cNvSpPr/>
            <p:nvPr/>
          </p:nvSpPr>
          <p:spPr>
            <a:xfrm>
              <a:off x="1490161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4" name="Полилиния 433">
              <a:extLst>
                <a:ext uri="{FF2B5EF4-FFF2-40B4-BE49-F238E27FC236}">
                  <a16:creationId xmlns:a16="http://schemas.microsoft.com/office/drawing/2014/main" id="{4900DA82-AF60-9B4C-88C0-A4B95CE81E6B}"/>
                </a:ext>
              </a:extLst>
            </p:cNvPr>
            <p:cNvSpPr/>
            <p:nvPr/>
          </p:nvSpPr>
          <p:spPr>
            <a:xfrm>
              <a:off x="1535161" y="5497613"/>
              <a:ext cx="270000" cy="281425"/>
            </a:xfrm>
            <a:custGeom>
              <a:avLst/>
              <a:gdLst>
                <a:gd name="connsiteX0" fmla="*/ 261091 w 270000"/>
                <a:gd name="connsiteY0" fmla="*/ 54626 h 281425"/>
                <a:gd name="connsiteX1" fmla="*/ 270000 w 270000"/>
                <a:gd name="connsiteY1" fmla="*/ 68333 h 281425"/>
                <a:gd name="connsiteX2" fmla="*/ 270000 w 270000"/>
                <a:gd name="connsiteY2" fmla="*/ 199759 h 281425"/>
                <a:gd name="connsiteX3" fmla="*/ 262284 w 270000"/>
                <a:gd name="connsiteY3" fmla="*/ 212872 h 281425"/>
                <a:gd name="connsiteX4" fmla="*/ 142284 w 270000"/>
                <a:gd name="connsiteY4" fmla="*/ 279538 h 281425"/>
                <a:gd name="connsiteX5" fmla="*/ 127716 w 270000"/>
                <a:gd name="connsiteY5" fmla="*/ 279538 h 281425"/>
                <a:gd name="connsiteX6" fmla="*/ 7715 w 270000"/>
                <a:gd name="connsiteY6" fmla="*/ 212872 h 281425"/>
                <a:gd name="connsiteX7" fmla="*/ 0 w 270000"/>
                <a:gd name="connsiteY7" fmla="*/ 199759 h 281425"/>
                <a:gd name="connsiteX8" fmla="*/ 0 w 270000"/>
                <a:gd name="connsiteY8" fmla="*/ 68333 h 281425"/>
                <a:gd name="connsiteX9" fmla="*/ 8908 w 270000"/>
                <a:gd name="connsiteY9" fmla="*/ 54626 h 281425"/>
                <a:gd name="connsiteX10" fmla="*/ 128908 w 270000"/>
                <a:gd name="connsiteY10" fmla="*/ 1293 h 281425"/>
                <a:gd name="connsiteX11" fmla="*/ 141092 w 270000"/>
                <a:gd name="connsiteY11" fmla="*/ 1293 h 281425"/>
                <a:gd name="connsiteX12" fmla="*/ 261091 w 270000"/>
                <a:gd name="connsiteY12" fmla="*/ 54626 h 281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0000" h="281425">
                  <a:moveTo>
                    <a:pt x="261091" y="54626"/>
                  </a:moveTo>
                  <a:cubicBezTo>
                    <a:pt x="266510" y="57034"/>
                    <a:pt x="270000" y="62405"/>
                    <a:pt x="270000" y="68333"/>
                  </a:cubicBezTo>
                  <a:lnTo>
                    <a:pt x="270000" y="199759"/>
                  </a:lnTo>
                  <a:cubicBezTo>
                    <a:pt x="270000" y="205207"/>
                    <a:pt x="267047" y="210226"/>
                    <a:pt x="262284" y="212872"/>
                  </a:cubicBezTo>
                  <a:lnTo>
                    <a:pt x="142284" y="279538"/>
                  </a:lnTo>
                  <a:cubicBezTo>
                    <a:pt x="137754" y="282055"/>
                    <a:pt x="132246" y="282055"/>
                    <a:pt x="127716" y="279538"/>
                  </a:cubicBezTo>
                  <a:lnTo>
                    <a:pt x="7715" y="212872"/>
                  </a:lnTo>
                  <a:cubicBezTo>
                    <a:pt x="2953" y="210226"/>
                    <a:pt x="0" y="205207"/>
                    <a:pt x="0" y="199759"/>
                  </a:cubicBezTo>
                  <a:lnTo>
                    <a:pt x="0" y="68333"/>
                  </a:lnTo>
                  <a:cubicBezTo>
                    <a:pt x="0" y="62405"/>
                    <a:pt x="3491" y="57034"/>
                    <a:pt x="8908" y="54626"/>
                  </a:cubicBezTo>
                  <a:lnTo>
                    <a:pt x="128908" y="1293"/>
                  </a:lnTo>
                  <a:cubicBezTo>
                    <a:pt x="132786" y="-431"/>
                    <a:pt x="137214" y="-431"/>
                    <a:pt x="141092" y="1293"/>
                  </a:cubicBezTo>
                  <a:lnTo>
                    <a:pt x="261091" y="54626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5" name="Полилиния 434">
              <a:extLst>
                <a:ext uri="{FF2B5EF4-FFF2-40B4-BE49-F238E27FC236}">
                  <a16:creationId xmlns:a16="http://schemas.microsoft.com/office/drawing/2014/main" id="{6DE6E877-FFDF-F847-8B7A-2E887BD98328}"/>
                </a:ext>
              </a:extLst>
            </p:cNvPr>
            <p:cNvSpPr/>
            <p:nvPr/>
          </p:nvSpPr>
          <p:spPr>
            <a:xfrm>
              <a:off x="1604160" y="5514565"/>
              <a:ext cx="144826" cy="145219"/>
            </a:xfrm>
            <a:custGeom>
              <a:avLst/>
              <a:gdLst>
                <a:gd name="connsiteX0" fmla="*/ 110508 w 144826"/>
                <a:gd name="connsiteY0" fmla="*/ 0 h 145219"/>
                <a:gd name="connsiteX1" fmla="*/ 0 w 144826"/>
                <a:gd name="connsiteY1" fmla="*/ 61393 h 145219"/>
                <a:gd name="connsiteX2" fmla="*/ 0 w 144826"/>
                <a:gd name="connsiteY2" fmla="*/ 130219 h 145219"/>
                <a:gd name="connsiteX3" fmla="*/ 30000 w 144826"/>
                <a:gd name="connsiteY3" fmla="*/ 145219 h 145219"/>
                <a:gd name="connsiteX4" fmla="*/ 30000 w 144826"/>
                <a:gd name="connsiteY4" fmla="*/ 79045 h 145219"/>
                <a:gd name="connsiteX5" fmla="*/ 144827 w 144826"/>
                <a:gd name="connsiteY5" fmla="*/ 15253 h 14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826" h="145219">
                  <a:moveTo>
                    <a:pt x="110508" y="0"/>
                  </a:moveTo>
                  <a:lnTo>
                    <a:pt x="0" y="61393"/>
                  </a:lnTo>
                  <a:lnTo>
                    <a:pt x="0" y="130219"/>
                  </a:lnTo>
                  <a:lnTo>
                    <a:pt x="30000" y="145219"/>
                  </a:lnTo>
                  <a:lnTo>
                    <a:pt x="30000" y="79045"/>
                  </a:lnTo>
                  <a:lnTo>
                    <a:pt x="144827" y="15253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36" name="Рисунок 91">
            <a:extLst>
              <a:ext uri="{FF2B5EF4-FFF2-40B4-BE49-F238E27FC236}">
                <a16:creationId xmlns:a16="http://schemas.microsoft.com/office/drawing/2014/main" id="{42298449-E7BD-2644-8D4C-84BC83E38CF0}"/>
              </a:ext>
            </a:extLst>
          </p:cNvPr>
          <p:cNvGrpSpPr/>
          <p:nvPr/>
        </p:nvGrpSpPr>
        <p:grpSpPr>
          <a:xfrm>
            <a:off x="657804" y="5134477"/>
            <a:ext cx="360000" cy="360000"/>
            <a:chOff x="737009" y="5451199"/>
            <a:chExt cx="360000" cy="360000"/>
          </a:xfrm>
        </p:grpSpPr>
        <p:sp>
          <p:nvSpPr>
            <p:cNvPr id="437" name="Полилиния 436">
              <a:extLst>
                <a:ext uri="{FF2B5EF4-FFF2-40B4-BE49-F238E27FC236}">
                  <a16:creationId xmlns:a16="http://schemas.microsoft.com/office/drawing/2014/main" id="{825A8F2C-A98D-C74A-9B6F-69D5570B61EE}"/>
                </a:ext>
              </a:extLst>
            </p:cNvPr>
            <p:cNvSpPr/>
            <p:nvPr/>
          </p:nvSpPr>
          <p:spPr>
            <a:xfrm>
              <a:off x="737009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8" name="Полилиния 437">
              <a:extLst>
                <a:ext uri="{FF2B5EF4-FFF2-40B4-BE49-F238E27FC236}">
                  <a16:creationId xmlns:a16="http://schemas.microsoft.com/office/drawing/2014/main" id="{D2D764BC-BD9A-184B-8906-7EA118167AEF}"/>
                </a:ext>
              </a:extLst>
            </p:cNvPr>
            <p:cNvSpPr/>
            <p:nvPr/>
          </p:nvSpPr>
          <p:spPr>
            <a:xfrm>
              <a:off x="797009" y="5556199"/>
              <a:ext cx="240000" cy="210000"/>
            </a:xfrm>
            <a:custGeom>
              <a:avLst/>
              <a:gdLst>
                <a:gd name="connsiteX0" fmla="*/ 0 w 240000"/>
                <a:gd name="connsiteY0" fmla="*/ 0 h 210000"/>
                <a:gd name="connsiteX1" fmla="*/ 240000 w 240000"/>
                <a:gd name="connsiteY1" fmla="*/ 0 h 210000"/>
                <a:gd name="connsiteX2" fmla="*/ 240000 w 240000"/>
                <a:gd name="connsiteY2" fmla="*/ 187500 h 210000"/>
                <a:gd name="connsiteX3" fmla="*/ 217500 w 240000"/>
                <a:gd name="connsiteY3" fmla="*/ 210000 h 210000"/>
                <a:gd name="connsiteX4" fmla="*/ 22500 w 240000"/>
                <a:gd name="connsiteY4" fmla="*/ 210000 h 210000"/>
                <a:gd name="connsiteX5" fmla="*/ 0 w 240000"/>
                <a:gd name="connsiteY5" fmla="*/ 187500 h 210000"/>
                <a:gd name="connsiteX6" fmla="*/ 0 w 240000"/>
                <a:gd name="connsiteY6" fmla="*/ 0 h 210000"/>
                <a:gd name="connsiteX7" fmla="*/ 90000 w 240000"/>
                <a:gd name="connsiteY7" fmla="*/ 45000 h 210000"/>
                <a:gd name="connsiteX8" fmla="*/ 75000 w 240000"/>
                <a:gd name="connsiteY8" fmla="*/ 60000 h 210000"/>
                <a:gd name="connsiteX9" fmla="*/ 90000 w 240000"/>
                <a:gd name="connsiteY9" fmla="*/ 75000 h 210000"/>
                <a:gd name="connsiteX10" fmla="*/ 150000 w 240000"/>
                <a:gd name="connsiteY10" fmla="*/ 75000 h 210000"/>
                <a:gd name="connsiteX11" fmla="*/ 165000 w 240000"/>
                <a:gd name="connsiteY11" fmla="*/ 60000 h 210000"/>
                <a:gd name="connsiteX12" fmla="*/ 150000 w 240000"/>
                <a:gd name="connsiteY12" fmla="*/ 45000 h 210000"/>
                <a:gd name="connsiteX13" fmla="*/ 90000 w 240000"/>
                <a:gd name="connsiteY13" fmla="*/ 45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210000">
                  <a:moveTo>
                    <a:pt x="0" y="0"/>
                  </a:moveTo>
                  <a:lnTo>
                    <a:pt x="240000" y="0"/>
                  </a:lnTo>
                  <a:lnTo>
                    <a:pt x="240000" y="187500"/>
                  </a:lnTo>
                  <a:cubicBezTo>
                    <a:pt x="240000" y="199926"/>
                    <a:pt x="229926" y="210000"/>
                    <a:pt x="217500" y="210000"/>
                  </a:cubicBezTo>
                  <a:lnTo>
                    <a:pt x="22500" y="210000"/>
                  </a:lnTo>
                  <a:cubicBezTo>
                    <a:pt x="10074" y="210000"/>
                    <a:pt x="0" y="199926"/>
                    <a:pt x="0" y="187500"/>
                  </a:cubicBezTo>
                  <a:lnTo>
                    <a:pt x="0" y="0"/>
                  </a:lnTo>
                  <a:close/>
                  <a:moveTo>
                    <a:pt x="90000" y="45000"/>
                  </a:moveTo>
                  <a:cubicBezTo>
                    <a:pt x="81716" y="45000"/>
                    <a:pt x="75000" y="51715"/>
                    <a:pt x="75000" y="60000"/>
                  </a:cubicBezTo>
                  <a:cubicBezTo>
                    <a:pt x="75000" y="68285"/>
                    <a:pt x="81716" y="75000"/>
                    <a:pt x="90000" y="75000"/>
                  </a:cubicBezTo>
                  <a:lnTo>
                    <a:pt x="150000" y="75000"/>
                  </a:lnTo>
                  <a:cubicBezTo>
                    <a:pt x="158285" y="75000"/>
                    <a:pt x="165000" y="68285"/>
                    <a:pt x="165000" y="60000"/>
                  </a:cubicBezTo>
                  <a:cubicBezTo>
                    <a:pt x="165000" y="51715"/>
                    <a:pt x="158285" y="45000"/>
                    <a:pt x="150000" y="45000"/>
                  </a:cubicBezTo>
                  <a:lnTo>
                    <a:pt x="90000" y="45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9" name="Скругленный прямоугольник 438">
              <a:extLst>
                <a:ext uri="{FF2B5EF4-FFF2-40B4-BE49-F238E27FC236}">
                  <a16:creationId xmlns:a16="http://schemas.microsoft.com/office/drawing/2014/main" id="{443BF017-321A-AC4F-9232-BCFB4A38EFE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7008" y="5494274"/>
              <a:ext cx="298800" cy="5976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40" name="Рисунок 92">
            <a:extLst>
              <a:ext uri="{FF2B5EF4-FFF2-40B4-BE49-F238E27FC236}">
                <a16:creationId xmlns:a16="http://schemas.microsoft.com/office/drawing/2014/main" id="{1FD85CC7-C8E2-7946-A886-782543A06F71}"/>
              </a:ext>
            </a:extLst>
          </p:cNvPr>
          <p:cNvGrpSpPr/>
          <p:nvPr/>
        </p:nvGrpSpPr>
        <p:grpSpPr>
          <a:xfrm>
            <a:off x="11201933" y="4461423"/>
            <a:ext cx="360000" cy="360000"/>
            <a:chOff x="11281138" y="4778145"/>
            <a:chExt cx="360000" cy="360000"/>
          </a:xfrm>
        </p:grpSpPr>
        <p:sp>
          <p:nvSpPr>
            <p:cNvPr id="441" name="Полилиния 440">
              <a:extLst>
                <a:ext uri="{FF2B5EF4-FFF2-40B4-BE49-F238E27FC236}">
                  <a16:creationId xmlns:a16="http://schemas.microsoft.com/office/drawing/2014/main" id="{93F63576-A6F4-5344-AC8B-34C647894D59}"/>
                </a:ext>
              </a:extLst>
            </p:cNvPr>
            <p:cNvSpPr/>
            <p:nvPr/>
          </p:nvSpPr>
          <p:spPr>
            <a:xfrm>
              <a:off x="11281138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2" name="Полилиния 441">
              <a:extLst>
                <a:ext uri="{FF2B5EF4-FFF2-40B4-BE49-F238E27FC236}">
                  <a16:creationId xmlns:a16="http://schemas.microsoft.com/office/drawing/2014/main" id="{8C8B4A5D-9B7F-994A-A931-841F81DCBFCD}"/>
                </a:ext>
              </a:extLst>
            </p:cNvPr>
            <p:cNvSpPr/>
            <p:nvPr/>
          </p:nvSpPr>
          <p:spPr>
            <a:xfrm>
              <a:off x="11296138" y="4898145"/>
              <a:ext cx="337500" cy="135000"/>
            </a:xfrm>
            <a:custGeom>
              <a:avLst/>
              <a:gdLst>
                <a:gd name="connsiteX0" fmla="*/ 172500 w 337500"/>
                <a:gd name="connsiteY0" fmla="*/ 90000 h 135000"/>
                <a:gd name="connsiteX1" fmla="*/ 262500 w 337500"/>
                <a:gd name="connsiteY1" fmla="*/ 0 h 135000"/>
                <a:gd name="connsiteX2" fmla="*/ 337500 w 337500"/>
                <a:gd name="connsiteY2" fmla="*/ 60000 h 135000"/>
                <a:gd name="connsiteX3" fmla="*/ 262500 w 337500"/>
                <a:gd name="connsiteY3" fmla="*/ 135000 h 135000"/>
                <a:gd name="connsiteX4" fmla="*/ 186530 w 337500"/>
                <a:gd name="connsiteY4" fmla="*/ 120000 h 135000"/>
                <a:gd name="connsiteX5" fmla="*/ 150971 w 337500"/>
                <a:gd name="connsiteY5" fmla="*/ 120000 h 135000"/>
                <a:gd name="connsiteX6" fmla="*/ 75000 w 337500"/>
                <a:gd name="connsiteY6" fmla="*/ 135000 h 135000"/>
                <a:gd name="connsiteX7" fmla="*/ 0 w 337500"/>
                <a:gd name="connsiteY7" fmla="*/ 60000 h 135000"/>
                <a:gd name="connsiteX8" fmla="*/ 75000 w 337500"/>
                <a:gd name="connsiteY8" fmla="*/ 0 h 135000"/>
                <a:gd name="connsiteX9" fmla="*/ 165000 w 337500"/>
                <a:gd name="connsiteY9" fmla="*/ 90000 h 135000"/>
                <a:gd name="connsiteX10" fmla="*/ 172500 w 337500"/>
                <a:gd name="connsiteY10" fmla="*/ 90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7500" h="135000">
                  <a:moveTo>
                    <a:pt x="172500" y="90000"/>
                  </a:moveTo>
                  <a:cubicBezTo>
                    <a:pt x="172500" y="48579"/>
                    <a:pt x="221079" y="0"/>
                    <a:pt x="262500" y="0"/>
                  </a:cubicBezTo>
                  <a:cubicBezTo>
                    <a:pt x="303921" y="0"/>
                    <a:pt x="337500" y="18579"/>
                    <a:pt x="337500" y="60000"/>
                  </a:cubicBezTo>
                  <a:cubicBezTo>
                    <a:pt x="337500" y="101421"/>
                    <a:pt x="303921" y="135000"/>
                    <a:pt x="262500" y="135000"/>
                  </a:cubicBezTo>
                  <a:cubicBezTo>
                    <a:pt x="234834" y="135000"/>
                    <a:pt x="203973" y="133404"/>
                    <a:pt x="186530" y="120000"/>
                  </a:cubicBezTo>
                  <a:lnTo>
                    <a:pt x="150971" y="120000"/>
                  </a:lnTo>
                  <a:cubicBezTo>
                    <a:pt x="133527" y="133404"/>
                    <a:pt x="102667" y="135000"/>
                    <a:pt x="75000" y="135000"/>
                  </a:cubicBezTo>
                  <a:cubicBezTo>
                    <a:pt x="33579" y="135000"/>
                    <a:pt x="0" y="101421"/>
                    <a:pt x="0" y="60000"/>
                  </a:cubicBezTo>
                  <a:cubicBezTo>
                    <a:pt x="0" y="18579"/>
                    <a:pt x="33579" y="0"/>
                    <a:pt x="75000" y="0"/>
                  </a:cubicBezTo>
                  <a:cubicBezTo>
                    <a:pt x="116421" y="0"/>
                    <a:pt x="165000" y="48579"/>
                    <a:pt x="165000" y="90000"/>
                  </a:cubicBezTo>
                  <a:lnTo>
                    <a:pt x="172500" y="9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43" name="Рисунок 93">
            <a:extLst>
              <a:ext uri="{FF2B5EF4-FFF2-40B4-BE49-F238E27FC236}">
                <a16:creationId xmlns:a16="http://schemas.microsoft.com/office/drawing/2014/main" id="{B7F29C21-4D0E-B745-8404-8600DDE7BA5D}"/>
              </a:ext>
            </a:extLst>
          </p:cNvPr>
          <p:cNvGrpSpPr/>
          <p:nvPr/>
        </p:nvGrpSpPr>
        <p:grpSpPr>
          <a:xfrm>
            <a:off x="10448780" y="4461423"/>
            <a:ext cx="360000" cy="360000"/>
            <a:chOff x="10527985" y="4778145"/>
            <a:chExt cx="360000" cy="360000"/>
          </a:xfrm>
        </p:grpSpPr>
        <p:sp>
          <p:nvSpPr>
            <p:cNvPr id="444" name="Полилиния 443">
              <a:extLst>
                <a:ext uri="{FF2B5EF4-FFF2-40B4-BE49-F238E27FC236}">
                  <a16:creationId xmlns:a16="http://schemas.microsoft.com/office/drawing/2014/main" id="{FDBA3E97-1CCA-7548-B4A7-C4E049D345F5}"/>
                </a:ext>
              </a:extLst>
            </p:cNvPr>
            <p:cNvSpPr/>
            <p:nvPr/>
          </p:nvSpPr>
          <p:spPr>
            <a:xfrm>
              <a:off x="10527985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5" name="Полилиния 444">
              <a:extLst>
                <a:ext uri="{FF2B5EF4-FFF2-40B4-BE49-F238E27FC236}">
                  <a16:creationId xmlns:a16="http://schemas.microsoft.com/office/drawing/2014/main" id="{873732BC-5CD9-1144-8DEA-15F0160EC189}"/>
                </a:ext>
              </a:extLst>
            </p:cNvPr>
            <p:cNvSpPr/>
            <p:nvPr/>
          </p:nvSpPr>
          <p:spPr>
            <a:xfrm>
              <a:off x="10575588" y="4898145"/>
              <a:ext cx="264793" cy="180000"/>
            </a:xfrm>
            <a:custGeom>
              <a:avLst/>
              <a:gdLst>
                <a:gd name="connsiteX0" fmla="*/ 40000 w 264793"/>
                <a:gd name="connsiteY0" fmla="*/ 0 h 180000"/>
                <a:gd name="connsiteX1" fmla="*/ 224792 w 264793"/>
                <a:gd name="connsiteY1" fmla="*/ 0 h 180000"/>
                <a:gd name="connsiteX2" fmla="*/ 254688 w 264793"/>
                <a:gd name="connsiteY2" fmla="*/ 27509 h 180000"/>
                <a:gd name="connsiteX3" fmla="*/ 264689 w 264793"/>
                <a:gd name="connsiteY3" fmla="*/ 147509 h 180000"/>
                <a:gd name="connsiteX4" fmla="*/ 237284 w 264793"/>
                <a:gd name="connsiteY4" fmla="*/ 179896 h 180000"/>
                <a:gd name="connsiteX5" fmla="*/ 234792 w 264793"/>
                <a:gd name="connsiteY5" fmla="*/ 180000 h 180000"/>
                <a:gd name="connsiteX6" fmla="*/ 30000 w 264793"/>
                <a:gd name="connsiteY6" fmla="*/ 180000 h 180000"/>
                <a:gd name="connsiteX7" fmla="*/ 0 w 264793"/>
                <a:gd name="connsiteY7" fmla="*/ 150000 h 180000"/>
                <a:gd name="connsiteX8" fmla="*/ 104 w 264793"/>
                <a:gd name="connsiteY8" fmla="*/ 147509 h 180000"/>
                <a:gd name="connsiteX9" fmla="*/ 10104 w 264793"/>
                <a:gd name="connsiteY9" fmla="*/ 27509 h 180000"/>
                <a:gd name="connsiteX10" fmla="*/ 40000 w 264793"/>
                <a:gd name="connsiteY10" fmla="*/ 0 h 180000"/>
                <a:gd name="connsiteX11" fmla="*/ 109896 w 264793"/>
                <a:gd name="connsiteY11" fmla="*/ 30000 h 180000"/>
                <a:gd name="connsiteX12" fmla="*/ 102396 w 264793"/>
                <a:gd name="connsiteY12" fmla="*/ 37500 h 180000"/>
                <a:gd name="connsiteX13" fmla="*/ 102396 w 264793"/>
                <a:gd name="connsiteY13" fmla="*/ 52500 h 180000"/>
                <a:gd name="connsiteX14" fmla="*/ 109896 w 264793"/>
                <a:gd name="connsiteY14" fmla="*/ 60000 h 180000"/>
                <a:gd name="connsiteX15" fmla="*/ 154896 w 264793"/>
                <a:gd name="connsiteY15" fmla="*/ 60000 h 180000"/>
                <a:gd name="connsiteX16" fmla="*/ 162396 w 264793"/>
                <a:gd name="connsiteY16" fmla="*/ 52500 h 180000"/>
                <a:gd name="connsiteX17" fmla="*/ 162396 w 264793"/>
                <a:gd name="connsiteY17" fmla="*/ 37500 h 180000"/>
                <a:gd name="connsiteX18" fmla="*/ 154896 w 264793"/>
                <a:gd name="connsiteY18" fmla="*/ 30000 h 180000"/>
                <a:gd name="connsiteX19" fmla="*/ 109896 w 264793"/>
                <a:gd name="connsiteY19" fmla="*/ 3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64793" h="180000">
                  <a:moveTo>
                    <a:pt x="40000" y="0"/>
                  </a:moveTo>
                  <a:lnTo>
                    <a:pt x="224792" y="0"/>
                  </a:lnTo>
                  <a:cubicBezTo>
                    <a:pt x="240395" y="0"/>
                    <a:pt x="253392" y="11960"/>
                    <a:pt x="254688" y="27509"/>
                  </a:cubicBezTo>
                  <a:lnTo>
                    <a:pt x="264689" y="147509"/>
                  </a:lnTo>
                  <a:cubicBezTo>
                    <a:pt x="266064" y="164021"/>
                    <a:pt x="253794" y="178521"/>
                    <a:pt x="237284" y="179896"/>
                  </a:cubicBezTo>
                  <a:cubicBezTo>
                    <a:pt x="236454" y="179966"/>
                    <a:pt x="235623" y="180000"/>
                    <a:pt x="234792" y="180000"/>
                  </a:cubicBezTo>
                  <a:lnTo>
                    <a:pt x="30000" y="180000"/>
                  </a:lnTo>
                  <a:cubicBezTo>
                    <a:pt x="13431" y="180000"/>
                    <a:pt x="0" y="166569"/>
                    <a:pt x="0" y="150000"/>
                  </a:cubicBezTo>
                  <a:cubicBezTo>
                    <a:pt x="0" y="149169"/>
                    <a:pt x="35" y="148338"/>
                    <a:pt x="104" y="147509"/>
                  </a:cubicBezTo>
                  <a:lnTo>
                    <a:pt x="10104" y="27509"/>
                  </a:lnTo>
                  <a:cubicBezTo>
                    <a:pt x="11399" y="11960"/>
                    <a:pt x="24397" y="0"/>
                    <a:pt x="40000" y="0"/>
                  </a:cubicBezTo>
                  <a:close/>
                  <a:moveTo>
                    <a:pt x="109896" y="30000"/>
                  </a:moveTo>
                  <a:cubicBezTo>
                    <a:pt x="105755" y="30000"/>
                    <a:pt x="102396" y="33358"/>
                    <a:pt x="102396" y="37500"/>
                  </a:cubicBezTo>
                  <a:lnTo>
                    <a:pt x="102396" y="52500"/>
                  </a:lnTo>
                  <a:cubicBezTo>
                    <a:pt x="102396" y="56642"/>
                    <a:pt x="105755" y="60000"/>
                    <a:pt x="109896" y="60000"/>
                  </a:cubicBezTo>
                  <a:lnTo>
                    <a:pt x="154896" y="60000"/>
                  </a:lnTo>
                  <a:cubicBezTo>
                    <a:pt x="159038" y="60000"/>
                    <a:pt x="162396" y="56642"/>
                    <a:pt x="162396" y="52500"/>
                  </a:cubicBezTo>
                  <a:lnTo>
                    <a:pt x="162396" y="37500"/>
                  </a:lnTo>
                  <a:cubicBezTo>
                    <a:pt x="162396" y="33358"/>
                    <a:pt x="159038" y="30000"/>
                    <a:pt x="154896" y="30000"/>
                  </a:cubicBezTo>
                  <a:lnTo>
                    <a:pt x="109896" y="3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46" name="Полилиния 445">
              <a:extLst>
                <a:ext uri="{FF2B5EF4-FFF2-40B4-BE49-F238E27FC236}">
                  <a16:creationId xmlns:a16="http://schemas.microsoft.com/office/drawing/2014/main" id="{41140F24-4AE7-6C43-9F9C-8F59CEE4D16E}"/>
                </a:ext>
              </a:extLst>
            </p:cNvPr>
            <p:cNvSpPr/>
            <p:nvPr/>
          </p:nvSpPr>
          <p:spPr>
            <a:xfrm>
              <a:off x="10647985" y="4838145"/>
              <a:ext cx="120000" cy="60000"/>
            </a:xfrm>
            <a:custGeom>
              <a:avLst/>
              <a:gdLst>
                <a:gd name="connsiteX0" fmla="*/ 30000 w 120000"/>
                <a:gd name="connsiteY0" fmla="*/ 60000 h 60000"/>
                <a:gd name="connsiteX1" fmla="*/ 0 w 120000"/>
                <a:gd name="connsiteY1" fmla="*/ 60000 h 60000"/>
                <a:gd name="connsiteX2" fmla="*/ 0 w 120000"/>
                <a:gd name="connsiteY2" fmla="*/ 45000 h 60000"/>
                <a:gd name="connsiteX3" fmla="*/ 45000 w 120000"/>
                <a:gd name="connsiteY3" fmla="*/ 0 h 60000"/>
                <a:gd name="connsiteX4" fmla="*/ 75000 w 120000"/>
                <a:gd name="connsiteY4" fmla="*/ 0 h 60000"/>
                <a:gd name="connsiteX5" fmla="*/ 120000 w 120000"/>
                <a:gd name="connsiteY5" fmla="*/ 45000 h 60000"/>
                <a:gd name="connsiteX6" fmla="*/ 120000 w 120000"/>
                <a:gd name="connsiteY6" fmla="*/ 60000 h 60000"/>
                <a:gd name="connsiteX7" fmla="*/ 90000 w 120000"/>
                <a:gd name="connsiteY7" fmla="*/ 60000 h 60000"/>
                <a:gd name="connsiteX8" fmla="*/ 90000 w 120000"/>
                <a:gd name="connsiteY8" fmla="*/ 45000 h 60000"/>
                <a:gd name="connsiteX9" fmla="*/ 75000 w 120000"/>
                <a:gd name="connsiteY9" fmla="*/ 30000 h 60000"/>
                <a:gd name="connsiteX10" fmla="*/ 45000 w 120000"/>
                <a:gd name="connsiteY10" fmla="*/ 30000 h 60000"/>
                <a:gd name="connsiteX11" fmla="*/ 30000 w 120000"/>
                <a:gd name="connsiteY11" fmla="*/ 45000 h 60000"/>
                <a:gd name="connsiteX12" fmla="*/ 30000 w 120000"/>
                <a:gd name="connsiteY12" fmla="*/ 6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0000" h="60000">
                  <a:moveTo>
                    <a:pt x="30000" y="60000"/>
                  </a:moveTo>
                  <a:lnTo>
                    <a:pt x="0" y="60000"/>
                  </a:ln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lnTo>
                    <a:pt x="75000" y="0"/>
                  </a:lnTo>
                  <a:cubicBezTo>
                    <a:pt x="99854" y="0"/>
                    <a:pt x="120000" y="20147"/>
                    <a:pt x="120000" y="45000"/>
                  </a:cubicBezTo>
                  <a:lnTo>
                    <a:pt x="120000" y="60000"/>
                  </a:lnTo>
                  <a:lnTo>
                    <a:pt x="90000" y="60000"/>
                  </a:lnTo>
                  <a:lnTo>
                    <a:pt x="90000" y="45000"/>
                  </a:lnTo>
                  <a:cubicBezTo>
                    <a:pt x="90000" y="36716"/>
                    <a:pt x="83285" y="30000"/>
                    <a:pt x="75000" y="30000"/>
                  </a:cubicBezTo>
                  <a:lnTo>
                    <a:pt x="45000" y="30000"/>
                  </a:lnTo>
                  <a:cubicBezTo>
                    <a:pt x="36715" y="30000"/>
                    <a:pt x="30000" y="36716"/>
                    <a:pt x="30000" y="45000"/>
                  </a:cubicBezTo>
                  <a:lnTo>
                    <a:pt x="30000" y="6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47" name="Рисунок 94">
            <a:extLst>
              <a:ext uri="{FF2B5EF4-FFF2-40B4-BE49-F238E27FC236}">
                <a16:creationId xmlns:a16="http://schemas.microsoft.com/office/drawing/2014/main" id="{674F388C-C41C-A74D-87E8-1E4E06B3F62C}"/>
              </a:ext>
            </a:extLst>
          </p:cNvPr>
          <p:cNvGrpSpPr/>
          <p:nvPr/>
        </p:nvGrpSpPr>
        <p:grpSpPr>
          <a:xfrm>
            <a:off x="8942476" y="4461423"/>
            <a:ext cx="360000" cy="360000"/>
            <a:chOff x="9021681" y="4778145"/>
            <a:chExt cx="360000" cy="360000"/>
          </a:xfrm>
        </p:grpSpPr>
        <p:sp>
          <p:nvSpPr>
            <p:cNvPr id="448" name="Полилиния 447">
              <a:extLst>
                <a:ext uri="{FF2B5EF4-FFF2-40B4-BE49-F238E27FC236}">
                  <a16:creationId xmlns:a16="http://schemas.microsoft.com/office/drawing/2014/main" id="{071FE30C-1394-8640-9E75-FE9EC6251562}"/>
                </a:ext>
              </a:extLst>
            </p:cNvPr>
            <p:cNvSpPr/>
            <p:nvPr/>
          </p:nvSpPr>
          <p:spPr>
            <a:xfrm>
              <a:off x="9021681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9" name="Полилиния 448">
              <a:extLst>
                <a:ext uri="{FF2B5EF4-FFF2-40B4-BE49-F238E27FC236}">
                  <a16:creationId xmlns:a16="http://schemas.microsoft.com/office/drawing/2014/main" id="{29E681BD-25EA-2147-BC90-49F3949DA1E1}"/>
                </a:ext>
              </a:extLst>
            </p:cNvPr>
            <p:cNvSpPr/>
            <p:nvPr/>
          </p:nvSpPr>
          <p:spPr>
            <a:xfrm>
              <a:off x="9041184" y="4886964"/>
              <a:ext cx="231703" cy="229097"/>
            </a:xfrm>
            <a:custGeom>
              <a:avLst/>
              <a:gdLst>
                <a:gd name="connsiteX0" fmla="*/ 138413 w 231703"/>
                <a:gd name="connsiteY0" fmla="*/ 229097 h 229097"/>
                <a:gd name="connsiteX1" fmla="*/ 112461 w 231703"/>
                <a:gd name="connsiteY1" fmla="*/ 203146 h 229097"/>
                <a:gd name="connsiteX2" fmla="*/ 130428 w 231703"/>
                <a:gd name="connsiteY2" fmla="*/ 167876 h 229097"/>
                <a:gd name="connsiteX3" fmla="*/ 90834 w 231703"/>
                <a:gd name="connsiteY3" fmla="*/ 181517 h 229097"/>
                <a:gd name="connsiteX4" fmla="*/ 56231 w 231703"/>
                <a:gd name="connsiteY4" fmla="*/ 146915 h 229097"/>
                <a:gd name="connsiteX5" fmla="*/ 102812 w 231703"/>
                <a:gd name="connsiteY5" fmla="*/ 65729 h 229097"/>
                <a:gd name="connsiteX6" fmla="*/ 21627 w 231703"/>
                <a:gd name="connsiteY6" fmla="*/ 112312 h 229097"/>
                <a:gd name="connsiteX7" fmla="*/ 0 w 231703"/>
                <a:gd name="connsiteY7" fmla="*/ 90685 h 229097"/>
                <a:gd name="connsiteX8" fmla="*/ 119479 w 231703"/>
                <a:gd name="connsiteY8" fmla="*/ 11649 h 229097"/>
                <a:gd name="connsiteX9" fmla="*/ 214612 w 231703"/>
                <a:gd name="connsiteY9" fmla="*/ 28468 h 229097"/>
                <a:gd name="connsiteX10" fmla="*/ 212995 w 231703"/>
                <a:gd name="connsiteY10" fmla="*/ 134365 h 229097"/>
                <a:gd name="connsiteX11" fmla="*/ 138413 w 231703"/>
                <a:gd name="connsiteY11" fmla="*/ 229097 h 229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1703" h="229097">
                  <a:moveTo>
                    <a:pt x="138413" y="229097"/>
                  </a:moveTo>
                  <a:lnTo>
                    <a:pt x="112461" y="203146"/>
                  </a:lnTo>
                  <a:lnTo>
                    <a:pt x="130428" y="167876"/>
                  </a:lnTo>
                  <a:lnTo>
                    <a:pt x="90834" y="181517"/>
                  </a:lnTo>
                  <a:lnTo>
                    <a:pt x="56231" y="146915"/>
                  </a:lnTo>
                  <a:lnTo>
                    <a:pt x="102812" y="65729"/>
                  </a:lnTo>
                  <a:lnTo>
                    <a:pt x="21627" y="112312"/>
                  </a:lnTo>
                  <a:lnTo>
                    <a:pt x="0" y="90685"/>
                  </a:lnTo>
                  <a:lnTo>
                    <a:pt x="119479" y="11649"/>
                  </a:lnTo>
                  <a:cubicBezTo>
                    <a:pt x="150614" y="-8947"/>
                    <a:pt x="192425" y="-1555"/>
                    <a:pt x="214612" y="28468"/>
                  </a:cubicBezTo>
                  <a:cubicBezTo>
                    <a:pt x="237988" y="60101"/>
                    <a:pt x="237326" y="103460"/>
                    <a:pt x="212995" y="134365"/>
                  </a:cubicBezTo>
                  <a:lnTo>
                    <a:pt x="138413" y="229097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0" name="Полилиния 449">
              <a:extLst>
                <a:ext uri="{FF2B5EF4-FFF2-40B4-BE49-F238E27FC236}">
                  <a16:creationId xmlns:a16="http://schemas.microsoft.com/office/drawing/2014/main" id="{60A602E9-EC3A-0649-B225-DC8DACCBB06E}"/>
                </a:ext>
              </a:extLst>
            </p:cNvPr>
            <p:cNvSpPr/>
            <p:nvPr/>
          </p:nvSpPr>
          <p:spPr>
            <a:xfrm rot="-10800000">
              <a:off x="9246574" y="4809275"/>
              <a:ext cx="111475" cy="111576"/>
            </a:xfrm>
            <a:custGeom>
              <a:avLst/>
              <a:gdLst>
                <a:gd name="connsiteX0" fmla="*/ 111476 w 111475"/>
                <a:gd name="connsiteY0" fmla="*/ 42527 h 111576"/>
                <a:gd name="connsiteX1" fmla="*/ 51213 w 111475"/>
                <a:gd name="connsiteY1" fmla="*/ 102790 h 111576"/>
                <a:gd name="connsiteX2" fmla="*/ 8787 w 111475"/>
                <a:gd name="connsiteY2" fmla="*/ 102790 h 111576"/>
                <a:gd name="connsiteX3" fmla="*/ 8787 w 111475"/>
                <a:gd name="connsiteY3" fmla="*/ 60364 h 111576"/>
                <a:gd name="connsiteX4" fmla="*/ 69150 w 111475"/>
                <a:gd name="connsiteY4" fmla="*/ 0 h 111576"/>
                <a:gd name="connsiteX5" fmla="*/ 78428 w 111475"/>
                <a:gd name="connsiteY5" fmla="*/ 14775 h 111576"/>
                <a:gd name="connsiteX6" fmla="*/ 111476 w 111475"/>
                <a:gd name="connsiteY6" fmla="*/ 42527 h 11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475" h="111576">
                  <a:moveTo>
                    <a:pt x="111476" y="42527"/>
                  </a:moveTo>
                  <a:lnTo>
                    <a:pt x="51213" y="102790"/>
                  </a:lnTo>
                  <a:cubicBezTo>
                    <a:pt x="39498" y="114506"/>
                    <a:pt x="20502" y="114506"/>
                    <a:pt x="8787" y="102790"/>
                  </a:cubicBezTo>
                  <a:cubicBezTo>
                    <a:pt x="-2929" y="91074"/>
                    <a:pt x="-2929" y="72079"/>
                    <a:pt x="8787" y="60364"/>
                  </a:cubicBezTo>
                  <a:lnTo>
                    <a:pt x="69150" y="0"/>
                  </a:lnTo>
                  <a:cubicBezTo>
                    <a:pt x="71832" y="5094"/>
                    <a:pt x="74925" y="10035"/>
                    <a:pt x="78428" y="14775"/>
                  </a:cubicBezTo>
                  <a:cubicBezTo>
                    <a:pt x="87392" y="26906"/>
                    <a:pt x="98793" y="36224"/>
                    <a:pt x="111476" y="42527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51" name="Рисунок 95">
            <a:extLst>
              <a:ext uri="{FF2B5EF4-FFF2-40B4-BE49-F238E27FC236}">
                <a16:creationId xmlns:a16="http://schemas.microsoft.com/office/drawing/2014/main" id="{FD51F145-6C5C-FE4B-B0CE-C08BCC905038}"/>
              </a:ext>
            </a:extLst>
          </p:cNvPr>
          <p:cNvGrpSpPr/>
          <p:nvPr/>
        </p:nvGrpSpPr>
        <p:grpSpPr>
          <a:xfrm>
            <a:off x="5929868" y="4461423"/>
            <a:ext cx="360000" cy="360000"/>
            <a:chOff x="6009073" y="4778145"/>
            <a:chExt cx="360000" cy="360000"/>
          </a:xfrm>
        </p:grpSpPr>
        <p:sp>
          <p:nvSpPr>
            <p:cNvPr id="452" name="Полилиния 451">
              <a:extLst>
                <a:ext uri="{FF2B5EF4-FFF2-40B4-BE49-F238E27FC236}">
                  <a16:creationId xmlns:a16="http://schemas.microsoft.com/office/drawing/2014/main" id="{5C340AFB-6C29-EF41-9E6D-AE4747A132DD}"/>
                </a:ext>
              </a:extLst>
            </p:cNvPr>
            <p:cNvSpPr/>
            <p:nvPr/>
          </p:nvSpPr>
          <p:spPr>
            <a:xfrm>
              <a:off x="600907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3" name="Полилиния 452">
              <a:extLst>
                <a:ext uri="{FF2B5EF4-FFF2-40B4-BE49-F238E27FC236}">
                  <a16:creationId xmlns:a16="http://schemas.microsoft.com/office/drawing/2014/main" id="{4C857320-C36C-4148-B7A3-B38100106915}"/>
                </a:ext>
              </a:extLst>
            </p:cNvPr>
            <p:cNvSpPr/>
            <p:nvPr/>
          </p:nvSpPr>
          <p:spPr>
            <a:xfrm>
              <a:off x="6114103" y="4808145"/>
              <a:ext cx="149969" cy="240000"/>
            </a:xfrm>
            <a:custGeom>
              <a:avLst/>
              <a:gdLst>
                <a:gd name="connsiteX0" fmla="*/ 97469 w 149969"/>
                <a:gd name="connsiteY0" fmla="*/ 60000 h 240000"/>
                <a:gd name="connsiteX1" fmla="*/ 72383 w 149969"/>
                <a:gd name="connsiteY1" fmla="*/ 127500 h 240000"/>
                <a:gd name="connsiteX2" fmla="*/ 53572 w 149969"/>
                <a:gd name="connsiteY2" fmla="*/ 0 h 240000"/>
                <a:gd name="connsiteX3" fmla="*/ 26786 w 149969"/>
                <a:gd name="connsiteY3" fmla="*/ 107143 h 240000"/>
                <a:gd name="connsiteX4" fmla="*/ 0 w 149969"/>
                <a:gd name="connsiteY4" fmla="*/ 182144 h 240000"/>
                <a:gd name="connsiteX5" fmla="*/ 75043 w 149969"/>
                <a:gd name="connsiteY5" fmla="*/ 240000 h 240000"/>
                <a:gd name="connsiteX6" fmla="*/ 149969 w 149969"/>
                <a:gd name="connsiteY6" fmla="*/ 172500 h 240000"/>
                <a:gd name="connsiteX7" fmla="*/ 97469 w 149969"/>
                <a:gd name="connsiteY7" fmla="*/ 6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969" h="240000">
                  <a:moveTo>
                    <a:pt x="97469" y="60000"/>
                  </a:moveTo>
                  <a:cubicBezTo>
                    <a:pt x="95030" y="94286"/>
                    <a:pt x="86669" y="116786"/>
                    <a:pt x="72383" y="127500"/>
                  </a:cubicBezTo>
                  <a:cubicBezTo>
                    <a:pt x="72383" y="127500"/>
                    <a:pt x="82469" y="30000"/>
                    <a:pt x="53572" y="0"/>
                  </a:cubicBezTo>
                  <a:cubicBezTo>
                    <a:pt x="53572" y="0"/>
                    <a:pt x="53572" y="58929"/>
                    <a:pt x="26786" y="107143"/>
                  </a:cubicBezTo>
                  <a:cubicBezTo>
                    <a:pt x="14230" y="129744"/>
                    <a:pt x="0" y="152127"/>
                    <a:pt x="0" y="182144"/>
                  </a:cubicBezTo>
                  <a:cubicBezTo>
                    <a:pt x="0" y="225000"/>
                    <a:pt x="52015" y="240000"/>
                    <a:pt x="75043" y="240000"/>
                  </a:cubicBezTo>
                  <a:cubicBezTo>
                    <a:pt x="102007" y="240000"/>
                    <a:pt x="149969" y="225000"/>
                    <a:pt x="149969" y="172500"/>
                  </a:cubicBezTo>
                  <a:cubicBezTo>
                    <a:pt x="149969" y="150912"/>
                    <a:pt x="132469" y="113412"/>
                    <a:pt x="97469" y="6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4" name="Полилиния 453">
              <a:extLst>
                <a:ext uri="{FF2B5EF4-FFF2-40B4-BE49-F238E27FC236}">
                  <a16:creationId xmlns:a16="http://schemas.microsoft.com/office/drawing/2014/main" id="{A6BE50B0-E1DD-1843-8448-76F0A6FA30A4}"/>
                </a:ext>
              </a:extLst>
            </p:cNvPr>
            <p:cNvSpPr/>
            <p:nvPr/>
          </p:nvSpPr>
          <p:spPr>
            <a:xfrm>
              <a:off x="6129073" y="5078145"/>
              <a:ext cx="120000" cy="45000"/>
            </a:xfrm>
            <a:custGeom>
              <a:avLst/>
              <a:gdLst>
                <a:gd name="connsiteX0" fmla="*/ 25811 w 120000"/>
                <a:gd name="connsiteY0" fmla="*/ 0 h 45000"/>
                <a:gd name="connsiteX1" fmla="*/ 94188 w 120000"/>
                <a:gd name="connsiteY1" fmla="*/ 0 h 45000"/>
                <a:gd name="connsiteX2" fmla="*/ 108418 w 120000"/>
                <a:gd name="connsiteY2" fmla="*/ 10257 h 45000"/>
                <a:gd name="connsiteX3" fmla="*/ 120000 w 120000"/>
                <a:gd name="connsiteY3" fmla="*/ 45000 h 45000"/>
                <a:gd name="connsiteX4" fmla="*/ 0 w 120000"/>
                <a:gd name="connsiteY4" fmla="*/ 45000 h 45000"/>
                <a:gd name="connsiteX5" fmla="*/ 11581 w 120000"/>
                <a:gd name="connsiteY5" fmla="*/ 10257 h 45000"/>
                <a:gd name="connsiteX6" fmla="*/ 25811 w 120000"/>
                <a:gd name="connsiteY6" fmla="*/ 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000" h="45000">
                  <a:moveTo>
                    <a:pt x="25811" y="0"/>
                  </a:moveTo>
                  <a:lnTo>
                    <a:pt x="94188" y="0"/>
                  </a:lnTo>
                  <a:cubicBezTo>
                    <a:pt x="100645" y="0"/>
                    <a:pt x="106377" y="4131"/>
                    <a:pt x="108418" y="10257"/>
                  </a:cubicBezTo>
                  <a:lnTo>
                    <a:pt x="120000" y="45000"/>
                  </a:lnTo>
                  <a:lnTo>
                    <a:pt x="0" y="45000"/>
                  </a:lnTo>
                  <a:lnTo>
                    <a:pt x="11581" y="10257"/>
                  </a:lnTo>
                  <a:cubicBezTo>
                    <a:pt x="13623" y="4131"/>
                    <a:pt x="19355" y="0"/>
                    <a:pt x="25811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55" name="Рисунок 96">
            <a:extLst>
              <a:ext uri="{FF2B5EF4-FFF2-40B4-BE49-F238E27FC236}">
                <a16:creationId xmlns:a16="http://schemas.microsoft.com/office/drawing/2014/main" id="{EAABA310-67F9-CD4C-896C-98831DB6A639}"/>
              </a:ext>
            </a:extLst>
          </p:cNvPr>
          <p:cNvGrpSpPr/>
          <p:nvPr/>
        </p:nvGrpSpPr>
        <p:grpSpPr>
          <a:xfrm>
            <a:off x="9686528" y="4461423"/>
            <a:ext cx="369099" cy="360000"/>
            <a:chOff x="9765733" y="4778145"/>
            <a:chExt cx="369099" cy="360000"/>
          </a:xfrm>
        </p:grpSpPr>
        <p:sp>
          <p:nvSpPr>
            <p:cNvPr id="456" name="Полилиния 455">
              <a:extLst>
                <a:ext uri="{FF2B5EF4-FFF2-40B4-BE49-F238E27FC236}">
                  <a16:creationId xmlns:a16="http://schemas.microsoft.com/office/drawing/2014/main" id="{65366139-5F6C-CF43-87A7-90BB8DCD2067}"/>
                </a:ext>
              </a:extLst>
            </p:cNvPr>
            <p:cNvSpPr/>
            <p:nvPr/>
          </p:nvSpPr>
          <p:spPr>
            <a:xfrm>
              <a:off x="977483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7" name="Полилиния 456">
              <a:extLst>
                <a:ext uri="{FF2B5EF4-FFF2-40B4-BE49-F238E27FC236}">
                  <a16:creationId xmlns:a16="http://schemas.microsoft.com/office/drawing/2014/main" id="{86692938-DBAB-AC4A-815B-C86D372C9F2F}"/>
                </a:ext>
              </a:extLst>
            </p:cNvPr>
            <p:cNvSpPr/>
            <p:nvPr/>
          </p:nvSpPr>
          <p:spPr>
            <a:xfrm rot="2700000">
              <a:off x="9819832" y="4823145"/>
              <a:ext cx="210000" cy="240000"/>
            </a:xfrm>
            <a:custGeom>
              <a:avLst/>
              <a:gdLst>
                <a:gd name="connsiteX0" fmla="*/ 30000 w 210000"/>
                <a:gd name="connsiteY0" fmla="*/ 30000 h 240000"/>
                <a:gd name="connsiteX1" fmla="*/ 30000 w 210000"/>
                <a:gd name="connsiteY1" fmla="*/ 180000 h 240000"/>
                <a:gd name="connsiteX2" fmla="*/ 40079 w 210000"/>
                <a:gd name="connsiteY2" fmla="*/ 202431 h 240000"/>
                <a:gd name="connsiteX3" fmla="*/ 42205 w 210000"/>
                <a:gd name="connsiteY3" fmla="*/ 204269 h 240000"/>
                <a:gd name="connsiteX4" fmla="*/ 180000 w 210000"/>
                <a:gd name="connsiteY4" fmla="*/ 66821 h 240000"/>
                <a:gd name="connsiteX5" fmla="*/ 180000 w 210000"/>
                <a:gd name="connsiteY5" fmla="*/ 30000 h 240000"/>
                <a:gd name="connsiteX6" fmla="*/ 30000 w 210000"/>
                <a:gd name="connsiteY6" fmla="*/ 30000 h 240000"/>
                <a:gd name="connsiteX7" fmla="*/ 30000 w 210000"/>
                <a:gd name="connsiteY7" fmla="*/ 0 h 240000"/>
                <a:gd name="connsiteX8" fmla="*/ 180000 w 210000"/>
                <a:gd name="connsiteY8" fmla="*/ 0 h 240000"/>
                <a:gd name="connsiteX9" fmla="*/ 210000 w 210000"/>
                <a:gd name="connsiteY9" fmla="*/ 30000 h 240000"/>
                <a:gd name="connsiteX10" fmla="*/ 210000 w 210000"/>
                <a:gd name="connsiteY10" fmla="*/ 180000 h 240000"/>
                <a:gd name="connsiteX11" fmla="*/ 150000 w 210000"/>
                <a:gd name="connsiteY11" fmla="*/ 240000 h 240000"/>
                <a:gd name="connsiteX12" fmla="*/ 60000 w 210000"/>
                <a:gd name="connsiteY12" fmla="*/ 240000 h 240000"/>
                <a:gd name="connsiteX13" fmla="*/ 0 w 210000"/>
                <a:gd name="connsiteY13" fmla="*/ 180000 h 240000"/>
                <a:gd name="connsiteX14" fmla="*/ 0 w 210000"/>
                <a:gd name="connsiteY14" fmla="*/ 30000 h 240000"/>
                <a:gd name="connsiteX15" fmla="*/ 30000 w 210000"/>
                <a:gd name="connsiteY15" fmla="*/ 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000" h="240000">
                  <a:moveTo>
                    <a:pt x="30000" y="30000"/>
                  </a:moveTo>
                  <a:lnTo>
                    <a:pt x="30000" y="180000"/>
                  </a:lnTo>
                  <a:cubicBezTo>
                    <a:pt x="30000" y="188924"/>
                    <a:pt x="33896" y="196937"/>
                    <a:pt x="40079" y="202431"/>
                  </a:cubicBezTo>
                  <a:cubicBezTo>
                    <a:pt x="40797" y="203070"/>
                    <a:pt x="41502" y="203684"/>
                    <a:pt x="42205" y="204269"/>
                  </a:cubicBezTo>
                  <a:cubicBezTo>
                    <a:pt x="42379" y="204443"/>
                    <a:pt x="180000" y="66821"/>
                    <a:pt x="180000" y="66821"/>
                  </a:cubicBezTo>
                  <a:cubicBezTo>
                    <a:pt x="180000" y="59944"/>
                    <a:pt x="180000" y="47670"/>
                    <a:pt x="180000" y="30000"/>
                  </a:cubicBezTo>
                  <a:lnTo>
                    <a:pt x="30000" y="30000"/>
                  </a:lnTo>
                  <a:close/>
                  <a:moveTo>
                    <a:pt x="30000" y="0"/>
                  </a:moveTo>
                  <a:lnTo>
                    <a:pt x="180000" y="0"/>
                  </a:lnTo>
                  <a:cubicBezTo>
                    <a:pt x="196569" y="0"/>
                    <a:pt x="210000" y="13431"/>
                    <a:pt x="210000" y="30000"/>
                  </a:cubicBezTo>
                  <a:lnTo>
                    <a:pt x="210000" y="180000"/>
                  </a:lnTo>
                  <a:cubicBezTo>
                    <a:pt x="210000" y="213137"/>
                    <a:pt x="183137" y="240000"/>
                    <a:pt x="150000" y="240000"/>
                  </a:cubicBezTo>
                  <a:lnTo>
                    <a:pt x="60000" y="240000"/>
                  </a:lnTo>
                  <a:cubicBezTo>
                    <a:pt x="26863" y="240000"/>
                    <a:pt x="0" y="213137"/>
                    <a:pt x="0" y="18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58" name="Полилиния 457">
              <a:extLst>
                <a:ext uri="{FF2B5EF4-FFF2-40B4-BE49-F238E27FC236}">
                  <a16:creationId xmlns:a16="http://schemas.microsoft.com/office/drawing/2014/main" id="{B894D6C9-ADBC-3349-BB4A-9FFB42D13271}"/>
                </a:ext>
              </a:extLst>
            </p:cNvPr>
            <p:cNvSpPr/>
            <p:nvPr/>
          </p:nvSpPr>
          <p:spPr>
            <a:xfrm>
              <a:off x="10029833" y="4988145"/>
              <a:ext cx="90000" cy="120000"/>
            </a:xfrm>
            <a:custGeom>
              <a:avLst/>
              <a:gdLst>
                <a:gd name="connsiteX0" fmla="*/ 45000 w 90000"/>
                <a:gd name="connsiteY0" fmla="*/ 120000 h 120000"/>
                <a:gd name="connsiteX1" fmla="*/ 90000 w 90000"/>
                <a:gd name="connsiteY1" fmla="*/ 75000 h 120000"/>
                <a:gd name="connsiteX2" fmla="*/ 45000 w 90000"/>
                <a:gd name="connsiteY2" fmla="*/ 0 h 120000"/>
                <a:gd name="connsiteX3" fmla="*/ 0 w 90000"/>
                <a:gd name="connsiteY3" fmla="*/ 75000 h 120000"/>
                <a:gd name="connsiteX4" fmla="*/ 45000 w 90000"/>
                <a:gd name="connsiteY4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120000">
                  <a:moveTo>
                    <a:pt x="45000" y="120000"/>
                  </a:moveTo>
                  <a:cubicBezTo>
                    <a:pt x="69854" y="120000"/>
                    <a:pt x="90000" y="99854"/>
                    <a:pt x="90000" y="75000"/>
                  </a:cubicBezTo>
                  <a:cubicBezTo>
                    <a:pt x="90000" y="58431"/>
                    <a:pt x="75000" y="33432"/>
                    <a:pt x="45000" y="0"/>
                  </a:cubicBezTo>
                  <a:cubicBezTo>
                    <a:pt x="15000" y="33432"/>
                    <a:pt x="0" y="58431"/>
                    <a:pt x="0" y="75000"/>
                  </a:cubicBezTo>
                  <a:cubicBezTo>
                    <a:pt x="0" y="99854"/>
                    <a:pt x="20146" y="120000"/>
                    <a:pt x="45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59" name="Рисунок 97">
            <a:extLst>
              <a:ext uri="{FF2B5EF4-FFF2-40B4-BE49-F238E27FC236}">
                <a16:creationId xmlns:a16="http://schemas.microsoft.com/office/drawing/2014/main" id="{29F0EFA3-D1D1-E24D-80D1-D663392CBE39}"/>
              </a:ext>
            </a:extLst>
          </p:cNvPr>
          <p:cNvGrpSpPr/>
          <p:nvPr/>
        </p:nvGrpSpPr>
        <p:grpSpPr>
          <a:xfrm>
            <a:off x="7436172" y="4461423"/>
            <a:ext cx="360000" cy="360000"/>
            <a:chOff x="7515377" y="4778145"/>
            <a:chExt cx="360000" cy="360000"/>
          </a:xfrm>
        </p:grpSpPr>
        <p:sp>
          <p:nvSpPr>
            <p:cNvPr id="460" name="Полилиния 459">
              <a:extLst>
                <a:ext uri="{FF2B5EF4-FFF2-40B4-BE49-F238E27FC236}">
                  <a16:creationId xmlns:a16="http://schemas.microsoft.com/office/drawing/2014/main" id="{E0775041-B330-0240-BB54-AF4BACBC6976}"/>
                </a:ext>
              </a:extLst>
            </p:cNvPr>
            <p:cNvSpPr/>
            <p:nvPr/>
          </p:nvSpPr>
          <p:spPr>
            <a:xfrm>
              <a:off x="7515377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1" name="Полилиния 460">
              <a:extLst>
                <a:ext uri="{FF2B5EF4-FFF2-40B4-BE49-F238E27FC236}">
                  <a16:creationId xmlns:a16="http://schemas.microsoft.com/office/drawing/2014/main" id="{A1D16926-D9C6-2D45-AF3F-BC6EF7E9E768}"/>
                </a:ext>
              </a:extLst>
            </p:cNvPr>
            <p:cNvSpPr/>
            <p:nvPr/>
          </p:nvSpPr>
          <p:spPr>
            <a:xfrm>
              <a:off x="7590377" y="4808145"/>
              <a:ext cx="210000" cy="285000"/>
            </a:xfrm>
            <a:custGeom>
              <a:avLst/>
              <a:gdLst>
                <a:gd name="connsiteX0" fmla="*/ 127500 w 210000"/>
                <a:gd name="connsiteY0" fmla="*/ 285000 h 285000"/>
                <a:gd name="connsiteX1" fmla="*/ 127500 w 210000"/>
                <a:gd name="connsiteY1" fmla="*/ 240000 h 285000"/>
                <a:gd name="connsiteX2" fmla="*/ 112500 w 210000"/>
                <a:gd name="connsiteY2" fmla="*/ 225000 h 285000"/>
                <a:gd name="connsiteX3" fmla="*/ 97500 w 210000"/>
                <a:gd name="connsiteY3" fmla="*/ 225000 h 285000"/>
                <a:gd name="connsiteX4" fmla="*/ 82500 w 210000"/>
                <a:gd name="connsiteY4" fmla="*/ 240000 h 285000"/>
                <a:gd name="connsiteX5" fmla="*/ 82500 w 210000"/>
                <a:gd name="connsiteY5" fmla="*/ 285000 h 285000"/>
                <a:gd name="connsiteX6" fmla="*/ 0 w 210000"/>
                <a:gd name="connsiteY6" fmla="*/ 285000 h 285000"/>
                <a:gd name="connsiteX7" fmla="*/ 0 w 210000"/>
                <a:gd name="connsiteY7" fmla="*/ 30000 h 285000"/>
                <a:gd name="connsiteX8" fmla="*/ 30000 w 210000"/>
                <a:gd name="connsiteY8" fmla="*/ 0 h 285000"/>
                <a:gd name="connsiteX9" fmla="*/ 180000 w 210000"/>
                <a:gd name="connsiteY9" fmla="*/ 0 h 285000"/>
                <a:gd name="connsiteX10" fmla="*/ 210000 w 210000"/>
                <a:gd name="connsiteY10" fmla="*/ 30000 h 285000"/>
                <a:gd name="connsiteX11" fmla="*/ 210000 w 210000"/>
                <a:gd name="connsiteY11" fmla="*/ 285000 h 285000"/>
                <a:gd name="connsiteX12" fmla="*/ 127500 w 210000"/>
                <a:gd name="connsiteY12" fmla="*/ 285000 h 285000"/>
                <a:gd name="connsiteX13" fmla="*/ 60000 w 210000"/>
                <a:gd name="connsiteY13" fmla="*/ 30000 h 285000"/>
                <a:gd name="connsiteX14" fmla="*/ 45000 w 210000"/>
                <a:gd name="connsiteY14" fmla="*/ 45000 h 285000"/>
                <a:gd name="connsiteX15" fmla="*/ 45000 w 210000"/>
                <a:gd name="connsiteY15" fmla="*/ 60000 h 285000"/>
                <a:gd name="connsiteX16" fmla="*/ 60000 w 210000"/>
                <a:gd name="connsiteY16" fmla="*/ 75000 h 285000"/>
                <a:gd name="connsiteX17" fmla="*/ 75000 w 210000"/>
                <a:gd name="connsiteY17" fmla="*/ 75000 h 285000"/>
                <a:gd name="connsiteX18" fmla="*/ 90000 w 210000"/>
                <a:gd name="connsiteY18" fmla="*/ 60000 h 285000"/>
                <a:gd name="connsiteX19" fmla="*/ 90000 w 210000"/>
                <a:gd name="connsiteY19" fmla="*/ 45000 h 285000"/>
                <a:gd name="connsiteX20" fmla="*/ 75000 w 210000"/>
                <a:gd name="connsiteY20" fmla="*/ 30000 h 285000"/>
                <a:gd name="connsiteX21" fmla="*/ 60000 w 210000"/>
                <a:gd name="connsiteY21" fmla="*/ 30000 h 285000"/>
                <a:gd name="connsiteX22" fmla="*/ 135000 w 210000"/>
                <a:gd name="connsiteY22" fmla="*/ 30000 h 285000"/>
                <a:gd name="connsiteX23" fmla="*/ 120000 w 210000"/>
                <a:gd name="connsiteY23" fmla="*/ 45000 h 285000"/>
                <a:gd name="connsiteX24" fmla="*/ 120000 w 210000"/>
                <a:gd name="connsiteY24" fmla="*/ 60000 h 285000"/>
                <a:gd name="connsiteX25" fmla="*/ 135000 w 210000"/>
                <a:gd name="connsiteY25" fmla="*/ 75000 h 285000"/>
                <a:gd name="connsiteX26" fmla="*/ 150000 w 210000"/>
                <a:gd name="connsiteY26" fmla="*/ 75000 h 285000"/>
                <a:gd name="connsiteX27" fmla="*/ 165000 w 210000"/>
                <a:gd name="connsiteY27" fmla="*/ 60000 h 285000"/>
                <a:gd name="connsiteX28" fmla="*/ 165000 w 210000"/>
                <a:gd name="connsiteY28" fmla="*/ 45000 h 285000"/>
                <a:gd name="connsiteX29" fmla="*/ 150000 w 210000"/>
                <a:gd name="connsiteY29" fmla="*/ 30000 h 285000"/>
                <a:gd name="connsiteX30" fmla="*/ 135000 w 210000"/>
                <a:gd name="connsiteY30" fmla="*/ 30000 h 285000"/>
                <a:gd name="connsiteX31" fmla="*/ 60000 w 210000"/>
                <a:gd name="connsiteY31" fmla="*/ 90000 h 285000"/>
                <a:gd name="connsiteX32" fmla="*/ 45000 w 210000"/>
                <a:gd name="connsiteY32" fmla="*/ 105000 h 285000"/>
                <a:gd name="connsiteX33" fmla="*/ 45000 w 210000"/>
                <a:gd name="connsiteY33" fmla="*/ 120000 h 285000"/>
                <a:gd name="connsiteX34" fmla="*/ 60000 w 210000"/>
                <a:gd name="connsiteY34" fmla="*/ 135000 h 285000"/>
                <a:gd name="connsiteX35" fmla="*/ 75000 w 210000"/>
                <a:gd name="connsiteY35" fmla="*/ 135000 h 285000"/>
                <a:gd name="connsiteX36" fmla="*/ 90000 w 210000"/>
                <a:gd name="connsiteY36" fmla="*/ 120000 h 285000"/>
                <a:gd name="connsiteX37" fmla="*/ 90000 w 210000"/>
                <a:gd name="connsiteY37" fmla="*/ 105000 h 285000"/>
                <a:gd name="connsiteX38" fmla="*/ 75000 w 210000"/>
                <a:gd name="connsiteY38" fmla="*/ 90000 h 285000"/>
                <a:gd name="connsiteX39" fmla="*/ 60000 w 210000"/>
                <a:gd name="connsiteY39" fmla="*/ 90000 h 285000"/>
                <a:gd name="connsiteX40" fmla="*/ 60000 w 210000"/>
                <a:gd name="connsiteY40" fmla="*/ 150000 h 285000"/>
                <a:gd name="connsiteX41" fmla="*/ 45000 w 210000"/>
                <a:gd name="connsiteY41" fmla="*/ 165000 h 285000"/>
                <a:gd name="connsiteX42" fmla="*/ 45000 w 210000"/>
                <a:gd name="connsiteY42" fmla="*/ 180000 h 285000"/>
                <a:gd name="connsiteX43" fmla="*/ 60000 w 210000"/>
                <a:gd name="connsiteY43" fmla="*/ 195000 h 285000"/>
                <a:gd name="connsiteX44" fmla="*/ 75000 w 210000"/>
                <a:gd name="connsiteY44" fmla="*/ 195000 h 285000"/>
                <a:gd name="connsiteX45" fmla="*/ 90000 w 210000"/>
                <a:gd name="connsiteY45" fmla="*/ 180000 h 285000"/>
                <a:gd name="connsiteX46" fmla="*/ 90000 w 210000"/>
                <a:gd name="connsiteY46" fmla="*/ 165000 h 285000"/>
                <a:gd name="connsiteX47" fmla="*/ 75000 w 210000"/>
                <a:gd name="connsiteY47" fmla="*/ 150000 h 285000"/>
                <a:gd name="connsiteX48" fmla="*/ 60000 w 210000"/>
                <a:gd name="connsiteY48" fmla="*/ 150000 h 285000"/>
                <a:gd name="connsiteX49" fmla="*/ 135000 w 210000"/>
                <a:gd name="connsiteY49" fmla="*/ 150000 h 285000"/>
                <a:gd name="connsiteX50" fmla="*/ 120000 w 210000"/>
                <a:gd name="connsiteY50" fmla="*/ 165000 h 285000"/>
                <a:gd name="connsiteX51" fmla="*/ 120000 w 210000"/>
                <a:gd name="connsiteY51" fmla="*/ 180000 h 285000"/>
                <a:gd name="connsiteX52" fmla="*/ 135000 w 210000"/>
                <a:gd name="connsiteY52" fmla="*/ 195000 h 285000"/>
                <a:gd name="connsiteX53" fmla="*/ 150000 w 210000"/>
                <a:gd name="connsiteY53" fmla="*/ 195000 h 285000"/>
                <a:gd name="connsiteX54" fmla="*/ 165000 w 210000"/>
                <a:gd name="connsiteY54" fmla="*/ 180000 h 285000"/>
                <a:gd name="connsiteX55" fmla="*/ 165000 w 210000"/>
                <a:gd name="connsiteY55" fmla="*/ 165000 h 285000"/>
                <a:gd name="connsiteX56" fmla="*/ 150000 w 210000"/>
                <a:gd name="connsiteY56" fmla="*/ 150000 h 285000"/>
                <a:gd name="connsiteX57" fmla="*/ 135000 w 210000"/>
                <a:gd name="connsiteY57" fmla="*/ 150000 h 28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10000" h="285000">
                  <a:moveTo>
                    <a:pt x="127500" y="285000"/>
                  </a:moveTo>
                  <a:lnTo>
                    <a:pt x="127500" y="240000"/>
                  </a:lnTo>
                  <a:cubicBezTo>
                    <a:pt x="127500" y="231716"/>
                    <a:pt x="120785" y="225000"/>
                    <a:pt x="112500" y="225000"/>
                  </a:cubicBezTo>
                  <a:lnTo>
                    <a:pt x="97500" y="225000"/>
                  </a:lnTo>
                  <a:cubicBezTo>
                    <a:pt x="89215" y="225000"/>
                    <a:pt x="82500" y="231716"/>
                    <a:pt x="82500" y="240000"/>
                  </a:cubicBezTo>
                  <a:lnTo>
                    <a:pt x="82500" y="285000"/>
                  </a:lnTo>
                  <a:lnTo>
                    <a:pt x="0" y="285000"/>
                  </a:ln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180000" y="0"/>
                  </a:lnTo>
                  <a:cubicBezTo>
                    <a:pt x="196569" y="0"/>
                    <a:pt x="210000" y="13431"/>
                    <a:pt x="210000" y="30000"/>
                  </a:cubicBezTo>
                  <a:lnTo>
                    <a:pt x="210000" y="285000"/>
                  </a:lnTo>
                  <a:lnTo>
                    <a:pt x="127500" y="285000"/>
                  </a:lnTo>
                  <a:close/>
                  <a:moveTo>
                    <a:pt x="60000" y="30000"/>
                  </a:moveTo>
                  <a:cubicBezTo>
                    <a:pt x="51716" y="30000"/>
                    <a:pt x="45000" y="36716"/>
                    <a:pt x="45000" y="45000"/>
                  </a:cubicBezTo>
                  <a:lnTo>
                    <a:pt x="45000" y="60000"/>
                  </a:lnTo>
                  <a:cubicBezTo>
                    <a:pt x="45000" y="68284"/>
                    <a:pt x="51716" y="75000"/>
                    <a:pt x="60000" y="75000"/>
                  </a:cubicBezTo>
                  <a:lnTo>
                    <a:pt x="75000" y="75000"/>
                  </a:lnTo>
                  <a:cubicBezTo>
                    <a:pt x="83285" y="75000"/>
                    <a:pt x="90000" y="68284"/>
                    <a:pt x="90000" y="60000"/>
                  </a:cubicBezTo>
                  <a:lnTo>
                    <a:pt x="90000" y="45000"/>
                  </a:lnTo>
                  <a:cubicBezTo>
                    <a:pt x="90000" y="36716"/>
                    <a:pt x="83285" y="30000"/>
                    <a:pt x="75000" y="30000"/>
                  </a:cubicBezTo>
                  <a:lnTo>
                    <a:pt x="60000" y="30000"/>
                  </a:lnTo>
                  <a:close/>
                  <a:moveTo>
                    <a:pt x="135000" y="30000"/>
                  </a:moveTo>
                  <a:cubicBezTo>
                    <a:pt x="126715" y="30000"/>
                    <a:pt x="120000" y="36716"/>
                    <a:pt x="120000" y="45000"/>
                  </a:cubicBezTo>
                  <a:lnTo>
                    <a:pt x="120000" y="60000"/>
                  </a:lnTo>
                  <a:cubicBezTo>
                    <a:pt x="120000" y="68284"/>
                    <a:pt x="126715" y="75000"/>
                    <a:pt x="135000" y="75000"/>
                  </a:cubicBezTo>
                  <a:lnTo>
                    <a:pt x="150000" y="75000"/>
                  </a:lnTo>
                  <a:cubicBezTo>
                    <a:pt x="158285" y="75000"/>
                    <a:pt x="165000" y="68284"/>
                    <a:pt x="165000" y="60000"/>
                  </a:cubicBezTo>
                  <a:lnTo>
                    <a:pt x="165000" y="45000"/>
                  </a:lnTo>
                  <a:cubicBezTo>
                    <a:pt x="165000" y="36716"/>
                    <a:pt x="158285" y="30000"/>
                    <a:pt x="150000" y="30000"/>
                  </a:cubicBezTo>
                  <a:lnTo>
                    <a:pt x="135000" y="30000"/>
                  </a:lnTo>
                  <a:close/>
                  <a:moveTo>
                    <a:pt x="60000" y="90000"/>
                  </a:moveTo>
                  <a:cubicBezTo>
                    <a:pt x="51716" y="90000"/>
                    <a:pt x="45000" y="96716"/>
                    <a:pt x="45000" y="105000"/>
                  </a:cubicBezTo>
                  <a:lnTo>
                    <a:pt x="45000" y="120000"/>
                  </a:lnTo>
                  <a:cubicBezTo>
                    <a:pt x="45000" y="128285"/>
                    <a:pt x="51716" y="135000"/>
                    <a:pt x="60000" y="135000"/>
                  </a:cubicBezTo>
                  <a:lnTo>
                    <a:pt x="75000" y="135000"/>
                  </a:lnTo>
                  <a:cubicBezTo>
                    <a:pt x="83285" y="135000"/>
                    <a:pt x="90000" y="128285"/>
                    <a:pt x="90000" y="120000"/>
                  </a:cubicBezTo>
                  <a:lnTo>
                    <a:pt x="90000" y="105000"/>
                  </a:lnTo>
                  <a:cubicBezTo>
                    <a:pt x="90000" y="96716"/>
                    <a:pt x="83285" y="90000"/>
                    <a:pt x="75000" y="90000"/>
                  </a:cubicBezTo>
                  <a:lnTo>
                    <a:pt x="60000" y="90000"/>
                  </a:lnTo>
                  <a:close/>
                  <a:moveTo>
                    <a:pt x="60000" y="150000"/>
                  </a:moveTo>
                  <a:cubicBezTo>
                    <a:pt x="51716" y="150000"/>
                    <a:pt x="45000" y="156716"/>
                    <a:pt x="45000" y="165000"/>
                  </a:cubicBezTo>
                  <a:lnTo>
                    <a:pt x="45000" y="180000"/>
                  </a:lnTo>
                  <a:cubicBezTo>
                    <a:pt x="45000" y="188285"/>
                    <a:pt x="51716" y="195000"/>
                    <a:pt x="60000" y="195000"/>
                  </a:cubicBezTo>
                  <a:lnTo>
                    <a:pt x="75000" y="195000"/>
                  </a:lnTo>
                  <a:cubicBezTo>
                    <a:pt x="83285" y="195000"/>
                    <a:pt x="90000" y="188285"/>
                    <a:pt x="90000" y="180000"/>
                  </a:cubicBezTo>
                  <a:lnTo>
                    <a:pt x="90000" y="165000"/>
                  </a:lnTo>
                  <a:cubicBezTo>
                    <a:pt x="90000" y="156716"/>
                    <a:pt x="83285" y="150000"/>
                    <a:pt x="75000" y="150000"/>
                  </a:cubicBezTo>
                  <a:lnTo>
                    <a:pt x="60000" y="150000"/>
                  </a:lnTo>
                  <a:close/>
                  <a:moveTo>
                    <a:pt x="135000" y="150000"/>
                  </a:moveTo>
                  <a:cubicBezTo>
                    <a:pt x="126715" y="150000"/>
                    <a:pt x="120000" y="156716"/>
                    <a:pt x="120000" y="165000"/>
                  </a:cubicBezTo>
                  <a:lnTo>
                    <a:pt x="120000" y="180000"/>
                  </a:lnTo>
                  <a:cubicBezTo>
                    <a:pt x="120000" y="188285"/>
                    <a:pt x="126715" y="195000"/>
                    <a:pt x="135000" y="195000"/>
                  </a:cubicBezTo>
                  <a:lnTo>
                    <a:pt x="150000" y="195000"/>
                  </a:lnTo>
                  <a:cubicBezTo>
                    <a:pt x="158285" y="195000"/>
                    <a:pt x="165000" y="188285"/>
                    <a:pt x="165000" y="180000"/>
                  </a:cubicBezTo>
                  <a:lnTo>
                    <a:pt x="165000" y="165000"/>
                  </a:lnTo>
                  <a:cubicBezTo>
                    <a:pt x="165000" y="156716"/>
                    <a:pt x="158285" y="150000"/>
                    <a:pt x="150000" y="150000"/>
                  </a:cubicBezTo>
                  <a:lnTo>
                    <a:pt x="135000" y="15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2" name="Скругленный прямоугольник 461">
              <a:extLst>
                <a:ext uri="{FF2B5EF4-FFF2-40B4-BE49-F238E27FC236}">
                  <a16:creationId xmlns:a16="http://schemas.microsoft.com/office/drawing/2014/main" id="{9BCB7FB1-84A3-3A4B-98DE-375A5D1CFA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10376" y="4896997"/>
              <a:ext cx="46800" cy="46800"/>
            </a:xfrm>
            <a:prstGeom prst="roundRect">
              <a:avLst>
                <a:gd name="adj" fmla="val 32190"/>
              </a:avLst>
            </a:prstGeom>
            <a:solidFill>
              <a:srgbClr val="EDF4FF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3" name="Полилиния 462">
              <a:extLst>
                <a:ext uri="{FF2B5EF4-FFF2-40B4-BE49-F238E27FC236}">
                  <a16:creationId xmlns:a16="http://schemas.microsoft.com/office/drawing/2014/main" id="{B89CA249-A5BE-F744-9FD9-450C2BF10B8A}"/>
                </a:ext>
              </a:extLst>
            </p:cNvPr>
            <p:cNvSpPr/>
            <p:nvPr/>
          </p:nvSpPr>
          <p:spPr>
            <a:xfrm>
              <a:off x="7560377" y="5093145"/>
              <a:ext cx="270000" cy="30000"/>
            </a:xfrm>
            <a:custGeom>
              <a:avLst/>
              <a:gdLst>
                <a:gd name="connsiteX0" fmla="*/ 15000 w 270000"/>
                <a:gd name="connsiteY0" fmla="*/ 0 h 30000"/>
                <a:gd name="connsiteX1" fmla="*/ 255000 w 270000"/>
                <a:gd name="connsiteY1" fmla="*/ 0 h 30000"/>
                <a:gd name="connsiteX2" fmla="*/ 270000 w 270000"/>
                <a:gd name="connsiteY2" fmla="*/ 15000 h 30000"/>
                <a:gd name="connsiteX3" fmla="*/ 270000 w 270000"/>
                <a:gd name="connsiteY3" fmla="*/ 21000 h 30000"/>
                <a:gd name="connsiteX4" fmla="*/ 261000 w 270000"/>
                <a:gd name="connsiteY4" fmla="*/ 30000 h 30000"/>
                <a:gd name="connsiteX5" fmla="*/ 9000 w 270000"/>
                <a:gd name="connsiteY5" fmla="*/ 30000 h 30000"/>
                <a:gd name="connsiteX6" fmla="*/ 0 w 270000"/>
                <a:gd name="connsiteY6" fmla="*/ 21000 h 30000"/>
                <a:gd name="connsiteX7" fmla="*/ 0 w 270000"/>
                <a:gd name="connsiteY7" fmla="*/ 15000 h 30000"/>
                <a:gd name="connsiteX8" fmla="*/ 15000 w 270000"/>
                <a:gd name="connsiteY8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30000">
                  <a:moveTo>
                    <a:pt x="15000" y="0"/>
                  </a:moveTo>
                  <a:lnTo>
                    <a:pt x="255000" y="0"/>
                  </a:lnTo>
                  <a:cubicBezTo>
                    <a:pt x="263285" y="0"/>
                    <a:pt x="270000" y="6716"/>
                    <a:pt x="270000" y="15000"/>
                  </a:cubicBezTo>
                  <a:lnTo>
                    <a:pt x="270000" y="21000"/>
                  </a:lnTo>
                  <a:cubicBezTo>
                    <a:pt x="270000" y="25971"/>
                    <a:pt x="265971" y="30000"/>
                    <a:pt x="261000" y="30000"/>
                  </a:cubicBezTo>
                  <a:lnTo>
                    <a:pt x="9000" y="30000"/>
                  </a:lnTo>
                  <a:cubicBezTo>
                    <a:pt x="4029" y="30000"/>
                    <a:pt x="0" y="25971"/>
                    <a:pt x="0" y="21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64" name="Рисунок 98">
            <a:extLst>
              <a:ext uri="{FF2B5EF4-FFF2-40B4-BE49-F238E27FC236}">
                <a16:creationId xmlns:a16="http://schemas.microsoft.com/office/drawing/2014/main" id="{95A0DD82-40A8-9140-94B2-97F45A8DAF7E}"/>
              </a:ext>
            </a:extLst>
          </p:cNvPr>
          <p:cNvGrpSpPr/>
          <p:nvPr/>
        </p:nvGrpSpPr>
        <p:grpSpPr>
          <a:xfrm>
            <a:off x="6683020" y="4461423"/>
            <a:ext cx="360000" cy="360000"/>
            <a:chOff x="6762225" y="4778145"/>
            <a:chExt cx="360000" cy="360000"/>
          </a:xfrm>
        </p:grpSpPr>
        <p:sp>
          <p:nvSpPr>
            <p:cNvPr id="465" name="Полилиния 464">
              <a:extLst>
                <a:ext uri="{FF2B5EF4-FFF2-40B4-BE49-F238E27FC236}">
                  <a16:creationId xmlns:a16="http://schemas.microsoft.com/office/drawing/2014/main" id="{6DC93714-FCEE-2B4F-A600-75FCCD956C03}"/>
                </a:ext>
              </a:extLst>
            </p:cNvPr>
            <p:cNvSpPr/>
            <p:nvPr/>
          </p:nvSpPr>
          <p:spPr>
            <a:xfrm>
              <a:off x="6762225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6" name="Полилиния 465">
              <a:extLst>
                <a:ext uri="{FF2B5EF4-FFF2-40B4-BE49-F238E27FC236}">
                  <a16:creationId xmlns:a16="http://schemas.microsoft.com/office/drawing/2014/main" id="{1396EA87-D76C-1C40-85D6-2777FE098A0E}"/>
                </a:ext>
              </a:extLst>
            </p:cNvPr>
            <p:cNvSpPr/>
            <p:nvPr/>
          </p:nvSpPr>
          <p:spPr>
            <a:xfrm>
              <a:off x="6822225" y="4793145"/>
              <a:ext cx="240000" cy="240000"/>
            </a:xfrm>
            <a:custGeom>
              <a:avLst/>
              <a:gdLst>
                <a:gd name="connsiteX0" fmla="*/ 240000 w 240000"/>
                <a:gd name="connsiteY0" fmla="*/ 120000 h 240000"/>
                <a:gd name="connsiteX1" fmla="*/ 120000 w 240000"/>
                <a:gd name="connsiteY1" fmla="*/ 240000 h 240000"/>
                <a:gd name="connsiteX2" fmla="*/ 0 w 240000"/>
                <a:gd name="connsiteY2" fmla="*/ 120000 h 240000"/>
                <a:gd name="connsiteX3" fmla="*/ 120000 w 240000"/>
                <a:gd name="connsiteY3" fmla="*/ 0 h 240000"/>
                <a:gd name="connsiteX4" fmla="*/ 240000 w 240000"/>
                <a:gd name="connsiteY4" fmla="*/ 12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000" h="240000">
                  <a:moveTo>
                    <a:pt x="240000" y="120000"/>
                  </a:moveTo>
                  <a:cubicBezTo>
                    <a:pt x="240000" y="186274"/>
                    <a:pt x="186274" y="240000"/>
                    <a:pt x="120000" y="240000"/>
                  </a:cubicBezTo>
                  <a:cubicBezTo>
                    <a:pt x="53726" y="240000"/>
                    <a:pt x="0" y="186274"/>
                    <a:pt x="0" y="120000"/>
                  </a:cubicBezTo>
                  <a:cubicBezTo>
                    <a:pt x="0" y="53726"/>
                    <a:pt x="53726" y="0"/>
                    <a:pt x="120000" y="0"/>
                  </a:cubicBezTo>
                  <a:cubicBezTo>
                    <a:pt x="186274" y="0"/>
                    <a:pt x="240000" y="53726"/>
                    <a:pt x="240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7" name="Полилиния 466">
              <a:extLst>
                <a:ext uri="{FF2B5EF4-FFF2-40B4-BE49-F238E27FC236}">
                  <a16:creationId xmlns:a16="http://schemas.microsoft.com/office/drawing/2014/main" id="{5C1692F6-84D1-4846-B463-28F9CEA26363}"/>
                </a:ext>
              </a:extLst>
            </p:cNvPr>
            <p:cNvSpPr/>
            <p:nvPr/>
          </p:nvSpPr>
          <p:spPr>
            <a:xfrm>
              <a:off x="6860297" y="4913145"/>
              <a:ext cx="163982" cy="155510"/>
            </a:xfrm>
            <a:custGeom>
              <a:avLst/>
              <a:gdLst>
                <a:gd name="connsiteX0" fmla="*/ 119873 w 163982"/>
                <a:gd name="connsiteY0" fmla="*/ 30000 h 155510"/>
                <a:gd name="connsiteX1" fmla="*/ 43855 w 163982"/>
                <a:gd name="connsiteY1" fmla="*/ 30000 h 155510"/>
                <a:gd name="connsiteX2" fmla="*/ 81565 w 163982"/>
                <a:gd name="connsiteY2" fmla="*/ 126968 h 155510"/>
                <a:gd name="connsiteX3" fmla="*/ 119873 w 163982"/>
                <a:gd name="connsiteY3" fmla="*/ 30000 h 155510"/>
                <a:gd name="connsiteX4" fmla="*/ 60448 w 163982"/>
                <a:gd name="connsiteY4" fmla="*/ 155436 h 155510"/>
                <a:gd name="connsiteX5" fmla="*/ 0 w 163982"/>
                <a:gd name="connsiteY5" fmla="*/ 0 h 155510"/>
                <a:gd name="connsiteX6" fmla="*/ 163982 w 163982"/>
                <a:gd name="connsiteY6" fmla="*/ 0 h 155510"/>
                <a:gd name="connsiteX7" fmla="*/ 102545 w 163982"/>
                <a:gd name="connsiteY7" fmla="*/ 155511 h 155510"/>
                <a:gd name="connsiteX8" fmla="*/ 81566 w 163982"/>
                <a:gd name="connsiteY8" fmla="*/ 147223 h 155510"/>
                <a:gd name="connsiteX9" fmla="*/ 60448 w 163982"/>
                <a:gd name="connsiteY9" fmla="*/ 155436 h 15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982" h="155510">
                  <a:moveTo>
                    <a:pt x="119873" y="30000"/>
                  </a:moveTo>
                  <a:lnTo>
                    <a:pt x="43855" y="30000"/>
                  </a:lnTo>
                  <a:lnTo>
                    <a:pt x="81565" y="126968"/>
                  </a:lnTo>
                  <a:lnTo>
                    <a:pt x="119873" y="30000"/>
                  </a:lnTo>
                  <a:close/>
                  <a:moveTo>
                    <a:pt x="60448" y="155436"/>
                  </a:moveTo>
                  <a:lnTo>
                    <a:pt x="0" y="0"/>
                  </a:lnTo>
                  <a:lnTo>
                    <a:pt x="163982" y="0"/>
                  </a:lnTo>
                  <a:lnTo>
                    <a:pt x="102545" y="155511"/>
                  </a:lnTo>
                  <a:lnTo>
                    <a:pt x="81566" y="147223"/>
                  </a:lnTo>
                  <a:lnTo>
                    <a:pt x="60448" y="155436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8" name="Полилиния 467">
              <a:extLst>
                <a:ext uri="{FF2B5EF4-FFF2-40B4-BE49-F238E27FC236}">
                  <a16:creationId xmlns:a16="http://schemas.microsoft.com/office/drawing/2014/main" id="{3D83853C-CFCD-AD4E-B4A8-3E6EC721C416}"/>
                </a:ext>
              </a:extLst>
            </p:cNvPr>
            <p:cNvSpPr/>
            <p:nvPr/>
          </p:nvSpPr>
          <p:spPr>
            <a:xfrm>
              <a:off x="6912225" y="5108145"/>
              <a:ext cx="60000" cy="30000"/>
            </a:xfrm>
            <a:custGeom>
              <a:avLst/>
              <a:gdLst>
                <a:gd name="connsiteX0" fmla="*/ 0 w 60000"/>
                <a:gd name="connsiteY0" fmla="*/ 0 h 30000"/>
                <a:gd name="connsiteX1" fmla="*/ 60000 w 60000"/>
                <a:gd name="connsiteY1" fmla="*/ 0 h 30000"/>
                <a:gd name="connsiteX2" fmla="*/ 60000 w 60000"/>
                <a:gd name="connsiteY2" fmla="*/ 0 h 30000"/>
                <a:gd name="connsiteX3" fmla="*/ 30000 w 60000"/>
                <a:gd name="connsiteY3" fmla="*/ 30000 h 30000"/>
                <a:gd name="connsiteX4" fmla="*/ 30000 w 60000"/>
                <a:gd name="connsiteY4" fmla="*/ 30000 h 30000"/>
                <a:gd name="connsiteX5" fmla="*/ 0 w 60000"/>
                <a:gd name="connsiteY5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000" h="30000">
                  <a:moveTo>
                    <a:pt x="0" y="0"/>
                  </a:moveTo>
                  <a:lnTo>
                    <a:pt x="60000" y="0"/>
                  </a:lnTo>
                  <a:lnTo>
                    <a:pt x="60000" y="0"/>
                  </a:lnTo>
                  <a:cubicBezTo>
                    <a:pt x="60000" y="16569"/>
                    <a:pt x="46569" y="30000"/>
                    <a:pt x="30000" y="30000"/>
                  </a:cubicBezTo>
                  <a:lnTo>
                    <a:pt x="30000" y="30000"/>
                  </a:lnTo>
                  <a:cubicBezTo>
                    <a:pt x="13431" y="30000"/>
                    <a:pt x="0" y="16569"/>
                    <a:pt x="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9" name="Полилиния 468">
              <a:extLst>
                <a:ext uri="{FF2B5EF4-FFF2-40B4-BE49-F238E27FC236}">
                  <a16:creationId xmlns:a16="http://schemas.microsoft.com/office/drawing/2014/main" id="{765D1150-EFBB-FE4E-96C9-A91C58547EE5}"/>
                </a:ext>
              </a:extLst>
            </p:cNvPr>
            <p:cNvSpPr/>
            <p:nvPr/>
          </p:nvSpPr>
          <p:spPr>
            <a:xfrm>
              <a:off x="6882225" y="5018145"/>
              <a:ext cx="120000" cy="90000"/>
            </a:xfrm>
            <a:custGeom>
              <a:avLst/>
              <a:gdLst>
                <a:gd name="connsiteX0" fmla="*/ 15000 w 120000"/>
                <a:gd name="connsiteY0" fmla="*/ 60000 h 90000"/>
                <a:gd name="connsiteX1" fmla="*/ 0 w 120000"/>
                <a:gd name="connsiteY1" fmla="*/ 45000 h 90000"/>
                <a:gd name="connsiteX2" fmla="*/ 15000 w 120000"/>
                <a:gd name="connsiteY2" fmla="*/ 30000 h 90000"/>
                <a:gd name="connsiteX3" fmla="*/ 0 w 120000"/>
                <a:gd name="connsiteY3" fmla="*/ 15000 h 90000"/>
                <a:gd name="connsiteX4" fmla="*/ 15000 w 120000"/>
                <a:gd name="connsiteY4" fmla="*/ 0 h 90000"/>
                <a:gd name="connsiteX5" fmla="*/ 105000 w 120000"/>
                <a:gd name="connsiteY5" fmla="*/ 0 h 90000"/>
                <a:gd name="connsiteX6" fmla="*/ 120000 w 120000"/>
                <a:gd name="connsiteY6" fmla="*/ 15000 h 90000"/>
                <a:gd name="connsiteX7" fmla="*/ 105000 w 120000"/>
                <a:gd name="connsiteY7" fmla="*/ 30000 h 90000"/>
                <a:gd name="connsiteX8" fmla="*/ 120000 w 120000"/>
                <a:gd name="connsiteY8" fmla="*/ 45000 h 90000"/>
                <a:gd name="connsiteX9" fmla="*/ 105000 w 120000"/>
                <a:gd name="connsiteY9" fmla="*/ 60000 h 90000"/>
                <a:gd name="connsiteX10" fmla="*/ 120000 w 120000"/>
                <a:gd name="connsiteY10" fmla="*/ 75000 h 90000"/>
                <a:gd name="connsiteX11" fmla="*/ 105000 w 120000"/>
                <a:gd name="connsiteY11" fmla="*/ 90000 h 90000"/>
                <a:gd name="connsiteX12" fmla="*/ 15000 w 120000"/>
                <a:gd name="connsiteY12" fmla="*/ 90000 h 90000"/>
                <a:gd name="connsiteX13" fmla="*/ 0 w 120000"/>
                <a:gd name="connsiteY13" fmla="*/ 75000 h 90000"/>
                <a:gd name="connsiteX14" fmla="*/ 15000 w 120000"/>
                <a:gd name="connsiteY14" fmla="*/ 6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000" h="90000">
                  <a:moveTo>
                    <a:pt x="15000" y="60000"/>
                  </a:moveTo>
                  <a:cubicBezTo>
                    <a:pt x="6716" y="60000"/>
                    <a:pt x="0" y="53284"/>
                    <a:pt x="0" y="45000"/>
                  </a:cubicBezTo>
                  <a:cubicBezTo>
                    <a:pt x="0" y="36716"/>
                    <a:pt x="6716" y="30000"/>
                    <a:pt x="15000" y="30000"/>
                  </a:cubicBez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lnTo>
                    <a:pt x="105000" y="0"/>
                  </a:lnTo>
                  <a:cubicBezTo>
                    <a:pt x="113285" y="0"/>
                    <a:pt x="120000" y="6716"/>
                    <a:pt x="120000" y="15000"/>
                  </a:cubicBezTo>
                  <a:cubicBezTo>
                    <a:pt x="120000" y="23284"/>
                    <a:pt x="113285" y="30000"/>
                    <a:pt x="105000" y="30000"/>
                  </a:cubicBezTo>
                  <a:cubicBezTo>
                    <a:pt x="113285" y="30000"/>
                    <a:pt x="120000" y="36716"/>
                    <a:pt x="120000" y="45000"/>
                  </a:cubicBezTo>
                  <a:cubicBezTo>
                    <a:pt x="120000" y="53284"/>
                    <a:pt x="113285" y="60000"/>
                    <a:pt x="105000" y="60000"/>
                  </a:cubicBezTo>
                  <a:cubicBezTo>
                    <a:pt x="113285" y="60000"/>
                    <a:pt x="120000" y="66716"/>
                    <a:pt x="120000" y="75000"/>
                  </a:cubicBezTo>
                  <a:cubicBezTo>
                    <a:pt x="120000" y="83284"/>
                    <a:pt x="113285" y="90000"/>
                    <a:pt x="105000" y="90000"/>
                  </a:cubicBezTo>
                  <a:lnTo>
                    <a:pt x="15000" y="90000"/>
                  </a:lnTo>
                  <a:cubicBezTo>
                    <a:pt x="6716" y="90000"/>
                    <a:pt x="0" y="83284"/>
                    <a:pt x="0" y="75000"/>
                  </a:cubicBezTo>
                  <a:cubicBezTo>
                    <a:pt x="0" y="66716"/>
                    <a:pt x="6716" y="60000"/>
                    <a:pt x="15000" y="6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70" name="Рисунок 99">
            <a:extLst>
              <a:ext uri="{FF2B5EF4-FFF2-40B4-BE49-F238E27FC236}">
                <a16:creationId xmlns:a16="http://schemas.microsoft.com/office/drawing/2014/main" id="{0B1A77F7-F17D-8544-B804-E54F4B0B1D9B}"/>
              </a:ext>
            </a:extLst>
          </p:cNvPr>
          <p:cNvGrpSpPr/>
          <p:nvPr/>
        </p:nvGrpSpPr>
        <p:grpSpPr>
          <a:xfrm>
            <a:off x="8189324" y="4461423"/>
            <a:ext cx="360000" cy="360000"/>
            <a:chOff x="8268529" y="4778145"/>
            <a:chExt cx="360000" cy="360000"/>
          </a:xfrm>
        </p:grpSpPr>
        <p:sp>
          <p:nvSpPr>
            <p:cNvPr id="471" name="Полилиния 470">
              <a:extLst>
                <a:ext uri="{FF2B5EF4-FFF2-40B4-BE49-F238E27FC236}">
                  <a16:creationId xmlns:a16="http://schemas.microsoft.com/office/drawing/2014/main" id="{44FCF3BE-FDC2-8A49-80F6-ED94C0ED8B03}"/>
                </a:ext>
              </a:extLst>
            </p:cNvPr>
            <p:cNvSpPr/>
            <p:nvPr/>
          </p:nvSpPr>
          <p:spPr>
            <a:xfrm>
              <a:off x="8268529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2" name="Полилиния 471">
              <a:extLst>
                <a:ext uri="{FF2B5EF4-FFF2-40B4-BE49-F238E27FC236}">
                  <a16:creationId xmlns:a16="http://schemas.microsoft.com/office/drawing/2014/main" id="{03540FEC-727D-7E42-ACA0-A2A061B620B3}"/>
                </a:ext>
              </a:extLst>
            </p:cNvPr>
            <p:cNvSpPr/>
            <p:nvPr/>
          </p:nvSpPr>
          <p:spPr>
            <a:xfrm>
              <a:off x="8325247" y="4793145"/>
              <a:ext cx="246564" cy="195000"/>
            </a:xfrm>
            <a:custGeom>
              <a:avLst/>
              <a:gdLst>
                <a:gd name="connsiteX0" fmla="*/ 19968 w 246564"/>
                <a:gd name="connsiteY0" fmla="*/ 15574 h 195000"/>
                <a:gd name="connsiteX1" fmla="*/ 123277 w 246564"/>
                <a:gd name="connsiteY1" fmla="*/ 0 h 195000"/>
                <a:gd name="connsiteX2" fmla="*/ 226594 w 246564"/>
                <a:gd name="connsiteY2" fmla="*/ 15575 h 195000"/>
                <a:gd name="connsiteX3" fmla="*/ 226594 w 246564"/>
                <a:gd name="connsiteY3" fmla="*/ 15575 h 195000"/>
                <a:gd name="connsiteX4" fmla="*/ 244828 w 246564"/>
                <a:gd name="connsiteY4" fmla="*/ 53883 h 195000"/>
                <a:gd name="connsiteX5" fmla="*/ 242893 w 246564"/>
                <a:gd name="connsiteY5" fmla="*/ 58212 h 195000"/>
                <a:gd name="connsiteX6" fmla="*/ 168281 w 246564"/>
                <a:gd name="connsiteY6" fmla="*/ 195000 h 195000"/>
                <a:gd name="connsiteX7" fmla="*/ 78281 w 246564"/>
                <a:gd name="connsiteY7" fmla="*/ 195000 h 195000"/>
                <a:gd name="connsiteX8" fmla="*/ 3669 w 246564"/>
                <a:gd name="connsiteY8" fmla="*/ 58210 h 195000"/>
                <a:gd name="connsiteX9" fmla="*/ 15640 w 246564"/>
                <a:gd name="connsiteY9" fmla="*/ 17508 h 195000"/>
                <a:gd name="connsiteX10" fmla="*/ 19968 w 246564"/>
                <a:gd name="connsiteY10" fmla="*/ 15574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6564" h="195000">
                  <a:moveTo>
                    <a:pt x="19968" y="15574"/>
                  </a:moveTo>
                  <a:cubicBezTo>
                    <a:pt x="49211" y="5191"/>
                    <a:pt x="83647" y="0"/>
                    <a:pt x="123277" y="0"/>
                  </a:cubicBezTo>
                  <a:cubicBezTo>
                    <a:pt x="162908" y="0"/>
                    <a:pt x="197347" y="5192"/>
                    <a:pt x="226594" y="15575"/>
                  </a:cubicBezTo>
                  <a:lnTo>
                    <a:pt x="226594" y="15575"/>
                  </a:lnTo>
                  <a:cubicBezTo>
                    <a:pt x="242207" y="21118"/>
                    <a:pt x="250370" y="38269"/>
                    <a:pt x="244828" y="53883"/>
                  </a:cubicBezTo>
                  <a:cubicBezTo>
                    <a:pt x="244298" y="55375"/>
                    <a:pt x="243652" y="56822"/>
                    <a:pt x="242893" y="58212"/>
                  </a:cubicBezTo>
                  <a:lnTo>
                    <a:pt x="168281" y="195000"/>
                  </a:lnTo>
                  <a:lnTo>
                    <a:pt x="78281" y="195000"/>
                  </a:lnTo>
                  <a:lnTo>
                    <a:pt x="3669" y="58210"/>
                  </a:lnTo>
                  <a:cubicBezTo>
                    <a:pt x="-4265" y="43665"/>
                    <a:pt x="1095" y="25442"/>
                    <a:pt x="15640" y="17508"/>
                  </a:cubicBezTo>
                  <a:cubicBezTo>
                    <a:pt x="17029" y="16750"/>
                    <a:pt x="18477" y="16103"/>
                    <a:pt x="19968" y="15574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3" name="Полилиния 472">
              <a:extLst>
                <a:ext uri="{FF2B5EF4-FFF2-40B4-BE49-F238E27FC236}">
                  <a16:creationId xmlns:a16="http://schemas.microsoft.com/office/drawing/2014/main" id="{005BBB2F-AE8A-5F4E-A713-EE5D19893238}"/>
                </a:ext>
              </a:extLst>
            </p:cNvPr>
            <p:cNvSpPr/>
            <p:nvPr/>
          </p:nvSpPr>
          <p:spPr>
            <a:xfrm>
              <a:off x="8418529" y="5078145"/>
              <a:ext cx="60000" cy="30000"/>
            </a:xfrm>
            <a:custGeom>
              <a:avLst/>
              <a:gdLst>
                <a:gd name="connsiteX0" fmla="*/ 0 w 60000"/>
                <a:gd name="connsiteY0" fmla="*/ 0 h 30000"/>
                <a:gd name="connsiteX1" fmla="*/ 60000 w 60000"/>
                <a:gd name="connsiteY1" fmla="*/ 0 h 30000"/>
                <a:gd name="connsiteX2" fmla="*/ 60000 w 60000"/>
                <a:gd name="connsiteY2" fmla="*/ 0 h 30000"/>
                <a:gd name="connsiteX3" fmla="*/ 30000 w 60000"/>
                <a:gd name="connsiteY3" fmla="*/ 30000 h 30000"/>
                <a:gd name="connsiteX4" fmla="*/ 30000 w 60000"/>
                <a:gd name="connsiteY4" fmla="*/ 30000 h 30000"/>
                <a:gd name="connsiteX5" fmla="*/ 0 w 60000"/>
                <a:gd name="connsiteY5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000" h="30000">
                  <a:moveTo>
                    <a:pt x="0" y="0"/>
                  </a:moveTo>
                  <a:lnTo>
                    <a:pt x="60000" y="0"/>
                  </a:lnTo>
                  <a:lnTo>
                    <a:pt x="60000" y="0"/>
                  </a:lnTo>
                  <a:cubicBezTo>
                    <a:pt x="60000" y="16569"/>
                    <a:pt x="46569" y="30000"/>
                    <a:pt x="30000" y="30000"/>
                  </a:cubicBezTo>
                  <a:lnTo>
                    <a:pt x="30000" y="30000"/>
                  </a:lnTo>
                  <a:cubicBezTo>
                    <a:pt x="13431" y="30000"/>
                    <a:pt x="0" y="16569"/>
                    <a:pt x="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4" name="Полилиния 473">
              <a:extLst>
                <a:ext uri="{FF2B5EF4-FFF2-40B4-BE49-F238E27FC236}">
                  <a16:creationId xmlns:a16="http://schemas.microsoft.com/office/drawing/2014/main" id="{71DD288C-EBC0-F84E-9C7A-E0372F73DFD9}"/>
                </a:ext>
              </a:extLst>
            </p:cNvPr>
            <p:cNvSpPr/>
            <p:nvPr/>
          </p:nvSpPr>
          <p:spPr>
            <a:xfrm>
              <a:off x="8418529" y="4913145"/>
              <a:ext cx="60000" cy="150000"/>
            </a:xfrm>
            <a:custGeom>
              <a:avLst/>
              <a:gdLst>
                <a:gd name="connsiteX0" fmla="*/ 45000 w 60000"/>
                <a:gd name="connsiteY0" fmla="*/ 15000 h 150000"/>
                <a:gd name="connsiteX1" fmla="*/ 45000 w 60000"/>
                <a:gd name="connsiteY1" fmla="*/ 135000 h 150000"/>
                <a:gd name="connsiteX2" fmla="*/ 30000 w 60000"/>
                <a:gd name="connsiteY2" fmla="*/ 150000 h 150000"/>
                <a:gd name="connsiteX3" fmla="*/ 15000 w 60000"/>
                <a:gd name="connsiteY3" fmla="*/ 135000 h 150000"/>
                <a:gd name="connsiteX4" fmla="*/ 15000 w 60000"/>
                <a:gd name="connsiteY4" fmla="*/ 15000 h 150000"/>
                <a:gd name="connsiteX5" fmla="*/ 7500 w 60000"/>
                <a:gd name="connsiteY5" fmla="*/ 15000 h 150000"/>
                <a:gd name="connsiteX6" fmla="*/ 0 w 60000"/>
                <a:gd name="connsiteY6" fmla="*/ 7500 h 150000"/>
                <a:gd name="connsiteX7" fmla="*/ 7500 w 60000"/>
                <a:gd name="connsiteY7" fmla="*/ 0 h 150000"/>
                <a:gd name="connsiteX8" fmla="*/ 52500 w 60000"/>
                <a:gd name="connsiteY8" fmla="*/ 0 h 150000"/>
                <a:gd name="connsiteX9" fmla="*/ 60000 w 60000"/>
                <a:gd name="connsiteY9" fmla="*/ 7500 h 150000"/>
                <a:gd name="connsiteX10" fmla="*/ 52500 w 60000"/>
                <a:gd name="connsiteY10" fmla="*/ 15000 h 150000"/>
                <a:gd name="connsiteX11" fmla="*/ 45000 w 60000"/>
                <a:gd name="connsiteY11" fmla="*/ 1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000" h="150000">
                  <a:moveTo>
                    <a:pt x="45000" y="15000"/>
                  </a:moveTo>
                  <a:lnTo>
                    <a:pt x="45000" y="135000"/>
                  </a:lnTo>
                  <a:cubicBezTo>
                    <a:pt x="45000" y="143285"/>
                    <a:pt x="38285" y="150000"/>
                    <a:pt x="30000" y="150000"/>
                  </a:cubicBezTo>
                  <a:cubicBezTo>
                    <a:pt x="21715" y="150000"/>
                    <a:pt x="15000" y="143285"/>
                    <a:pt x="15000" y="135000"/>
                  </a:cubicBezTo>
                  <a:lnTo>
                    <a:pt x="15000" y="15000"/>
                  </a:lnTo>
                  <a:lnTo>
                    <a:pt x="7500" y="15000"/>
                  </a:lnTo>
                  <a:cubicBezTo>
                    <a:pt x="3358" y="15000"/>
                    <a:pt x="0" y="11642"/>
                    <a:pt x="0" y="7500"/>
                  </a:cubicBezTo>
                  <a:cubicBezTo>
                    <a:pt x="0" y="3358"/>
                    <a:pt x="3358" y="0"/>
                    <a:pt x="7500" y="0"/>
                  </a:cubicBezTo>
                  <a:lnTo>
                    <a:pt x="52500" y="0"/>
                  </a:lnTo>
                  <a:cubicBezTo>
                    <a:pt x="56642" y="0"/>
                    <a:pt x="60000" y="3358"/>
                    <a:pt x="60000" y="7500"/>
                  </a:cubicBezTo>
                  <a:cubicBezTo>
                    <a:pt x="60000" y="11642"/>
                    <a:pt x="56642" y="15000"/>
                    <a:pt x="52500" y="15000"/>
                  </a:cubicBezTo>
                  <a:lnTo>
                    <a:pt x="45000" y="1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5" name="Полилиния 474">
              <a:extLst>
                <a:ext uri="{FF2B5EF4-FFF2-40B4-BE49-F238E27FC236}">
                  <a16:creationId xmlns:a16="http://schemas.microsoft.com/office/drawing/2014/main" id="{01143980-EDB8-3A4D-84E1-24A671E06D01}"/>
                </a:ext>
              </a:extLst>
            </p:cNvPr>
            <p:cNvSpPr/>
            <p:nvPr/>
          </p:nvSpPr>
          <p:spPr>
            <a:xfrm>
              <a:off x="8388529" y="4988145"/>
              <a:ext cx="120000" cy="90000"/>
            </a:xfrm>
            <a:custGeom>
              <a:avLst/>
              <a:gdLst>
                <a:gd name="connsiteX0" fmla="*/ 15000 w 120000"/>
                <a:gd name="connsiteY0" fmla="*/ 60000 h 90000"/>
                <a:gd name="connsiteX1" fmla="*/ 0 w 120000"/>
                <a:gd name="connsiteY1" fmla="*/ 45000 h 90000"/>
                <a:gd name="connsiteX2" fmla="*/ 15000 w 120000"/>
                <a:gd name="connsiteY2" fmla="*/ 30000 h 90000"/>
                <a:gd name="connsiteX3" fmla="*/ 0 w 120000"/>
                <a:gd name="connsiteY3" fmla="*/ 15000 h 90000"/>
                <a:gd name="connsiteX4" fmla="*/ 15000 w 120000"/>
                <a:gd name="connsiteY4" fmla="*/ 0 h 90000"/>
                <a:gd name="connsiteX5" fmla="*/ 105000 w 120000"/>
                <a:gd name="connsiteY5" fmla="*/ 0 h 90000"/>
                <a:gd name="connsiteX6" fmla="*/ 120000 w 120000"/>
                <a:gd name="connsiteY6" fmla="*/ 15000 h 90000"/>
                <a:gd name="connsiteX7" fmla="*/ 105000 w 120000"/>
                <a:gd name="connsiteY7" fmla="*/ 30000 h 90000"/>
                <a:gd name="connsiteX8" fmla="*/ 120000 w 120000"/>
                <a:gd name="connsiteY8" fmla="*/ 45000 h 90000"/>
                <a:gd name="connsiteX9" fmla="*/ 105000 w 120000"/>
                <a:gd name="connsiteY9" fmla="*/ 60000 h 90000"/>
                <a:gd name="connsiteX10" fmla="*/ 120000 w 120000"/>
                <a:gd name="connsiteY10" fmla="*/ 75000 h 90000"/>
                <a:gd name="connsiteX11" fmla="*/ 105000 w 120000"/>
                <a:gd name="connsiteY11" fmla="*/ 90000 h 90000"/>
                <a:gd name="connsiteX12" fmla="*/ 15000 w 120000"/>
                <a:gd name="connsiteY12" fmla="*/ 90000 h 90000"/>
                <a:gd name="connsiteX13" fmla="*/ 0 w 120000"/>
                <a:gd name="connsiteY13" fmla="*/ 75000 h 90000"/>
                <a:gd name="connsiteX14" fmla="*/ 15000 w 120000"/>
                <a:gd name="connsiteY14" fmla="*/ 6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000" h="90000">
                  <a:moveTo>
                    <a:pt x="15000" y="60000"/>
                  </a:moveTo>
                  <a:cubicBezTo>
                    <a:pt x="6716" y="60000"/>
                    <a:pt x="0" y="53284"/>
                    <a:pt x="0" y="45000"/>
                  </a:cubicBezTo>
                  <a:cubicBezTo>
                    <a:pt x="0" y="36716"/>
                    <a:pt x="6716" y="30000"/>
                    <a:pt x="15000" y="30000"/>
                  </a:cubicBezTo>
                  <a:cubicBezTo>
                    <a:pt x="6716" y="30000"/>
                    <a:pt x="0" y="23285"/>
                    <a:pt x="0" y="15000"/>
                  </a:cubicBezTo>
                  <a:cubicBezTo>
                    <a:pt x="0" y="6715"/>
                    <a:pt x="6716" y="0"/>
                    <a:pt x="15000" y="0"/>
                  </a:cubicBezTo>
                  <a:lnTo>
                    <a:pt x="105000" y="0"/>
                  </a:lnTo>
                  <a:cubicBezTo>
                    <a:pt x="113285" y="0"/>
                    <a:pt x="120000" y="6715"/>
                    <a:pt x="120000" y="15000"/>
                  </a:cubicBezTo>
                  <a:cubicBezTo>
                    <a:pt x="120000" y="23285"/>
                    <a:pt x="113285" y="30000"/>
                    <a:pt x="105000" y="30000"/>
                  </a:cubicBezTo>
                  <a:cubicBezTo>
                    <a:pt x="113285" y="30000"/>
                    <a:pt x="120000" y="36716"/>
                    <a:pt x="120000" y="45000"/>
                  </a:cubicBezTo>
                  <a:cubicBezTo>
                    <a:pt x="120000" y="53284"/>
                    <a:pt x="113285" y="60000"/>
                    <a:pt x="105000" y="60000"/>
                  </a:cubicBezTo>
                  <a:cubicBezTo>
                    <a:pt x="113285" y="60000"/>
                    <a:pt x="120000" y="66716"/>
                    <a:pt x="120000" y="75000"/>
                  </a:cubicBezTo>
                  <a:cubicBezTo>
                    <a:pt x="120000" y="83284"/>
                    <a:pt x="113285" y="90000"/>
                    <a:pt x="105000" y="90000"/>
                  </a:cubicBezTo>
                  <a:lnTo>
                    <a:pt x="15000" y="90000"/>
                  </a:lnTo>
                  <a:cubicBezTo>
                    <a:pt x="6716" y="90000"/>
                    <a:pt x="0" y="83284"/>
                    <a:pt x="0" y="75000"/>
                  </a:cubicBezTo>
                  <a:cubicBezTo>
                    <a:pt x="0" y="66716"/>
                    <a:pt x="6716" y="60000"/>
                    <a:pt x="15000" y="6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76" name="Рисунок 100">
            <a:extLst>
              <a:ext uri="{FF2B5EF4-FFF2-40B4-BE49-F238E27FC236}">
                <a16:creationId xmlns:a16="http://schemas.microsoft.com/office/drawing/2014/main" id="{594FE097-68AB-4544-8C1C-3950E51DFC16}"/>
              </a:ext>
            </a:extLst>
          </p:cNvPr>
          <p:cNvGrpSpPr/>
          <p:nvPr/>
        </p:nvGrpSpPr>
        <p:grpSpPr>
          <a:xfrm>
            <a:off x="5176716" y="4461423"/>
            <a:ext cx="360000" cy="360000"/>
            <a:chOff x="5255921" y="4778145"/>
            <a:chExt cx="360000" cy="360000"/>
          </a:xfrm>
        </p:grpSpPr>
        <p:sp>
          <p:nvSpPr>
            <p:cNvPr id="477" name="Полилиния 476">
              <a:extLst>
                <a:ext uri="{FF2B5EF4-FFF2-40B4-BE49-F238E27FC236}">
                  <a16:creationId xmlns:a16="http://schemas.microsoft.com/office/drawing/2014/main" id="{25610C85-7BF3-EC4D-8530-5A704019DC91}"/>
                </a:ext>
              </a:extLst>
            </p:cNvPr>
            <p:cNvSpPr/>
            <p:nvPr/>
          </p:nvSpPr>
          <p:spPr>
            <a:xfrm>
              <a:off x="5255921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8" name="Полилиния 477">
              <a:extLst>
                <a:ext uri="{FF2B5EF4-FFF2-40B4-BE49-F238E27FC236}">
                  <a16:creationId xmlns:a16="http://schemas.microsoft.com/office/drawing/2014/main" id="{A3D298B2-D44E-614D-A60E-D9BBB5AAC010}"/>
                </a:ext>
              </a:extLst>
            </p:cNvPr>
            <p:cNvSpPr/>
            <p:nvPr/>
          </p:nvSpPr>
          <p:spPr>
            <a:xfrm>
              <a:off x="5390921" y="4853145"/>
              <a:ext cx="180000" cy="195000"/>
            </a:xfrm>
            <a:custGeom>
              <a:avLst/>
              <a:gdLst>
                <a:gd name="connsiteX0" fmla="*/ 22500 w 180000"/>
                <a:gd name="connsiteY0" fmla="*/ 0 h 195000"/>
                <a:gd name="connsiteX1" fmla="*/ 157500 w 180000"/>
                <a:gd name="connsiteY1" fmla="*/ 0 h 195000"/>
                <a:gd name="connsiteX2" fmla="*/ 180000 w 180000"/>
                <a:gd name="connsiteY2" fmla="*/ 22500 h 195000"/>
                <a:gd name="connsiteX3" fmla="*/ 157500 w 180000"/>
                <a:gd name="connsiteY3" fmla="*/ 45000 h 195000"/>
                <a:gd name="connsiteX4" fmla="*/ 22500 w 180000"/>
                <a:gd name="connsiteY4" fmla="*/ 45000 h 195000"/>
                <a:gd name="connsiteX5" fmla="*/ 0 w 180000"/>
                <a:gd name="connsiteY5" fmla="*/ 22500 h 195000"/>
                <a:gd name="connsiteX6" fmla="*/ 22500 w 180000"/>
                <a:gd name="connsiteY6" fmla="*/ 0 h 195000"/>
                <a:gd name="connsiteX7" fmla="*/ 22500 w 180000"/>
                <a:gd name="connsiteY7" fmla="*/ 75000 h 195000"/>
                <a:gd name="connsiteX8" fmla="*/ 157500 w 180000"/>
                <a:gd name="connsiteY8" fmla="*/ 75000 h 195000"/>
                <a:gd name="connsiteX9" fmla="*/ 180000 w 180000"/>
                <a:gd name="connsiteY9" fmla="*/ 97500 h 195000"/>
                <a:gd name="connsiteX10" fmla="*/ 157500 w 180000"/>
                <a:gd name="connsiteY10" fmla="*/ 120000 h 195000"/>
                <a:gd name="connsiteX11" fmla="*/ 22500 w 180000"/>
                <a:gd name="connsiteY11" fmla="*/ 120000 h 195000"/>
                <a:gd name="connsiteX12" fmla="*/ 0 w 180000"/>
                <a:gd name="connsiteY12" fmla="*/ 97500 h 195000"/>
                <a:gd name="connsiteX13" fmla="*/ 22500 w 180000"/>
                <a:gd name="connsiteY13" fmla="*/ 75000 h 195000"/>
                <a:gd name="connsiteX14" fmla="*/ 22500 w 180000"/>
                <a:gd name="connsiteY14" fmla="*/ 150000 h 195000"/>
                <a:gd name="connsiteX15" fmla="*/ 157500 w 180000"/>
                <a:gd name="connsiteY15" fmla="*/ 150000 h 195000"/>
                <a:gd name="connsiteX16" fmla="*/ 180000 w 180000"/>
                <a:gd name="connsiteY16" fmla="*/ 172500 h 195000"/>
                <a:gd name="connsiteX17" fmla="*/ 157500 w 180000"/>
                <a:gd name="connsiteY17" fmla="*/ 195000 h 195000"/>
                <a:gd name="connsiteX18" fmla="*/ 22500 w 180000"/>
                <a:gd name="connsiteY18" fmla="*/ 195000 h 195000"/>
                <a:gd name="connsiteX19" fmla="*/ 0 w 180000"/>
                <a:gd name="connsiteY19" fmla="*/ 172500 h 195000"/>
                <a:gd name="connsiteX20" fmla="*/ 22500 w 180000"/>
                <a:gd name="connsiteY20" fmla="*/ 1500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0000" h="195000">
                  <a:moveTo>
                    <a:pt x="22500" y="0"/>
                  </a:moveTo>
                  <a:lnTo>
                    <a:pt x="157500" y="0"/>
                  </a:lnTo>
                  <a:cubicBezTo>
                    <a:pt x="169926" y="0"/>
                    <a:pt x="180000" y="10074"/>
                    <a:pt x="180000" y="22500"/>
                  </a:cubicBezTo>
                  <a:cubicBezTo>
                    <a:pt x="180000" y="34926"/>
                    <a:pt x="169926" y="45000"/>
                    <a:pt x="157500" y="45000"/>
                  </a:cubicBezTo>
                  <a:lnTo>
                    <a:pt x="22500" y="45000"/>
                  </a:ln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22500" y="75000"/>
                  </a:moveTo>
                  <a:lnTo>
                    <a:pt x="157500" y="75000"/>
                  </a:lnTo>
                  <a:cubicBezTo>
                    <a:pt x="169926" y="75000"/>
                    <a:pt x="180000" y="85074"/>
                    <a:pt x="180000" y="97500"/>
                  </a:cubicBezTo>
                  <a:cubicBezTo>
                    <a:pt x="180000" y="109926"/>
                    <a:pt x="169926" y="120000"/>
                    <a:pt x="157500" y="120000"/>
                  </a:cubicBezTo>
                  <a:lnTo>
                    <a:pt x="22500" y="120000"/>
                  </a:lnTo>
                  <a:cubicBezTo>
                    <a:pt x="10074" y="120000"/>
                    <a:pt x="0" y="109926"/>
                    <a:pt x="0" y="97500"/>
                  </a:cubicBezTo>
                  <a:cubicBezTo>
                    <a:pt x="0" y="85074"/>
                    <a:pt x="10074" y="75000"/>
                    <a:pt x="22500" y="75000"/>
                  </a:cubicBezTo>
                  <a:close/>
                  <a:moveTo>
                    <a:pt x="22500" y="150000"/>
                  </a:moveTo>
                  <a:lnTo>
                    <a:pt x="157500" y="150000"/>
                  </a:lnTo>
                  <a:cubicBezTo>
                    <a:pt x="169926" y="150000"/>
                    <a:pt x="180000" y="160074"/>
                    <a:pt x="180000" y="172500"/>
                  </a:cubicBezTo>
                  <a:cubicBezTo>
                    <a:pt x="180000" y="184926"/>
                    <a:pt x="169926" y="195000"/>
                    <a:pt x="157500" y="195000"/>
                  </a:cubicBezTo>
                  <a:lnTo>
                    <a:pt x="22500" y="195000"/>
                  </a:lnTo>
                  <a:cubicBezTo>
                    <a:pt x="10074" y="195000"/>
                    <a:pt x="0" y="184926"/>
                    <a:pt x="0" y="172500"/>
                  </a:cubicBezTo>
                  <a:cubicBezTo>
                    <a:pt x="0" y="160074"/>
                    <a:pt x="10074" y="150000"/>
                    <a:pt x="22500" y="15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9" name="Полилиния 478">
              <a:extLst>
                <a:ext uri="{FF2B5EF4-FFF2-40B4-BE49-F238E27FC236}">
                  <a16:creationId xmlns:a16="http://schemas.microsoft.com/office/drawing/2014/main" id="{DDD31D9B-5170-AB44-8453-C98E545E85BD}"/>
                </a:ext>
              </a:extLst>
            </p:cNvPr>
            <p:cNvSpPr/>
            <p:nvPr/>
          </p:nvSpPr>
          <p:spPr>
            <a:xfrm>
              <a:off x="5315921" y="4853145"/>
              <a:ext cx="45000" cy="195000"/>
            </a:xfrm>
            <a:custGeom>
              <a:avLst/>
              <a:gdLst>
                <a:gd name="connsiteX0" fmla="*/ 22500 w 45000"/>
                <a:gd name="connsiteY0" fmla="*/ 45000 h 195000"/>
                <a:gd name="connsiteX1" fmla="*/ 0 w 45000"/>
                <a:gd name="connsiteY1" fmla="*/ 22500 h 195000"/>
                <a:gd name="connsiteX2" fmla="*/ 22500 w 45000"/>
                <a:gd name="connsiteY2" fmla="*/ 0 h 195000"/>
                <a:gd name="connsiteX3" fmla="*/ 45000 w 45000"/>
                <a:gd name="connsiteY3" fmla="*/ 22500 h 195000"/>
                <a:gd name="connsiteX4" fmla="*/ 22500 w 45000"/>
                <a:gd name="connsiteY4" fmla="*/ 45000 h 195000"/>
                <a:gd name="connsiteX5" fmla="*/ 22500 w 45000"/>
                <a:gd name="connsiteY5" fmla="*/ 120000 h 195000"/>
                <a:gd name="connsiteX6" fmla="*/ 0 w 45000"/>
                <a:gd name="connsiteY6" fmla="*/ 97500 h 195000"/>
                <a:gd name="connsiteX7" fmla="*/ 22500 w 45000"/>
                <a:gd name="connsiteY7" fmla="*/ 75000 h 195000"/>
                <a:gd name="connsiteX8" fmla="*/ 45000 w 45000"/>
                <a:gd name="connsiteY8" fmla="*/ 97500 h 195000"/>
                <a:gd name="connsiteX9" fmla="*/ 22500 w 45000"/>
                <a:gd name="connsiteY9" fmla="*/ 120000 h 195000"/>
                <a:gd name="connsiteX10" fmla="*/ 22500 w 45000"/>
                <a:gd name="connsiteY10" fmla="*/ 195000 h 195000"/>
                <a:gd name="connsiteX11" fmla="*/ 0 w 45000"/>
                <a:gd name="connsiteY11" fmla="*/ 172500 h 195000"/>
                <a:gd name="connsiteX12" fmla="*/ 22500 w 45000"/>
                <a:gd name="connsiteY12" fmla="*/ 150000 h 195000"/>
                <a:gd name="connsiteX13" fmla="*/ 45000 w 45000"/>
                <a:gd name="connsiteY13" fmla="*/ 172500 h 195000"/>
                <a:gd name="connsiteX14" fmla="*/ 22500 w 45000"/>
                <a:gd name="connsiteY14" fmla="*/ 1950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5000" h="195000">
                  <a:moveTo>
                    <a:pt x="22500" y="45000"/>
                  </a:move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ubicBezTo>
                    <a:pt x="34926" y="0"/>
                    <a:pt x="45000" y="10074"/>
                    <a:pt x="45000" y="22500"/>
                  </a:cubicBezTo>
                  <a:cubicBezTo>
                    <a:pt x="45000" y="34926"/>
                    <a:pt x="34926" y="45000"/>
                    <a:pt x="22500" y="45000"/>
                  </a:cubicBezTo>
                  <a:close/>
                  <a:moveTo>
                    <a:pt x="22500" y="120000"/>
                  </a:moveTo>
                  <a:cubicBezTo>
                    <a:pt x="10074" y="120000"/>
                    <a:pt x="0" y="109926"/>
                    <a:pt x="0" y="97500"/>
                  </a:cubicBezTo>
                  <a:cubicBezTo>
                    <a:pt x="0" y="85074"/>
                    <a:pt x="10074" y="75000"/>
                    <a:pt x="22500" y="75000"/>
                  </a:cubicBezTo>
                  <a:cubicBezTo>
                    <a:pt x="34926" y="75000"/>
                    <a:pt x="45000" y="85074"/>
                    <a:pt x="45000" y="97500"/>
                  </a:cubicBezTo>
                  <a:cubicBezTo>
                    <a:pt x="45000" y="109926"/>
                    <a:pt x="34926" y="120000"/>
                    <a:pt x="22500" y="120000"/>
                  </a:cubicBezTo>
                  <a:close/>
                  <a:moveTo>
                    <a:pt x="22500" y="195000"/>
                  </a:moveTo>
                  <a:cubicBezTo>
                    <a:pt x="10074" y="195000"/>
                    <a:pt x="0" y="184926"/>
                    <a:pt x="0" y="172500"/>
                  </a:cubicBezTo>
                  <a:cubicBezTo>
                    <a:pt x="0" y="160074"/>
                    <a:pt x="10074" y="150000"/>
                    <a:pt x="22500" y="150000"/>
                  </a:cubicBezTo>
                  <a:cubicBezTo>
                    <a:pt x="34926" y="150000"/>
                    <a:pt x="45000" y="160074"/>
                    <a:pt x="45000" y="172500"/>
                  </a:cubicBezTo>
                  <a:cubicBezTo>
                    <a:pt x="45000" y="184926"/>
                    <a:pt x="34926" y="195000"/>
                    <a:pt x="22500" y="19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80" name="Рисунок 101">
            <a:extLst>
              <a:ext uri="{FF2B5EF4-FFF2-40B4-BE49-F238E27FC236}">
                <a16:creationId xmlns:a16="http://schemas.microsoft.com/office/drawing/2014/main" id="{9F7A8A41-9CEA-864E-A59A-14F31C8970D7}"/>
              </a:ext>
            </a:extLst>
          </p:cNvPr>
          <p:cNvGrpSpPr/>
          <p:nvPr/>
        </p:nvGrpSpPr>
        <p:grpSpPr>
          <a:xfrm>
            <a:off x="4423564" y="4461423"/>
            <a:ext cx="360000" cy="360000"/>
            <a:chOff x="4502769" y="4778145"/>
            <a:chExt cx="360000" cy="360000"/>
          </a:xfrm>
        </p:grpSpPr>
        <p:sp>
          <p:nvSpPr>
            <p:cNvPr id="481" name="Полилиния 480">
              <a:extLst>
                <a:ext uri="{FF2B5EF4-FFF2-40B4-BE49-F238E27FC236}">
                  <a16:creationId xmlns:a16="http://schemas.microsoft.com/office/drawing/2014/main" id="{82D5B044-5CDB-BC40-8FEB-C05305B10F0D}"/>
                </a:ext>
              </a:extLst>
            </p:cNvPr>
            <p:cNvSpPr/>
            <p:nvPr/>
          </p:nvSpPr>
          <p:spPr>
            <a:xfrm>
              <a:off x="4502769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2" name="Полилиния 481">
              <a:extLst>
                <a:ext uri="{FF2B5EF4-FFF2-40B4-BE49-F238E27FC236}">
                  <a16:creationId xmlns:a16="http://schemas.microsoft.com/office/drawing/2014/main" id="{2135BB0E-44B6-9747-A767-6B15FBE3F87F}"/>
                </a:ext>
              </a:extLst>
            </p:cNvPr>
            <p:cNvSpPr/>
            <p:nvPr/>
          </p:nvSpPr>
          <p:spPr>
            <a:xfrm>
              <a:off x="4607769" y="4838145"/>
              <a:ext cx="150000" cy="60000"/>
            </a:xfrm>
            <a:custGeom>
              <a:avLst/>
              <a:gdLst>
                <a:gd name="connsiteX0" fmla="*/ 0 w 150000"/>
                <a:gd name="connsiteY0" fmla="*/ 0 h 60000"/>
                <a:gd name="connsiteX1" fmla="*/ 150000 w 150000"/>
                <a:gd name="connsiteY1" fmla="*/ 0 h 60000"/>
                <a:gd name="connsiteX2" fmla="*/ 150000 w 150000"/>
                <a:gd name="connsiteY2" fmla="*/ 60000 h 60000"/>
                <a:gd name="connsiteX3" fmla="*/ 0 w 150000"/>
                <a:gd name="connsiteY3" fmla="*/ 6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000" h="60000">
                  <a:moveTo>
                    <a:pt x="0" y="0"/>
                  </a:moveTo>
                  <a:lnTo>
                    <a:pt x="150000" y="0"/>
                  </a:lnTo>
                  <a:lnTo>
                    <a:pt x="150000" y="60000"/>
                  </a:lnTo>
                  <a:lnTo>
                    <a:pt x="0" y="6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3" name="Полилиния 482">
              <a:extLst>
                <a:ext uri="{FF2B5EF4-FFF2-40B4-BE49-F238E27FC236}">
                  <a16:creationId xmlns:a16="http://schemas.microsoft.com/office/drawing/2014/main" id="{94987F5C-763D-A142-988D-698699C262E1}"/>
                </a:ext>
              </a:extLst>
            </p:cNvPr>
            <p:cNvSpPr/>
            <p:nvPr/>
          </p:nvSpPr>
          <p:spPr>
            <a:xfrm>
              <a:off x="4577769" y="4808145"/>
              <a:ext cx="210000" cy="300000"/>
            </a:xfrm>
            <a:custGeom>
              <a:avLst/>
              <a:gdLst>
                <a:gd name="connsiteX0" fmla="*/ 30000 w 210000"/>
                <a:gd name="connsiteY0" fmla="*/ 0 h 300000"/>
                <a:gd name="connsiteX1" fmla="*/ 180000 w 210000"/>
                <a:gd name="connsiteY1" fmla="*/ 0 h 300000"/>
                <a:gd name="connsiteX2" fmla="*/ 210000 w 210000"/>
                <a:gd name="connsiteY2" fmla="*/ 30000 h 300000"/>
                <a:gd name="connsiteX3" fmla="*/ 210000 w 210000"/>
                <a:gd name="connsiteY3" fmla="*/ 270000 h 300000"/>
                <a:gd name="connsiteX4" fmla="*/ 180000 w 210000"/>
                <a:gd name="connsiteY4" fmla="*/ 300000 h 300000"/>
                <a:gd name="connsiteX5" fmla="*/ 30000 w 210000"/>
                <a:gd name="connsiteY5" fmla="*/ 300000 h 300000"/>
                <a:gd name="connsiteX6" fmla="*/ 0 w 210000"/>
                <a:gd name="connsiteY6" fmla="*/ 270000 h 300000"/>
                <a:gd name="connsiteX7" fmla="*/ 0 w 210000"/>
                <a:gd name="connsiteY7" fmla="*/ 30000 h 300000"/>
                <a:gd name="connsiteX8" fmla="*/ 30000 w 210000"/>
                <a:gd name="connsiteY8" fmla="*/ 0 h 300000"/>
                <a:gd name="connsiteX9" fmla="*/ 45000 w 210000"/>
                <a:gd name="connsiteY9" fmla="*/ 150000 h 300000"/>
                <a:gd name="connsiteX10" fmla="*/ 60000 w 210000"/>
                <a:gd name="connsiteY10" fmla="*/ 135000 h 300000"/>
                <a:gd name="connsiteX11" fmla="*/ 45000 w 210000"/>
                <a:gd name="connsiteY11" fmla="*/ 120000 h 300000"/>
                <a:gd name="connsiteX12" fmla="*/ 30000 w 210000"/>
                <a:gd name="connsiteY12" fmla="*/ 135000 h 300000"/>
                <a:gd name="connsiteX13" fmla="*/ 45000 w 210000"/>
                <a:gd name="connsiteY13" fmla="*/ 150000 h 300000"/>
                <a:gd name="connsiteX14" fmla="*/ 45000 w 210000"/>
                <a:gd name="connsiteY14" fmla="*/ 210000 h 300000"/>
                <a:gd name="connsiteX15" fmla="*/ 60000 w 210000"/>
                <a:gd name="connsiteY15" fmla="*/ 195000 h 300000"/>
                <a:gd name="connsiteX16" fmla="*/ 45000 w 210000"/>
                <a:gd name="connsiteY16" fmla="*/ 180000 h 300000"/>
                <a:gd name="connsiteX17" fmla="*/ 30000 w 210000"/>
                <a:gd name="connsiteY17" fmla="*/ 195000 h 300000"/>
                <a:gd name="connsiteX18" fmla="*/ 45000 w 210000"/>
                <a:gd name="connsiteY18" fmla="*/ 210000 h 300000"/>
                <a:gd name="connsiteX19" fmla="*/ 105000 w 210000"/>
                <a:gd name="connsiteY19" fmla="*/ 150000 h 300000"/>
                <a:gd name="connsiteX20" fmla="*/ 120000 w 210000"/>
                <a:gd name="connsiteY20" fmla="*/ 135000 h 300000"/>
                <a:gd name="connsiteX21" fmla="*/ 105000 w 210000"/>
                <a:gd name="connsiteY21" fmla="*/ 120000 h 300000"/>
                <a:gd name="connsiteX22" fmla="*/ 90000 w 210000"/>
                <a:gd name="connsiteY22" fmla="*/ 135000 h 300000"/>
                <a:gd name="connsiteX23" fmla="*/ 105000 w 210000"/>
                <a:gd name="connsiteY23" fmla="*/ 150000 h 300000"/>
                <a:gd name="connsiteX24" fmla="*/ 105000 w 210000"/>
                <a:gd name="connsiteY24" fmla="*/ 210000 h 300000"/>
                <a:gd name="connsiteX25" fmla="*/ 120000 w 210000"/>
                <a:gd name="connsiteY25" fmla="*/ 195000 h 300000"/>
                <a:gd name="connsiteX26" fmla="*/ 105000 w 210000"/>
                <a:gd name="connsiteY26" fmla="*/ 180000 h 300000"/>
                <a:gd name="connsiteX27" fmla="*/ 90000 w 210000"/>
                <a:gd name="connsiteY27" fmla="*/ 195000 h 300000"/>
                <a:gd name="connsiteX28" fmla="*/ 105000 w 210000"/>
                <a:gd name="connsiteY28" fmla="*/ 210000 h 300000"/>
                <a:gd name="connsiteX29" fmla="*/ 165000 w 210000"/>
                <a:gd name="connsiteY29" fmla="*/ 150000 h 300000"/>
                <a:gd name="connsiteX30" fmla="*/ 180000 w 210000"/>
                <a:gd name="connsiteY30" fmla="*/ 135000 h 300000"/>
                <a:gd name="connsiteX31" fmla="*/ 165000 w 210000"/>
                <a:gd name="connsiteY31" fmla="*/ 120000 h 300000"/>
                <a:gd name="connsiteX32" fmla="*/ 150000 w 210000"/>
                <a:gd name="connsiteY32" fmla="*/ 135000 h 300000"/>
                <a:gd name="connsiteX33" fmla="*/ 165000 w 210000"/>
                <a:gd name="connsiteY33" fmla="*/ 150000 h 300000"/>
                <a:gd name="connsiteX34" fmla="*/ 165000 w 210000"/>
                <a:gd name="connsiteY34" fmla="*/ 210000 h 300000"/>
                <a:gd name="connsiteX35" fmla="*/ 180000 w 210000"/>
                <a:gd name="connsiteY35" fmla="*/ 195000 h 300000"/>
                <a:gd name="connsiteX36" fmla="*/ 165000 w 210000"/>
                <a:gd name="connsiteY36" fmla="*/ 180000 h 300000"/>
                <a:gd name="connsiteX37" fmla="*/ 150000 w 210000"/>
                <a:gd name="connsiteY37" fmla="*/ 195000 h 300000"/>
                <a:gd name="connsiteX38" fmla="*/ 165000 w 210000"/>
                <a:gd name="connsiteY38" fmla="*/ 210000 h 300000"/>
                <a:gd name="connsiteX39" fmla="*/ 165000 w 210000"/>
                <a:gd name="connsiteY39" fmla="*/ 270000 h 300000"/>
                <a:gd name="connsiteX40" fmla="*/ 180000 w 210000"/>
                <a:gd name="connsiteY40" fmla="*/ 255000 h 300000"/>
                <a:gd name="connsiteX41" fmla="*/ 165000 w 210000"/>
                <a:gd name="connsiteY41" fmla="*/ 240000 h 300000"/>
                <a:gd name="connsiteX42" fmla="*/ 150000 w 210000"/>
                <a:gd name="connsiteY42" fmla="*/ 255000 h 300000"/>
                <a:gd name="connsiteX43" fmla="*/ 165000 w 210000"/>
                <a:gd name="connsiteY43" fmla="*/ 270000 h 300000"/>
                <a:gd name="connsiteX44" fmla="*/ 45000 w 210000"/>
                <a:gd name="connsiteY44" fmla="*/ 240000 h 300000"/>
                <a:gd name="connsiteX45" fmla="*/ 30000 w 210000"/>
                <a:gd name="connsiteY45" fmla="*/ 255000 h 300000"/>
                <a:gd name="connsiteX46" fmla="*/ 45000 w 210000"/>
                <a:gd name="connsiteY46" fmla="*/ 270000 h 300000"/>
                <a:gd name="connsiteX47" fmla="*/ 105000 w 210000"/>
                <a:gd name="connsiteY47" fmla="*/ 270000 h 300000"/>
                <a:gd name="connsiteX48" fmla="*/ 120000 w 210000"/>
                <a:gd name="connsiteY48" fmla="*/ 255000 h 300000"/>
                <a:gd name="connsiteX49" fmla="*/ 105000 w 210000"/>
                <a:gd name="connsiteY49" fmla="*/ 240000 h 300000"/>
                <a:gd name="connsiteX50" fmla="*/ 45000 w 210000"/>
                <a:gd name="connsiteY50" fmla="*/ 240000 h 300000"/>
                <a:gd name="connsiteX51" fmla="*/ 30000 w 210000"/>
                <a:gd name="connsiteY51" fmla="*/ 30000 h 300000"/>
                <a:gd name="connsiteX52" fmla="*/ 30000 w 210000"/>
                <a:gd name="connsiteY52" fmla="*/ 90000 h 300000"/>
                <a:gd name="connsiteX53" fmla="*/ 180000 w 210000"/>
                <a:gd name="connsiteY53" fmla="*/ 90000 h 300000"/>
                <a:gd name="connsiteX54" fmla="*/ 180000 w 210000"/>
                <a:gd name="connsiteY54" fmla="*/ 30000 h 300000"/>
                <a:gd name="connsiteX55" fmla="*/ 30000 w 210000"/>
                <a:gd name="connsiteY55" fmla="*/ 3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10000" h="300000">
                  <a:moveTo>
                    <a:pt x="30000" y="0"/>
                  </a:moveTo>
                  <a:lnTo>
                    <a:pt x="180000" y="0"/>
                  </a:lnTo>
                  <a:cubicBezTo>
                    <a:pt x="196569" y="0"/>
                    <a:pt x="210000" y="13431"/>
                    <a:pt x="210000" y="30000"/>
                  </a:cubicBezTo>
                  <a:lnTo>
                    <a:pt x="210000" y="270000"/>
                  </a:lnTo>
                  <a:cubicBezTo>
                    <a:pt x="210000" y="286569"/>
                    <a:pt x="196569" y="300000"/>
                    <a:pt x="180000" y="300000"/>
                  </a:cubicBezTo>
                  <a:lnTo>
                    <a:pt x="30000" y="300000"/>
                  </a:lnTo>
                  <a:cubicBezTo>
                    <a:pt x="13431" y="300000"/>
                    <a:pt x="0" y="286569"/>
                    <a:pt x="0" y="27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45000" y="150000"/>
                  </a:moveTo>
                  <a:cubicBezTo>
                    <a:pt x="53284" y="150000"/>
                    <a:pt x="60000" y="143285"/>
                    <a:pt x="60000" y="135000"/>
                  </a:cubicBezTo>
                  <a:cubicBezTo>
                    <a:pt x="60000" y="126715"/>
                    <a:pt x="53284" y="120000"/>
                    <a:pt x="45000" y="120000"/>
                  </a:cubicBezTo>
                  <a:cubicBezTo>
                    <a:pt x="36716" y="120000"/>
                    <a:pt x="30000" y="126715"/>
                    <a:pt x="30000" y="135000"/>
                  </a:cubicBezTo>
                  <a:cubicBezTo>
                    <a:pt x="30000" y="143285"/>
                    <a:pt x="36716" y="150000"/>
                    <a:pt x="45000" y="150000"/>
                  </a:cubicBezTo>
                  <a:close/>
                  <a:moveTo>
                    <a:pt x="45000" y="210000"/>
                  </a:moveTo>
                  <a:cubicBezTo>
                    <a:pt x="53284" y="210000"/>
                    <a:pt x="60000" y="203285"/>
                    <a:pt x="60000" y="195000"/>
                  </a:cubicBezTo>
                  <a:cubicBezTo>
                    <a:pt x="60000" y="186716"/>
                    <a:pt x="53284" y="180000"/>
                    <a:pt x="45000" y="180000"/>
                  </a:cubicBezTo>
                  <a:cubicBezTo>
                    <a:pt x="36716" y="180000"/>
                    <a:pt x="30000" y="186716"/>
                    <a:pt x="30000" y="195000"/>
                  </a:cubicBezTo>
                  <a:cubicBezTo>
                    <a:pt x="30000" y="203285"/>
                    <a:pt x="36716" y="210000"/>
                    <a:pt x="45000" y="210000"/>
                  </a:cubicBezTo>
                  <a:close/>
                  <a:moveTo>
                    <a:pt x="105000" y="150000"/>
                  </a:moveTo>
                  <a:cubicBezTo>
                    <a:pt x="113285" y="150000"/>
                    <a:pt x="120000" y="143285"/>
                    <a:pt x="120000" y="135000"/>
                  </a:cubicBezTo>
                  <a:cubicBezTo>
                    <a:pt x="120000" y="126715"/>
                    <a:pt x="113285" y="120000"/>
                    <a:pt x="105000" y="120000"/>
                  </a:cubicBezTo>
                  <a:cubicBezTo>
                    <a:pt x="96715" y="120000"/>
                    <a:pt x="90000" y="126715"/>
                    <a:pt x="90000" y="135000"/>
                  </a:cubicBezTo>
                  <a:cubicBezTo>
                    <a:pt x="90000" y="143285"/>
                    <a:pt x="96715" y="150000"/>
                    <a:pt x="105000" y="150000"/>
                  </a:cubicBezTo>
                  <a:close/>
                  <a:moveTo>
                    <a:pt x="105000" y="210000"/>
                  </a:moveTo>
                  <a:cubicBezTo>
                    <a:pt x="113285" y="210000"/>
                    <a:pt x="120000" y="203285"/>
                    <a:pt x="120000" y="195000"/>
                  </a:cubicBezTo>
                  <a:cubicBezTo>
                    <a:pt x="120000" y="186716"/>
                    <a:pt x="113285" y="180000"/>
                    <a:pt x="105000" y="180000"/>
                  </a:cubicBezTo>
                  <a:cubicBezTo>
                    <a:pt x="96715" y="180000"/>
                    <a:pt x="90000" y="186716"/>
                    <a:pt x="90000" y="195000"/>
                  </a:cubicBezTo>
                  <a:cubicBezTo>
                    <a:pt x="90000" y="203285"/>
                    <a:pt x="96715" y="210000"/>
                    <a:pt x="105000" y="210000"/>
                  </a:cubicBezTo>
                  <a:close/>
                  <a:moveTo>
                    <a:pt x="165000" y="150000"/>
                  </a:moveTo>
                  <a:cubicBezTo>
                    <a:pt x="173285" y="150000"/>
                    <a:pt x="180000" y="143285"/>
                    <a:pt x="180000" y="135000"/>
                  </a:cubicBezTo>
                  <a:cubicBezTo>
                    <a:pt x="180000" y="126715"/>
                    <a:pt x="173285" y="120000"/>
                    <a:pt x="165000" y="120000"/>
                  </a:cubicBezTo>
                  <a:cubicBezTo>
                    <a:pt x="156716" y="120000"/>
                    <a:pt x="150000" y="126715"/>
                    <a:pt x="150000" y="135000"/>
                  </a:cubicBezTo>
                  <a:cubicBezTo>
                    <a:pt x="150000" y="143285"/>
                    <a:pt x="156716" y="150000"/>
                    <a:pt x="165000" y="150000"/>
                  </a:cubicBezTo>
                  <a:close/>
                  <a:moveTo>
                    <a:pt x="165000" y="210000"/>
                  </a:moveTo>
                  <a:cubicBezTo>
                    <a:pt x="173285" y="210000"/>
                    <a:pt x="180000" y="203285"/>
                    <a:pt x="180000" y="195000"/>
                  </a:cubicBezTo>
                  <a:cubicBezTo>
                    <a:pt x="180000" y="186716"/>
                    <a:pt x="173285" y="180000"/>
                    <a:pt x="165000" y="180000"/>
                  </a:cubicBezTo>
                  <a:cubicBezTo>
                    <a:pt x="156716" y="180000"/>
                    <a:pt x="150000" y="186716"/>
                    <a:pt x="150000" y="195000"/>
                  </a:cubicBezTo>
                  <a:cubicBezTo>
                    <a:pt x="150000" y="203285"/>
                    <a:pt x="156716" y="210000"/>
                    <a:pt x="165000" y="210000"/>
                  </a:cubicBezTo>
                  <a:close/>
                  <a:moveTo>
                    <a:pt x="165000" y="270000"/>
                  </a:moveTo>
                  <a:cubicBezTo>
                    <a:pt x="173285" y="270000"/>
                    <a:pt x="180000" y="263285"/>
                    <a:pt x="180000" y="255000"/>
                  </a:cubicBezTo>
                  <a:cubicBezTo>
                    <a:pt x="180000" y="246716"/>
                    <a:pt x="173285" y="240000"/>
                    <a:pt x="165000" y="240000"/>
                  </a:cubicBezTo>
                  <a:cubicBezTo>
                    <a:pt x="156716" y="240000"/>
                    <a:pt x="150000" y="246716"/>
                    <a:pt x="150000" y="255000"/>
                  </a:cubicBezTo>
                  <a:cubicBezTo>
                    <a:pt x="150000" y="263285"/>
                    <a:pt x="156716" y="270000"/>
                    <a:pt x="165000" y="270000"/>
                  </a:cubicBezTo>
                  <a:close/>
                  <a:moveTo>
                    <a:pt x="45000" y="240000"/>
                  </a:moveTo>
                  <a:cubicBezTo>
                    <a:pt x="36716" y="240000"/>
                    <a:pt x="30000" y="246716"/>
                    <a:pt x="30000" y="255000"/>
                  </a:cubicBezTo>
                  <a:cubicBezTo>
                    <a:pt x="30000" y="263285"/>
                    <a:pt x="36716" y="270000"/>
                    <a:pt x="45000" y="270000"/>
                  </a:cubicBezTo>
                  <a:lnTo>
                    <a:pt x="105000" y="270000"/>
                  </a:lnTo>
                  <a:cubicBezTo>
                    <a:pt x="113285" y="270000"/>
                    <a:pt x="120000" y="263285"/>
                    <a:pt x="120000" y="255000"/>
                  </a:cubicBezTo>
                  <a:cubicBezTo>
                    <a:pt x="120000" y="246716"/>
                    <a:pt x="113285" y="240000"/>
                    <a:pt x="105000" y="240000"/>
                  </a:cubicBezTo>
                  <a:lnTo>
                    <a:pt x="45000" y="240000"/>
                  </a:lnTo>
                  <a:close/>
                  <a:moveTo>
                    <a:pt x="30000" y="30000"/>
                  </a:moveTo>
                  <a:lnTo>
                    <a:pt x="30000" y="90000"/>
                  </a:lnTo>
                  <a:lnTo>
                    <a:pt x="180000" y="90000"/>
                  </a:lnTo>
                  <a:lnTo>
                    <a:pt x="180000" y="30000"/>
                  </a:lnTo>
                  <a:lnTo>
                    <a:pt x="30000" y="3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84" name="Рисунок 102">
            <a:extLst>
              <a:ext uri="{FF2B5EF4-FFF2-40B4-BE49-F238E27FC236}">
                <a16:creationId xmlns:a16="http://schemas.microsoft.com/office/drawing/2014/main" id="{D66CE15D-92CA-CA44-9006-CBE58DC6C9B5}"/>
              </a:ext>
            </a:extLst>
          </p:cNvPr>
          <p:cNvGrpSpPr/>
          <p:nvPr/>
        </p:nvGrpSpPr>
        <p:grpSpPr>
          <a:xfrm>
            <a:off x="2917260" y="4461423"/>
            <a:ext cx="360000" cy="360000"/>
            <a:chOff x="2996465" y="4778145"/>
            <a:chExt cx="360000" cy="360000"/>
          </a:xfrm>
        </p:grpSpPr>
        <p:sp>
          <p:nvSpPr>
            <p:cNvPr id="485" name="Полилиния 484">
              <a:extLst>
                <a:ext uri="{FF2B5EF4-FFF2-40B4-BE49-F238E27FC236}">
                  <a16:creationId xmlns:a16="http://schemas.microsoft.com/office/drawing/2014/main" id="{B3D5C262-2D94-9F4A-8E34-DE119AD4DCC3}"/>
                </a:ext>
              </a:extLst>
            </p:cNvPr>
            <p:cNvSpPr/>
            <p:nvPr/>
          </p:nvSpPr>
          <p:spPr>
            <a:xfrm>
              <a:off x="2996465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6" name="Полилиния 485">
              <a:extLst>
                <a:ext uri="{FF2B5EF4-FFF2-40B4-BE49-F238E27FC236}">
                  <a16:creationId xmlns:a16="http://schemas.microsoft.com/office/drawing/2014/main" id="{DFBB2874-05C4-0441-82A9-F791298A57F3}"/>
                </a:ext>
              </a:extLst>
            </p:cNvPr>
            <p:cNvSpPr/>
            <p:nvPr/>
          </p:nvSpPr>
          <p:spPr>
            <a:xfrm>
              <a:off x="3060214" y="4841031"/>
              <a:ext cx="233912" cy="227060"/>
            </a:xfrm>
            <a:custGeom>
              <a:avLst/>
              <a:gdLst>
                <a:gd name="connsiteX0" fmla="*/ 114974 w 233912"/>
                <a:gd name="connsiteY0" fmla="*/ 149254 h 227060"/>
                <a:gd name="connsiteX1" fmla="*/ 148034 w 233912"/>
                <a:gd name="connsiteY1" fmla="*/ 116194 h 227060"/>
                <a:gd name="connsiteX2" fmla="*/ 153653 w 233912"/>
                <a:gd name="connsiteY2" fmla="*/ 81565 h 227060"/>
                <a:gd name="connsiteX3" fmla="*/ 151780 w 233912"/>
                <a:gd name="connsiteY3" fmla="*/ 77818 h 227060"/>
                <a:gd name="connsiteX4" fmla="*/ 157400 w 233912"/>
                <a:gd name="connsiteY4" fmla="*/ 43189 h 227060"/>
                <a:gd name="connsiteX5" fmla="*/ 198392 w 233912"/>
                <a:gd name="connsiteY5" fmla="*/ 2197 h 227060"/>
                <a:gd name="connsiteX6" fmla="*/ 208999 w 233912"/>
                <a:gd name="connsiteY6" fmla="*/ 2197 h 227060"/>
                <a:gd name="connsiteX7" fmla="*/ 210404 w 233912"/>
                <a:gd name="connsiteY7" fmla="*/ 4146 h 227060"/>
                <a:gd name="connsiteX8" fmla="*/ 226963 w 233912"/>
                <a:gd name="connsiteY8" fmla="*/ 37265 h 227060"/>
                <a:gd name="connsiteX9" fmla="*/ 214636 w 233912"/>
                <a:gd name="connsiteY9" fmla="*/ 113233 h 227060"/>
                <a:gd name="connsiteX10" fmla="*/ 124654 w 233912"/>
                <a:gd name="connsiteY10" fmla="*/ 203215 h 227060"/>
                <a:gd name="connsiteX11" fmla="*/ 41348 w 233912"/>
                <a:gd name="connsiteY11" fmla="*/ 222880 h 227060"/>
                <a:gd name="connsiteX12" fmla="*/ 5130 w 233912"/>
                <a:gd name="connsiteY12" fmla="*/ 210808 h 227060"/>
                <a:gd name="connsiteX13" fmla="*/ 387 w 233912"/>
                <a:gd name="connsiteY13" fmla="*/ 201322 h 227060"/>
                <a:gd name="connsiteX14" fmla="*/ 2199 w 233912"/>
                <a:gd name="connsiteY14" fmla="*/ 198390 h 227060"/>
                <a:gd name="connsiteX15" fmla="*/ 41968 w 233912"/>
                <a:gd name="connsiteY15" fmla="*/ 158620 h 227060"/>
                <a:gd name="connsiteX16" fmla="*/ 76598 w 233912"/>
                <a:gd name="connsiteY16" fmla="*/ 153001 h 227060"/>
                <a:gd name="connsiteX17" fmla="*/ 80344 w 233912"/>
                <a:gd name="connsiteY17" fmla="*/ 154875 h 227060"/>
                <a:gd name="connsiteX18" fmla="*/ 114974 w 233912"/>
                <a:gd name="connsiteY18" fmla="*/ 149254 h 227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3912" h="227060">
                  <a:moveTo>
                    <a:pt x="114974" y="149254"/>
                  </a:moveTo>
                  <a:lnTo>
                    <a:pt x="148034" y="116194"/>
                  </a:lnTo>
                  <a:cubicBezTo>
                    <a:pt x="157165" y="107064"/>
                    <a:pt x="159428" y="93115"/>
                    <a:pt x="153653" y="81565"/>
                  </a:cubicBezTo>
                  <a:lnTo>
                    <a:pt x="151780" y="77818"/>
                  </a:lnTo>
                  <a:cubicBezTo>
                    <a:pt x="146006" y="66269"/>
                    <a:pt x="148270" y="52319"/>
                    <a:pt x="157400" y="43189"/>
                  </a:cubicBezTo>
                  <a:lnTo>
                    <a:pt x="198392" y="2197"/>
                  </a:lnTo>
                  <a:cubicBezTo>
                    <a:pt x="201322" y="-732"/>
                    <a:pt x="206069" y="-732"/>
                    <a:pt x="208999" y="2197"/>
                  </a:cubicBezTo>
                  <a:cubicBezTo>
                    <a:pt x="209569" y="2767"/>
                    <a:pt x="210043" y="3425"/>
                    <a:pt x="210404" y="4146"/>
                  </a:cubicBezTo>
                  <a:lnTo>
                    <a:pt x="226963" y="37265"/>
                  </a:lnTo>
                  <a:cubicBezTo>
                    <a:pt x="239632" y="62602"/>
                    <a:pt x="234665" y="93202"/>
                    <a:pt x="214636" y="113233"/>
                  </a:cubicBezTo>
                  <a:lnTo>
                    <a:pt x="124654" y="203215"/>
                  </a:lnTo>
                  <a:cubicBezTo>
                    <a:pt x="102850" y="225018"/>
                    <a:pt x="70599" y="232632"/>
                    <a:pt x="41348" y="222880"/>
                  </a:cubicBezTo>
                  <a:lnTo>
                    <a:pt x="5130" y="210808"/>
                  </a:lnTo>
                  <a:cubicBezTo>
                    <a:pt x="1201" y="209499"/>
                    <a:pt x="-923" y="205251"/>
                    <a:pt x="387" y="201322"/>
                  </a:cubicBezTo>
                  <a:cubicBezTo>
                    <a:pt x="755" y="200217"/>
                    <a:pt x="1376" y="199213"/>
                    <a:pt x="2199" y="198390"/>
                  </a:cubicBezTo>
                  <a:lnTo>
                    <a:pt x="41968" y="158620"/>
                  </a:lnTo>
                  <a:cubicBezTo>
                    <a:pt x="51099" y="149490"/>
                    <a:pt x="65048" y="147226"/>
                    <a:pt x="76598" y="153001"/>
                  </a:cubicBezTo>
                  <a:lnTo>
                    <a:pt x="80344" y="154875"/>
                  </a:lnTo>
                  <a:cubicBezTo>
                    <a:pt x="91894" y="160650"/>
                    <a:pt x="105842" y="158386"/>
                    <a:pt x="114974" y="149254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87" name="Рисунок 103">
            <a:extLst>
              <a:ext uri="{FF2B5EF4-FFF2-40B4-BE49-F238E27FC236}">
                <a16:creationId xmlns:a16="http://schemas.microsoft.com/office/drawing/2014/main" id="{4B9D44EE-D4DF-CC45-9EF7-E1F23B20D671}"/>
              </a:ext>
            </a:extLst>
          </p:cNvPr>
          <p:cNvGrpSpPr/>
          <p:nvPr/>
        </p:nvGrpSpPr>
        <p:grpSpPr>
          <a:xfrm>
            <a:off x="3670412" y="4461423"/>
            <a:ext cx="360000" cy="360000"/>
            <a:chOff x="3749617" y="4778145"/>
            <a:chExt cx="360000" cy="360000"/>
          </a:xfrm>
        </p:grpSpPr>
        <p:sp>
          <p:nvSpPr>
            <p:cNvPr id="488" name="Полилиния 487">
              <a:extLst>
                <a:ext uri="{FF2B5EF4-FFF2-40B4-BE49-F238E27FC236}">
                  <a16:creationId xmlns:a16="http://schemas.microsoft.com/office/drawing/2014/main" id="{091FC5C8-CC14-E140-8254-D23F24B40086}"/>
                </a:ext>
              </a:extLst>
            </p:cNvPr>
            <p:cNvSpPr/>
            <p:nvPr/>
          </p:nvSpPr>
          <p:spPr>
            <a:xfrm>
              <a:off x="3749617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9" name="Полилиния 488">
              <a:extLst>
                <a:ext uri="{FF2B5EF4-FFF2-40B4-BE49-F238E27FC236}">
                  <a16:creationId xmlns:a16="http://schemas.microsoft.com/office/drawing/2014/main" id="{254339F4-F515-FE46-B9D5-7A7A30F5AD31}"/>
                </a:ext>
              </a:extLst>
            </p:cNvPr>
            <p:cNvSpPr/>
            <p:nvPr/>
          </p:nvSpPr>
          <p:spPr>
            <a:xfrm>
              <a:off x="3779617" y="4808145"/>
              <a:ext cx="300000" cy="300000"/>
            </a:xfrm>
            <a:custGeom>
              <a:avLst/>
              <a:gdLst>
                <a:gd name="connsiteX0" fmla="*/ 150000 w 300000"/>
                <a:gd name="connsiteY0" fmla="*/ 300000 h 300000"/>
                <a:gd name="connsiteX1" fmla="*/ 0 w 300000"/>
                <a:gd name="connsiteY1" fmla="*/ 150000 h 300000"/>
                <a:gd name="connsiteX2" fmla="*/ 150000 w 300000"/>
                <a:gd name="connsiteY2" fmla="*/ 0 h 300000"/>
                <a:gd name="connsiteX3" fmla="*/ 300000 w 300000"/>
                <a:gd name="connsiteY3" fmla="*/ 150000 h 300000"/>
                <a:gd name="connsiteX4" fmla="*/ 150000 w 300000"/>
                <a:gd name="connsiteY4" fmla="*/ 300000 h 300000"/>
                <a:gd name="connsiteX5" fmla="*/ 144209 w 300000"/>
                <a:gd name="connsiteY5" fmla="*/ 168195 h 300000"/>
                <a:gd name="connsiteX6" fmla="*/ 118886 w 300000"/>
                <a:gd name="connsiteY6" fmla="*/ 172305 h 300000"/>
                <a:gd name="connsiteX7" fmla="*/ 93564 w 300000"/>
                <a:gd name="connsiteY7" fmla="*/ 176414 h 300000"/>
                <a:gd name="connsiteX8" fmla="*/ 70899 w 300000"/>
                <a:gd name="connsiteY8" fmla="*/ 199079 h 300000"/>
                <a:gd name="connsiteX9" fmla="*/ 69087 w 300000"/>
                <a:gd name="connsiteY9" fmla="*/ 202011 h 300000"/>
                <a:gd name="connsiteX10" fmla="*/ 73830 w 300000"/>
                <a:gd name="connsiteY10" fmla="*/ 211497 h 300000"/>
                <a:gd name="connsiteX11" fmla="*/ 94138 w 300000"/>
                <a:gd name="connsiteY11" fmla="*/ 218267 h 300000"/>
                <a:gd name="connsiteX12" fmla="*/ 149675 w 300000"/>
                <a:gd name="connsiteY12" fmla="*/ 205157 h 300000"/>
                <a:gd name="connsiteX13" fmla="*/ 209663 w 300000"/>
                <a:gd name="connsiteY13" fmla="*/ 145169 h 300000"/>
                <a:gd name="connsiteX14" fmla="*/ 217881 w 300000"/>
                <a:gd name="connsiteY14" fmla="*/ 94523 h 300000"/>
                <a:gd name="connsiteX15" fmla="*/ 208392 w 300000"/>
                <a:gd name="connsiteY15" fmla="*/ 75546 h 300000"/>
                <a:gd name="connsiteX16" fmla="*/ 206988 w 300000"/>
                <a:gd name="connsiteY16" fmla="*/ 73597 h 300000"/>
                <a:gd name="connsiteX17" fmla="*/ 196382 w 300000"/>
                <a:gd name="connsiteY17" fmla="*/ 73597 h 300000"/>
                <a:gd name="connsiteX18" fmla="*/ 172493 w 300000"/>
                <a:gd name="connsiteY18" fmla="*/ 97485 h 300000"/>
                <a:gd name="connsiteX19" fmla="*/ 168384 w 300000"/>
                <a:gd name="connsiteY19" fmla="*/ 122808 h 300000"/>
                <a:gd name="connsiteX20" fmla="*/ 164274 w 300000"/>
                <a:gd name="connsiteY20" fmla="*/ 148130 h 300000"/>
                <a:gd name="connsiteX21" fmla="*/ 144209 w 300000"/>
                <a:gd name="connsiteY21" fmla="*/ 168195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00000" h="300000">
                  <a:moveTo>
                    <a:pt x="150000" y="300000"/>
                  </a:moveTo>
                  <a:cubicBezTo>
                    <a:pt x="67157" y="300000"/>
                    <a:pt x="0" y="232842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2" y="0"/>
                    <a:pt x="300000" y="67157"/>
                    <a:pt x="300000" y="150000"/>
                  </a:cubicBezTo>
                  <a:cubicBezTo>
                    <a:pt x="300000" y="232842"/>
                    <a:pt x="232842" y="300000"/>
                    <a:pt x="150000" y="300000"/>
                  </a:cubicBezTo>
                  <a:close/>
                  <a:moveTo>
                    <a:pt x="144209" y="168195"/>
                  </a:moveTo>
                  <a:cubicBezTo>
                    <a:pt x="137532" y="174873"/>
                    <a:pt x="127332" y="176528"/>
                    <a:pt x="118886" y="172305"/>
                  </a:cubicBezTo>
                  <a:cubicBezTo>
                    <a:pt x="110441" y="168083"/>
                    <a:pt x="100241" y="169737"/>
                    <a:pt x="93564" y="176414"/>
                  </a:cubicBezTo>
                  <a:lnTo>
                    <a:pt x="70899" y="199079"/>
                  </a:lnTo>
                  <a:cubicBezTo>
                    <a:pt x="70075" y="199902"/>
                    <a:pt x="69455" y="200906"/>
                    <a:pt x="69087" y="202011"/>
                  </a:cubicBezTo>
                  <a:cubicBezTo>
                    <a:pt x="67777" y="205941"/>
                    <a:pt x="69901" y="210188"/>
                    <a:pt x="73830" y="211497"/>
                  </a:cubicBezTo>
                  <a:lnTo>
                    <a:pt x="94138" y="218267"/>
                  </a:lnTo>
                  <a:cubicBezTo>
                    <a:pt x="113639" y="224768"/>
                    <a:pt x="135140" y="219691"/>
                    <a:pt x="149675" y="205157"/>
                  </a:cubicBezTo>
                  <a:lnTo>
                    <a:pt x="209663" y="145169"/>
                  </a:lnTo>
                  <a:cubicBezTo>
                    <a:pt x="223017" y="131814"/>
                    <a:pt x="226327" y="111414"/>
                    <a:pt x="217881" y="94523"/>
                  </a:cubicBezTo>
                  <a:lnTo>
                    <a:pt x="208392" y="75546"/>
                  </a:lnTo>
                  <a:cubicBezTo>
                    <a:pt x="208032" y="74825"/>
                    <a:pt x="207558" y="74167"/>
                    <a:pt x="206988" y="73597"/>
                  </a:cubicBezTo>
                  <a:cubicBezTo>
                    <a:pt x="204059" y="70668"/>
                    <a:pt x="199310" y="70668"/>
                    <a:pt x="196382" y="73597"/>
                  </a:cubicBezTo>
                  <a:lnTo>
                    <a:pt x="172493" y="97485"/>
                  </a:lnTo>
                  <a:cubicBezTo>
                    <a:pt x="165816" y="104162"/>
                    <a:pt x="164162" y="114362"/>
                    <a:pt x="168384" y="122808"/>
                  </a:cubicBezTo>
                  <a:cubicBezTo>
                    <a:pt x="172607" y="131253"/>
                    <a:pt x="170952" y="141453"/>
                    <a:pt x="164274" y="148130"/>
                  </a:cubicBezTo>
                  <a:lnTo>
                    <a:pt x="144209" y="168195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90" name="Рисунок 104">
            <a:extLst>
              <a:ext uri="{FF2B5EF4-FFF2-40B4-BE49-F238E27FC236}">
                <a16:creationId xmlns:a16="http://schemas.microsoft.com/office/drawing/2014/main" id="{4C1D8918-FE8B-1841-AFC7-908A9F718920}"/>
              </a:ext>
            </a:extLst>
          </p:cNvPr>
          <p:cNvGrpSpPr/>
          <p:nvPr/>
        </p:nvGrpSpPr>
        <p:grpSpPr>
          <a:xfrm>
            <a:off x="2164108" y="4461423"/>
            <a:ext cx="360000" cy="360000"/>
            <a:chOff x="2243313" y="4778145"/>
            <a:chExt cx="360000" cy="360000"/>
          </a:xfrm>
        </p:grpSpPr>
        <p:sp>
          <p:nvSpPr>
            <p:cNvPr id="491" name="Полилиния 490">
              <a:extLst>
                <a:ext uri="{FF2B5EF4-FFF2-40B4-BE49-F238E27FC236}">
                  <a16:creationId xmlns:a16="http://schemas.microsoft.com/office/drawing/2014/main" id="{F803B26B-BBD3-9845-9A53-A2395AB22923}"/>
                </a:ext>
              </a:extLst>
            </p:cNvPr>
            <p:cNvSpPr/>
            <p:nvPr/>
          </p:nvSpPr>
          <p:spPr>
            <a:xfrm>
              <a:off x="224331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2" name="Полилиния 491">
              <a:extLst>
                <a:ext uri="{FF2B5EF4-FFF2-40B4-BE49-F238E27FC236}">
                  <a16:creationId xmlns:a16="http://schemas.microsoft.com/office/drawing/2014/main" id="{324F0F90-E17A-8C41-8422-72AEC75E08DC}"/>
                </a:ext>
              </a:extLst>
            </p:cNvPr>
            <p:cNvSpPr/>
            <p:nvPr/>
          </p:nvSpPr>
          <p:spPr>
            <a:xfrm>
              <a:off x="2288313" y="4883145"/>
              <a:ext cx="270000" cy="180000"/>
            </a:xfrm>
            <a:custGeom>
              <a:avLst/>
              <a:gdLst>
                <a:gd name="connsiteX0" fmla="*/ 30000 w 270000"/>
                <a:gd name="connsiteY0" fmla="*/ 0 h 180000"/>
                <a:gd name="connsiteX1" fmla="*/ 240000 w 270000"/>
                <a:gd name="connsiteY1" fmla="*/ 0 h 180000"/>
                <a:gd name="connsiteX2" fmla="*/ 270000 w 270000"/>
                <a:gd name="connsiteY2" fmla="*/ 30000 h 180000"/>
                <a:gd name="connsiteX3" fmla="*/ 270000 w 270000"/>
                <a:gd name="connsiteY3" fmla="*/ 150000 h 180000"/>
                <a:gd name="connsiteX4" fmla="*/ 240000 w 270000"/>
                <a:gd name="connsiteY4" fmla="*/ 180000 h 180000"/>
                <a:gd name="connsiteX5" fmla="*/ 30000 w 270000"/>
                <a:gd name="connsiteY5" fmla="*/ 180000 h 180000"/>
                <a:gd name="connsiteX6" fmla="*/ 0 w 270000"/>
                <a:gd name="connsiteY6" fmla="*/ 150000 h 180000"/>
                <a:gd name="connsiteX7" fmla="*/ 0 w 270000"/>
                <a:gd name="connsiteY7" fmla="*/ 30000 h 180000"/>
                <a:gd name="connsiteX8" fmla="*/ 30000 w 270000"/>
                <a:gd name="connsiteY8" fmla="*/ 0 h 180000"/>
                <a:gd name="connsiteX9" fmla="*/ 135000 w 270000"/>
                <a:gd name="connsiteY9" fmla="*/ 150000 h 180000"/>
                <a:gd name="connsiteX10" fmla="*/ 195000 w 270000"/>
                <a:gd name="connsiteY10" fmla="*/ 90000 h 180000"/>
                <a:gd name="connsiteX11" fmla="*/ 135000 w 270000"/>
                <a:gd name="connsiteY11" fmla="*/ 30000 h 180000"/>
                <a:gd name="connsiteX12" fmla="*/ 75000 w 270000"/>
                <a:gd name="connsiteY12" fmla="*/ 90000 h 180000"/>
                <a:gd name="connsiteX13" fmla="*/ 135000 w 270000"/>
                <a:gd name="connsiteY13" fmla="*/ 15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0000" h="180000">
                  <a:moveTo>
                    <a:pt x="30000" y="0"/>
                  </a:move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50000"/>
                  </a:lnTo>
                  <a:cubicBezTo>
                    <a:pt x="270000" y="166569"/>
                    <a:pt x="256569" y="180000"/>
                    <a:pt x="240000" y="180000"/>
                  </a:cubicBezTo>
                  <a:lnTo>
                    <a:pt x="30000" y="180000"/>
                  </a:lnTo>
                  <a:cubicBezTo>
                    <a:pt x="13431" y="180000"/>
                    <a:pt x="0" y="166569"/>
                    <a:pt x="0" y="15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135000" y="150000"/>
                  </a:moveTo>
                  <a:cubicBezTo>
                    <a:pt x="168137" y="150000"/>
                    <a:pt x="195000" y="123137"/>
                    <a:pt x="195000" y="90000"/>
                  </a:cubicBezTo>
                  <a:cubicBezTo>
                    <a:pt x="195000" y="56864"/>
                    <a:pt x="168137" y="30000"/>
                    <a:pt x="135000" y="30000"/>
                  </a:cubicBezTo>
                  <a:cubicBezTo>
                    <a:pt x="101863" y="30000"/>
                    <a:pt x="75000" y="56864"/>
                    <a:pt x="75000" y="90000"/>
                  </a:cubicBezTo>
                  <a:cubicBezTo>
                    <a:pt x="75000" y="123137"/>
                    <a:pt x="101863" y="150000"/>
                    <a:pt x="135000" y="15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3" name="Скругленный прямоугольник 492">
              <a:extLst>
                <a:ext uri="{FF2B5EF4-FFF2-40B4-BE49-F238E27FC236}">
                  <a16:creationId xmlns:a16="http://schemas.microsoft.com/office/drawing/2014/main" id="{14FB53BC-0405-DC48-A948-3E50FC702C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78312" y="4828452"/>
              <a:ext cx="90000" cy="300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4" name="Полилиния 493">
              <a:extLst>
                <a:ext uri="{FF2B5EF4-FFF2-40B4-BE49-F238E27FC236}">
                  <a16:creationId xmlns:a16="http://schemas.microsoft.com/office/drawing/2014/main" id="{463BA4F9-F5E1-AD46-9907-A2099B6167CD}"/>
                </a:ext>
              </a:extLst>
            </p:cNvPr>
            <p:cNvSpPr/>
            <p:nvPr/>
          </p:nvSpPr>
          <p:spPr>
            <a:xfrm>
              <a:off x="2393313" y="4943145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95" name="Рисунок 105">
            <a:extLst>
              <a:ext uri="{FF2B5EF4-FFF2-40B4-BE49-F238E27FC236}">
                <a16:creationId xmlns:a16="http://schemas.microsoft.com/office/drawing/2014/main" id="{41C3E262-CF90-D047-841D-0FC625FF73DA}"/>
              </a:ext>
            </a:extLst>
          </p:cNvPr>
          <p:cNvGrpSpPr/>
          <p:nvPr/>
        </p:nvGrpSpPr>
        <p:grpSpPr>
          <a:xfrm>
            <a:off x="1410956" y="4461423"/>
            <a:ext cx="360000" cy="360000"/>
            <a:chOff x="1490161" y="4778145"/>
            <a:chExt cx="360000" cy="360000"/>
          </a:xfrm>
        </p:grpSpPr>
        <p:sp>
          <p:nvSpPr>
            <p:cNvPr id="496" name="Полилиния 495">
              <a:extLst>
                <a:ext uri="{FF2B5EF4-FFF2-40B4-BE49-F238E27FC236}">
                  <a16:creationId xmlns:a16="http://schemas.microsoft.com/office/drawing/2014/main" id="{5EF31B42-3CB5-C74A-A256-102B8A0FAAE9}"/>
                </a:ext>
              </a:extLst>
            </p:cNvPr>
            <p:cNvSpPr/>
            <p:nvPr/>
          </p:nvSpPr>
          <p:spPr>
            <a:xfrm>
              <a:off x="1490161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7" name="Полилиния 496">
              <a:extLst>
                <a:ext uri="{FF2B5EF4-FFF2-40B4-BE49-F238E27FC236}">
                  <a16:creationId xmlns:a16="http://schemas.microsoft.com/office/drawing/2014/main" id="{457072AE-EC1C-6C46-B45D-D0818F721F2E}"/>
                </a:ext>
              </a:extLst>
            </p:cNvPr>
            <p:cNvSpPr/>
            <p:nvPr/>
          </p:nvSpPr>
          <p:spPr>
            <a:xfrm>
              <a:off x="1700161" y="4848645"/>
              <a:ext cx="45000" cy="45000"/>
            </a:xfrm>
            <a:custGeom>
              <a:avLst/>
              <a:gdLst>
                <a:gd name="connsiteX0" fmla="*/ 22500 w 45000"/>
                <a:gd name="connsiteY0" fmla="*/ 0 h 45000"/>
                <a:gd name="connsiteX1" fmla="*/ 45000 w 45000"/>
                <a:gd name="connsiteY1" fmla="*/ 0 h 45000"/>
                <a:gd name="connsiteX2" fmla="*/ 45000 w 45000"/>
                <a:gd name="connsiteY2" fmla="*/ 45000 h 45000"/>
                <a:gd name="connsiteX3" fmla="*/ 22500 w 45000"/>
                <a:gd name="connsiteY3" fmla="*/ 45000 h 45000"/>
                <a:gd name="connsiteX4" fmla="*/ 22500 w 45000"/>
                <a:gd name="connsiteY4" fmla="*/ 45000 h 45000"/>
                <a:gd name="connsiteX5" fmla="*/ 0 w 45000"/>
                <a:gd name="connsiteY5" fmla="*/ 45000 h 45000"/>
                <a:gd name="connsiteX6" fmla="*/ 0 w 45000"/>
                <a:gd name="connsiteY6" fmla="*/ 0 h 45000"/>
                <a:gd name="connsiteX7" fmla="*/ 22500 w 45000"/>
                <a:gd name="connsiteY7" fmla="*/ 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000" h="45000">
                  <a:moveTo>
                    <a:pt x="22500" y="0"/>
                  </a:moveTo>
                  <a:cubicBezTo>
                    <a:pt x="34926" y="0"/>
                    <a:pt x="45000" y="0"/>
                    <a:pt x="45000" y="0"/>
                  </a:cubicBezTo>
                  <a:lnTo>
                    <a:pt x="45000" y="45000"/>
                  </a:lnTo>
                  <a:cubicBezTo>
                    <a:pt x="45000" y="45000"/>
                    <a:pt x="34926" y="45000"/>
                    <a:pt x="22500" y="45000"/>
                  </a:cubicBezTo>
                  <a:lnTo>
                    <a:pt x="22500" y="45000"/>
                  </a:lnTo>
                  <a:cubicBezTo>
                    <a:pt x="10074" y="45000"/>
                    <a:pt x="0" y="45000"/>
                    <a:pt x="0" y="45000"/>
                  </a:cubicBezTo>
                  <a:lnTo>
                    <a:pt x="0" y="0"/>
                  </a:lnTo>
                  <a:cubicBezTo>
                    <a:pt x="0" y="0"/>
                    <a:pt x="10074" y="0"/>
                    <a:pt x="22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8" name="Полилиния 497">
              <a:extLst>
                <a:ext uri="{FF2B5EF4-FFF2-40B4-BE49-F238E27FC236}">
                  <a16:creationId xmlns:a16="http://schemas.microsoft.com/office/drawing/2014/main" id="{CD55E640-B962-6642-BC40-73299C8ED388}"/>
                </a:ext>
              </a:extLst>
            </p:cNvPr>
            <p:cNvSpPr/>
            <p:nvPr/>
          </p:nvSpPr>
          <p:spPr>
            <a:xfrm>
              <a:off x="1490161" y="4868145"/>
              <a:ext cx="359999" cy="165000"/>
            </a:xfrm>
            <a:custGeom>
              <a:avLst/>
              <a:gdLst>
                <a:gd name="connsiteX0" fmla="*/ 102416 w 359999"/>
                <a:gd name="connsiteY0" fmla="*/ 135000 h 165000"/>
                <a:gd name="connsiteX1" fmla="*/ 102273 w 359999"/>
                <a:gd name="connsiteY1" fmla="*/ 128864 h 165000"/>
                <a:gd name="connsiteX2" fmla="*/ 231137 w 359999"/>
                <a:gd name="connsiteY2" fmla="*/ 0 h 165000"/>
                <a:gd name="connsiteX3" fmla="*/ 349434 w 359999"/>
                <a:gd name="connsiteY3" fmla="*/ 77678 h 165000"/>
                <a:gd name="connsiteX4" fmla="*/ 315000 w 359999"/>
                <a:gd name="connsiteY4" fmla="*/ 120000 h 165000"/>
                <a:gd name="connsiteX5" fmla="*/ 359700 w 359999"/>
                <a:gd name="connsiteY5" fmla="*/ 120000 h 165000"/>
                <a:gd name="connsiteX6" fmla="*/ 360000 w 359999"/>
                <a:gd name="connsiteY6" fmla="*/ 128864 h 165000"/>
                <a:gd name="connsiteX7" fmla="*/ 359856 w 359999"/>
                <a:gd name="connsiteY7" fmla="*/ 135000 h 165000"/>
                <a:gd name="connsiteX8" fmla="*/ 360000 w 359999"/>
                <a:gd name="connsiteY8" fmla="*/ 135000 h 165000"/>
                <a:gd name="connsiteX9" fmla="*/ 360000 w 359999"/>
                <a:gd name="connsiteY9" fmla="*/ 157500 h 165000"/>
                <a:gd name="connsiteX10" fmla="*/ 352500 w 359999"/>
                <a:gd name="connsiteY10" fmla="*/ 165000 h 165000"/>
                <a:gd name="connsiteX11" fmla="*/ 15000 w 359999"/>
                <a:gd name="connsiteY11" fmla="*/ 165000 h 165000"/>
                <a:gd name="connsiteX12" fmla="*/ 0 w 359999"/>
                <a:gd name="connsiteY12" fmla="*/ 150000 h 165000"/>
                <a:gd name="connsiteX13" fmla="*/ 15000 w 359999"/>
                <a:gd name="connsiteY13" fmla="*/ 135000 h 165000"/>
                <a:gd name="connsiteX14" fmla="*/ 102416 w 359999"/>
                <a:gd name="connsiteY14" fmla="*/ 135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9999" h="165000">
                  <a:moveTo>
                    <a:pt x="102416" y="135000"/>
                  </a:moveTo>
                  <a:cubicBezTo>
                    <a:pt x="102321" y="132966"/>
                    <a:pt x="102273" y="130920"/>
                    <a:pt x="102273" y="128864"/>
                  </a:cubicBezTo>
                  <a:cubicBezTo>
                    <a:pt x="102273" y="57694"/>
                    <a:pt x="159968" y="0"/>
                    <a:pt x="231137" y="0"/>
                  </a:cubicBezTo>
                  <a:cubicBezTo>
                    <a:pt x="284118" y="0"/>
                    <a:pt x="329631" y="31974"/>
                    <a:pt x="349434" y="77678"/>
                  </a:cubicBezTo>
                  <a:cubicBezTo>
                    <a:pt x="326478" y="84898"/>
                    <a:pt x="315000" y="99006"/>
                    <a:pt x="315000" y="120000"/>
                  </a:cubicBezTo>
                  <a:cubicBezTo>
                    <a:pt x="315000" y="120000"/>
                    <a:pt x="329900" y="120000"/>
                    <a:pt x="359700" y="120000"/>
                  </a:cubicBezTo>
                  <a:cubicBezTo>
                    <a:pt x="359900" y="122930"/>
                    <a:pt x="360000" y="125884"/>
                    <a:pt x="360000" y="128864"/>
                  </a:cubicBezTo>
                  <a:cubicBezTo>
                    <a:pt x="360000" y="130920"/>
                    <a:pt x="359952" y="132966"/>
                    <a:pt x="359856" y="135000"/>
                  </a:cubicBezTo>
                  <a:lnTo>
                    <a:pt x="360000" y="135000"/>
                  </a:lnTo>
                  <a:lnTo>
                    <a:pt x="360000" y="157500"/>
                  </a:lnTo>
                  <a:cubicBezTo>
                    <a:pt x="360000" y="161642"/>
                    <a:pt x="356642" y="165000"/>
                    <a:pt x="352500" y="165000"/>
                  </a:cubicBezTo>
                  <a:lnTo>
                    <a:pt x="15000" y="165000"/>
                  </a:lnTo>
                  <a:cubicBezTo>
                    <a:pt x="6716" y="165000"/>
                    <a:pt x="0" y="158285"/>
                    <a:pt x="0" y="150000"/>
                  </a:cubicBezTo>
                  <a:cubicBezTo>
                    <a:pt x="0" y="141716"/>
                    <a:pt x="6716" y="135000"/>
                    <a:pt x="15000" y="135000"/>
                  </a:cubicBezTo>
                  <a:lnTo>
                    <a:pt x="102416" y="135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99" name="Рисунок 106">
            <a:extLst>
              <a:ext uri="{FF2B5EF4-FFF2-40B4-BE49-F238E27FC236}">
                <a16:creationId xmlns:a16="http://schemas.microsoft.com/office/drawing/2014/main" id="{BEFEB6B9-BB3F-A848-8402-C7F7A1417AE7}"/>
              </a:ext>
            </a:extLst>
          </p:cNvPr>
          <p:cNvGrpSpPr/>
          <p:nvPr/>
        </p:nvGrpSpPr>
        <p:grpSpPr>
          <a:xfrm>
            <a:off x="657804" y="4461423"/>
            <a:ext cx="360000" cy="360000"/>
            <a:chOff x="737009" y="4778145"/>
            <a:chExt cx="360000" cy="360000"/>
          </a:xfrm>
        </p:grpSpPr>
        <p:sp>
          <p:nvSpPr>
            <p:cNvPr id="500" name="Полилиния 499">
              <a:extLst>
                <a:ext uri="{FF2B5EF4-FFF2-40B4-BE49-F238E27FC236}">
                  <a16:creationId xmlns:a16="http://schemas.microsoft.com/office/drawing/2014/main" id="{C14D2A7B-2E3F-674A-822E-354730642054}"/>
                </a:ext>
              </a:extLst>
            </p:cNvPr>
            <p:cNvSpPr/>
            <p:nvPr/>
          </p:nvSpPr>
          <p:spPr>
            <a:xfrm>
              <a:off x="737009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1" name="Полилиния 500">
              <a:extLst>
                <a:ext uri="{FF2B5EF4-FFF2-40B4-BE49-F238E27FC236}">
                  <a16:creationId xmlns:a16="http://schemas.microsoft.com/office/drawing/2014/main" id="{A30302BE-F1DE-2641-9F65-22CAFAF80FDF}"/>
                </a:ext>
              </a:extLst>
            </p:cNvPr>
            <p:cNvSpPr/>
            <p:nvPr/>
          </p:nvSpPr>
          <p:spPr>
            <a:xfrm>
              <a:off x="797009" y="4838145"/>
              <a:ext cx="240000" cy="225000"/>
            </a:xfrm>
            <a:custGeom>
              <a:avLst/>
              <a:gdLst>
                <a:gd name="connsiteX0" fmla="*/ 135000 w 240000"/>
                <a:gd name="connsiteY0" fmla="*/ 225000 h 225000"/>
                <a:gd name="connsiteX1" fmla="*/ 135000 w 240000"/>
                <a:gd name="connsiteY1" fmla="*/ 178500 h 225000"/>
                <a:gd name="connsiteX2" fmla="*/ 195000 w 240000"/>
                <a:gd name="connsiteY2" fmla="*/ 105000 h 225000"/>
                <a:gd name="connsiteX3" fmla="*/ 120000 w 240000"/>
                <a:gd name="connsiteY3" fmla="*/ 30000 h 225000"/>
                <a:gd name="connsiteX4" fmla="*/ 45000 w 240000"/>
                <a:gd name="connsiteY4" fmla="*/ 105000 h 225000"/>
                <a:gd name="connsiteX5" fmla="*/ 105000 w 240000"/>
                <a:gd name="connsiteY5" fmla="*/ 178500 h 225000"/>
                <a:gd name="connsiteX6" fmla="*/ 105000 w 240000"/>
                <a:gd name="connsiteY6" fmla="*/ 225000 h 225000"/>
                <a:gd name="connsiteX7" fmla="*/ 0 w 240000"/>
                <a:gd name="connsiteY7" fmla="*/ 225000 h 225000"/>
                <a:gd name="connsiteX8" fmla="*/ 0 w 240000"/>
                <a:gd name="connsiteY8" fmla="*/ 0 h 225000"/>
                <a:gd name="connsiteX9" fmla="*/ 240000 w 240000"/>
                <a:gd name="connsiteY9" fmla="*/ 0 h 225000"/>
                <a:gd name="connsiteX10" fmla="*/ 240000 w 240000"/>
                <a:gd name="connsiteY10" fmla="*/ 225000 h 225000"/>
                <a:gd name="connsiteX11" fmla="*/ 135000 w 240000"/>
                <a:gd name="connsiteY11" fmla="*/ 225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0000" h="225000">
                  <a:moveTo>
                    <a:pt x="135000" y="225000"/>
                  </a:moveTo>
                  <a:lnTo>
                    <a:pt x="135000" y="178500"/>
                  </a:lnTo>
                  <a:cubicBezTo>
                    <a:pt x="169233" y="171551"/>
                    <a:pt x="195000" y="141285"/>
                    <a:pt x="195000" y="105000"/>
                  </a:cubicBezTo>
                  <a:cubicBezTo>
                    <a:pt x="195000" y="63579"/>
                    <a:pt x="161421" y="30000"/>
                    <a:pt x="120000" y="30000"/>
                  </a:cubicBezTo>
                  <a:cubicBezTo>
                    <a:pt x="78579" y="30000"/>
                    <a:pt x="45000" y="63579"/>
                    <a:pt x="45000" y="105000"/>
                  </a:cubicBezTo>
                  <a:cubicBezTo>
                    <a:pt x="45000" y="141285"/>
                    <a:pt x="70766" y="171551"/>
                    <a:pt x="105000" y="178500"/>
                  </a:cubicBezTo>
                  <a:lnTo>
                    <a:pt x="105000" y="225000"/>
                  </a:lnTo>
                  <a:lnTo>
                    <a:pt x="0" y="225000"/>
                  </a:lnTo>
                  <a:lnTo>
                    <a:pt x="0" y="0"/>
                  </a:lnTo>
                  <a:lnTo>
                    <a:pt x="240000" y="0"/>
                  </a:lnTo>
                  <a:lnTo>
                    <a:pt x="240000" y="225000"/>
                  </a:lnTo>
                  <a:lnTo>
                    <a:pt x="135000" y="225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2" name="Полилиния 501">
              <a:extLst>
                <a:ext uri="{FF2B5EF4-FFF2-40B4-BE49-F238E27FC236}">
                  <a16:creationId xmlns:a16="http://schemas.microsoft.com/office/drawing/2014/main" id="{B4970D70-09FD-9046-8082-F7582B0C575E}"/>
                </a:ext>
              </a:extLst>
            </p:cNvPr>
            <p:cNvSpPr/>
            <p:nvPr/>
          </p:nvSpPr>
          <p:spPr>
            <a:xfrm>
              <a:off x="887009" y="4913145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03" name="Рисунок 107">
            <a:extLst>
              <a:ext uri="{FF2B5EF4-FFF2-40B4-BE49-F238E27FC236}">
                <a16:creationId xmlns:a16="http://schemas.microsoft.com/office/drawing/2014/main" id="{E31CED67-C3FE-4040-908D-F46E1447E811}"/>
              </a:ext>
            </a:extLst>
          </p:cNvPr>
          <p:cNvGrpSpPr/>
          <p:nvPr/>
        </p:nvGrpSpPr>
        <p:grpSpPr>
          <a:xfrm>
            <a:off x="11261933" y="3863369"/>
            <a:ext cx="240000" cy="210000"/>
            <a:chOff x="11341138" y="4180091"/>
            <a:chExt cx="240000" cy="210000"/>
          </a:xfrm>
        </p:grpSpPr>
        <p:sp>
          <p:nvSpPr>
            <p:cNvPr id="504" name="Полилиния 503">
              <a:extLst>
                <a:ext uri="{FF2B5EF4-FFF2-40B4-BE49-F238E27FC236}">
                  <a16:creationId xmlns:a16="http://schemas.microsoft.com/office/drawing/2014/main" id="{FC4E70B7-C8D4-984D-A17F-AE9FEEA86FCE}"/>
                </a:ext>
              </a:extLst>
            </p:cNvPr>
            <p:cNvSpPr/>
            <p:nvPr/>
          </p:nvSpPr>
          <p:spPr>
            <a:xfrm>
              <a:off x="11431138" y="4180091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5" name="Полилиния 504">
              <a:extLst>
                <a:ext uri="{FF2B5EF4-FFF2-40B4-BE49-F238E27FC236}">
                  <a16:creationId xmlns:a16="http://schemas.microsoft.com/office/drawing/2014/main" id="{0B92265F-3FD2-734A-9FFE-99F3B69E1542}"/>
                </a:ext>
              </a:extLst>
            </p:cNvPr>
            <p:cNvSpPr/>
            <p:nvPr/>
          </p:nvSpPr>
          <p:spPr>
            <a:xfrm>
              <a:off x="11341138" y="4210091"/>
              <a:ext cx="240000" cy="180000"/>
            </a:xfrm>
            <a:custGeom>
              <a:avLst/>
              <a:gdLst>
                <a:gd name="connsiteX0" fmla="*/ 105000 w 240000"/>
                <a:gd name="connsiteY0" fmla="*/ 180000 h 180000"/>
                <a:gd name="connsiteX1" fmla="*/ 0 w 240000"/>
                <a:gd name="connsiteY1" fmla="*/ 180000 h 180000"/>
                <a:gd name="connsiteX2" fmla="*/ 0 w 240000"/>
                <a:gd name="connsiteY2" fmla="*/ 0 h 180000"/>
                <a:gd name="connsiteX3" fmla="*/ 45458 w 240000"/>
                <a:gd name="connsiteY3" fmla="*/ 0 h 180000"/>
                <a:gd name="connsiteX4" fmla="*/ 45000 w 240000"/>
                <a:gd name="connsiteY4" fmla="*/ 7500 h 180000"/>
                <a:gd name="connsiteX5" fmla="*/ 105000 w 240000"/>
                <a:gd name="connsiteY5" fmla="*/ 73650 h 180000"/>
                <a:gd name="connsiteX6" fmla="*/ 105000 w 240000"/>
                <a:gd name="connsiteY6" fmla="*/ 180000 h 180000"/>
                <a:gd name="connsiteX7" fmla="*/ 135000 w 240000"/>
                <a:gd name="connsiteY7" fmla="*/ 180000 h 180000"/>
                <a:gd name="connsiteX8" fmla="*/ 135000 w 240000"/>
                <a:gd name="connsiteY8" fmla="*/ 73650 h 180000"/>
                <a:gd name="connsiteX9" fmla="*/ 195000 w 240000"/>
                <a:gd name="connsiteY9" fmla="*/ 7500 h 180000"/>
                <a:gd name="connsiteX10" fmla="*/ 194543 w 240000"/>
                <a:gd name="connsiteY10" fmla="*/ 0 h 180000"/>
                <a:gd name="connsiteX11" fmla="*/ 240000 w 240000"/>
                <a:gd name="connsiteY11" fmla="*/ 0 h 180000"/>
                <a:gd name="connsiteX12" fmla="*/ 240000 w 240000"/>
                <a:gd name="connsiteY12" fmla="*/ 180000 h 180000"/>
                <a:gd name="connsiteX13" fmla="*/ 135000 w 240000"/>
                <a:gd name="connsiteY13" fmla="*/ 18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180000">
                  <a:moveTo>
                    <a:pt x="105000" y="180000"/>
                  </a:moveTo>
                  <a:lnTo>
                    <a:pt x="0" y="180000"/>
                  </a:lnTo>
                  <a:lnTo>
                    <a:pt x="0" y="0"/>
                  </a:lnTo>
                  <a:lnTo>
                    <a:pt x="45458" y="0"/>
                  </a:lnTo>
                  <a:cubicBezTo>
                    <a:pt x="45155" y="2463"/>
                    <a:pt x="45000" y="4965"/>
                    <a:pt x="45000" y="7500"/>
                  </a:cubicBezTo>
                  <a:cubicBezTo>
                    <a:pt x="45000" y="40156"/>
                    <a:pt x="70766" y="67395"/>
                    <a:pt x="105000" y="73650"/>
                  </a:cubicBezTo>
                  <a:lnTo>
                    <a:pt x="105000" y="180000"/>
                  </a:lnTo>
                  <a:close/>
                  <a:moveTo>
                    <a:pt x="135000" y="180000"/>
                  </a:moveTo>
                  <a:lnTo>
                    <a:pt x="135000" y="73650"/>
                  </a:lnTo>
                  <a:cubicBezTo>
                    <a:pt x="169233" y="67395"/>
                    <a:pt x="195000" y="40156"/>
                    <a:pt x="195000" y="7500"/>
                  </a:cubicBezTo>
                  <a:cubicBezTo>
                    <a:pt x="195000" y="4965"/>
                    <a:pt x="194844" y="2463"/>
                    <a:pt x="194543" y="0"/>
                  </a:cubicBezTo>
                  <a:lnTo>
                    <a:pt x="240000" y="0"/>
                  </a:lnTo>
                  <a:lnTo>
                    <a:pt x="240000" y="180000"/>
                  </a:lnTo>
                  <a:lnTo>
                    <a:pt x="135000" y="18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06" name="Рисунок 108">
            <a:extLst>
              <a:ext uri="{FF2B5EF4-FFF2-40B4-BE49-F238E27FC236}">
                <a16:creationId xmlns:a16="http://schemas.microsoft.com/office/drawing/2014/main" id="{56F1113A-F3FC-FD4C-8CD7-FE63C7F27481}"/>
              </a:ext>
            </a:extLst>
          </p:cNvPr>
          <p:cNvGrpSpPr/>
          <p:nvPr/>
        </p:nvGrpSpPr>
        <p:grpSpPr>
          <a:xfrm>
            <a:off x="10448780" y="3788369"/>
            <a:ext cx="360000" cy="360000"/>
            <a:chOff x="10527985" y="4105091"/>
            <a:chExt cx="360000" cy="360000"/>
          </a:xfrm>
        </p:grpSpPr>
        <p:sp>
          <p:nvSpPr>
            <p:cNvPr id="507" name="Полилиния 506">
              <a:extLst>
                <a:ext uri="{FF2B5EF4-FFF2-40B4-BE49-F238E27FC236}">
                  <a16:creationId xmlns:a16="http://schemas.microsoft.com/office/drawing/2014/main" id="{FB678144-B48C-E949-8CE1-C2723A1154B3}"/>
                </a:ext>
              </a:extLst>
            </p:cNvPr>
            <p:cNvSpPr/>
            <p:nvPr/>
          </p:nvSpPr>
          <p:spPr>
            <a:xfrm>
              <a:off x="10527985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8" name="Полилиния 507">
              <a:extLst>
                <a:ext uri="{FF2B5EF4-FFF2-40B4-BE49-F238E27FC236}">
                  <a16:creationId xmlns:a16="http://schemas.microsoft.com/office/drawing/2014/main" id="{CE2F40E0-5EE1-1049-B1DD-F87F0129D1FE}"/>
                </a:ext>
              </a:extLst>
            </p:cNvPr>
            <p:cNvSpPr/>
            <p:nvPr/>
          </p:nvSpPr>
          <p:spPr>
            <a:xfrm>
              <a:off x="10587985" y="4165091"/>
              <a:ext cx="240000" cy="225000"/>
            </a:xfrm>
            <a:custGeom>
              <a:avLst/>
              <a:gdLst>
                <a:gd name="connsiteX0" fmla="*/ 135000 w 240000"/>
                <a:gd name="connsiteY0" fmla="*/ 225000 h 225000"/>
                <a:gd name="connsiteX1" fmla="*/ 135000 w 240000"/>
                <a:gd name="connsiteY1" fmla="*/ 178500 h 225000"/>
                <a:gd name="connsiteX2" fmla="*/ 195000 w 240000"/>
                <a:gd name="connsiteY2" fmla="*/ 105000 h 225000"/>
                <a:gd name="connsiteX3" fmla="*/ 120000 w 240000"/>
                <a:gd name="connsiteY3" fmla="*/ 30000 h 225000"/>
                <a:gd name="connsiteX4" fmla="*/ 45000 w 240000"/>
                <a:gd name="connsiteY4" fmla="*/ 105000 h 225000"/>
                <a:gd name="connsiteX5" fmla="*/ 105000 w 240000"/>
                <a:gd name="connsiteY5" fmla="*/ 178500 h 225000"/>
                <a:gd name="connsiteX6" fmla="*/ 105000 w 240000"/>
                <a:gd name="connsiteY6" fmla="*/ 225000 h 225000"/>
                <a:gd name="connsiteX7" fmla="*/ 0 w 240000"/>
                <a:gd name="connsiteY7" fmla="*/ 225000 h 225000"/>
                <a:gd name="connsiteX8" fmla="*/ 0 w 240000"/>
                <a:gd name="connsiteY8" fmla="*/ 120000 h 225000"/>
                <a:gd name="connsiteX9" fmla="*/ 120000 w 240000"/>
                <a:gd name="connsiteY9" fmla="*/ 0 h 225000"/>
                <a:gd name="connsiteX10" fmla="*/ 240000 w 240000"/>
                <a:gd name="connsiteY10" fmla="*/ 120000 h 225000"/>
                <a:gd name="connsiteX11" fmla="*/ 240000 w 240000"/>
                <a:gd name="connsiteY11" fmla="*/ 225000 h 225000"/>
                <a:gd name="connsiteX12" fmla="*/ 135000 w 240000"/>
                <a:gd name="connsiteY12" fmla="*/ 225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0000" h="225000">
                  <a:moveTo>
                    <a:pt x="135000" y="225000"/>
                  </a:moveTo>
                  <a:lnTo>
                    <a:pt x="135000" y="178500"/>
                  </a:lnTo>
                  <a:cubicBezTo>
                    <a:pt x="169233" y="171551"/>
                    <a:pt x="195000" y="141285"/>
                    <a:pt x="195000" y="105000"/>
                  </a:cubicBezTo>
                  <a:cubicBezTo>
                    <a:pt x="195000" y="63579"/>
                    <a:pt x="161421" y="30000"/>
                    <a:pt x="120000" y="30000"/>
                  </a:cubicBezTo>
                  <a:cubicBezTo>
                    <a:pt x="78579" y="30000"/>
                    <a:pt x="45000" y="63579"/>
                    <a:pt x="45000" y="105000"/>
                  </a:cubicBezTo>
                  <a:cubicBezTo>
                    <a:pt x="45000" y="141285"/>
                    <a:pt x="70766" y="171551"/>
                    <a:pt x="105000" y="178500"/>
                  </a:cubicBezTo>
                  <a:lnTo>
                    <a:pt x="105000" y="225000"/>
                  </a:lnTo>
                  <a:lnTo>
                    <a:pt x="0" y="225000"/>
                  </a:lnTo>
                  <a:lnTo>
                    <a:pt x="0" y="120000"/>
                  </a:lnTo>
                  <a:cubicBezTo>
                    <a:pt x="0" y="53726"/>
                    <a:pt x="53726" y="0"/>
                    <a:pt x="120000" y="0"/>
                  </a:cubicBezTo>
                  <a:cubicBezTo>
                    <a:pt x="186275" y="0"/>
                    <a:pt x="240000" y="53726"/>
                    <a:pt x="240000" y="120000"/>
                  </a:cubicBezTo>
                  <a:lnTo>
                    <a:pt x="240000" y="225000"/>
                  </a:lnTo>
                  <a:lnTo>
                    <a:pt x="135000" y="225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9" name="Полилиния 508">
              <a:extLst>
                <a:ext uri="{FF2B5EF4-FFF2-40B4-BE49-F238E27FC236}">
                  <a16:creationId xmlns:a16="http://schemas.microsoft.com/office/drawing/2014/main" id="{01435D19-BD36-C24B-9191-1E83F3C64654}"/>
                </a:ext>
              </a:extLst>
            </p:cNvPr>
            <p:cNvSpPr/>
            <p:nvPr/>
          </p:nvSpPr>
          <p:spPr>
            <a:xfrm>
              <a:off x="10677985" y="4240091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10" name="Рисунок 109">
            <a:extLst>
              <a:ext uri="{FF2B5EF4-FFF2-40B4-BE49-F238E27FC236}">
                <a16:creationId xmlns:a16="http://schemas.microsoft.com/office/drawing/2014/main" id="{24B0044E-FF2F-EF44-B651-DF1CF8B3F779}"/>
              </a:ext>
            </a:extLst>
          </p:cNvPr>
          <p:cNvGrpSpPr/>
          <p:nvPr/>
        </p:nvGrpSpPr>
        <p:grpSpPr>
          <a:xfrm>
            <a:off x="9695628" y="3788369"/>
            <a:ext cx="360000" cy="360000"/>
            <a:chOff x="9774833" y="4105091"/>
            <a:chExt cx="360000" cy="360000"/>
          </a:xfrm>
        </p:grpSpPr>
        <p:sp>
          <p:nvSpPr>
            <p:cNvPr id="511" name="Полилиния 510">
              <a:extLst>
                <a:ext uri="{FF2B5EF4-FFF2-40B4-BE49-F238E27FC236}">
                  <a16:creationId xmlns:a16="http://schemas.microsoft.com/office/drawing/2014/main" id="{AD1C66DA-6324-554C-A921-BF0C62FBA420}"/>
                </a:ext>
              </a:extLst>
            </p:cNvPr>
            <p:cNvSpPr/>
            <p:nvPr/>
          </p:nvSpPr>
          <p:spPr>
            <a:xfrm>
              <a:off x="9774833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2" name="Полилиния 511">
              <a:extLst>
                <a:ext uri="{FF2B5EF4-FFF2-40B4-BE49-F238E27FC236}">
                  <a16:creationId xmlns:a16="http://schemas.microsoft.com/office/drawing/2014/main" id="{B5230396-B87D-2247-94A6-316374342A77}"/>
                </a:ext>
              </a:extLst>
            </p:cNvPr>
            <p:cNvSpPr/>
            <p:nvPr/>
          </p:nvSpPr>
          <p:spPr>
            <a:xfrm>
              <a:off x="9834833" y="4165091"/>
              <a:ext cx="240000" cy="37500"/>
            </a:xfrm>
            <a:custGeom>
              <a:avLst/>
              <a:gdLst>
                <a:gd name="connsiteX0" fmla="*/ 30000 w 240000"/>
                <a:gd name="connsiteY0" fmla="*/ 0 h 37500"/>
                <a:gd name="connsiteX1" fmla="*/ 210000 w 240000"/>
                <a:gd name="connsiteY1" fmla="*/ 0 h 37500"/>
                <a:gd name="connsiteX2" fmla="*/ 240000 w 240000"/>
                <a:gd name="connsiteY2" fmla="*/ 37500 h 37500"/>
                <a:gd name="connsiteX3" fmla="*/ 0 w 240000"/>
                <a:gd name="connsiteY3" fmla="*/ 37500 h 3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000" h="37500">
                  <a:moveTo>
                    <a:pt x="30000" y="0"/>
                  </a:moveTo>
                  <a:lnTo>
                    <a:pt x="210000" y="0"/>
                  </a:lnTo>
                  <a:lnTo>
                    <a:pt x="240000" y="37500"/>
                  </a:lnTo>
                  <a:lnTo>
                    <a:pt x="0" y="375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3" name="Полилиния 512">
              <a:extLst>
                <a:ext uri="{FF2B5EF4-FFF2-40B4-BE49-F238E27FC236}">
                  <a16:creationId xmlns:a16="http://schemas.microsoft.com/office/drawing/2014/main" id="{10BE8AA0-CCD4-0C4A-BE66-1CDCD7656603}"/>
                </a:ext>
              </a:extLst>
            </p:cNvPr>
            <p:cNvSpPr/>
            <p:nvPr/>
          </p:nvSpPr>
          <p:spPr>
            <a:xfrm>
              <a:off x="9819833" y="4195091"/>
              <a:ext cx="270000" cy="195000"/>
            </a:xfrm>
            <a:custGeom>
              <a:avLst/>
              <a:gdLst>
                <a:gd name="connsiteX0" fmla="*/ 30000 w 270000"/>
                <a:gd name="connsiteY0" fmla="*/ 0 h 195000"/>
                <a:gd name="connsiteX1" fmla="*/ 240000 w 270000"/>
                <a:gd name="connsiteY1" fmla="*/ 0 h 195000"/>
                <a:gd name="connsiteX2" fmla="*/ 270000 w 270000"/>
                <a:gd name="connsiteY2" fmla="*/ 30000 h 195000"/>
                <a:gd name="connsiteX3" fmla="*/ 270000 w 270000"/>
                <a:gd name="connsiteY3" fmla="*/ 165000 h 195000"/>
                <a:gd name="connsiteX4" fmla="*/ 240000 w 270000"/>
                <a:gd name="connsiteY4" fmla="*/ 195000 h 195000"/>
                <a:gd name="connsiteX5" fmla="*/ 195000 w 270000"/>
                <a:gd name="connsiteY5" fmla="*/ 195000 h 195000"/>
                <a:gd name="connsiteX6" fmla="*/ 135000 w 270000"/>
                <a:gd name="connsiteY6" fmla="*/ 165000 h 195000"/>
                <a:gd name="connsiteX7" fmla="*/ 75000 w 270000"/>
                <a:gd name="connsiteY7" fmla="*/ 195000 h 195000"/>
                <a:gd name="connsiteX8" fmla="*/ 30000 w 270000"/>
                <a:gd name="connsiteY8" fmla="*/ 195000 h 195000"/>
                <a:gd name="connsiteX9" fmla="*/ 30000 w 270000"/>
                <a:gd name="connsiteY9" fmla="*/ 195000 h 195000"/>
                <a:gd name="connsiteX10" fmla="*/ 0 w 270000"/>
                <a:gd name="connsiteY10" fmla="*/ 165000 h 195000"/>
                <a:gd name="connsiteX11" fmla="*/ 0 w 270000"/>
                <a:gd name="connsiteY11" fmla="*/ 165000 h 195000"/>
                <a:gd name="connsiteX12" fmla="*/ 0 w 270000"/>
                <a:gd name="connsiteY12" fmla="*/ 30000 h 195000"/>
                <a:gd name="connsiteX13" fmla="*/ 30000 w 270000"/>
                <a:gd name="connsiteY13" fmla="*/ 0 h 195000"/>
                <a:gd name="connsiteX14" fmla="*/ 75000 w 270000"/>
                <a:gd name="connsiteY14" fmla="*/ 120000 h 195000"/>
                <a:gd name="connsiteX15" fmla="*/ 105000 w 270000"/>
                <a:gd name="connsiteY15" fmla="*/ 90000 h 195000"/>
                <a:gd name="connsiteX16" fmla="*/ 75000 w 270000"/>
                <a:gd name="connsiteY16" fmla="*/ 60000 h 195000"/>
                <a:gd name="connsiteX17" fmla="*/ 45000 w 270000"/>
                <a:gd name="connsiteY17" fmla="*/ 90000 h 195000"/>
                <a:gd name="connsiteX18" fmla="*/ 75000 w 270000"/>
                <a:gd name="connsiteY18" fmla="*/ 120000 h 195000"/>
                <a:gd name="connsiteX19" fmla="*/ 195000 w 270000"/>
                <a:gd name="connsiteY19" fmla="*/ 120000 h 195000"/>
                <a:gd name="connsiteX20" fmla="*/ 225000 w 270000"/>
                <a:gd name="connsiteY20" fmla="*/ 90000 h 195000"/>
                <a:gd name="connsiteX21" fmla="*/ 195000 w 270000"/>
                <a:gd name="connsiteY21" fmla="*/ 60000 h 195000"/>
                <a:gd name="connsiteX22" fmla="*/ 165000 w 270000"/>
                <a:gd name="connsiteY22" fmla="*/ 90000 h 195000"/>
                <a:gd name="connsiteX23" fmla="*/ 195000 w 270000"/>
                <a:gd name="connsiteY23" fmla="*/ 1200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0000" h="195000">
                  <a:moveTo>
                    <a:pt x="30000" y="0"/>
                  </a:move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65000"/>
                  </a:lnTo>
                  <a:cubicBezTo>
                    <a:pt x="270000" y="181569"/>
                    <a:pt x="256569" y="195000"/>
                    <a:pt x="240000" y="195000"/>
                  </a:cubicBezTo>
                  <a:cubicBezTo>
                    <a:pt x="217207" y="195000"/>
                    <a:pt x="202207" y="195000"/>
                    <a:pt x="195000" y="195000"/>
                  </a:cubicBezTo>
                  <a:cubicBezTo>
                    <a:pt x="180000" y="195000"/>
                    <a:pt x="172500" y="165000"/>
                    <a:pt x="135000" y="165000"/>
                  </a:cubicBezTo>
                  <a:cubicBezTo>
                    <a:pt x="97500" y="165000"/>
                    <a:pt x="97500" y="195000"/>
                    <a:pt x="75000" y="195000"/>
                  </a:cubicBezTo>
                  <a:cubicBezTo>
                    <a:pt x="64708" y="195000"/>
                    <a:pt x="49708" y="195000"/>
                    <a:pt x="30000" y="195000"/>
                  </a:cubicBezTo>
                  <a:lnTo>
                    <a:pt x="30000" y="195000"/>
                  </a:lnTo>
                  <a:cubicBezTo>
                    <a:pt x="13432" y="195000"/>
                    <a:pt x="0" y="181569"/>
                    <a:pt x="0" y="165000"/>
                  </a:cubicBezTo>
                  <a:cubicBezTo>
                    <a:pt x="0" y="165000"/>
                    <a:pt x="0" y="165000"/>
                    <a:pt x="0" y="165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75000" y="120000"/>
                  </a:moveTo>
                  <a:cubicBezTo>
                    <a:pt x="91569" y="120000"/>
                    <a:pt x="105000" y="106569"/>
                    <a:pt x="105000" y="90000"/>
                  </a:cubicBezTo>
                  <a:cubicBezTo>
                    <a:pt x="105000" y="73431"/>
                    <a:pt x="91569" y="60000"/>
                    <a:pt x="75000" y="60000"/>
                  </a:cubicBezTo>
                  <a:cubicBezTo>
                    <a:pt x="58431" y="60000"/>
                    <a:pt x="45000" y="73431"/>
                    <a:pt x="45000" y="90000"/>
                  </a:cubicBezTo>
                  <a:cubicBezTo>
                    <a:pt x="45000" y="106569"/>
                    <a:pt x="58431" y="120000"/>
                    <a:pt x="75000" y="120000"/>
                  </a:cubicBezTo>
                  <a:close/>
                  <a:moveTo>
                    <a:pt x="195000" y="120000"/>
                  </a:moveTo>
                  <a:cubicBezTo>
                    <a:pt x="211569" y="120000"/>
                    <a:pt x="225000" y="106569"/>
                    <a:pt x="225000" y="90000"/>
                  </a:cubicBezTo>
                  <a:cubicBezTo>
                    <a:pt x="225000" y="73431"/>
                    <a:pt x="211569" y="60000"/>
                    <a:pt x="195000" y="60000"/>
                  </a:cubicBezTo>
                  <a:cubicBezTo>
                    <a:pt x="178431" y="60000"/>
                    <a:pt x="165000" y="73431"/>
                    <a:pt x="165000" y="90000"/>
                  </a:cubicBezTo>
                  <a:cubicBezTo>
                    <a:pt x="165000" y="106569"/>
                    <a:pt x="178431" y="120000"/>
                    <a:pt x="195000" y="12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14" name="Рисунок 110">
            <a:extLst>
              <a:ext uri="{FF2B5EF4-FFF2-40B4-BE49-F238E27FC236}">
                <a16:creationId xmlns:a16="http://schemas.microsoft.com/office/drawing/2014/main" id="{FDF5477D-C759-524F-AED1-CE6BCD154F72}"/>
              </a:ext>
            </a:extLst>
          </p:cNvPr>
          <p:cNvGrpSpPr/>
          <p:nvPr/>
        </p:nvGrpSpPr>
        <p:grpSpPr>
          <a:xfrm>
            <a:off x="8942476" y="3788369"/>
            <a:ext cx="360000" cy="360000"/>
            <a:chOff x="9021681" y="4105091"/>
            <a:chExt cx="360000" cy="360000"/>
          </a:xfrm>
        </p:grpSpPr>
        <p:sp>
          <p:nvSpPr>
            <p:cNvPr id="515" name="Полилиния 514">
              <a:extLst>
                <a:ext uri="{FF2B5EF4-FFF2-40B4-BE49-F238E27FC236}">
                  <a16:creationId xmlns:a16="http://schemas.microsoft.com/office/drawing/2014/main" id="{5A38D636-19A6-FD46-9567-F6BC43DFE519}"/>
                </a:ext>
              </a:extLst>
            </p:cNvPr>
            <p:cNvSpPr/>
            <p:nvPr/>
          </p:nvSpPr>
          <p:spPr>
            <a:xfrm>
              <a:off x="9021681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6" name="Полилиния 515">
              <a:extLst>
                <a:ext uri="{FF2B5EF4-FFF2-40B4-BE49-F238E27FC236}">
                  <a16:creationId xmlns:a16="http://schemas.microsoft.com/office/drawing/2014/main" id="{9599DFA8-BF7F-F049-86FC-3D3AE8208FF7}"/>
                </a:ext>
              </a:extLst>
            </p:cNvPr>
            <p:cNvSpPr/>
            <p:nvPr/>
          </p:nvSpPr>
          <p:spPr>
            <a:xfrm>
              <a:off x="9055687" y="4148151"/>
              <a:ext cx="295993" cy="209906"/>
            </a:xfrm>
            <a:custGeom>
              <a:avLst/>
              <a:gdLst>
                <a:gd name="connsiteX0" fmla="*/ 238162 w 295993"/>
                <a:gd name="connsiteY0" fmla="*/ 134598 h 209906"/>
                <a:gd name="connsiteX1" fmla="*/ 227701 w 295993"/>
                <a:gd name="connsiteY1" fmla="*/ 197370 h 209906"/>
                <a:gd name="connsiteX2" fmla="*/ 227662 w 295993"/>
                <a:gd name="connsiteY2" fmla="*/ 197587 h 209906"/>
                <a:gd name="connsiteX3" fmla="*/ 210222 w 295993"/>
                <a:gd name="connsiteY3" fmla="*/ 209662 h 209906"/>
                <a:gd name="connsiteX4" fmla="*/ 39689 w 295993"/>
                <a:gd name="connsiteY4" fmla="*/ 178656 h 209906"/>
                <a:gd name="connsiteX5" fmla="*/ 27949 w 295993"/>
                <a:gd name="connsiteY5" fmla="*/ 168019 h 209906"/>
                <a:gd name="connsiteX6" fmla="*/ 577 w 295993"/>
                <a:gd name="connsiteY6" fmla="*/ 72217 h 209906"/>
                <a:gd name="connsiteX7" fmla="*/ 0 w 295993"/>
                <a:gd name="connsiteY7" fmla="*/ 68096 h 209906"/>
                <a:gd name="connsiteX8" fmla="*/ 15000 w 295993"/>
                <a:gd name="connsiteY8" fmla="*/ 53096 h 209906"/>
                <a:gd name="connsiteX9" fmla="*/ 220888 w 295993"/>
                <a:gd name="connsiteY9" fmla="*/ 53096 h 209906"/>
                <a:gd name="connsiteX10" fmla="*/ 230086 w 295993"/>
                <a:gd name="connsiteY10" fmla="*/ 13677 h 209906"/>
                <a:gd name="connsiteX11" fmla="*/ 247321 w 295993"/>
                <a:gd name="connsiteY11" fmla="*/ 0 h 209906"/>
                <a:gd name="connsiteX12" fmla="*/ 278295 w 295993"/>
                <a:gd name="connsiteY12" fmla="*/ 0 h 209906"/>
                <a:gd name="connsiteX13" fmla="*/ 295993 w 295993"/>
                <a:gd name="connsiteY13" fmla="*/ 17699 h 209906"/>
                <a:gd name="connsiteX14" fmla="*/ 278295 w 295993"/>
                <a:gd name="connsiteY14" fmla="*/ 35398 h 209906"/>
                <a:gd name="connsiteX15" fmla="*/ 261366 w 295993"/>
                <a:gd name="connsiteY15" fmla="*/ 35398 h 209906"/>
                <a:gd name="connsiteX16" fmla="*/ 238162 w 295993"/>
                <a:gd name="connsiteY16" fmla="*/ 134598 h 209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5993" h="209906">
                  <a:moveTo>
                    <a:pt x="238162" y="134598"/>
                  </a:moveTo>
                  <a:lnTo>
                    <a:pt x="227701" y="197370"/>
                  </a:lnTo>
                  <a:cubicBezTo>
                    <a:pt x="227689" y="197443"/>
                    <a:pt x="227676" y="197515"/>
                    <a:pt x="227662" y="197587"/>
                  </a:cubicBezTo>
                  <a:cubicBezTo>
                    <a:pt x="226180" y="205738"/>
                    <a:pt x="218373" y="211144"/>
                    <a:pt x="210222" y="209662"/>
                  </a:cubicBezTo>
                  <a:lnTo>
                    <a:pt x="39689" y="178656"/>
                  </a:lnTo>
                  <a:cubicBezTo>
                    <a:pt x="34070" y="177634"/>
                    <a:pt x="29518" y="173511"/>
                    <a:pt x="27949" y="168019"/>
                  </a:cubicBezTo>
                  <a:lnTo>
                    <a:pt x="577" y="72217"/>
                  </a:lnTo>
                  <a:cubicBezTo>
                    <a:pt x="194" y="70877"/>
                    <a:pt x="0" y="69490"/>
                    <a:pt x="0" y="68096"/>
                  </a:cubicBezTo>
                  <a:cubicBezTo>
                    <a:pt x="0" y="59812"/>
                    <a:pt x="6716" y="53096"/>
                    <a:pt x="15000" y="53096"/>
                  </a:cubicBezTo>
                  <a:lnTo>
                    <a:pt x="220888" y="53096"/>
                  </a:lnTo>
                  <a:lnTo>
                    <a:pt x="230086" y="13677"/>
                  </a:lnTo>
                  <a:cubicBezTo>
                    <a:pt x="231955" y="5667"/>
                    <a:pt x="239097" y="0"/>
                    <a:pt x="247321" y="0"/>
                  </a:cubicBezTo>
                  <a:lnTo>
                    <a:pt x="278295" y="0"/>
                  </a:lnTo>
                  <a:cubicBezTo>
                    <a:pt x="288069" y="0"/>
                    <a:pt x="295993" y="7924"/>
                    <a:pt x="295993" y="17699"/>
                  </a:cubicBezTo>
                  <a:cubicBezTo>
                    <a:pt x="295993" y="27474"/>
                    <a:pt x="288069" y="35398"/>
                    <a:pt x="278295" y="35398"/>
                  </a:cubicBezTo>
                  <a:lnTo>
                    <a:pt x="261366" y="35398"/>
                  </a:lnTo>
                  <a:lnTo>
                    <a:pt x="238162" y="134598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7" name="Полилиния 516">
              <a:extLst>
                <a:ext uri="{FF2B5EF4-FFF2-40B4-BE49-F238E27FC236}">
                  <a16:creationId xmlns:a16="http://schemas.microsoft.com/office/drawing/2014/main" id="{CCA576B8-CF51-F44A-881E-EE049FC87C9A}"/>
                </a:ext>
              </a:extLst>
            </p:cNvPr>
            <p:cNvSpPr/>
            <p:nvPr/>
          </p:nvSpPr>
          <p:spPr>
            <a:xfrm>
              <a:off x="9096681" y="4375091"/>
              <a:ext cx="180000" cy="45000"/>
            </a:xfrm>
            <a:custGeom>
              <a:avLst/>
              <a:gdLst>
                <a:gd name="connsiteX0" fmla="*/ 22500 w 180000"/>
                <a:gd name="connsiteY0" fmla="*/ 45000 h 45000"/>
                <a:gd name="connsiteX1" fmla="*/ 0 w 180000"/>
                <a:gd name="connsiteY1" fmla="*/ 22500 h 45000"/>
                <a:gd name="connsiteX2" fmla="*/ 22500 w 180000"/>
                <a:gd name="connsiteY2" fmla="*/ 0 h 45000"/>
                <a:gd name="connsiteX3" fmla="*/ 45000 w 180000"/>
                <a:gd name="connsiteY3" fmla="*/ 22500 h 45000"/>
                <a:gd name="connsiteX4" fmla="*/ 22500 w 180000"/>
                <a:gd name="connsiteY4" fmla="*/ 45000 h 45000"/>
                <a:gd name="connsiteX5" fmla="*/ 157500 w 180000"/>
                <a:gd name="connsiteY5" fmla="*/ 45000 h 45000"/>
                <a:gd name="connsiteX6" fmla="*/ 135000 w 180000"/>
                <a:gd name="connsiteY6" fmla="*/ 22500 h 45000"/>
                <a:gd name="connsiteX7" fmla="*/ 157500 w 180000"/>
                <a:gd name="connsiteY7" fmla="*/ 0 h 45000"/>
                <a:gd name="connsiteX8" fmla="*/ 180000 w 180000"/>
                <a:gd name="connsiteY8" fmla="*/ 22500 h 45000"/>
                <a:gd name="connsiteX9" fmla="*/ 157500 w 180000"/>
                <a:gd name="connsiteY9" fmla="*/ 4500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000" h="45000">
                  <a:moveTo>
                    <a:pt x="22500" y="45000"/>
                  </a:move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ubicBezTo>
                    <a:pt x="34926" y="0"/>
                    <a:pt x="45000" y="10074"/>
                    <a:pt x="45000" y="22500"/>
                  </a:cubicBezTo>
                  <a:cubicBezTo>
                    <a:pt x="45000" y="34926"/>
                    <a:pt x="34926" y="45000"/>
                    <a:pt x="22500" y="45000"/>
                  </a:cubicBezTo>
                  <a:close/>
                  <a:moveTo>
                    <a:pt x="157500" y="45000"/>
                  </a:moveTo>
                  <a:cubicBezTo>
                    <a:pt x="145074" y="45000"/>
                    <a:pt x="135000" y="34926"/>
                    <a:pt x="135000" y="22500"/>
                  </a:cubicBezTo>
                  <a:cubicBezTo>
                    <a:pt x="135000" y="10074"/>
                    <a:pt x="145074" y="0"/>
                    <a:pt x="157500" y="0"/>
                  </a:cubicBezTo>
                  <a:cubicBezTo>
                    <a:pt x="169926" y="0"/>
                    <a:pt x="180000" y="10074"/>
                    <a:pt x="180000" y="22500"/>
                  </a:cubicBezTo>
                  <a:cubicBezTo>
                    <a:pt x="180000" y="34926"/>
                    <a:pt x="169926" y="45000"/>
                    <a:pt x="157500" y="45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18" name="Рисунок 111">
            <a:extLst>
              <a:ext uri="{FF2B5EF4-FFF2-40B4-BE49-F238E27FC236}">
                <a16:creationId xmlns:a16="http://schemas.microsoft.com/office/drawing/2014/main" id="{E2FFC6CC-4A72-CA4F-A052-6E9F1BE76D92}"/>
              </a:ext>
            </a:extLst>
          </p:cNvPr>
          <p:cNvGrpSpPr/>
          <p:nvPr/>
        </p:nvGrpSpPr>
        <p:grpSpPr>
          <a:xfrm>
            <a:off x="8189324" y="3788369"/>
            <a:ext cx="360000" cy="360000"/>
            <a:chOff x="8268529" y="4105091"/>
            <a:chExt cx="360000" cy="360000"/>
          </a:xfrm>
        </p:grpSpPr>
        <p:sp>
          <p:nvSpPr>
            <p:cNvPr id="519" name="Полилиния 518">
              <a:extLst>
                <a:ext uri="{FF2B5EF4-FFF2-40B4-BE49-F238E27FC236}">
                  <a16:creationId xmlns:a16="http://schemas.microsoft.com/office/drawing/2014/main" id="{18184ACD-C3B2-C94B-A66E-D63486D2EB81}"/>
                </a:ext>
              </a:extLst>
            </p:cNvPr>
            <p:cNvSpPr/>
            <p:nvPr/>
          </p:nvSpPr>
          <p:spPr>
            <a:xfrm>
              <a:off x="8268529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0" name="Полилиния 519">
              <a:extLst>
                <a:ext uri="{FF2B5EF4-FFF2-40B4-BE49-F238E27FC236}">
                  <a16:creationId xmlns:a16="http://schemas.microsoft.com/office/drawing/2014/main" id="{1DC898A0-500D-0C4F-8B26-C0886A4783C0}"/>
                </a:ext>
              </a:extLst>
            </p:cNvPr>
            <p:cNvSpPr/>
            <p:nvPr/>
          </p:nvSpPr>
          <p:spPr>
            <a:xfrm>
              <a:off x="8358528" y="4135090"/>
              <a:ext cx="180001" cy="120000"/>
            </a:xfrm>
            <a:custGeom>
              <a:avLst/>
              <a:gdLst>
                <a:gd name="connsiteX0" fmla="*/ 90000 w 180001"/>
                <a:gd name="connsiteY0" fmla="*/ 38431 h 120000"/>
                <a:gd name="connsiteX1" fmla="*/ 26524 w 180001"/>
                <a:gd name="connsiteY1" fmla="*/ 114603 h 120000"/>
                <a:gd name="connsiteX2" fmla="*/ 5398 w 180001"/>
                <a:gd name="connsiteY2" fmla="*/ 116523 h 120000"/>
                <a:gd name="connsiteX3" fmla="*/ 3477 w 180001"/>
                <a:gd name="connsiteY3" fmla="*/ 95397 h 120000"/>
                <a:gd name="connsiteX4" fmla="*/ 78477 w 180001"/>
                <a:gd name="connsiteY4" fmla="*/ 5397 h 120000"/>
                <a:gd name="connsiteX5" fmla="*/ 101523 w 180001"/>
                <a:gd name="connsiteY5" fmla="*/ 5397 h 120000"/>
                <a:gd name="connsiteX6" fmla="*/ 176523 w 180001"/>
                <a:gd name="connsiteY6" fmla="*/ 95397 h 120000"/>
                <a:gd name="connsiteX7" fmla="*/ 174603 w 180001"/>
                <a:gd name="connsiteY7" fmla="*/ 116523 h 120000"/>
                <a:gd name="connsiteX8" fmla="*/ 153477 w 180001"/>
                <a:gd name="connsiteY8" fmla="*/ 114603 h 120000"/>
                <a:gd name="connsiteX9" fmla="*/ 90000 w 180001"/>
                <a:gd name="connsiteY9" fmla="*/ 38431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001" h="120000">
                  <a:moveTo>
                    <a:pt x="90000" y="38431"/>
                  </a:moveTo>
                  <a:lnTo>
                    <a:pt x="26524" y="114603"/>
                  </a:lnTo>
                  <a:cubicBezTo>
                    <a:pt x="21220" y="120968"/>
                    <a:pt x="11762" y="121827"/>
                    <a:pt x="5398" y="116523"/>
                  </a:cubicBezTo>
                  <a:cubicBezTo>
                    <a:pt x="-967" y="111220"/>
                    <a:pt x="-1826" y="101761"/>
                    <a:pt x="3477" y="95397"/>
                  </a:cubicBezTo>
                  <a:lnTo>
                    <a:pt x="78477" y="5397"/>
                  </a:lnTo>
                  <a:cubicBezTo>
                    <a:pt x="84474" y="-1799"/>
                    <a:pt x="95526" y="-1799"/>
                    <a:pt x="101523" y="5397"/>
                  </a:cubicBezTo>
                  <a:lnTo>
                    <a:pt x="176523" y="95397"/>
                  </a:lnTo>
                  <a:cubicBezTo>
                    <a:pt x="181827" y="101761"/>
                    <a:pt x="180968" y="111220"/>
                    <a:pt x="174603" y="116523"/>
                  </a:cubicBezTo>
                  <a:cubicBezTo>
                    <a:pt x="168239" y="121827"/>
                    <a:pt x="158780" y="120968"/>
                    <a:pt x="153477" y="114603"/>
                  </a:cubicBezTo>
                  <a:lnTo>
                    <a:pt x="90000" y="3843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1" name="Полилиния 520">
              <a:extLst>
                <a:ext uri="{FF2B5EF4-FFF2-40B4-BE49-F238E27FC236}">
                  <a16:creationId xmlns:a16="http://schemas.microsoft.com/office/drawing/2014/main" id="{19ECC27A-9FA8-804D-9F93-9460FDED5ADF}"/>
                </a:ext>
              </a:extLst>
            </p:cNvPr>
            <p:cNvSpPr/>
            <p:nvPr/>
          </p:nvSpPr>
          <p:spPr>
            <a:xfrm>
              <a:off x="8302737" y="4240091"/>
              <a:ext cx="291579" cy="180000"/>
            </a:xfrm>
            <a:custGeom>
              <a:avLst/>
              <a:gdLst>
                <a:gd name="connsiteX0" fmla="*/ 15004 w 291579"/>
                <a:gd name="connsiteY0" fmla="*/ 0 h 180000"/>
                <a:gd name="connsiteX1" fmla="*/ 276580 w 291579"/>
                <a:gd name="connsiteY1" fmla="*/ 0 h 180000"/>
                <a:gd name="connsiteX2" fmla="*/ 291580 w 291579"/>
                <a:gd name="connsiteY2" fmla="*/ 15000 h 180000"/>
                <a:gd name="connsiteX3" fmla="*/ 291133 w 291579"/>
                <a:gd name="connsiteY3" fmla="*/ 18638 h 180000"/>
                <a:gd name="connsiteX4" fmla="*/ 259313 w 291579"/>
                <a:gd name="connsiteY4" fmla="*/ 145914 h 180000"/>
                <a:gd name="connsiteX5" fmla="*/ 215657 w 291579"/>
                <a:gd name="connsiteY5" fmla="*/ 180000 h 180000"/>
                <a:gd name="connsiteX6" fmla="*/ 75927 w 291579"/>
                <a:gd name="connsiteY6" fmla="*/ 180000 h 180000"/>
                <a:gd name="connsiteX7" fmla="*/ 32270 w 291579"/>
                <a:gd name="connsiteY7" fmla="*/ 145914 h 180000"/>
                <a:gd name="connsiteX8" fmla="*/ 451 w 291579"/>
                <a:gd name="connsiteY8" fmla="*/ 18638 h 180000"/>
                <a:gd name="connsiteX9" fmla="*/ 11366 w 291579"/>
                <a:gd name="connsiteY9" fmla="*/ 448 h 180000"/>
                <a:gd name="connsiteX10" fmla="*/ 15004 w 291579"/>
                <a:gd name="connsiteY10" fmla="*/ 0 h 180000"/>
                <a:gd name="connsiteX11" fmla="*/ 145792 w 291579"/>
                <a:gd name="connsiteY11" fmla="*/ 45000 h 180000"/>
                <a:gd name="connsiteX12" fmla="*/ 130792 w 291579"/>
                <a:gd name="connsiteY12" fmla="*/ 60000 h 180000"/>
                <a:gd name="connsiteX13" fmla="*/ 130792 w 291579"/>
                <a:gd name="connsiteY13" fmla="*/ 120000 h 180000"/>
                <a:gd name="connsiteX14" fmla="*/ 145792 w 291579"/>
                <a:gd name="connsiteY14" fmla="*/ 135000 h 180000"/>
                <a:gd name="connsiteX15" fmla="*/ 160792 w 291579"/>
                <a:gd name="connsiteY15" fmla="*/ 120000 h 180000"/>
                <a:gd name="connsiteX16" fmla="*/ 160792 w 291579"/>
                <a:gd name="connsiteY16" fmla="*/ 60000 h 180000"/>
                <a:gd name="connsiteX17" fmla="*/ 145792 w 291579"/>
                <a:gd name="connsiteY17" fmla="*/ 45000 h 180000"/>
                <a:gd name="connsiteX18" fmla="*/ 70263 w 291579"/>
                <a:gd name="connsiteY18" fmla="*/ 47045 h 180000"/>
                <a:gd name="connsiteX19" fmla="*/ 59656 w 291579"/>
                <a:gd name="connsiteY19" fmla="*/ 65415 h 180000"/>
                <a:gd name="connsiteX20" fmla="*/ 75185 w 291579"/>
                <a:gd name="connsiteY20" fmla="*/ 123371 h 180000"/>
                <a:gd name="connsiteX21" fmla="*/ 93557 w 291579"/>
                <a:gd name="connsiteY21" fmla="*/ 133979 h 180000"/>
                <a:gd name="connsiteX22" fmla="*/ 104163 w 291579"/>
                <a:gd name="connsiteY22" fmla="*/ 115607 h 180000"/>
                <a:gd name="connsiteX23" fmla="*/ 88634 w 291579"/>
                <a:gd name="connsiteY23" fmla="*/ 57651 h 180000"/>
                <a:gd name="connsiteX24" fmla="*/ 70263 w 291579"/>
                <a:gd name="connsiteY24" fmla="*/ 47045 h 180000"/>
                <a:gd name="connsiteX25" fmla="*/ 221321 w 291579"/>
                <a:gd name="connsiteY25" fmla="*/ 47045 h 180000"/>
                <a:gd name="connsiteX26" fmla="*/ 202949 w 291579"/>
                <a:gd name="connsiteY26" fmla="*/ 57651 h 180000"/>
                <a:gd name="connsiteX27" fmla="*/ 187421 w 291579"/>
                <a:gd name="connsiteY27" fmla="*/ 115607 h 180000"/>
                <a:gd name="connsiteX28" fmla="*/ 198028 w 291579"/>
                <a:gd name="connsiteY28" fmla="*/ 133979 h 180000"/>
                <a:gd name="connsiteX29" fmla="*/ 216398 w 291579"/>
                <a:gd name="connsiteY29" fmla="*/ 123371 h 180000"/>
                <a:gd name="connsiteX30" fmla="*/ 231928 w 291579"/>
                <a:gd name="connsiteY30" fmla="*/ 65415 h 180000"/>
                <a:gd name="connsiteX31" fmla="*/ 221321 w 291579"/>
                <a:gd name="connsiteY31" fmla="*/ 47045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91579" h="180000">
                  <a:moveTo>
                    <a:pt x="15004" y="0"/>
                  </a:moveTo>
                  <a:lnTo>
                    <a:pt x="276580" y="0"/>
                  </a:lnTo>
                  <a:cubicBezTo>
                    <a:pt x="284864" y="0"/>
                    <a:pt x="291580" y="6716"/>
                    <a:pt x="291580" y="15000"/>
                  </a:cubicBezTo>
                  <a:cubicBezTo>
                    <a:pt x="291580" y="16227"/>
                    <a:pt x="291430" y="17448"/>
                    <a:pt x="291133" y="18638"/>
                  </a:cubicBezTo>
                  <a:lnTo>
                    <a:pt x="259313" y="145914"/>
                  </a:lnTo>
                  <a:cubicBezTo>
                    <a:pt x="254305" y="165947"/>
                    <a:pt x="236306" y="180000"/>
                    <a:pt x="215657" y="180000"/>
                  </a:cubicBezTo>
                  <a:lnTo>
                    <a:pt x="75927" y="180000"/>
                  </a:lnTo>
                  <a:cubicBezTo>
                    <a:pt x="55278" y="180000"/>
                    <a:pt x="37279" y="165947"/>
                    <a:pt x="32270" y="145914"/>
                  </a:cubicBezTo>
                  <a:lnTo>
                    <a:pt x="451" y="18638"/>
                  </a:lnTo>
                  <a:cubicBezTo>
                    <a:pt x="-1558" y="10601"/>
                    <a:pt x="3329" y="2457"/>
                    <a:pt x="11366" y="448"/>
                  </a:cubicBezTo>
                  <a:cubicBezTo>
                    <a:pt x="12555" y="150"/>
                    <a:pt x="13777" y="0"/>
                    <a:pt x="15004" y="0"/>
                  </a:cubicBezTo>
                  <a:close/>
                  <a:moveTo>
                    <a:pt x="145792" y="45000"/>
                  </a:moveTo>
                  <a:cubicBezTo>
                    <a:pt x="137507" y="45000"/>
                    <a:pt x="130792" y="51715"/>
                    <a:pt x="130792" y="60000"/>
                  </a:cubicBezTo>
                  <a:lnTo>
                    <a:pt x="130792" y="120000"/>
                  </a:lnTo>
                  <a:cubicBezTo>
                    <a:pt x="130792" y="128284"/>
                    <a:pt x="137507" y="135000"/>
                    <a:pt x="145792" y="135000"/>
                  </a:cubicBezTo>
                  <a:cubicBezTo>
                    <a:pt x="154076" y="135000"/>
                    <a:pt x="160792" y="128284"/>
                    <a:pt x="160792" y="120000"/>
                  </a:cubicBezTo>
                  <a:lnTo>
                    <a:pt x="160792" y="60000"/>
                  </a:lnTo>
                  <a:cubicBezTo>
                    <a:pt x="160792" y="51715"/>
                    <a:pt x="154076" y="45000"/>
                    <a:pt x="145792" y="45000"/>
                  </a:cubicBezTo>
                  <a:close/>
                  <a:moveTo>
                    <a:pt x="70263" y="47045"/>
                  </a:moveTo>
                  <a:cubicBezTo>
                    <a:pt x="62261" y="49188"/>
                    <a:pt x="57512" y="57414"/>
                    <a:pt x="59656" y="65415"/>
                  </a:cubicBezTo>
                  <a:lnTo>
                    <a:pt x="75185" y="123371"/>
                  </a:lnTo>
                  <a:cubicBezTo>
                    <a:pt x="77329" y="131373"/>
                    <a:pt x="85554" y="136122"/>
                    <a:pt x="93557" y="133979"/>
                  </a:cubicBezTo>
                  <a:cubicBezTo>
                    <a:pt x="101558" y="131834"/>
                    <a:pt x="106307" y="123609"/>
                    <a:pt x="104163" y="115607"/>
                  </a:cubicBezTo>
                  <a:lnTo>
                    <a:pt x="88634" y="57651"/>
                  </a:lnTo>
                  <a:cubicBezTo>
                    <a:pt x="86490" y="49649"/>
                    <a:pt x="78265" y="44901"/>
                    <a:pt x="70263" y="47045"/>
                  </a:cubicBezTo>
                  <a:close/>
                  <a:moveTo>
                    <a:pt x="221321" y="47045"/>
                  </a:moveTo>
                  <a:cubicBezTo>
                    <a:pt x="213319" y="44901"/>
                    <a:pt x="205094" y="49649"/>
                    <a:pt x="202949" y="57651"/>
                  </a:cubicBezTo>
                  <a:lnTo>
                    <a:pt x="187421" y="115607"/>
                  </a:lnTo>
                  <a:cubicBezTo>
                    <a:pt x="185276" y="123609"/>
                    <a:pt x="190025" y="131834"/>
                    <a:pt x="198028" y="133979"/>
                  </a:cubicBezTo>
                  <a:cubicBezTo>
                    <a:pt x="206029" y="136122"/>
                    <a:pt x="214255" y="131373"/>
                    <a:pt x="216398" y="123371"/>
                  </a:cubicBezTo>
                  <a:lnTo>
                    <a:pt x="231928" y="65415"/>
                  </a:lnTo>
                  <a:cubicBezTo>
                    <a:pt x="234071" y="57414"/>
                    <a:pt x="229322" y="49188"/>
                    <a:pt x="221321" y="47045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22" name="Рисунок 112">
            <a:extLst>
              <a:ext uri="{FF2B5EF4-FFF2-40B4-BE49-F238E27FC236}">
                <a16:creationId xmlns:a16="http://schemas.microsoft.com/office/drawing/2014/main" id="{0C4C3F38-6C98-CB4D-8A2F-5190C621487D}"/>
              </a:ext>
            </a:extLst>
          </p:cNvPr>
          <p:cNvGrpSpPr/>
          <p:nvPr/>
        </p:nvGrpSpPr>
        <p:grpSpPr>
          <a:xfrm>
            <a:off x="7436172" y="3788369"/>
            <a:ext cx="360000" cy="360000"/>
            <a:chOff x="7515377" y="4105091"/>
            <a:chExt cx="360000" cy="360000"/>
          </a:xfrm>
        </p:grpSpPr>
        <p:sp>
          <p:nvSpPr>
            <p:cNvPr id="523" name="Полилиния 522">
              <a:extLst>
                <a:ext uri="{FF2B5EF4-FFF2-40B4-BE49-F238E27FC236}">
                  <a16:creationId xmlns:a16="http://schemas.microsoft.com/office/drawing/2014/main" id="{16F4A381-A93A-BB40-BC14-A134F836D095}"/>
                </a:ext>
              </a:extLst>
            </p:cNvPr>
            <p:cNvSpPr/>
            <p:nvPr/>
          </p:nvSpPr>
          <p:spPr>
            <a:xfrm>
              <a:off x="7515377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4" name="Полилиния 523">
              <a:extLst>
                <a:ext uri="{FF2B5EF4-FFF2-40B4-BE49-F238E27FC236}">
                  <a16:creationId xmlns:a16="http://schemas.microsoft.com/office/drawing/2014/main" id="{2BE951FA-7056-3642-B95B-61A018F1C8D0}"/>
                </a:ext>
              </a:extLst>
            </p:cNvPr>
            <p:cNvSpPr/>
            <p:nvPr/>
          </p:nvSpPr>
          <p:spPr>
            <a:xfrm>
              <a:off x="7605376" y="4135090"/>
              <a:ext cx="180001" cy="120000"/>
            </a:xfrm>
            <a:custGeom>
              <a:avLst/>
              <a:gdLst>
                <a:gd name="connsiteX0" fmla="*/ 90000 w 180001"/>
                <a:gd name="connsiteY0" fmla="*/ 38431 h 120000"/>
                <a:gd name="connsiteX1" fmla="*/ 26524 w 180001"/>
                <a:gd name="connsiteY1" fmla="*/ 114603 h 120000"/>
                <a:gd name="connsiteX2" fmla="*/ 5398 w 180001"/>
                <a:gd name="connsiteY2" fmla="*/ 116523 h 120000"/>
                <a:gd name="connsiteX3" fmla="*/ 3477 w 180001"/>
                <a:gd name="connsiteY3" fmla="*/ 95397 h 120000"/>
                <a:gd name="connsiteX4" fmla="*/ 78477 w 180001"/>
                <a:gd name="connsiteY4" fmla="*/ 5397 h 120000"/>
                <a:gd name="connsiteX5" fmla="*/ 101523 w 180001"/>
                <a:gd name="connsiteY5" fmla="*/ 5397 h 120000"/>
                <a:gd name="connsiteX6" fmla="*/ 176523 w 180001"/>
                <a:gd name="connsiteY6" fmla="*/ 95397 h 120000"/>
                <a:gd name="connsiteX7" fmla="*/ 174603 w 180001"/>
                <a:gd name="connsiteY7" fmla="*/ 116523 h 120000"/>
                <a:gd name="connsiteX8" fmla="*/ 153477 w 180001"/>
                <a:gd name="connsiteY8" fmla="*/ 114603 h 120000"/>
                <a:gd name="connsiteX9" fmla="*/ 90000 w 180001"/>
                <a:gd name="connsiteY9" fmla="*/ 38431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001" h="120000">
                  <a:moveTo>
                    <a:pt x="90000" y="38431"/>
                  </a:moveTo>
                  <a:lnTo>
                    <a:pt x="26524" y="114603"/>
                  </a:lnTo>
                  <a:cubicBezTo>
                    <a:pt x="21220" y="120968"/>
                    <a:pt x="11762" y="121827"/>
                    <a:pt x="5398" y="116523"/>
                  </a:cubicBezTo>
                  <a:cubicBezTo>
                    <a:pt x="-967" y="111220"/>
                    <a:pt x="-1826" y="101761"/>
                    <a:pt x="3477" y="95397"/>
                  </a:cubicBezTo>
                  <a:lnTo>
                    <a:pt x="78477" y="5397"/>
                  </a:lnTo>
                  <a:cubicBezTo>
                    <a:pt x="84474" y="-1799"/>
                    <a:pt x="95526" y="-1799"/>
                    <a:pt x="101523" y="5397"/>
                  </a:cubicBezTo>
                  <a:lnTo>
                    <a:pt x="176523" y="95397"/>
                  </a:lnTo>
                  <a:cubicBezTo>
                    <a:pt x="181827" y="101761"/>
                    <a:pt x="180968" y="111220"/>
                    <a:pt x="174603" y="116523"/>
                  </a:cubicBezTo>
                  <a:cubicBezTo>
                    <a:pt x="168239" y="121827"/>
                    <a:pt x="158780" y="120968"/>
                    <a:pt x="153477" y="114603"/>
                  </a:cubicBezTo>
                  <a:lnTo>
                    <a:pt x="90000" y="3843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5" name="Полилиния 524">
              <a:extLst>
                <a:ext uri="{FF2B5EF4-FFF2-40B4-BE49-F238E27FC236}">
                  <a16:creationId xmlns:a16="http://schemas.microsoft.com/office/drawing/2014/main" id="{9ABC4747-E2DF-8143-B697-1F1FA6A25CFA}"/>
                </a:ext>
              </a:extLst>
            </p:cNvPr>
            <p:cNvSpPr/>
            <p:nvPr/>
          </p:nvSpPr>
          <p:spPr>
            <a:xfrm>
              <a:off x="7552873" y="4240091"/>
              <a:ext cx="285003" cy="180000"/>
            </a:xfrm>
            <a:custGeom>
              <a:avLst/>
              <a:gdLst>
                <a:gd name="connsiteX0" fmla="*/ 15004 w 285003"/>
                <a:gd name="connsiteY0" fmla="*/ 0 h 180000"/>
                <a:gd name="connsiteX1" fmla="*/ 270004 w 285003"/>
                <a:gd name="connsiteY1" fmla="*/ 0 h 180000"/>
                <a:gd name="connsiteX2" fmla="*/ 285004 w 285003"/>
                <a:gd name="connsiteY2" fmla="*/ 15000 h 180000"/>
                <a:gd name="connsiteX3" fmla="*/ 283850 w 285003"/>
                <a:gd name="connsiteY3" fmla="*/ 20769 h 180000"/>
                <a:gd name="connsiteX4" fmla="*/ 229042 w 285003"/>
                <a:gd name="connsiteY4" fmla="*/ 152307 h 180000"/>
                <a:gd name="connsiteX5" fmla="*/ 187504 w 285003"/>
                <a:gd name="connsiteY5" fmla="*/ 180000 h 180000"/>
                <a:gd name="connsiteX6" fmla="*/ 97504 w 285003"/>
                <a:gd name="connsiteY6" fmla="*/ 180000 h 180000"/>
                <a:gd name="connsiteX7" fmla="*/ 55965 w 285003"/>
                <a:gd name="connsiteY7" fmla="*/ 152307 h 180000"/>
                <a:gd name="connsiteX8" fmla="*/ 1158 w 285003"/>
                <a:gd name="connsiteY8" fmla="*/ 20769 h 180000"/>
                <a:gd name="connsiteX9" fmla="*/ 9235 w 285003"/>
                <a:gd name="connsiteY9" fmla="*/ 1154 h 180000"/>
                <a:gd name="connsiteX10" fmla="*/ 15004 w 285003"/>
                <a:gd name="connsiteY10" fmla="*/ 0 h 180000"/>
                <a:gd name="connsiteX11" fmla="*/ 142504 w 285003"/>
                <a:gd name="connsiteY11" fmla="*/ 120000 h 180000"/>
                <a:gd name="connsiteX12" fmla="*/ 172504 w 285003"/>
                <a:gd name="connsiteY12" fmla="*/ 90000 h 180000"/>
                <a:gd name="connsiteX13" fmla="*/ 142504 w 285003"/>
                <a:gd name="connsiteY13" fmla="*/ 60000 h 180000"/>
                <a:gd name="connsiteX14" fmla="*/ 112504 w 285003"/>
                <a:gd name="connsiteY14" fmla="*/ 90000 h 180000"/>
                <a:gd name="connsiteX15" fmla="*/ 142504 w 285003"/>
                <a:gd name="connsiteY15" fmla="*/ 12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5003" h="180000">
                  <a:moveTo>
                    <a:pt x="15004" y="0"/>
                  </a:moveTo>
                  <a:lnTo>
                    <a:pt x="270004" y="0"/>
                  </a:lnTo>
                  <a:cubicBezTo>
                    <a:pt x="278288" y="0"/>
                    <a:pt x="285004" y="6716"/>
                    <a:pt x="285004" y="15000"/>
                  </a:cubicBezTo>
                  <a:cubicBezTo>
                    <a:pt x="285004" y="16980"/>
                    <a:pt x="284612" y="18941"/>
                    <a:pt x="283850" y="20769"/>
                  </a:cubicBezTo>
                  <a:lnTo>
                    <a:pt x="229042" y="152307"/>
                  </a:lnTo>
                  <a:cubicBezTo>
                    <a:pt x="222055" y="169077"/>
                    <a:pt x="205670" y="180000"/>
                    <a:pt x="187504" y="180000"/>
                  </a:cubicBezTo>
                  <a:lnTo>
                    <a:pt x="97504" y="180000"/>
                  </a:lnTo>
                  <a:cubicBezTo>
                    <a:pt x="79337" y="180000"/>
                    <a:pt x="62953" y="169077"/>
                    <a:pt x="55965" y="152307"/>
                  </a:cubicBezTo>
                  <a:lnTo>
                    <a:pt x="1158" y="20769"/>
                  </a:lnTo>
                  <a:cubicBezTo>
                    <a:pt x="-2028" y="13122"/>
                    <a:pt x="1588" y="4340"/>
                    <a:pt x="9235" y="1154"/>
                  </a:cubicBezTo>
                  <a:cubicBezTo>
                    <a:pt x="11063" y="392"/>
                    <a:pt x="13023" y="0"/>
                    <a:pt x="15004" y="0"/>
                  </a:cubicBezTo>
                  <a:close/>
                  <a:moveTo>
                    <a:pt x="142504" y="120000"/>
                  </a:moveTo>
                  <a:cubicBezTo>
                    <a:pt x="159073" y="120000"/>
                    <a:pt x="172504" y="106569"/>
                    <a:pt x="172504" y="90000"/>
                  </a:cubicBezTo>
                  <a:cubicBezTo>
                    <a:pt x="172504" y="73431"/>
                    <a:pt x="159073" y="60000"/>
                    <a:pt x="142504" y="60000"/>
                  </a:cubicBezTo>
                  <a:cubicBezTo>
                    <a:pt x="125935" y="60000"/>
                    <a:pt x="112504" y="73431"/>
                    <a:pt x="112504" y="90000"/>
                  </a:cubicBezTo>
                  <a:cubicBezTo>
                    <a:pt x="112504" y="106569"/>
                    <a:pt x="125935" y="120000"/>
                    <a:pt x="142504" y="12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26" name="Рисунок 113">
            <a:extLst>
              <a:ext uri="{FF2B5EF4-FFF2-40B4-BE49-F238E27FC236}">
                <a16:creationId xmlns:a16="http://schemas.microsoft.com/office/drawing/2014/main" id="{0B0AD0E9-F4CE-0C43-A701-84A9F9E137FC}"/>
              </a:ext>
            </a:extLst>
          </p:cNvPr>
          <p:cNvGrpSpPr/>
          <p:nvPr/>
        </p:nvGrpSpPr>
        <p:grpSpPr>
          <a:xfrm>
            <a:off x="6683020" y="3788369"/>
            <a:ext cx="360000" cy="360000"/>
            <a:chOff x="6762225" y="4105091"/>
            <a:chExt cx="360000" cy="360000"/>
          </a:xfrm>
        </p:grpSpPr>
        <p:sp>
          <p:nvSpPr>
            <p:cNvPr id="527" name="Полилиния 526">
              <a:extLst>
                <a:ext uri="{FF2B5EF4-FFF2-40B4-BE49-F238E27FC236}">
                  <a16:creationId xmlns:a16="http://schemas.microsoft.com/office/drawing/2014/main" id="{45DA3307-D9E0-C04B-BF88-C56B11C9C236}"/>
                </a:ext>
              </a:extLst>
            </p:cNvPr>
            <p:cNvSpPr/>
            <p:nvPr/>
          </p:nvSpPr>
          <p:spPr>
            <a:xfrm>
              <a:off x="6762225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8" name="Полилиния 527">
              <a:extLst>
                <a:ext uri="{FF2B5EF4-FFF2-40B4-BE49-F238E27FC236}">
                  <a16:creationId xmlns:a16="http://schemas.microsoft.com/office/drawing/2014/main" id="{95E09A40-F514-E042-B8A2-E42AC13BDA00}"/>
                </a:ext>
              </a:extLst>
            </p:cNvPr>
            <p:cNvSpPr/>
            <p:nvPr/>
          </p:nvSpPr>
          <p:spPr>
            <a:xfrm>
              <a:off x="6837225" y="4330091"/>
              <a:ext cx="210000" cy="30000"/>
            </a:xfrm>
            <a:custGeom>
              <a:avLst/>
              <a:gdLst>
                <a:gd name="connsiteX0" fmla="*/ 195000 w 210000"/>
                <a:gd name="connsiteY0" fmla="*/ 0 h 30000"/>
                <a:gd name="connsiteX1" fmla="*/ 210000 w 210000"/>
                <a:gd name="connsiteY1" fmla="*/ 0 h 30000"/>
                <a:gd name="connsiteX2" fmla="*/ 210000 w 210000"/>
                <a:gd name="connsiteY2" fmla="*/ 30000 h 30000"/>
                <a:gd name="connsiteX3" fmla="*/ 195000 w 210000"/>
                <a:gd name="connsiteY3" fmla="*/ 30000 h 30000"/>
                <a:gd name="connsiteX4" fmla="*/ 15000 w 210000"/>
                <a:gd name="connsiteY4" fmla="*/ 30000 h 30000"/>
                <a:gd name="connsiteX5" fmla="*/ 0 w 210000"/>
                <a:gd name="connsiteY5" fmla="*/ 30000 h 30000"/>
                <a:gd name="connsiteX6" fmla="*/ 0 w 210000"/>
                <a:gd name="connsiteY6" fmla="*/ 0 h 30000"/>
                <a:gd name="connsiteX7" fmla="*/ 15000 w 21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0000" h="30000">
                  <a:moveTo>
                    <a:pt x="195000" y="0"/>
                  </a:moveTo>
                  <a:cubicBezTo>
                    <a:pt x="203284" y="0"/>
                    <a:pt x="210000" y="0"/>
                    <a:pt x="210000" y="0"/>
                  </a:cubicBezTo>
                  <a:lnTo>
                    <a:pt x="210000" y="30000"/>
                  </a:lnTo>
                  <a:cubicBezTo>
                    <a:pt x="210000" y="30000"/>
                    <a:pt x="203284" y="30000"/>
                    <a:pt x="195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9" name="Полилиния 528">
              <a:extLst>
                <a:ext uri="{FF2B5EF4-FFF2-40B4-BE49-F238E27FC236}">
                  <a16:creationId xmlns:a16="http://schemas.microsoft.com/office/drawing/2014/main" id="{730BEFBA-AFF6-0640-BDBB-E57E9BD0EEA5}"/>
                </a:ext>
              </a:extLst>
            </p:cNvPr>
            <p:cNvSpPr/>
            <p:nvPr/>
          </p:nvSpPr>
          <p:spPr>
            <a:xfrm>
              <a:off x="6792225" y="4225091"/>
              <a:ext cx="135000" cy="135000"/>
            </a:xfrm>
            <a:custGeom>
              <a:avLst/>
              <a:gdLst>
                <a:gd name="connsiteX0" fmla="*/ 67500 w 135000"/>
                <a:gd name="connsiteY0" fmla="*/ 105000 h 135000"/>
                <a:gd name="connsiteX1" fmla="*/ 105000 w 135000"/>
                <a:gd name="connsiteY1" fmla="*/ 67500 h 135000"/>
                <a:gd name="connsiteX2" fmla="*/ 67500 w 135000"/>
                <a:gd name="connsiteY2" fmla="*/ 30000 h 135000"/>
                <a:gd name="connsiteX3" fmla="*/ 30000 w 135000"/>
                <a:gd name="connsiteY3" fmla="*/ 67500 h 135000"/>
                <a:gd name="connsiteX4" fmla="*/ 67500 w 135000"/>
                <a:gd name="connsiteY4" fmla="*/ 105000 h 135000"/>
                <a:gd name="connsiteX5" fmla="*/ 67500 w 135000"/>
                <a:gd name="connsiteY5" fmla="*/ 135000 h 135000"/>
                <a:gd name="connsiteX6" fmla="*/ 0 w 135000"/>
                <a:gd name="connsiteY6" fmla="*/ 67500 h 135000"/>
                <a:gd name="connsiteX7" fmla="*/ 67500 w 135000"/>
                <a:gd name="connsiteY7" fmla="*/ 0 h 135000"/>
                <a:gd name="connsiteX8" fmla="*/ 135000 w 135000"/>
                <a:gd name="connsiteY8" fmla="*/ 67500 h 135000"/>
                <a:gd name="connsiteX9" fmla="*/ 67500 w 135000"/>
                <a:gd name="connsiteY9" fmla="*/ 135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000" h="135000">
                  <a:moveTo>
                    <a:pt x="67500" y="105000"/>
                  </a:moveTo>
                  <a:cubicBezTo>
                    <a:pt x="88211" y="105000"/>
                    <a:pt x="105000" y="88211"/>
                    <a:pt x="105000" y="67500"/>
                  </a:cubicBezTo>
                  <a:cubicBezTo>
                    <a:pt x="105000" y="46790"/>
                    <a:pt x="88211" y="30000"/>
                    <a:pt x="67500" y="30000"/>
                  </a:cubicBezTo>
                  <a:cubicBezTo>
                    <a:pt x="46789" y="30000"/>
                    <a:pt x="30000" y="46790"/>
                    <a:pt x="30000" y="67500"/>
                  </a:cubicBezTo>
                  <a:cubicBezTo>
                    <a:pt x="30000" y="88211"/>
                    <a:pt x="46789" y="105000"/>
                    <a:pt x="67500" y="105000"/>
                  </a:cubicBezTo>
                  <a:close/>
                  <a:moveTo>
                    <a:pt x="67500" y="135000"/>
                  </a:moveTo>
                  <a:cubicBezTo>
                    <a:pt x="30221" y="135000"/>
                    <a:pt x="0" y="104780"/>
                    <a:pt x="0" y="67500"/>
                  </a:cubicBezTo>
                  <a:cubicBezTo>
                    <a:pt x="0" y="30221"/>
                    <a:pt x="30221" y="0"/>
                    <a:pt x="67500" y="0"/>
                  </a:cubicBezTo>
                  <a:cubicBezTo>
                    <a:pt x="104779" y="0"/>
                    <a:pt x="135000" y="30221"/>
                    <a:pt x="135000" y="67500"/>
                  </a:cubicBezTo>
                  <a:cubicBezTo>
                    <a:pt x="135000" y="104780"/>
                    <a:pt x="104779" y="135000"/>
                    <a:pt x="67500" y="135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0" name="Полилиния 529">
              <a:extLst>
                <a:ext uri="{FF2B5EF4-FFF2-40B4-BE49-F238E27FC236}">
                  <a16:creationId xmlns:a16="http://schemas.microsoft.com/office/drawing/2014/main" id="{7972806E-2C70-874D-9308-4D150A696507}"/>
                </a:ext>
              </a:extLst>
            </p:cNvPr>
            <p:cNvSpPr/>
            <p:nvPr/>
          </p:nvSpPr>
          <p:spPr>
            <a:xfrm>
              <a:off x="6957225" y="4225091"/>
              <a:ext cx="135000" cy="135000"/>
            </a:xfrm>
            <a:custGeom>
              <a:avLst/>
              <a:gdLst>
                <a:gd name="connsiteX0" fmla="*/ 67500 w 135000"/>
                <a:gd name="connsiteY0" fmla="*/ 105000 h 135000"/>
                <a:gd name="connsiteX1" fmla="*/ 105000 w 135000"/>
                <a:gd name="connsiteY1" fmla="*/ 67500 h 135000"/>
                <a:gd name="connsiteX2" fmla="*/ 67500 w 135000"/>
                <a:gd name="connsiteY2" fmla="*/ 30000 h 135000"/>
                <a:gd name="connsiteX3" fmla="*/ 30000 w 135000"/>
                <a:gd name="connsiteY3" fmla="*/ 67500 h 135000"/>
                <a:gd name="connsiteX4" fmla="*/ 67500 w 135000"/>
                <a:gd name="connsiteY4" fmla="*/ 105000 h 135000"/>
                <a:gd name="connsiteX5" fmla="*/ 67500 w 135000"/>
                <a:gd name="connsiteY5" fmla="*/ 135000 h 135000"/>
                <a:gd name="connsiteX6" fmla="*/ 0 w 135000"/>
                <a:gd name="connsiteY6" fmla="*/ 67500 h 135000"/>
                <a:gd name="connsiteX7" fmla="*/ 67500 w 135000"/>
                <a:gd name="connsiteY7" fmla="*/ 0 h 135000"/>
                <a:gd name="connsiteX8" fmla="*/ 135000 w 135000"/>
                <a:gd name="connsiteY8" fmla="*/ 67500 h 135000"/>
                <a:gd name="connsiteX9" fmla="*/ 67500 w 135000"/>
                <a:gd name="connsiteY9" fmla="*/ 135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000" h="135000">
                  <a:moveTo>
                    <a:pt x="67500" y="105000"/>
                  </a:moveTo>
                  <a:cubicBezTo>
                    <a:pt x="88210" y="105000"/>
                    <a:pt x="105000" y="88211"/>
                    <a:pt x="105000" y="67500"/>
                  </a:cubicBezTo>
                  <a:cubicBezTo>
                    <a:pt x="105000" y="46790"/>
                    <a:pt x="88210" y="30000"/>
                    <a:pt x="67500" y="30000"/>
                  </a:cubicBezTo>
                  <a:cubicBezTo>
                    <a:pt x="46790" y="30000"/>
                    <a:pt x="30000" y="46790"/>
                    <a:pt x="30000" y="67500"/>
                  </a:cubicBezTo>
                  <a:cubicBezTo>
                    <a:pt x="30000" y="88211"/>
                    <a:pt x="46790" y="105000"/>
                    <a:pt x="67500" y="105000"/>
                  </a:cubicBezTo>
                  <a:close/>
                  <a:moveTo>
                    <a:pt x="67500" y="135000"/>
                  </a:moveTo>
                  <a:cubicBezTo>
                    <a:pt x="30221" y="135000"/>
                    <a:pt x="0" y="104780"/>
                    <a:pt x="0" y="67500"/>
                  </a:cubicBezTo>
                  <a:cubicBezTo>
                    <a:pt x="0" y="30221"/>
                    <a:pt x="30221" y="0"/>
                    <a:pt x="67500" y="0"/>
                  </a:cubicBezTo>
                  <a:cubicBezTo>
                    <a:pt x="104780" y="0"/>
                    <a:pt x="135000" y="30221"/>
                    <a:pt x="135000" y="67500"/>
                  </a:cubicBezTo>
                  <a:cubicBezTo>
                    <a:pt x="135000" y="104780"/>
                    <a:pt x="104780" y="135000"/>
                    <a:pt x="67500" y="135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31" name="Рисунок 114">
            <a:extLst>
              <a:ext uri="{FF2B5EF4-FFF2-40B4-BE49-F238E27FC236}">
                <a16:creationId xmlns:a16="http://schemas.microsoft.com/office/drawing/2014/main" id="{F39CC594-47A1-994E-A7FB-229D7C453C90}"/>
              </a:ext>
            </a:extLst>
          </p:cNvPr>
          <p:cNvGrpSpPr/>
          <p:nvPr/>
        </p:nvGrpSpPr>
        <p:grpSpPr>
          <a:xfrm>
            <a:off x="5929868" y="3788369"/>
            <a:ext cx="360000" cy="360000"/>
            <a:chOff x="6009073" y="4105091"/>
            <a:chExt cx="360000" cy="360000"/>
          </a:xfrm>
        </p:grpSpPr>
        <p:sp>
          <p:nvSpPr>
            <p:cNvPr id="532" name="Полилиния 531">
              <a:extLst>
                <a:ext uri="{FF2B5EF4-FFF2-40B4-BE49-F238E27FC236}">
                  <a16:creationId xmlns:a16="http://schemas.microsoft.com/office/drawing/2014/main" id="{62EA4DF5-5835-814A-A9A5-127813C39037}"/>
                </a:ext>
              </a:extLst>
            </p:cNvPr>
            <p:cNvSpPr/>
            <p:nvPr/>
          </p:nvSpPr>
          <p:spPr>
            <a:xfrm>
              <a:off x="6009073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3" name="Полилиния 532">
              <a:extLst>
                <a:ext uri="{FF2B5EF4-FFF2-40B4-BE49-F238E27FC236}">
                  <a16:creationId xmlns:a16="http://schemas.microsoft.com/office/drawing/2014/main" id="{431B5552-AD84-0A43-8BFD-19621062E9EC}"/>
                </a:ext>
              </a:extLst>
            </p:cNvPr>
            <p:cNvSpPr/>
            <p:nvPr/>
          </p:nvSpPr>
          <p:spPr>
            <a:xfrm>
              <a:off x="6054073" y="4150091"/>
              <a:ext cx="270000" cy="270000"/>
            </a:xfrm>
            <a:custGeom>
              <a:avLst/>
              <a:gdLst>
                <a:gd name="connsiteX0" fmla="*/ 135000 w 270000"/>
                <a:gd name="connsiteY0" fmla="*/ 270000 h 270000"/>
                <a:gd name="connsiteX1" fmla="*/ 0 w 270000"/>
                <a:gd name="connsiteY1" fmla="*/ 135000 h 270000"/>
                <a:gd name="connsiteX2" fmla="*/ 135000 w 270000"/>
                <a:gd name="connsiteY2" fmla="*/ 0 h 270000"/>
                <a:gd name="connsiteX3" fmla="*/ 270000 w 270000"/>
                <a:gd name="connsiteY3" fmla="*/ 135000 h 270000"/>
                <a:gd name="connsiteX4" fmla="*/ 135000 w 270000"/>
                <a:gd name="connsiteY4" fmla="*/ 270000 h 270000"/>
                <a:gd name="connsiteX5" fmla="*/ 135000 w 270000"/>
                <a:gd name="connsiteY5" fmla="*/ 180000 h 270000"/>
                <a:gd name="connsiteX6" fmla="*/ 180000 w 270000"/>
                <a:gd name="connsiteY6" fmla="*/ 135000 h 270000"/>
                <a:gd name="connsiteX7" fmla="*/ 135000 w 270000"/>
                <a:gd name="connsiteY7" fmla="*/ 90000 h 270000"/>
                <a:gd name="connsiteX8" fmla="*/ 90000 w 270000"/>
                <a:gd name="connsiteY8" fmla="*/ 135000 h 270000"/>
                <a:gd name="connsiteX9" fmla="*/ 135000 w 270000"/>
                <a:gd name="connsiteY9" fmla="*/ 18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00" h="270000">
                  <a:moveTo>
                    <a:pt x="135000" y="270000"/>
                  </a:moveTo>
                  <a:cubicBezTo>
                    <a:pt x="60442" y="270000"/>
                    <a:pt x="0" y="209559"/>
                    <a:pt x="0" y="135000"/>
                  </a:cubicBezTo>
                  <a:cubicBezTo>
                    <a:pt x="0" y="60442"/>
                    <a:pt x="60442" y="0"/>
                    <a:pt x="135000" y="0"/>
                  </a:cubicBezTo>
                  <a:cubicBezTo>
                    <a:pt x="209559" y="0"/>
                    <a:pt x="270000" y="60442"/>
                    <a:pt x="270000" y="135000"/>
                  </a:cubicBezTo>
                  <a:cubicBezTo>
                    <a:pt x="270000" y="209559"/>
                    <a:pt x="209559" y="270000"/>
                    <a:pt x="135000" y="270000"/>
                  </a:cubicBezTo>
                  <a:close/>
                  <a:moveTo>
                    <a:pt x="135000" y="180000"/>
                  </a:moveTo>
                  <a:cubicBezTo>
                    <a:pt x="159854" y="180000"/>
                    <a:pt x="180000" y="159854"/>
                    <a:pt x="180000" y="135000"/>
                  </a:cubicBezTo>
                  <a:cubicBezTo>
                    <a:pt x="180000" y="110146"/>
                    <a:pt x="159854" y="90000"/>
                    <a:pt x="135000" y="90000"/>
                  </a:cubicBezTo>
                  <a:cubicBezTo>
                    <a:pt x="110146" y="90000"/>
                    <a:pt x="90000" y="110146"/>
                    <a:pt x="90000" y="135000"/>
                  </a:cubicBezTo>
                  <a:cubicBezTo>
                    <a:pt x="90000" y="159854"/>
                    <a:pt x="110146" y="180000"/>
                    <a:pt x="135000" y="180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4" name="Полилиния 533">
              <a:extLst>
                <a:ext uri="{FF2B5EF4-FFF2-40B4-BE49-F238E27FC236}">
                  <a16:creationId xmlns:a16="http://schemas.microsoft.com/office/drawing/2014/main" id="{1EAC196D-107B-5945-AD94-1E22938AE5C6}"/>
                </a:ext>
              </a:extLst>
            </p:cNvPr>
            <p:cNvSpPr/>
            <p:nvPr/>
          </p:nvSpPr>
          <p:spPr>
            <a:xfrm>
              <a:off x="6174073" y="4270091"/>
              <a:ext cx="30000" cy="30000"/>
            </a:xfrm>
            <a:custGeom>
              <a:avLst/>
              <a:gdLst>
                <a:gd name="connsiteX0" fmla="*/ 30000 w 30000"/>
                <a:gd name="connsiteY0" fmla="*/ 15000 h 30000"/>
                <a:gd name="connsiteX1" fmla="*/ 15000 w 30000"/>
                <a:gd name="connsiteY1" fmla="*/ 30000 h 30000"/>
                <a:gd name="connsiteX2" fmla="*/ 0 w 30000"/>
                <a:gd name="connsiteY2" fmla="*/ 15000 h 30000"/>
                <a:gd name="connsiteX3" fmla="*/ 15000 w 30000"/>
                <a:gd name="connsiteY3" fmla="*/ 0 h 30000"/>
                <a:gd name="connsiteX4" fmla="*/ 30000 w 30000"/>
                <a:gd name="connsiteY4" fmla="*/ 1500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" h="30000">
                  <a:moveTo>
                    <a:pt x="30000" y="15000"/>
                  </a:moveTo>
                  <a:cubicBezTo>
                    <a:pt x="30000" y="23284"/>
                    <a:pt x="23284" y="30000"/>
                    <a:pt x="15000" y="30000"/>
                  </a:cubicBez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ubicBezTo>
                    <a:pt x="23284" y="0"/>
                    <a:pt x="30000" y="6716"/>
                    <a:pt x="30000" y="1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35" name="Рисунок 115">
            <a:extLst>
              <a:ext uri="{FF2B5EF4-FFF2-40B4-BE49-F238E27FC236}">
                <a16:creationId xmlns:a16="http://schemas.microsoft.com/office/drawing/2014/main" id="{8EAD243C-7FC5-A247-B49C-ADA6F5566FF5}"/>
              </a:ext>
            </a:extLst>
          </p:cNvPr>
          <p:cNvGrpSpPr/>
          <p:nvPr/>
        </p:nvGrpSpPr>
        <p:grpSpPr>
          <a:xfrm>
            <a:off x="5176716" y="3788369"/>
            <a:ext cx="360000" cy="360000"/>
            <a:chOff x="5255921" y="4105091"/>
            <a:chExt cx="360000" cy="360000"/>
          </a:xfrm>
        </p:grpSpPr>
        <p:sp>
          <p:nvSpPr>
            <p:cNvPr id="536" name="Полилиния 535">
              <a:extLst>
                <a:ext uri="{FF2B5EF4-FFF2-40B4-BE49-F238E27FC236}">
                  <a16:creationId xmlns:a16="http://schemas.microsoft.com/office/drawing/2014/main" id="{96EDCFAA-7A61-D240-A700-F41C04200B48}"/>
                </a:ext>
              </a:extLst>
            </p:cNvPr>
            <p:cNvSpPr/>
            <p:nvPr/>
          </p:nvSpPr>
          <p:spPr>
            <a:xfrm>
              <a:off x="5255921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7" name="Полилиния 536">
              <a:extLst>
                <a:ext uri="{FF2B5EF4-FFF2-40B4-BE49-F238E27FC236}">
                  <a16:creationId xmlns:a16="http://schemas.microsoft.com/office/drawing/2014/main" id="{290D4CC2-DA59-164A-AC01-2F7CD9F7EEAD}"/>
                </a:ext>
              </a:extLst>
            </p:cNvPr>
            <p:cNvSpPr/>
            <p:nvPr/>
          </p:nvSpPr>
          <p:spPr>
            <a:xfrm>
              <a:off x="5405800" y="4194071"/>
              <a:ext cx="176040" cy="200879"/>
            </a:xfrm>
            <a:custGeom>
              <a:avLst/>
              <a:gdLst>
                <a:gd name="connsiteX0" fmla="*/ 147150 w 176040"/>
                <a:gd name="connsiteY0" fmla="*/ 49680 h 200879"/>
                <a:gd name="connsiteX1" fmla="*/ 127440 w 176040"/>
                <a:gd name="connsiteY1" fmla="*/ 34695 h 200879"/>
                <a:gd name="connsiteX2" fmla="*/ 103680 w 176040"/>
                <a:gd name="connsiteY2" fmla="*/ 29970 h 200879"/>
                <a:gd name="connsiteX3" fmla="*/ 76680 w 176040"/>
                <a:gd name="connsiteY3" fmla="*/ 35370 h 200879"/>
                <a:gd name="connsiteX4" fmla="*/ 55755 w 176040"/>
                <a:gd name="connsiteY4" fmla="*/ 50220 h 200879"/>
                <a:gd name="connsiteX5" fmla="*/ 42255 w 176040"/>
                <a:gd name="connsiteY5" fmla="*/ 72360 h 200879"/>
                <a:gd name="connsiteX6" fmla="*/ 37530 w 176040"/>
                <a:gd name="connsiteY6" fmla="*/ 99900 h 200879"/>
                <a:gd name="connsiteX7" fmla="*/ 42120 w 176040"/>
                <a:gd name="connsiteY7" fmla="*/ 128520 h 200879"/>
                <a:gd name="connsiteX8" fmla="*/ 55215 w 176040"/>
                <a:gd name="connsiteY8" fmla="*/ 150795 h 200879"/>
                <a:gd name="connsiteX9" fmla="*/ 75600 w 176040"/>
                <a:gd name="connsiteY9" fmla="*/ 165240 h 200879"/>
                <a:gd name="connsiteX10" fmla="*/ 102330 w 176040"/>
                <a:gd name="connsiteY10" fmla="*/ 170370 h 200879"/>
                <a:gd name="connsiteX11" fmla="*/ 129600 w 176040"/>
                <a:gd name="connsiteY11" fmla="*/ 164295 h 200879"/>
                <a:gd name="connsiteX12" fmla="*/ 148770 w 176040"/>
                <a:gd name="connsiteY12" fmla="*/ 148230 h 200879"/>
                <a:gd name="connsiteX13" fmla="*/ 176040 w 176040"/>
                <a:gd name="connsiteY13" fmla="*/ 167400 h 200879"/>
                <a:gd name="connsiteX14" fmla="*/ 144990 w 176040"/>
                <a:gd name="connsiteY14" fmla="*/ 192105 h 200879"/>
                <a:gd name="connsiteX15" fmla="*/ 102060 w 176040"/>
                <a:gd name="connsiteY15" fmla="*/ 200880 h 200879"/>
                <a:gd name="connsiteX16" fmla="*/ 60885 w 176040"/>
                <a:gd name="connsiteY16" fmla="*/ 193455 h 200879"/>
                <a:gd name="connsiteX17" fmla="*/ 28620 w 176040"/>
                <a:gd name="connsiteY17" fmla="*/ 172665 h 200879"/>
                <a:gd name="connsiteX18" fmla="*/ 7560 w 176040"/>
                <a:gd name="connsiteY18" fmla="*/ 140805 h 200879"/>
                <a:gd name="connsiteX19" fmla="*/ 0 w 176040"/>
                <a:gd name="connsiteY19" fmla="*/ 99900 h 200879"/>
                <a:gd name="connsiteX20" fmla="*/ 7965 w 176040"/>
                <a:gd name="connsiteY20" fmla="*/ 58455 h 200879"/>
                <a:gd name="connsiteX21" fmla="*/ 29835 w 176040"/>
                <a:gd name="connsiteY21" fmla="*/ 27000 h 200879"/>
                <a:gd name="connsiteX22" fmla="*/ 62640 w 176040"/>
                <a:gd name="connsiteY22" fmla="*/ 7020 h 200879"/>
                <a:gd name="connsiteX23" fmla="*/ 103680 w 176040"/>
                <a:gd name="connsiteY23" fmla="*/ 0 h 200879"/>
                <a:gd name="connsiteX24" fmla="*/ 122850 w 176040"/>
                <a:gd name="connsiteY24" fmla="*/ 1755 h 200879"/>
                <a:gd name="connsiteX25" fmla="*/ 142020 w 176040"/>
                <a:gd name="connsiteY25" fmla="*/ 7155 h 200879"/>
                <a:gd name="connsiteX26" fmla="*/ 159300 w 176040"/>
                <a:gd name="connsiteY26" fmla="*/ 16200 h 200879"/>
                <a:gd name="connsiteX27" fmla="*/ 173070 w 176040"/>
                <a:gd name="connsiteY27" fmla="*/ 29160 h 200879"/>
                <a:gd name="connsiteX28" fmla="*/ 147150 w 176040"/>
                <a:gd name="connsiteY28" fmla="*/ 49680 h 200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76040" h="200879">
                  <a:moveTo>
                    <a:pt x="147150" y="49680"/>
                  </a:moveTo>
                  <a:cubicBezTo>
                    <a:pt x="142110" y="42840"/>
                    <a:pt x="135540" y="37845"/>
                    <a:pt x="127440" y="34695"/>
                  </a:cubicBezTo>
                  <a:cubicBezTo>
                    <a:pt x="119340" y="31545"/>
                    <a:pt x="111420" y="29970"/>
                    <a:pt x="103680" y="29970"/>
                  </a:cubicBezTo>
                  <a:cubicBezTo>
                    <a:pt x="93780" y="29970"/>
                    <a:pt x="84780" y="31770"/>
                    <a:pt x="76680" y="35370"/>
                  </a:cubicBezTo>
                  <a:cubicBezTo>
                    <a:pt x="68580" y="38970"/>
                    <a:pt x="61605" y="43920"/>
                    <a:pt x="55755" y="50220"/>
                  </a:cubicBezTo>
                  <a:cubicBezTo>
                    <a:pt x="49905" y="56520"/>
                    <a:pt x="45405" y="63900"/>
                    <a:pt x="42255" y="72360"/>
                  </a:cubicBezTo>
                  <a:cubicBezTo>
                    <a:pt x="39105" y="80820"/>
                    <a:pt x="37530" y="90000"/>
                    <a:pt x="37530" y="99900"/>
                  </a:cubicBezTo>
                  <a:cubicBezTo>
                    <a:pt x="37530" y="110340"/>
                    <a:pt x="39060" y="119880"/>
                    <a:pt x="42120" y="128520"/>
                  </a:cubicBezTo>
                  <a:cubicBezTo>
                    <a:pt x="45180" y="137160"/>
                    <a:pt x="49545" y="144585"/>
                    <a:pt x="55215" y="150795"/>
                  </a:cubicBezTo>
                  <a:cubicBezTo>
                    <a:pt x="60885" y="157005"/>
                    <a:pt x="67680" y="161820"/>
                    <a:pt x="75600" y="165240"/>
                  </a:cubicBezTo>
                  <a:cubicBezTo>
                    <a:pt x="83520" y="168660"/>
                    <a:pt x="92430" y="170370"/>
                    <a:pt x="102330" y="170370"/>
                  </a:cubicBezTo>
                  <a:cubicBezTo>
                    <a:pt x="112590" y="170370"/>
                    <a:pt x="121680" y="168345"/>
                    <a:pt x="129600" y="164295"/>
                  </a:cubicBezTo>
                  <a:cubicBezTo>
                    <a:pt x="137520" y="160245"/>
                    <a:pt x="143910" y="154890"/>
                    <a:pt x="148770" y="148230"/>
                  </a:cubicBezTo>
                  <a:lnTo>
                    <a:pt x="176040" y="167400"/>
                  </a:lnTo>
                  <a:cubicBezTo>
                    <a:pt x="167580" y="178020"/>
                    <a:pt x="157230" y="186255"/>
                    <a:pt x="144990" y="192105"/>
                  </a:cubicBezTo>
                  <a:cubicBezTo>
                    <a:pt x="132750" y="197955"/>
                    <a:pt x="118440" y="200880"/>
                    <a:pt x="102060" y="200880"/>
                  </a:cubicBezTo>
                  <a:cubicBezTo>
                    <a:pt x="87120" y="200880"/>
                    <a:pt x="73395" y="198405"/>
                    <a:pt x="60885" y="193455"/>
                  </a:cubicBezTo>
                  <a:cubicBezTo>
                    <a:pt x="48375" y="188505"/>
                    <a:pt x="37620" y="181575"/>
                    <a:pt x="28620" y="172665"/>
                  </a:cubicBezTo>
                  <a:cubicBezTo>
                    <a:pt x="19620" y="163755"/>
                    <a:pt x="12600" y="153135"/>
                    <a:pt x="7560" y="140805"/>
                  </a:cubicBezTo>
                  <a:cubicBezTo>
                    <a:pt x="2520" y="128475"/>
                    <a:pt x="0" y="114840"/>
                    <a:pt x="0" y="99900"/>
                  </a:cubicBezTo>
                  <a:cubicBezTo>
                    <a:pt x="0" y="84600"/>
                    <a:pt x="2655" y="70785"/>
                    <a:pt x="7965" y="58455"/>
                  </a:cubicBezTo>
                  <a:cubicBezTo>
                    <a:pt x="13275" y="46125"/>
                    <a:pt x="20565" y="35640"/>
                    <a:pt x="29835" y="27000"/>
                  </a:cubicBezTo>
                  <a:cubicBezTo>
                    <a:pt x="39105" y="18360"/>
                    <a:pt x="50040" y="11700"/>
                    <a:pt x="62640" y="7020"/>
                  </a:cubicBezTo>
                  <a:cubicBezTo>
                    <a:pt x="75240" y="2340"/>
                    <a:pt x="88920" y="0"/>
                    <a:pt x="103680" y="0"/>
                  </a:cubicBezTo>
                  <a:cubicBezTo>
                    <a:pt x="109800" y="0"/>
                    <a:pt x="116190" y="585"/>
                    <a:pt x="122850" y="1755"/>
                  </a:cubicBezTo>
                  <a:cubicBezTo>
                    <a:pt x="129510" y="2925"/>
                    <a:pt x="135900" y="4725"/>
                    <a:pt x="142020" y="7155"/>
                  </a:cubicBezTo>
                  <a:cubicBezTo>
                    <a:pt x="148140" y="9585"/>
                    <a:pt x="153900" y="12600"/>
                    <a:pt x="159300" y="16200"/>
                  </a:cubicBezTo>
                  <a:cubicBezTo>
                    <a:pt x="164700" y="19800"/>
                    <a:pt x="169290" y="24120"/>
                    <a:pt x="173070" y="29160"/>
                  </a:cubicBezTo>
                  <a:lnTo>
                    <a:pt x="147150" y="4968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8" name="Полилиния 537">
              <a:extLst>
                <a:ext uri="{FF2B5EF4-FFF2-40B4-BE49-F238E27FC236}">
                  <a16:creationId xmlns:a16="http://schemas.microsoft.com/office/drawing/2014/main" id="{6266DEF8-C5E8-B745-A742-98E83B3EBFC3}"/>
                </a:ext>
              </a:extLst>
            </p:cNvPr>
            <p:cNvSpPr/>
            <p:nvPr/>
          </p:nvSpPr>
          <p:spPr>
            <a:xfrm>
              <a:off x="5296721" y="4195690"/>
              <a:ext cx="86399" cy="86400"/>
            </a:xfrm>
            <a:custGeom>
              <a:avLst/>
              <a:gdLst>
                <a:gd name="connsiteX0" fmla="*/ 0 w 86399"/>
                <a:gd name="connsiteY0" fmla="*/ 43200 h 86400"/>
                <a:gd name="connsiteX1" fmla="*/ 3375 w 86399"/>
                <a:gd name="connsiteY1" fmla="*/ 26460 h 86400"/>
                <a:gd name="connsiteX2" fmla="*/ 12690 w 86399"/>
                <a:gd name="connsiteY2" fmla="*/ 12690 h 86400"/>
                <a:gd name="connsiteX3" fmla="*/ 26460 w 86399"/>
                <a:gd name="connsiteY3" fmla="*/ 3375 h 86400"/>
                <a:gd name="connsiteX4" fmla="*/ 43200 w 86399"/>
                <a:gd name="connsiteY4" fmla="*/ 0 h 86400"/>
                <a:gd name="connsiteX5" fmla="*/ 59940 w 86399"/>
                <a:gd name="connsiteY5" fmla="*/ 3375 h 86400"/>
                <a:gd name="connsiteX6" fmla="*/ 73710 w 86399"/>
                <a:gd name="connsiteY6" fmla="*/ 12690 h 86400"/>
                <a:gd name="connsiteX7" fmla="*/ 83025 w 86399"/>
                <a:gd name="connsiteY7" fmla="*/ 26460 h 86400"/>
                <a:gd name="connsiteX8" fmla="*/ 86400 w 86399"/>
                <a:gd name="connsiteY8" fmla="*/ 43200 h 86400"/>
                <a:gd name="connsiteX9" fmla="*/ 83025 w 86399"/>
                <a:gd name="connsiteY9" fmla="*/ 59940 h 86400"/>
                <a:gd name="connsiteX10" fmla="*/ 73710 w 86399"/>
                <a:gd name="connsiteY10" fmla="*/ 73710 h 86400"/>
                <a:gd name="connsiteX11" fmla="*/ 59940 w 86399"/>
                <a:gd name="connsiteY11" fmla="*/ 83025 h 86400"/>
                <a:gd name="connsiteX12" fmla="*/ 43200 w 86399"/>
                <a:gd name="connsiteY12" fmla="*/ 86400 h 86400"/>
                <a:gd name="connsiteX13" fmla="*/ 26460 w 86399"/>
                <a:gd name="connsiteY13" fmla="*/ 83025 h 86400"/>
                <a:gd name="connsiteX14" fmla="*/ 12690 w 86399"/>
                <a:gd name="connsiteY14" fmla="*/ 73710 h 86400"/>
                <a:gd name="connsiteX15" fmla="*/ 3375 w 86399"/>
                <a:gd name="connsiteY15" fmla="*/ 59940 h 86400"/>
                <a:gd name="connsiteX16" fmla="*/ 0 w 86399"/>
                <a:gd name="connsiteY16" fmla="*/ 43200 h 86400"/>
                <a:gd name="connsiteX17" fmla="*/ 21060 w 86399"/>
                <a:gd name="connsiteY17" fmla="*/ 43200 h 86400"/>
                <a:gd name="connsiteX18" fmla="*/ 27540 w 86399"/>
                <a:gd name="connsiteY18" fmla="*/ 58860 h 86400"/>
                <a:gd name="connsiteX19" fmla="*/ 43200 w 86399"/>
                <a:gd name="connsiteY19" fmla="*/ 65340 h 86400"/>
                <a:gd name="connsiteX20" fmla="*/ 58860 w 86399"/>
                <a:gd name="connsiteY20" fmla="*/ 58860 h 86400"/>
                <a:gd name="connsiteX21" fmla="*/ 65340 w 86399"/>
                <a:gd name="connsiteY21" fmla="*/ 43200 h 86400"/>
                <a:gd name="connsiteX22" fmla="*/ 58860 w 86399"/>
                <a:gd name="connsiteY22" fmla="*/ 27540 h 86400"/>
                <a:gd name="connsiteX23" fmla="*/ 43200 w 86399"/>
                <a:gd name="connsiteY23" fmla="*/ 21060 h 86400"/>
                <a:gd name="connsiteX24" fmla="*/ 27540 w 86399"/>
                <a:gd name="connsiteY24" fmla="*/ 27540 h 86400"/>
                <a:gd name="connsiteX25" fmla="*/ 21060 w 86399"/>
                <a:gd name="connsiteY25" fmla="*/ 43200 h 8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6399" h="86400">
                  <a:moveTo>
                    <a:pt x="0" y="43200"/>
                  </a:moveTo>
                  <a:cubicBezTo>
                    <a:pt x="0" y="37260"/>
                    <a:pt x="1125" y="31680"/>
                    <a:pt x="3375" y="26460"/>
                  </a:cubicBezTo>
                  <a:cubicBezTo>
                    <a:pt x="5625" y="21240"/>
                    <a:pt x="8730" y="16650"/>
                    <a:pt x="12690" y="12690"/>
                  </a:cubicBezTo>
                  <a:cubicBezTo>
                    <a:pt x="16650" y="8730"/>
                    <a:pt x="21240" y="5625"/>
                    <a:pt x="26460" y="3375"/>
                  </a:cubicBezTo>
                  <a:cubicBezTo>
                    <a:pt x="31680" y="1125"/>
                    <a:pt x="37260" y="0"/>
                    <a:pt x="43200" y="0"/>
                  </a:cubicBezTo>
                  <a:cubicBezTo>
                    <a:pt x="49140" y="0"/>
                    <a:pt x="54720" y="1125"/>
                    <a:pt x="59940" y="3375"/>
                  </a:cubicBezTo>
                  <a:cubicBezTo>
                    <a:pt x="65160" y="5625"/>
                    <a:pt x="69750" y="8730"/>
                    <a:pt x="73710" y="12690"/>
                  </a:cubicBezTo>
                  <a:cubicBezTo>
                    <a:pt x="77670" y="16650"/>
                    <a:pt x="80775" y="21240"/>
                    <a:pt x="83025" y="26460"/>
                  </a:cubicBezTo>
                  <a:cubicBezTo>
                    <a:pt x="85275" y="31680"/>
                    <a:pt x="86400" y="37260"/>
                    <a:pt x="86400" y="43200"/>
                  </a:cubicBezTo>
                  <a:cubicBezTo>
                    <a:pt x="86400" y="49140"/>
                    <a:pt x="85275" y="54720"/>
                    <a:pt x="83025" y="59940"/>
                  </a:cubicBezTo>
                  <a:cubicBezTo>
                    <a:pt x="80775" y="65160"/>
                    <a:pt x="77670" y="69750"/>
                    <a:pt x="73710" y="73710"/>
                  </a:cubicBezTo>
                  <a:cubicBezTo>
                    <a:pt x="69750" y="77670"/>
                    <a:pt x="65160" y="80775"/>
                    <a:pt x="59940" y="83025"/>
                  </a:cubicBezTo>
                  <a:cubicBezTo>
                    <a:pt x="54720" y="85275"/>
                    <a:pt x="49140" y="86400"/>
                    <a:pt x="43200" y="86400"/>
                  </a:cubicBezTo>
                  <a:cubicBezTo>
                    <a:pt x="37260" y="86400"/>
                    <a:pt x="31680" y="85275"/>
                    <a:pt x="26460" y="83025"/>
                  </a:cubicBezTo>
                  <a:cubicBezTo>
                    <a:pt x="21240" y="80775"/>
                    <a:pt x="16650" y="77670"/>
                    <a:pt x="12690" y="73710"/>
                  </a:cubicBezTo>
                  <a:cubicBezTo>
                    <a:pt x="8730" y="69750"/>
                    <a:pt x="5625" y="65160"/>
                    <a:pt x="3375" y="59940"/>
                  </a:cubicBezTo>
                  <a:cubicBezTo>
                    <a:pt x="1125" y="54720"/>
                    <a:pt x="0" y="49140"/>
                    <a:pt x="0" y="43200"/>
                  </a:cubicBezTo>
                  <a:close/>
                  <a:moveTo>
                    <a:pt x="21060" y="43200"/>
                  </a:moveTo>
                  <a:cubicBezTo>
                    <a:pt x="21060" y="49320"/>
                    <a:pt x="23220" y="54540"/>
                    <a:pt x="27540" y="58860"/>
                  </a:cubicBezTo>
                  <a:cubicBezTo>
                    <a:pt x="31860" y="63180"/>
                    <a:pt x="37080" y="65340"/>
                    <a:pt x="43200" y="65340"/>
                  </a:cubicBezTo>
                  <a:cubicBezTo>
                    <a:pt x="49320" y="65340"/>
                    <a:pt x="54540" y="63180"/>
                    <a:pt x="58860" y="58860"/>
                  </a:cubicBezTo>
                  <a:cubicBezTo>
                    <a:pt x="63180" y="54540"/>
                    <a:pt x="65340" y="49320"/>
                    <a:pt x="65340" y="43200"/>
                  </a:cubicBezTo>
                  <a:cubicBezTo>
                    <a:pt x="65340" y="37080"/>
                    <a:pt x="63180" y="31860"/>
                    <a:pt x="58860" y="27540"/>
                  </a:cubicBezTo>
                  <a:cubicBezTo>
                    <a:pt x="54540" y="23220"/>
                    <a:pt x="49320" y="21060"/>
                    <a:pt x="43200" y="21060"/>
                  </a:cubicBezTo>
                  <a:cubicBezTo>
                    <a:pt x="37080" y="21060"/>
                    <a:pt x="31860" y="23220"/>
                    <a:pt x="27540" y="27540"/>
                  </a:cubicBezTo>
                  <a:cubicBezTo>
                    <a:pt x="23220" y="31860"/>
                    <a:pt x="21060" y="37080"/>
                    <a:pt x="21060" y="432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539" name="Рисунок 116">
            <a:extLst>
              <a:ext uri="{FF2B5EF4-FFF2-40B4-BE49-F238E27FC236}">
                <a16:creationId xmlns:a16="http://schemas.microsoft.com/office/drawing/2014/main" id="{1C583694-D470-EB4C-A225-F2C15B794E79}"/>
              </a:ext>
            </a:extLst>
          </p:cNvPr>
          <p:cNvGrpSpPr/>
          <p:nvPr/>
        </p:nvGrpSpPr>
        <p:grpSpPr>
          <a:xfrm>
            <a:off x="4423564" y="3788369"/>
            <a:ext cx="360000" cy="360000"/>
            <a:chOff x="4502769" y="4105091"/>
            <a:chExt cx="360000" cy="360000"/>
          </a:xfrm>
        </p:grpSpPr>
        <p:sp>
          <p:nvSpPr>
            <p:cNvPr id="540" name="Полилиния 539">
              <a:extLst>
                <a:ext uri="{FF2B5EF4-FFF2-40B4-BE49-F238E27FC236}">
                  <a16:creationId xmlns:a16="http://schemas.microsoft.com/office/drawing/2014/main" id="{B6BEE6C3-C54F-074A-88CD-735D40EF0812}"/>
                </a:ext>
              </a:extLst>
            </p:cNvPr>
            <p:cNvSpPr/>
            <p:nvPr/>
          </p:nvSpPr>
          <p:spPr>
            <a:xfrm>
              <a:off x="4502769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1" name="Полилиния 540">
              <a:extLst>
                <a:ext uri="{FF2B5EF4-FFF2-40B4-BE49-F238E27FC236}">
                  <a16:creationId xmlns:a16="http://schemas.microsoft.com/office/drawing/2014/main" id="{45872773-18E6-FB43-89FB-A6CD52E080A0}"/>
                </a:ext>
              </a:extLst>
            </p:cNvPr>
            <p:cNvSpPr/>
            <p:nvPr/>
          </p:nvSpPr>
          <p:spPr>
            <a:xfrm>
              <a:off x="4569015" y="4135091"/>
              <a:ext cx="227525" cy="240000"/>
            </a:xfrm>
            <a:custGeom>
              <a:avLst/>
              <a:gdLst>
                <a:gd name="connsiteX0" fmla="*/ 113754 w 227525"/>
                <a:gd name="connsiteY0" fmla="*/ 0 h 240000"/>
                <a:gd name="connsiteX1" fmla="*/ 178878 w 227525"/>
                <a:gd name="connsiteY1" fmla="*/ 40249 h 240000"/>
                <a:gd name="connsiteX2" fmla="*/ 218754 w 227525"/>
                <a:gd name="connsiteY2" fmla="*/ 120000 h 240000"/>
                <a:gd name="connsiteX3" fmla="*/ 181672 w 227525"/>
                <a:gd name="connsiteY3" fmla="*/ 231246 h 240000"/>
                <a:gd name="connsiteX4" fmla="*/ 144589 w 227525"/>
                <a:gd name="connsiteY4" fmla="*/ 240000 h 240000"/>
                <a:gd name="connsiteX5" fmla="*/ 82918 w 227525"/>
                <a:gd name="connsiteY5" fmla="*/ 240000 h 240000"/>
                <a:gd name="connsiteX6" fmla="*/ 0 w 227525"/>
                <a:gd name="connsiteY6" fmla="*/ 157082 h 240000"/>
                <a:gd name="connsiteX7" fmla="*/ 8754 w 227525"/>
                <a:gd name="connsiteY7" fmla="*/ 120000 h 240000"/>
                <a:gd name="connsiteX8" fmla="*/ 48629 w 227525"/>
                <a:gd name="connsiteY8" fmla="*/ 40249 h 240000"/>
                <a:gd name="connsiteX9" fmla="*/ 113754 w 227525"/>
                <a:gd name="connsiteY9" fmla="*/ 0 h 240000"/>
                <a:gd name="connsiteX10" fmla="*/ 47004 w 227525"/>
                <a:gd name="connsiteY10" fmla="*/ 174000 h 240000"/>
                <a:gd name="connsiteX11" fmla="*/ 113754 w 227525"/>
                <a:gd name="connsiteY11" fmla="*/ 198750 h 240000"/>
                <a:gd name="connsiteX12" fmla="*/ 180504 w 227525"/>
                <a:gd name="connsiteY12" fmla="*/ 174000 h 240000"/>
                <a:gd name="connsiteX13" fmla="*/ 167004 w 227525"/>
                <a:gd name="connsiteY13" fmla="*/ 156000 h 240000"/>
                <a:gd name="connsiteX14" fmla="*/ 113754 w 227525"/>
                <a:gd name="connsiteY14" fmla="*/ 176250 h 240000"/>
                <a:gd name="connsiteX15" fmla="*/ 60504 w 227525"/>
                <a:gd name="connsiteY15" fmla="*/ 156000 h 240000"/>
                <a:gd name="connsiteX16" fmla="*/ 47004 w 227525"/>
                <a:gd name="connsiteY16" fmla="*/ 174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7525" h="240000">
                  <a:moveTo>
                    <a:pt x="113754" y="0"/>
                  </a:moveTo>
                  <a:cubicBezTo>
                    <a:pt x="141333" y="0"/>
                    <a:pt x="166545" y="15582"/>
                    <a:pt x="178878" y="40249"/>
                  </a:cubicBezTo>
                  <a:lnTo>
                    <a:pt x="218754" y="120000"/>
                  </a:lnTo>
                  <a:cubicBezTo>
                    <a:pt x="239233" y="160959"/>
                    <a:pt x="222631" y="210767"/>
                    <a:pt x="181672" y="231246"/>
                  </a:cubicBezTo>
                  <a:cubicBezTo>
                    <a:pt x="170158" y="237003"/>
                    <a:pt x="157462" y="240000"/>
                    <a:pt x="144589" y="240000"/>
                  </a:cubicBezTo>
                  <a:lnTo>
                    <a:pt x="82918" y="240000"/>
                  </a:lnTo>
                  <a:cubicBezTo>
                    <a:pt x="37124" y="240000"/>
                    <a:pt x="0" y="202877"/>
                    <a:pt x="0" y="157082"/>
                  </a:cubicBezTo>
                  <a:cubicBezTo>
                    <a:pt x="0" y="144210"/>
                    <a:pt x="2997" y="131514"/>
                    <a:pt x="8754" y="120000"/>
                  </a:cubicBezTo>
                  <a:lnTo>
                    <a:pt x="48629" y="40249"/>
                  </a:lnTo>
                  <a:cubicBezTo>
                    <a:pt x="60963" y="15582"/>
                    <a:pt x="86175" y="0"/>
                    <a:pt x="113754" y="0"/>
                  </a:cubicBezTo>
                  <a:close/>
                  <a:moveTo>
                    <a:pt x="47004" y="174000"/>
                  </a:moveTo>
                  <a:cubicBezTo>
                    <a:pt x="68849" y="190385"/>
                    <a:pt x="91159" y="198750"/>
                    <a:pt x="113754" y="198750"/>
                  </a:cubicBezTo>
                  <a:cubicBezTo>
                    <a:pt x="136348" y="198750"/>
                    <a:pt x="158659" y="190385"/>
                    <a:pt x="180504" y="174000"/>
                  </a:cubicBezTo>
                  <a:lnTo>
                    <a:pt x="167004" y="156000"/>
                  </a:lnTo>
                  <a:cubicBezTo>
                    <a:pt x="148849" y="169616"/>
                    <a:pt x="131158" y="176250"/>
                    <a:pt x="113754" y="176250"/>
                  </a:cubicBezTo>
                  <a:cubicBezTo>
                    <a:pt x="96349" y="176250"/>
                    <a:pt x="78659" y="169616"/>
                    <a:pt x="60504" y="156000"/>
                  </a:cubicBezTo>
                  <a:lnTo>
                    <a:pt x="47004" y="174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2" name="Полилиния 541">
              <a:extLst>
                <a:ext uri="{FF2B5EF4-FFF2-40B4-BE49-F238E27FC236}">
                  <a16:creationId xmlns:a16="http://schemas.microsoft.com/office/drawing/2014/main" id="{F48E28C4-708B-B941-8FEC-5AD53CC53E0F}"/>
                </a:ext>
              </a:extLst>
            </p:cNvPr>
            <p:cNvSpPr/>
            <p:nvPr/>
          </p:nvSpPr>
          <p:spPr>
            <a:xfrm>
              <a:off x="4593156" y="4361079"/>
              <a:ext cx="179105" cy="82421"/>
            </a:xfrm>
            <a:custGeom>
              <a:avLst/>
              <a:gdLst>
                <a:gd name="connsiteX0" fmla="*/ 2012 w 179105"/>
                <a:gd name="connsiteY0" fmla="*/ 59919 h 82421"/>
                <a:gd name="connsiteX1" fmla="*/ 32012 w 179105"/>
                <a:gd name="connsiteY1" fmla="*/ 7958 h 82421"/>
                <a:gd name="connsiteX2" fmla="*/ 52502 w 179105"/>
                <a:gd name="connsiteY2" fmla="*/ 2468 h 82421"/>
                <a:gd name="connsiteX3" fmla="*/ 57993 w 179105"/>
                <a:gd name="connsiteY3" fmla="*/ 22958 h 82421"/>
                <a:gd name="connsiteX4" fmla="*/ 27993 w 179105"/>
                <a:gd name="connsiteY4" fmla="*/ 74919 h 82421"/>
                <a:gd name="connsiteX5" fmla="*/ 7503 w 179105"/>
                <a:gd name="connsiteY5" fmla="*/ 80409 h 82421"/>
                <a:gd name="connsiteX6" fmla="*/ 2012 w 179105"/>
                <a:gd name="connsiteY6" fmla="*/ 59919 h 82421"/>
                <a:gd name="connsiteX7" fmla="*/ 177094 w 179105"/>
                <a:gd name="connsiteY7" fmla="*/ 59463 h 82421"/>
                <a:gd name="connsiteX8" fmla="*/ 171602 w 179105"/>
                <a:gd name="connsiteY8" fmla="*/ 79955 h 82421"/>
                <a:gd name="connsiteX9" fmla="*/ 151112 w 179105"/>
                <a:gd name="connsiteY9" fmla="*/ 74463 h 82421"/>
                <a:gd name="connsiteX10" fmla="*/ 121112 w 179105"/>
                <a:gd name="connsiteY10" fmla="*/ 22502 h 82421"/>
                <a:gd name="connsiteX11" fmla="*/ 126602 w 179105"/>
                <a:gd name="connsiteY11" fmla="*/ 2012 h 82421"/>
                <a:gd name="connsiteX12" fmla="*/ 147094 w 179105"/>
                <a:gd name="connsiteY12" fmla="*/ 7502 h 82421"/>
                <a:gd name="connsiteX13" fmla="*/ 177094 w 179105"/>
                <a:gd name="connsiteY13" fmla="*/ 59463 h 8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105" h="82421">
                  <a:moveTo>
                    <a:pt x="2012" y="59919"/>
                  </a:moveTo>
                  <a:lnTo>
                    <a:pt x="32012" y="7958"/>
                  </a:lnTo>
                  <a:cubicBezTo>
                    <a:pt x="36154" y="783"/>
                    <a:pt x="45328" y="-1675"/>
                    <a:pt x="52502" y="2468"/>
                  </a:cubicBezTo>
                  <a:cubicBezTo>
                    <a:pt x="59677" y="6609"/>
                    <a:pt x="62135" y="15783"/>
                    <a:pt x="57993" y="22958"/>
                  </a:cubicBezTo>
                  <a:lnTo>
                    <a:pt x="27993" y="74919"/>
                  </a:lnTo>
                  <a:cubicBezTo>
                    <a:pt x="23851" y="82094"/>
                    <a:pt x="14677" y="84551"/>
                    <a:pt x="7503" y="80409"/>
                  </a:cubicBezTo>
                  <a:cubicBezTo>
                    <a:pt x="328" y="76268"/>
                    <a:pt x="-2130" y="67094"/>
                    <a:pt x="2012" y="59919"/>
                  </a:cubicBezTo>
                  <a:close/>
                  <a:moveTo>
                    <a:pt x="177094" y="59463"/>
                  </a:moveTo>
                  <a:cubicBezTo>
                    <a:pt x="181235" y="66638"/>
                    <a:pt x="178777" y="75812"/>
                    <a:pt x="171602" y="79955"/>
                  </a:cubicBezTo>
                  <a:cubicBezTo>
                    <a:pt x="164428" y="84096"/>
                    <a:pt x="155254" y="81638"/>
                    <a:pt x="151112" y="74463"/>
                  </a:cubicBezTo>
                  <a:lnTo>
                    <a:pt x="121112" y="22502"/>
                  </a:lnTo>
                  <a:cubicBezTo>
                    <a:pt x="116971" y="15327"/>
                    <a:pt x="119428" y="6153"/>
                    <a:pt x="126602" y="2012"/>
                  </a:cubicBezTo>
                  <a:cubicBezTo>
                    <a:pt x="133777" y="-2130"/>
                    <a:pt x="142951" y="327"/>
                    <a:pt x="147094" y="7502"/>
                  </a:cubicBezTo>
                  <a:lnTo>
                    <a:pt x="177094" y="59463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43" name="Рисунок 117">
            <a:extLst>
              <a:ext uri="{FF2B5EF4-FFF2-40B4-BE49-F238E27FC236}">
                <a16:creationId xmlns:a16="http://schemas.microsoft.com/office/drawing/2014/main" id="{755DF6DF-08A7-3C43-9FD6-698C874FA1DD}"/>
              </a:ext>
            </a:extLst>
          </p:cNvPr>
          <p:cNvGrpSpPr/>
          <p:nvPr/>
        </p:nvGrpSpPr>
        <p:grpSpPr>
          <a:xfrm>
            <a:off x="3670412" y="3788369"/>
            <a:ext cx="360000" cy="360000"/>
            <a:chOff x="3749617" y="4105091"/>
            <a:chExt cx="360000" cy="360000"/>
          </a:xfrm>
        </p:grpSpPr>
        <p:sp>
          <p:nvSpPr>
            <p:cNvPr id="544" name="Полилиния 543">
              <a:extLst>
                <a:ext uri="{FF2B5EF4-FFF2-40B4-BE49-F238E27FC236}">
                  <a16:creationId xmlns:a16="http://schemas.microsoft.com/office/drawing/2014/main" id="{3E3B9506-58A1-804E-82B0-0F01CF604E60}"/>
                </a:ext>
              </a:extLst>
            </p:cNvPr>
            <p:cNvSpPr/>
            <p:nvPr/>
          </p:nvSpPr>
          <p:spPr>
            <a:xfrm>
              <a:off x="3749617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5" name="Полилиния 544">
              <a:extLst>
                <a:ext uri="{FF2B5EF4-FFF2-40B4-BE49-F238E27FC236}">
                  <a16:creationId xmlns:a16="http://schemas.microsoft.com/office/drawing/2014/main" id="{AA2903DF-5DA4-7140-84A9-C1F67FADD9EA}"/>
                </a:ext>
              </a:extLst>
            </p:cNvPr>
            <p:cNvSpPr/>
            <p:nvPr/>
          </p:nvSpPr>
          <p:spPr>
            <a:xfrm>
              <a:off x="3847239" y="4327024"/>
              <a:ext cx="164636" cy="119473"/>
            </a:xfrm>
            <a:custGeom>
              <a:avLst/>
              <a:gdLst>
                <a:gd name="connsiteX0" fmla="*/ 515 w 164636"/>
                <a:gd name="connsiteY0" fmla="*/ 100589 h 119473"/>
                <a:gd name="connsiteX1" fmla="*/ 24487 w 164636"/>
                <a:gd name="connsiteY1" fmla="*/ 11123 h 119473"/>
                <a:gd name="connsiteX2" fmla="*/ 42858 w 164636"/>
                <a:gd name="connsiteY2" fmla="*/ 515 h 119473"/>
                <a:gd name="connsiteX3" fmla="*/ 53465 w 164636"/>
                <a:gd name="connsiteY3" fmla="*/ 18887 h 119473"/>
                <a:gd name="connsiteX4" fmla="*/ 29493 w 164636"/>
                <a:gd name="connsiteY4" fmla="*/ 108353 h 119473"/>
                <a:gd name="connsiteX5" fmla="*/ 11121 w 164636"/>
                <a:gd name="connsiteY5" fmla="*/ 118959 h 119473"/>
                <a:gd name="connsiteX6" fmla="*/ 515 w 164636"/>
                <a:gd name="connsiteY6" fmla="*/ 100589 h 119473"/>
                <a:gd name="connsiteX7" fmla="*/ 164122 w 164636"/>
                <a:gd name="connsiteY7" fmla="*/ 100133 h 119473"/>
                <a:gd name="connsiteX8" fmla="*/ 153515 w 164636"/>
                <a:gd name="connsiteY8" fmla="*/ 118505 h 119473"/>
                <a:gd name="connsiteX9" fmla="*/ 135143 w 164636"/>
                <a:gd name="connsiteY9" fmla="*/ 107897 h 119473"/>
                <a:gd name="connsiteX10" fmla="*/ 115600 w 164636"/>
                <a:gd name="connsiteY10" fmla="*/ 34961 h 119473"/>
                <a:gd name="connsiteX11" fmla="*/ 126208 w 164636"/>
                <a:gd name="connsiteY11" fmla="*/ 16590 h 119473"/>
                <a:gd name="connsiteX12" fmla="*/ 144578 w 164636"/>
                <a:gd name="connsiteY12" fmla="*/ 27197 h 119473"/>
                <a:gd name="connsiteX13" fmla="*/ 164122 w 164636"/>
                <a:gd name="connsiteY13" fmla="*/ 100133 h 119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4636" h="119473">
                  <a:moveTo>
                    <a:pt x="515" y="100589"/>
                  </a:moveTo>
                  <a:lnTo>
                    <a:pt x="24487" y="11123"/>
                  </a:lnTo>
                  <a:cubicBezTo>
                    <a:pt x="26631" y="3120"/>
                    <a:pt x="34856" y="-1629"/>
                    <a:pt x="42858" y="515"/>
                  </a:cubicBezTo>
                  <a:cubicBezTo>
                    <a:pt x="50860" y="2660"/>
                    <a:pt x="55609" y="10884"/>
                    <a:pt x="53465" y="18887"/>
                  </a:cubicBezTo>
                  <a:lnTo>
                    <a:pt x="29493" y="108353"/>
                  </a:lnTo>
                  <a:cubicBezTo>
                    <a:pt x="27348" y="116355"/>
                    <a:pt x="19123" y="121103"/>
                    <a:pt x="11121" y="118959"/>
                  </a:cubicBezTo>
                  <a:cubicBezTo>
                    <a:pt x="3119" y="116816"/>
                    <a:pt x="-1629" y="108590"/>
                    <a:pt x="515" y="100589"/>
                  </a:cubicBezTo>
                  <a:close/>
                  <a:moveTo>
                    <a:pt x="164122" y="100133"/>
                  </a:moveTo>
                  <a:cubicBezTo>
                    <a:pt x="166265" y="108135"/>
                    <a:pt x="161516" y="116360"/>
                    <a:pt x="153515" y="118505"/>
                  </a:cubicBezTo>
                  <a:cubicBezTo>
                    <a:pt x="145513" y="120648"/>
                    <a:pt x="137288" y="115899"/>
                    <a:pt x="135143" y="107897"/>
                  </a:cubicBezTo>
                  <a:lnTo>
                    <a:pt x="115600" y="34961"/>
                  </a:lnTo>
                  <a:cubicBezTo>
                    <a:pt x="113456" y="26958"/>
                    <a:pt x="118205" y="18734"/>
                    <a:pt x="126208" y="16590"/>
                  </a:cubicBezTo>
                  <a:cubicBezTo>
                    <a:pt x="134209" y="14445"/>
                    <a:pt x="142435" y="19194"/>
                    <a:pt x="144578" y="27197"/>
                  </a:cubicBezTo>
                  <a:lnTo>
                    <a:pt x="164122" y="100133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6" name="Полилиния 545">
              <a:extLst>
                <a:ext uri="{FF2B5EF4-FFF2-40B4-BE49-F238E27FC236}">
                  <a16:creationId xmlns:a16="http://schemas.microsoft.com/office/drawing/2014/main" id="{647EFBCE-7AF6-8747-91EB-6E286CA83718}"/>
                </a:ext>
              </a:extLst>
            </p:cNvPr>
            <p:cNvSpPr/>
            <p:nvPr/>
          </p:nvSpPr>
          <p:spPr>
            <a:xfrm>
              <a:off x="3809617" y="4120091"/>
              <a:ext cx="240000" cy="240000"/>
            </a:xfrm>
            <a:custGeom>
              <a:avLst/>
              <a:gdLst>
                <a:gd name="connsiteX0" fmla="*/ 50414 w 240000"/>
                <a:gd name="connsiteY0" fmla="*/ 0 h 240000"/>
                <a:gd name="connsiteX1" fmla="*/ 189586 w 240000"/>
                <a:gd name="connsiteY1" fmla="*/ 0 h 240000"/>
                <a:gd name="connsiteX2" fmla="*/ 219586 w 240000"/>
                <a:gd name="connsiteY2" fmla="*/ 30000 h 240000"/>
                <a:gd name="connsiteX3" fmla="*/ 219179 w 240000"/>
                <a:gd name="connsiteY3" fmla="*/ 34932 h 240000"/>
                <a:gd name="connsiteX4" fmla="*/ 196044 w 240000"/>
                <a:gd name="connsiteY4" fmla="*/ 173733 h 240000"/>
                <a:gd name="connsiteX5" fmla="*/ 188646 w 240000"/>
                <a:gd name="connsiteY5" fmla="*/ 180000 h 240000"/>
                <a:gd name="connsiteX6" fmla="*/ 51353 w 240000"/>
                <a:gd name="connsiteY6" fmla="*/ 180000 h 240000"/>
                <a:gd name="connsiteX7" fmla="*/ 43956 w 240000"/>
                <a:gd name="connsiteY7" fmla="*/ 173733 h 240000"/>
                <a:gd name="connsiteX8" fmla="*/ 20822 w 240000"/>
                <a:gd name="connsiteY8" fmla="*/ 34932 h 240000"/>
                <a:gd name="connsiteX9" fmla="*/ 45482 w 240000"/>
                <a:gd name="connsiteY9" fmla="*/ 408 h 240000"/>
                <a:gd name="connsiteX10" fmla="*/ 50414 w 240000"/>
                <a:gd name="connsiteY10" fmla="*/ 0 h 240000"/>
                <a:gd name="connsiteX11" fmla="*/ 22500 w 240000"/>
                <a:gd name="connsiteY11" fmla="*/ 195000 h 240000"/>
                <a:gd name="connsiteX12" fmla="*/ 217500 w 240000"/>
                <a:gd name="connsiteY12" fmla="*/ 195000 h 240000"/>
                <a:gd name="connsiteX13" fmla="*/ 240000 w 240000"/>
                <a:gd name="connsiteY13" fmla="*/ 217500 h 240000"/>
                <a:gd name="connsiteX14" fmla="*/ 217500 w 240000"/>
                <a:gd name="connsiteY14" fmla="*/ 240000 h 240000"/>
                <a:gd name="connsiteX15" fmla="*/ 22500 w 240000"/>
                <a:gd name="connsiteY15" fmla="*/ 240000 h 240000"/>
                <a:gd name="connsiteX16" fmla="*/ 0 w 240000"/>
                <a:gd name="connsiteY16" fmla="*/ 217500 h 240000"/>
                <a:gd name="connsiteX17" fmla="*/ 22500 w 240000"/>
                <a:gd name="connsiteY17" fmla="*/ 195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000" h="240000">
                  <a:moveTo>
                    <a:pt x="50414" y="0"/>
                  </a:moveTo>
                  <a:lnTo>
                    <a:pt x="189586" y="0"/>
                  </a:lnTo>
                  <a:cubicBezTo>
                    <a:pt x="206154" y="0"/>
                    <a:pt x="219586" y="13431"/>
                    <a:pt x="219586" y="30000"/>
                  </a:cubicBezTo>
                  <a:cubicBezTo>
                    <a:pt x="219586" y="31652"/>
                    <a:pt x="219450" y="33302"/>
                    <a:pt x="219179" y="34932"/>
                  </a:cubicBezTo>
                  <a:lnTo>
                    <a:pt x="196044" y="173733"/>
                  </a:lnTo>
                  <a:cubicBezTo>
                    <a:pt x="195442" y="177350"/>
                    <a:pt x="192314" y="180000"/>
                    <a:pt x="188646" y="180000"/>
                  </a:cubicBezTo>
                  <a:lnTo>
                    <a:pt x="51353" y="180000"/>
                  </a:lnTo>
                  <a:cubicBezTo>
                    <a:pt x="47687" y="180000"/>
                    <a:pt x="44558" y="177350"/>
                    <a:pt x="43956" y="173733"/>
                  </a:cubicBezTo>
                  <a:lnTo>
                    <a:pt x="20822" y="34932"/>
                  </a:lnTo>
                  <a:cubicBezTo>
                    <a:pt x="18098" y="18589"/>
                    <a:pt x="29139" y="3132"/>
                    <a:pt x="45482" y="408"/>
                  </a:cubicBezTo>
                  <a:cubicBezTo>
                    <a:pt x="47112" y="136"/>
                    <a:pt x="48761" y="0"/>
                    <a:pt x="50414" y="0"/>
                  </a:cubicBezTo>
                  <a:close/>
                  <a:moveTo>
                    <a:pt x="22500" y="195000"/>
                  </a:moveTo>
                  <a:lnTo>
                    <a:pt x="217500" y="195000"/>
                  </a:lnTo>
                  <a:cubicBezTo>
                    <a:pt x="229926" y="195000"/>
                    <a:pt x="240000" y="205074"/>
                    <a:pt x="240000" y="217500"/>
                  </a:cubicBezTo>
                  <a:cubicBezTo>
                    <a:pt x="240000" y="229926"/>
                    <a:pt x="229926" y="240000"/>
                    <a:pt x="217500" y="240000"/>
                  </a:cubicBezTo>
                  <a:lnTo>
                    <a:pt x="22500" y="240000"/>
                  </a:lnTo>
                  <a:cubicBezTo>
                    <a:pt x="10074" y="240000"/>
                    <a:pt x="0" y="229926"/>
                    <a:pt x="0" y="217500"/>
                  </a:cubicBezTo>
                  <a:cubicBezTo>
                    <a:pt x="0" y="205074"/>
                    <a:pt x="10074" y="195000"/>
                    <a:pt x="22500" y="195000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47" name="Рисунок 118">
            <a:extLst>
              <a:ext uri="{FF2B5EF4-FFF2-40B4-BE49-F238E27FC236}">
                <a16:creationId xmlns:a16="http://schemas.microsoft.com/office/drawing/2014/main" id="{032429FD-CE32-DB49-A2BA-31D3BB8F2E43}"/>
              </a:ext>
            </a:extLst>
          </p:cNvPr>
          <p:cNvGrpSpPr/>
          <p:nvPr/>
        </p:nvGrpSpPr>
        <p:grpSpPr>
          <a:xfrm>
            <a:off x="2917260" y="3788369"/>
            <a:ext cx="360000" cy="360000"/>
            <a:chOff x="2996465" y="4105091"/>
            <a:chExt cx="360000" cy="360000"/>
          </a:xfrm>
        </p:grpSpPr>
        <p:sp>
          <p:nvSpPr>
            <p:cNvPr id="548" name="Полилиния 547">
              <a:extLst>
                <a:ext uri="{FF2B5EF4-FFF2-40B4-BE49-F238E27FC236}">
                  <a16:creationId xmlns:a16="http://schemas.microsoft.com/office/drawing/2014/main" id="{B8BAAFFE-4831-2543-89EB-E6DBAAD4D8C8}"/>
                </a:ext>
              </a:extLst>
            </p:cNvPr>
            <p:cNvSpPr/>
            <p:nvPr/>
          </p:nvSpPr>
          <p:spPr>
            <a:xfrm>
              <a:off x="2996465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9" name="Скругленный прямоугольник 548">
              <a:extLst>
                <a:ext uri="{FF2B5EF4-FFF2-40B4-BE49-F238E27FC236}">
                  <a16:creationId xmlns:a16="http://schemas.microsoft.com/office/drawing/2014/main" id="{63DB17D8-C204-8D4D-8697-93310BEAA2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76465" y="4166277"/>
              <a:ext cx="46800" cy="202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0" name="Скругленный прямоугольник 549">
              <a:extLst>
                <a:ext uri="{FF2B5EF4-FFF2-40B4-BE49-F238E27FC236}">
                  <a16:creationId xmlns:a16="http://schemas.microsoft.com/office/drawing/2014/main" id="{4F282B0E-47FC-4942-BBC6-1450BEEE1C9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01465" y="4244277"/>
              <a:ext cx="46800" cy="124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1" name="Полилиния 550">
              <a:extLst>
                <a:ext uri="{FF2B5EF4-FFF2-40B4-BE49-F238E27FC236}">
                  <a16:creationId xmlns:a16="http://schemas.microsoft.com/office/drawing/2014/main" id="{88461F97-77A3-3843-9429-7D9907F1990E}"/>
                </a:ext>
              </a:extLst>
            </p:cNvPr>
            <p:cNvSpPr/>
            <p:nvPr/>
          </p:nvSpPr>
          <p:spPr>
            <a:xfrm>
              <a:off x="3041465" y="4150091"/>
              <a:ext cx="270000" cy="270000"/>
            </a:xfrm>
            <a:custGeom>
              <a:avLst/>
              <a:gdLst>
                <a:gd name="connsiteX0" fmla="*/ 30000 w 270000"/>
                <a:gd name="connsiteY0" fmla="*/ 240000 h 270000"/>
                <a:gd name="connsiteX1" fmla="*/ 255000 w 270000"/>
                <a:gd name="connsiteY1" fmla="*/ 240000 h 270000"/>
                <a:gd name="connsiteX2" fmla="*/ 270000 w 270000"/>
                <a:gd name="connsiteY2" fmla="*/ 255000 h 270000"/>
                <a:gd name="connsiteX3" fmla="*/ 255000 w 270000"/>
                <a:gd name="connsiteY3" fmla="*/ 270000 h 270000"/>
                <a:gd name="connsiteX4" fmla="*/ 15000 w 270000"/>
                <a:gd name="connsiteY4" fmla="*/ 270000 h 270000"/>
                <a:gd name="connsiteX5" fmla="*/ 0 w 270000"/>
                <a:gd name="connsiteY5" fmla="*/ 255000 h 270000"/>
                <a:gd name="connsiteX6" fmla="*/ 0 w 270000"/>
                <a:gd name="connsiteY6" fmla="*/ 15000 h 270000"/>
                <a:gd name="connsiteX7" fmla="*/ 15000 w 270000"/>
                <a:gd name="connsiteY7" fmla="*/ 0 h 270000"/>
                <a:gd name="connsiteX8" fmla="*/ 30000 w 270000"/>
                <a:gd name="connsiteY8" fmla="*/ 15000 h 270000"/>
                <a:gd name="connsiteX9" fmla="*/ 30000 w 270000"/>
                <a:gd name="connsiteY9" fmla="*/ 24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00" h="270000">
                  <a:moveTo>
                    <a:pt x="30000" y="240000"/>
                  </a:moveTo>
                  <a:lnTo>
                    <a:pt x="255000" y="240000"/>
                  </a:lnTo>
                  <a:cubicBezTo>
                    <a:pt x="263285" y="240000"/>
                    <a:pt x="270000" y="246716"/>
                    <a:pt x="270000" y="255000"/>
                  </a:cubicBezTo>
                  <a:cubicBezTo>
                    <a:pt x="270000" y="263285"/>
                    <a:pt x="263285" y="270000"/>
                    <a:pt x="255000" y="270000"/>
                  </a:cubicBezTo>
                  <a:lnTo>
                    <a:pt x="15000" y="270000"/>
                  </a:lnTo>
                  <a:cubicBezTo>
                    <a:pt x="6716" y="270000"/>
                    <a:pt x="0" y="263285"/>
                    <a:pt x="0" y="25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ubicBezTo>
                    <a:pt x="23284" y="0"/>
                    <a:pt x="30000" y="6716"/>
                    <a:pt x="30000" y="15000"/>
                  </a:cubicBezTo>
                  <a:lnTo>
                    <a:pt x="30000" y="24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2" name="Скругленный прямоугольник 551">
              <a:extLst>
                <a:ext uri="{FF2B5EF4-FFF2-40B4-BE49-F238E27FC236}">
                  <a16:creationId xmlns:a16="http://schemas.microsoft.com/office/drawing/2014/main" id="{E4134C38-5DCC-5D42-BDB3-073AD0883C1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51465" y="4275477"/>
              <a:ext cx="46800" cy="93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53" name="Рисунок 119">
            <a:extLst>
              <a:ext uri="{FF2B5EF4-FFF2-40B4-BE49-F238E27FC236}">
                <a16:creationId xmlns:a16="http://schemas.microsoft.com/office/drawing/2014/main" id="{00EFA0B9-6F7C-6640-A586-0A27C47A4185}"/>
              </a:ext>
            </a:extLst>
          </p:cNvPr>
          <p:cNvGrpSpPr/>
          <p:nvPr/>
        </p:nvGrpSpPr>
        <p:grpSpPr>
          <a:xfrm>
            <a:off x="2164108" y="3788369"/>
            <a:ext cx="360000" cy="360000"/>
            <a:chOff x="2243313" y="4105091"/>
            <a:chExt cx="360000" cy="360000"/>
          </a:xfrm>
        </p:grpSpPr>
        <p:sp>
          <p:nvSpPr>
            <p:cNvPr id="554" name="Полилиния 553">
              <a:extLst>
                <a:ext uri="{FF2B5EF4-FFF2-40B4-BE49-F238E27FC236}">
                  <a16:creationId xmlns:a16="http://schemas.microsoft.com/office/drawing/2014/main" id="{802DB91A-3E3E-2B49-AF0E-8641E82CE46A}"/>
                </a:ext>
              </a:extLst>
            </p:cNvPr>
            <p:cNvSpPr/>
            <p:nvPr/>
          </p:nvSpPr>
          <p:spPr>
            <a:xfrm>
              <a:off x="2243313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5" name="Скругленный прямоугольник 554">
              <a:extLst>
                <a:ext uri="{FF2B5EF4-FFF2-40B4-BE49-F238E27FC236}">
                  <a16:creationId xmlns:a16="http://schemas.microsoft.com/office/drawing/2014/main" id="{51175C1F-3B79-574B-BA69-45E2FD92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98313" y="4160362"/>
              <a:ext cx="46800" cy="202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6" name="Скругленный прямоугольник 555">
              <a:extLst>
                <a:ext uri="{FF2B5EF4-FFF2-40B4-BE49-F238E27FC236}">
                  <a16:creationId xmlns:a16="http://schemas.microsoft.com/office/drawing/2014/main" id="{0B9E193E-26EF-5042-86D0-195EA353D1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23313" y="4238362"/>
              <a:ext cx="46800" cy="124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7" name="Полилиния 556">
              <a:extLst>
                <a:ext uri="{FF2B5EF4-FFF2-40B4-BE49-F238E27FC236}">
                  <a16:creationId xmlns:a16="http://schemas.microsoft.com/office/drawing/2014/main" id="{72599C4A-3B24-2944-A762-F6439B8DD915}"/>
                </a:ext>
              </a:extLst>
            </p:cNvPr>
            <p:cNvSpPr/>
            <p:nvPr/>
          </p:nvSpPr>
          <p:spPr>
            <a:xfrm>
              <a:off x="2288313" y="4150091"/>
              <a:ext cx="270000" cy="270000"/>
            </a:xfrm>
            <a:custGeom>
              <a:avLst/>
              <a:gdLst>
                <a:gd name="connsiteX0" fmla="*/ 30000 w 270000"/>
                <a:gd name="connsiteY0" fmla="*/ 240000 h 270000"/>
                <a:gd name="connsiteX1" fmla="*/ 255000 w 270000"/>
                <a:gd name="connsiteY1" fmla="*/ 240000 h 270000"/>
                <a:gd name="connsiteX2" fmla="*/ 270000 w 270000"/>
                <a:gd name="connsiteY2" fmla="*/ 255000 h 270000"/>
                <a:gd name="connsiteX3" fmla="*/ 255000 w 270000"/>
                <a:gd name="connsiteY3" fmla="*/ 270000 h 270000"/>
                <a:gd name="connsiteX4" fmla="*/ 15000 w 270000"/>
                <a:gd name="connsiteY4" fmla="*/ 270000 h 270000"/>
                <a:gd name="connsiteX5" fmla="*/ 0 w 270000"/>
                <a:gd name="connsiteY5" fmla="*/ 255000 h 270000"/>
                <a:gd name="connsiteX6" fmla="*/ 0 w 270000"/>
                <a:gd name="connsiteY6" fmla="*/ 15000 h 270000"/>
                <a:gd name="connsiteX7" fmla="*/ 15000 w 270000"/>
                <a:gd name="connsiteY7" fmla="*/ 0 h 270000"/>
                <a:gd name="connsiteX8" fmla="*/ 30000 w 270000"/>
                <a:gd name="connsiteY8" fmla="*/ 15000 h 270000"/>
                <a:gd name="connsiteX9" fmla="*/ 30000 w 270000"/>
                <a:gd name="connsiteY9" fmla="*/ 24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00" h="270000">
                  <a:moveTo>
                    <a:pt x="30000" y="240000"/>
                  </a:moveTo>
                  <a:lnTo>
                    <a:pt x="255000" y="240000"/>
                  </a:lnTo>
                  <a:cubicBezTo>
                    <a:pt x="263285" y="240000"/>
                    <a:pt x="270000" y="246716"/>
                    <a:pt x="270000" y="255000"/>
                  </a:cubicBezTo>
                  <a:cubicBezTo>
                    <a:pt x="270000" y="263285"/>
                    <a:pt x="263285" y="270000"/>
                    <a:pt x="255000" y="270000"/>
                  </a:cubicBezTo>
                  <a:lnTo>
                    <a:pt x="15000" y="270000"/>
                  </a:lnTo>
                  <a:cubicBezTo>
                    <a:pt x="6716" y="270000"/>
                    <a:pt x="0" y="263285"/>
                    <a:pt x="0" y="25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ubicBezTo>
                    <a:pt x="23284" y="0"/>
                    <a:pt x="30000" y="6716"/>
                    <a:pt x="30000" y="15000"/>
                  </a:cubicBezTo>
                  <a:lnTo>
                    <a:pt x="30000" y="24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8" name="Скругленный прямоугольник 557">
              <a:extLst>
                <a:ext uri="{FF2B5EF4-FFF2-40B4-BE49-F238E27FC236}">
                  <a16:creationId xmlns:a16="http://schemas.microsoft.com/office/drawing/2014/main" id="{802EB0AC-14C1-2C4B-B99C-7230C45120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48313" y="4269562"/>
              <a:ext cx="46800" cy="93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59" name="Рисунок 120">
            <a:extLst>
              <a:ext uri="{FF2B5EF4-FFF2-40B4-BE49-F238E27FC236}">
                <a16:creationId xmlns:a16="http://schemas.microsoft.com/office/drawing/2014/main" id="{4AB7E726-2149-0C40-B149-F89674D371B6}"/>
              </a:ext>
            </a:extLst>
          </p:cNvPr>
          <p:cNvGrpSpPr/>
          <p:nvPr/>
        </p:nvGrpSpPr>
        <p:grpSpPr>
          <a:xfrm>
            <a:off x="1410956" y="3788369"/>
            <a:ext cx="360000" cy="360000"/>
            <a:chOff x="1490161" y="4105091"/>
            <a:chExt cx="360000" cy="360000"/>
          </a:xfrm>
        </p:grpSpPr>
        <p:sp>
          <p:nvSpPr>
            <p:cNvPr id="560" name="Полилиния 559">
              <a:extLst>
                <a:ext uri="{FF2B5EF4-FFF2-40B4-BE49-F238E27FC236}">
                  <a16:creationId xmlns:a16="http://schemas.microsoft.com/office/drawing/2014/main" id="{C3ED92B0-09CE-4A41-8C43-FA701D5BD5C2}"/>
                </a:ext>
              </a:extLst>
            </p:cNvPr>
            <p:cNvSpPr/>
            <p:nvPr/>
          </p:nvSpPr>
          <p:spPr>
            <a:xfrm>
              <a:off x="1490161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1" name="Скругленный прямоугольник 560">
              <a:extLst>
                <a:ext uri="{FF2B5EF4-FFF2-40B4-BE49-F238E27FC236}">
                  <a16:creationId xmlns:a16="http://schemas.microsoft.com/office/drawing/2014/main" id="{ADF96D20-2C3C-3442-B54B-B0F320A92B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5161" y="4160886"/>
              <a:ext cx="46800" cy="202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2" name="Скругленный прямоугольник 561">
              <a:extLst>
                <a:ext uri="{FF2B5EF4-FFF2-40B4-BE49-F238E27FC236}">
                  <a16:creationId xmlns:a16="http://schemas.microsoft.com/office/drawing/2014/main" id="{AAA43719-C05B-E14A-BF15-684BE7EC00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70161" y="4238886"/>
              <a:ext cx="46800" cy="1248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3" name="Полилиния 562">
              <a:extLst>
                <a:ext uri="{FF2B5EF4-FFF2-40B4-BE49-F238E27FC236}">
                  <a16:creationId xmlns:a16="http://schemas.microsoft.com/office/drawing/2014/main" id="{14BC5C7B-8013-EA4F-8C8E-ED1C23F1A7CF}"/>
                </a:ext>
              </a:extLst>
            </p:cNvPr>
            <p:cNvSpPr/>
            <p:nvPr/>
          </p:nvSpPr>
          <p:spPr>
            <a:xfrm>
              <a:off x="1535161" y="4150091"/>
              <a:ext cx="270000" cy="270000"/>
            </a:xfrm>
            <a:custGeom>
              <a:avLst/>
              <a:gdLst>
                <a:gd name="connsiteX0" fmla="*/ 30000 w 270000"/>
                <a:gd name="connsiteY0" fmla="*/ 240000 h 270000"/>
                <a:gd name="connsiteX1" fmla="*/ 255000 w 270000"/>
                <a:gd name="connsiteY1" fmla="*/ 240000 h 270000"/>
                <a:gd name="connsiteX2" fmla="*/ 270000 w 270000"/>
                <a:gd name="connsiteY2" fmla="*/ 255000 h 270000"/>
                <a:gd name="connsiteX3" fmla="*/ 255000 w 270000"/>
                <a:gd name="connsiteY3" fmla="*/ 270000 h 270000"/>
                <a:gd name="connsiteX4" fmla="*/ 15000 w 270000"/>
                <a:gd name="connsiteY4" fmla="*/ 270000 h 270000"/>
                <a:gd name="connsiteX5" fmla="*/ 0 w 270000"/>
                <a:gd name="connsiteY5" fmla="*/ 255000 h 270000"/>
                <a:gd name="connsiteX6" fmla="*/ 0 w 270000"/>
                <a:gd name="connsiteY6" fmla="*/ 15000 h 270000"/>
                <a:gd name="connsiteX7" fmla="*/ 15000 w 270000"/>
                <a:gd name="connsiteY7" fmla="*/ 0 h 270000"/>
                <a:gd name="connsiteX8" fmla="*/ 30000 w 270000"/>
                <a:gd name="connsiteY8" fmla="*/ 15000 h 270000"/>
                <a:gd name="connsiteX9" fmla="*/ 30000 w 270000"/>
                <a:gd name="connsiteY9" fmla="*/ 24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00" h="270000">
                  <a:moveTo>
                    <a:pt x="30000" y="240000"/>
                  </a:moveTo>
                  <a:lnTo>
                    <a:pt x="255000" y="240000"/>
                  </a:lnTo>
                  <a:cubicBezTo>
                    <a:pt x="263285" y="240000"/>
                    <a:pt x="270000" y="246716"/>
                    <a:pt x="270000" y="255000"/>
                  </a:cubicBezTo>
                  <a:cubicBezTo>
                    <a:pt x="270000" y="263285"/>
                    <a:pt x="263285" y="270000"/>
                    <a:pt x="255000" y="270000"/>
                  </a:cubicBezTo>
                  <a:lnTo>
                    <a:pt x="15000" y="270000"/>
                  </a:lnTo>
                  <a:cubicBezTo>
                    <a:pt x="6716" y="270000"/>
                    <a:pt x="0" y="263285"/>
                    <a:pt x="0" y="25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ubicBezTo>
                    <a:pt x="23284" y="0"/>
                    <a:pt x="30000" y="6716"/>
                    <a:pt x="30000" y="15000"/>
                  </a:cubicBezTo>
                  <a:lnTo>
                    <a:pt x="30000" y="24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4" name="Скругленный прямоугольник 563">
              <a:extLst>
                <a:ext uri="{FF2B5EF4-FFF2-40B4-BE49-F238E27FC236}">
                  <a16:creationId xmlns:a16="http://schemas.microsoft.com/office/drawing/2014/main" id="{5FFF2D44-CE84-4642-BFD7-A7AD582711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45161" y="4270086"/>
              <a:ext cx="46800" cy="936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65" name="Рисунок 121">
            <a:extLst>
              <a:ext uri="{FF2B5EF4-FFF2-40B4-BE49-F238E27FC236}">
                <a16:creationId xmlns:a16="http://schemas.microsoft.com/office/drawing/2014/main" id="{BB5546B6-89A5-D342-9763-B5A0EABE4717}"/>
              </a:ext>
            </a:extLst>
          </p:cNvPr>
          <p:cNvGrpSpPr/>
          <p:nvPr/>
        </p:nvGrpSpPr>
        <p:grpSpPr>
          <a:xfrm>
            <a:off x="657804" y="3788369"/>
            <a:ext cx="360000" cy="360000"/>
            <a:chOff x="737009" y="4105091"/>
            <a:chExt cx="360000" cy="360000"/>
          </a:xfrm>
        </p:grpSpPr>
        <p:sp>
          <p:nvSpPr>
            <p:cNvPr id="566" name="Полилиния 565">
              <a:extLst>
                <a:ext uri="{FF2B5EF4-FFF2-40B4-BE49-F238E27FC236}">
                  <a16:creationId xmlns:a16="http://schemas.microsoft.com/office/drawing/2014/main" id="{7F696C2C-BE9E-A24B-A7B6-DFED257F16EF}"/>
                </a:ext>
              </a:extLst>
            </p:cNvPr>
            <p:cNvSpPr/>
            <p:nvPr/>
          </p:nvSpPr>
          <p:spPr>
            <a:xfrm>
              <a:off x="737009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7" name="Полилиния 566">
              <a:extLst>
                <a:ext uri="{FF2B5EF4-FFF2-40B4-BE49-F238E27FC236}">
                  <a16:creationId xmlns:a16="http://schemas.microsoft.com/office/drawing/2014/main" id="{527C78CF-CD96-C74F-A174-E7A7B60226FE}"/>
                </a:ext>
              </a:extLst>
            </p:cNvPr>
            <p:cNvSpPr/>
            <p:nvPr/>
          </p:nvSpPr>
          <p:spPr>
            <a:xfrm>
              <a:off x="782009" y="4150091"/>
              <a:ext cx="270000" cy="270000"/>
            </a:xfrm>
            <a:custGeom>
              <a:avLst/>
              <a:gdLst>
                <a:gd name="connsiteX0" fmla="*/ 30000 w 270000"/>
                <a:gd name="connsiteY0" fmla="*/ 240000 h 270000"/>
                <a:gd name="connsiteX1" fmla="*/ 255000 w 270000"/>
                <a:gd name="connsiteY1" fmla="*/ 240000 h 270000"/>
                <a:gd name="connsiteX2" fmla="*/ 270000 w 270000"/>
                <a:gd name="connsiteY2" fmla="*/ 255000 h 270000"/>
                <a:gd name="connsiteX3" fmla="*/ 255000 w 270000"/>
                <a:gd name="connsiteY3" fmla="*/ 270000 h 270000"/>
                <a:gd name="connsiteX4" fmla="*/ 15000 w 270000"/>
                <a:gd name="connsiteY4" fmla="*/ 270000 h 270000"/>
                <a:gd name="connsiteX5" fmla="*/ 0 w 270000"/>
                <a:gd name="connsiteY5" fmla="*/ 255000 h 270000"/>
                <a:gd name="connsiteX6" fmla="*/ 0 w 270000"/>
                <a:gd name="connsiteY6" fmla="*/ 15000 h 270000"/>
                <a:gd name="connsiteX7" fmla="*/ 15000 w 270000"/>
                <a:gd name="connsiteY7" fmla="*/ 0 h 270000"/>
                <a:gd name="connsiteX8" fmla="*/ 30000 w 270000"/>
                <a:gd name="connsiteY8" fmla="*/ 15000 h 270000"/>
                <a:gd name="connsiteX9" fmla="*/ 30000 w 270000"/>
                <a:gd name="connsiteY9" fmla="*/ 24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00" h="270000">
                  <a:moveTo>
                    <a:pt x="30000" y="240000"/>
                  </a:moveTo>
                  <a:lnTo>
                    <a:pt x="255000" y="240000"/>
                  </a:lnTo>
                  <a:cubicBezTo>
                    <a:pt x="263285" y="240000"/>
                    <a:pt x="270000" y="246716"/>
                    <a:pt x="270000" y="255000"/>
                  </a:cubicBezTo>
                  <a:cubicBezTo>
                    <a:pt x="270000" y="263285"/>
                    <a:pt x="263285" y="270000"/>
                    <a:pt x="255000" y="270000"/>
                  </a:cubicBezTo>
                  <a:lnTo>
                    <a:pt x="15000" y="270000"/>
                  </a:lnTo>
                  <a:cubicBezTo>
                    <a:pt x="6716" y="270000"/>
                    <a:pt x="0" y="263285"/>
                    <a:pt x="0" y="25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ubicBezTo>
                    <a:pt x="23284" y="0"/>
                    <a:pt x="30000" y="6716"/>
                    <a:pt x="30000" y="15000"/>
                  </a:cubicBezTo>
                  <a:lnTo>
                    <a:pt x="30000" y="24000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568" name="Полилиния 567">
              <a:extLst>
                <a:ext uri="{FF2B5EF4-FFF2-40B4-BE49-F238E27FC236}">
                  <a16:creationId xmlns:a16="http://schemas.microsoft.com/office/drawing/2014/main" id="{8ED3D04E-6359-4D4C-BEE1-4BF64E9664DE}"/>
                </a:ext>
              </a:extLst>
            </p:cNvPr>
            <p:cNvSpPr/>
            <p:nvPr/>
          </p:nvSpPr>
          <p:spPr>
            <a:xfrm>
              <a:off x="842008" y="4202590"/>
              <a:ext cx="210000" cy="127500"/>
            </a:xfrm>
            <a:custGeom>
              <a:avLst/>
              <a:gdLst>
                <a:gd name="connsiteX0" fmla="*/ 25943 w 210000"/>
                <a:gd name="connsiteY0" fmla="*/ 122759 h 127500"/>
                <a:gd name="connsiteX1" fmla="*/ 4741 w 210000"/>
                <a:gd name="connsiteY1" fmla="*/ 123443 h 127500"/>
                <a:gd name="connsiteX2" fmla="*/ 4057 w 210000"/>
                <a:gd name="connsiteY2" fmla="*/ 102242 h 127500"/>
                <a:gd name="connsiteX3" fmla="*/ 60308 w 210000"/>
                <a:gd name="connsiteY3" fmla="*/ 42241 h 127500"/>
                <a:gd name="connsiteX4" fmla="*/ 80987 w 210000"/>
                <a:gd name="connsiteY4" fmla="*/ 41090 h 127500"/>
                <a:gd name="connsiteX5" fmla="*/ 125384 w 210000"/>
                <a:gd name="connsiteY5" fmla="*/ 78976 h 127500"/>
                <a:gd name="connsiteX6" fmla="*/ 183227 w 210000"/>
                <a:gd name="connsiteY6" fmla="*/ 5706 h 127500"/>
                <a:gd name="connsiteX7" fmla="*/ 204294 w 210000"/>
                <a:gd name="connsiteY7" fmla="*/ 3227 h 127500"/>
                <a:gd name="connsiteX8" fmla="*/ 206774 w 210000"/>
                <a:gd name="connsiteY8" fmla="*/ 24295 h 127500"/>
                <a:gd name="connsiteX9" fmla="*/ 139274 w 210000"/>
                <a:gd name="connsiteY9" fmla="*/ 109795 h 127500"/>
                <a:gd name="connsiteX10" fmla="*/ 117764 w 210000"/>
                <a:gd name="connsiteY10" fmla="*/ 111911 h 127500"/>
                <a:gd name="connsiteX11" fmla="*/ 72402 w 210000"/>
                <a:gd name="connsiteY11" fmla="*/ 73204 h 127500"/>
                <a:gd name="connsiteX12" fmla="*/ 25943 w 210000"/>
                <a:gd name="connsiteY12" fmla="*/ 122759 h 12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000" h="127500">
                  <a:moveTo>
                    <a:pt x="25943" y="122759"/>
                  </a:moveTo>
                  <a:cubicBezTo>
                    <a:pt x="20277" y="128804"/>
                    <a:pt x="10785" y="129110"/>
                    <a:pt x="4741" y="123443"/>
                  </a:cubicBezTo>
                  <a:cubicBezTo>
                    <a:pt x="-1303" y="117778"/>
                    <a:pt x="-1609" y="108286"/>
                    <a:pt x="4057" y="102242"/>
                  </a:cubicBezTo>
                  <a:lnTo>
                    <a:pt x="60308" y="42241"/>
                  </a:lnTo>
                  <a:cubicBezTo>
                    <a:pt x="65787" y="36397"/>
                    <a:pt x="74892" y="35890"/>
                    <a:pt x="80987" y="41090"/>
                  </a:cubicBezTo>
                  <a:lnTo>
                    <a:pt x="125384" y="78976"/>
                  </a:lnTo>
                  <a:lnTo>
                    <a:pt x="183227" y="5706"/>
                  </a:lnTo>
                  <a:cubicBezTo>
                    <a:pt x="188360" y="-796"/>
                    <a:pt x="197793" y="-1906"/>
                    <a:pt x="204294" y="3227"/>
                  </a:cubicBezTo>
                  <a:cubicBezTo>
                    <a:pt x="210797" y="8361"/>
                    <a:pt x="211907" y="17793"/>
                    <a:pt x="206774" y="24295"/>
                  </a:cubicBezTo>
                  <a:lnTo>
                    <a:pt x="139274" y="109795"/>
                  </a:lnTo>
                  <a:cubicBezTo>
                    <a:pt x="134001" y="116474"/>
                    <a:pt x="124236" y="117434"/>
                    <a:pt x="117764" y="111911"/>
                  </a:cubicBezTo>
                  <a:lnTo>
                    <a:pt x="72402" y="73204"/>
                  </a:lnTo>
                  <a:lnTo>
                    <a:pt x="25943" y="122759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70" name="Номер слайда 1">
            <a:extLst>
              <a:ext uri="{FF2B5EF4-FFF2-40B4-BE49-F238E27FC236}">
                <a16:creationId xmlns:a16="http://schemas.microsoft.com/office/drawing/2014/main" id="{380DAB9B-EB7E-C647-B5F4-3A9F41AF1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36460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литые иконки</a:t>
            </a:r>
          </a:p>
        </p:txBody>
      </p:sp>
      <p:grpSp>
        <p:nvGrpSpPr>
          <p:cNvPr id="569" name="Рисунок 122">
            <a:extLst>
              <a:ext uri="{FF2B5EF4-FFF2-40B4-BE49-F238E27FC236}">
                <a16:creationId xmlns:a16="http://schemas.microsoft.com/office/drawing/2014/main" id="{7014BDCF-FFE3-3D47-A3EA-55B42D6E9486}"/>
              </a:ext>
            </a:extLst>
          </p:cNvPr>
          <p:cNvGrpSpPr/>
          <p:nvPr/>
        </p:nvGrpSpPr>
        <p:grpSpPr>
          <a:xfrm>
            <a:off x="11244886" y="3115315"/>
            <a:ext cx="360000" cy="360000"/>
            <a:chOff x="11267188" y="3432037"/>
            <a:chExt cx="360000" cy="360000"/>
          </a:xfrm>
        </p:grpSpPr>
        <p:sp>
          <p:nvSpPr>
            <p:cNvPr id="570" name="Полилиния 569">
              <a:extLst>
                <a:ext uri="{FF2B5EF4-FFF2-40B4-BE49-F238E27FC236}">
                  <a16:creationId xmlns:a16="http://schemas.microsoft.com/office/drawing/2014/main" id="{3C7754C2-67C8-DD41-8A5A-E38E41414334}"/>
                </a:ext>
              </a:extLst>
            </p:cNvPr>
            <p:cNvSpPr/>
            <p:nvPr/>
          </p:nvSpPr>
          <p:spPr>
            <a:xfrm>
              <a:off x="11267188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1" name="Полилиния 570">
              <a:extLst>
                <a:ext uri="{FF2B5EF4-FFF2-40B4-BE49-F238E27FC236}">
                  <a16:creationId xmlns:a16="http://schemas.microsoft.com/office/drawing/2014/main" id="{84FAFDD6-B6E5-A048-B5ED-64C905E3715C}"/>
                </a:ext>
              </a:extLst>
            </p:cNvPr>
            <p:cNvSpPr/>
            <p:nvPr/>
          </p:nvSpPr>
          <p:spPr>
            <a:xfrm>
              <a:off x="11357188" y="3522037"/>
              <a:ext cx="195000" cy="195000"/>
            </a:xfrm>
            <a:custGeom>
              <a:avLst/>
              <a:gdLst>
                <a:gd name="connsiteX0" fmla="*/ 97500 w 195000"/>
                <a:gd name="connsiteY0" fmla="*/ 195000 h 195000"/>
                <a:gd name="connsiteX1" fmla="*/ 0 w 195000"/>
                <a:gd name="connsiteY1" fmla="*/ 97500 h 195000"/>
                <a:gd name="connsiteX2" fmla="*/ 97500 w 195000"/>
                <a:gd name="connsiteY2" fmla="*/ 0 h 195000"/>
                <a:gd name="connsiteX3" fmla="*/ 195000 w 195000"/>
                <a:gd name="connsiteY3" fmla="*/ 97500 h 195000"/>
                <a:gd name="connsiteX4" fmla="*/ 97500 w 195000"/>
                <a:gd name="connsiteY4" fmla="*/ 195000 h 195000"/>
                <a:gd name="connsiteX5" fmla="*/ 97500 w 195000"/>
                <a:gd name="connsiteY5" fmla="*/ 156000 h 195000"/>
                <a:gd name="connsiteX6" fmla="*/ 156000 w 195000"/>
                <a:gd name="connsiteY6" fmla="*/ 97500 h 195000"/>
                <a:gd name="connsiteX7" fmla="*/ 97500 w 195000"/>
                <a:gd name="connsiteY7" fmla="*/ 39000 h 195000"/>
                <a:gd name="connsiteX8" fmla="*/ 39000 w 195000"/>
                <a:gd name="connsiteY8" fmla="*/ 97500 h 195000"/>
                <a:gd name="connsiteX9" fmla="*/ 97500 w 195000"/>
                <a:gd name="connsiteY9" fmla="*/ 156000 h 195000"/>
                <a:gd name="connsiteX10" fmla="*/ 97500 w 195000"/>
                <a:gd name="connsiteY10" fmla="*/ 136500 h 195000"/>
                <a:gd name="connsiteX11" fmla="*/ 58500 w 195000"/>
                <a:gd name="connsiteY11" fmla="*/ 97500 h 195000"/>
                <a:gd name="connsiteX12" fmla="*/ 97500 w 195000"/>
                <a:gd name="connsiteY12" fmla="*/ 58500 h 195000"/>
                <a:gd name="connsiteX13" fmla="*/ 136500 w 195000"/>
                <a:gd name="connsiteY13" fmla="*/ 97500 h 195000"/>
                <a:gd name="connsiteX14" fmla="*/ 97500 w 195000"/>
                <a:gd name="connsiteY14" fmla="*/ 1365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5000" h="195000">
                  <a:moveTo>
                    <a:pt x="97500" y="195000"/>
                  </a:moveTo>
                  <a:cubicBezTo>
                    <a:pt x="43652" y="195000"/>
                    <a:pt x="0" y="151348"/>
                    <a:pt x="0" y="97500"/>
                  </a:cubicBezTo>
                  <a:cubicBezTo>
                    <a:pt x="0" y="43652"/>
                    <a:pt x="43652" y="0"/>
                    <a:pt x="97500" y="0"/>
                  </a:cubicBezTo>
                  <a:cubicBezTo>
                    <a:pt x="151348" y="0"/>
                    <a:pt x="195000" y="43652"/>
                    <a:pt x="195000" y="97500"/>
                  </a:cubicBezTo>
                  <a:cubicBezTo>
                    <a:pt x="195000" y="151348"/>
                    <a:pt x="151348" y="195000"/>
                    <a:pt x="97500" y="195000"/>
                  </a:cubicBezTo>
                  <a:close/>
                  <a:moveTo>
                    <a:pt x="97500" y="156000"/>
                  </a:moveTo>
                  <a:cubicBezTo>
                    <a:pt x="129809" y="156000"/>
                    <a:pt x="156000" y="129809"/>
                    <a:pt x="156000" y="97500"/>
                  </a:cubicBezTo>
                  <a:cubicBezTo>
                    <a:pt x="156000" y="65191"/>
                    <a:pt x="129809" y="39000"/>
                    <a:pt x="97500" y="39000"/>
                  </a:cubicBezTo>
                  <a:cubicBezTo>
                    <a:pt x="65191" y="39000"/>
                    <a:pt x="39000" y="65191"/>
                    <a:pt x="39000" y="97500"/>
                  </a:cubicBezTo>
                  <a:cubicBezTo>
                    <a:pt x="39000" y="129809"/>
                    <a:pt x="65191" y="156000"/>
                    <a:pt x="97500" y="156000"/>
                  </a:cubicBezTo>
                  <a:close/>
                  <a:moveTo>
                    <a:pt x="97500" y="136500"/>
                  </a:moveTo>
                  <a:cubicBezTo>
                    <a:pt x="75962" y="136500"/>
                    <a:pt x="58500" y="119038"/>
                    <a:pt x="58500" y="97500"/>
                  </a:cubicBezTo>
                  <a:cubicBezTo>
                    <a:pt x="58500" y="75962"/>
                    <a:pt x="75962" y="58500"/>
                    <a:pt x="97500" y="58500"/>
                  </a:cubicBezTo>
                  <a:cubicBezTo>
                    <a:pt x="119038" y="58500"/>
                    <a:pt x="136500" y="75962"/>
                    <a:pt x="136500" y="97500"/>
                  </a:cubicBezTo>
                  <a:cubicBezTo>
                    <a:pt x="136500" y="119038"/>
                    <a:pt x="119038" y="136500"/>
                    <a:pt x="97500" y="136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2" name="Полилиния 571">
              <a:extLst>
                <a:ext uri="{FF2B5EF4-FFF2-40B4-BE49-F238E27FC236}">
                  <a16:creationId xmlns:a16="http://schemas.microsoft.com/office/drawing/2014/main" id="{91F9C089-8CE9-B84D-A313-83570A90E1D1}"/>
                </a:ext>
              </a:extLst>
            </p:cNvPr>
            <p:cNvSpPr/>
            <p:nvPr/>
          </p:nvSpPr>
          <p:spPr>
            <a:xfrm>
              <a:off x="11583652" y="3634537"/>
              <a:ext cx="30142" cy="82500"/>
            </a:xfrm>
            <a:custGeom>
              <a:avLst/>
              <a:gdLst>
                <a:gd name="connsiteX0" fmla="*/ 13536 w 30142"/>
                <a:gd name="connsiteY0" fmla="*/ 0 h 82500"/>
                <a:gd name="connsiteX1" fmla="*/ 13536 w 30142"/>
                <a:gd name="connsiteY1" fmla="*/ 0 h 82500"/>
                <a:gd name="connsiteX2" fmla="*/ 22050 w 30142"/>
                <a:gd name="connsiteY2" fmla="*/ 7431 h 82500"/>
                <a:gd name="connsiteX3" fmla="*/ 30006 w 30142"/>
                <a:gd name="connsiteY3" fmla="*/ 65779 h 82500"/>
                <a:gd name="connsiteX4" fmla="*/ 17401 w 30142"/>
                <a:gd name="connsiteY4" fmla="*/ 82365 h 82500"/>
                <a:gd name="connsiteX5" fmla="*/ 15411 w 30142"/>
                <a:gd name="connsiteY5" fmla="*/ 82500 h 82500"/>
                <a:gd name="connsiteX6" fmla="*/ 15411 w 30142"/>
                <a:gd name="connsiteY6" fmla="*/ 82500 h 82500"/>
                <a:gd name="connsiteX7" fmla="*/ 0 w 30142"/>
                <a:gd name="connsiteY7" fmla="*/ 67089 h 82500"/>
                <a:gd name="connsiteX8" fmla="*/ 64 w 30142"/>
                <a:gd name="connsiteY8" fmla="*/ 65694 h 82500"/>
                <a:gd name="connsiteX9" fmla="*/ 5356 w 30142"/>
                <a:gd name="connsiteY9" fmla="*/ 7469 h 82500"/>
                <a:gd name="connsiteX10" fmla="*/ 13536 w 30142"/>
                <a:gd name="connsiteY10" fmla="*/ 0 h 8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142" h="82500">
                  <a:moveTo>
                    <a:pt x="13536" y="0"/>
                  </a:moveTo>
                  <a:lnTo>
                    <a:pt x="13536" y="0"/>
                  </a:lnTo>
                  <a:cubicBezTo>
                    <a:pt x="17832" y="0"/>
                    <a:pt x="21469" y="3174"/>
                    <a:pt x="22050" y="7431"/>
                  </a:cubicBezTo>
                  <a:lnTo>
                    <a:pt x="30006" y="65779"/>
                  </a:lnTo>
                  <a:cubicBezTo>
                    <a:pt x="31106" y="73841"/>
                    <a:pt x="25462" y="81266"/>
                    <a:pt x="17401" y="82365"/>
                  </a:cubicBezTo>
                  <a:cubicBezTo>
                    <a:pt x="16741" y="82455"/>
                    <a:pt x="16077" y="82500"/>
                    <a:pt x="15411" y="82500"/>
                  </a:cubicBezTo>
                  <a:lnTo>
                    <a:pt x="15411" y="82500"/>
                  </a:lnTo>
                  <a:cubicBezTo>
                    <a:pt x="6900" y="82500"/>
                    <a:pt x="0" y="75600"/>
                    <a:pt x="0" y="67089"/>
                  </a:cubicBezTo>
                  <a:cubicBezTo>
                    <a:pt x="0" y="66624"/>
                    <a:pt x="21" y="66157"/>
                    <a:pt x="64" y="65694"/>
                  </a:cubicBezTo>
                  <a:lnTo>
                    <a:pt x="5356" y="7469"/>
                  </a:lnTo>
                  <a:cubicBezTo>
                    <a:pt x="5742" y="3239"/>
                    <a:pt x="9288" y="0"/>
                    <a:pt x="13536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3" name="Полилиния 572">
              <a:extLst>
                <a:ext uri="{FF2B5EF4-FFF2-40B4-BE49-F238E27FC236}">
                  <a16:creationId xmlns:a16="http://schemas.microsoft.com/office/drawing/2014/main" id="{9B7A7577-7579-C84C-AD57-8AA3A5B4B05F}"/>
                </a:ext>
              </a:extLst>
            </p:cNvPr>
            <p:cNvSpPr/>
            <p:nvPr/>
          </p:nvSpPr>
          <p:spPr>
            <a:xfrm rot="10800000" flipV="1">
              <a:off x="11582188" y="3507037"/>
              <a:ext cx="45000" cy="105000"/>
            </a:xfrm>
            <a:custGeom>
              <a:avLst/>
              <a:gdLst>
                <a:gd name="connsiteX0" fmla="*/ 45000 w 45000"/>
                <a:gd name="connsiteY0" fmla="*/ 0 h 105000"/>
                <a:gd name="connsiteX1" fmla="*/ 45000 w 45000"/>
                <a:gd name="connsiteY1" fmla="*/ 105000 h 105000"/>
                <a:gd name="connsiteX2" fmla="*/ 0 w 45000"/>
                <a:gd name="connsiteY2" fmla="*/ 105000 h 105000"/>
                <a:gd name="connsiteX3" fmla="*/ 0 w 45000"/>
                <a:gd name="connsiteY3" fmla="*/ 45000 h 105000"/>
                <a:gd name="connsiteX4" fmla="*/ 45000 w 45000"/>
                <a:gd name="connsiteY4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00" h="105000">
                  <a:moveTo>
                    <a:pt x="45000" y="0"/>
                  </a:moveTo>
                  <a:lnTo>
                    <a:pt x="45000" y="105000"/>
                  </a:lnTo>
                  <a:lnTo>
                    <a:pt x="0" y="105000"/>
                  </a:lnTo>
                  <a:lnTo>
                    <a:pt x="0" y="45000"/>
                  </a:lnTo>
                  <a:cubicBezTo>
                    <a:pt x="0" y="20147"/>
                    <a:pt x="20146" y="0"/>
                    <a:pt x="4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4" name="Полилиния 573">
              <a:extLst>
                <a:ext uri="{FF2B5EF4-FFF2-40B4-BE49-F238E27FC236}">
                  <a16:creationId xmlns:a16="http://schemas.microsoft.com/office/drawing/2014/main" id="{E3334A41-61FF-624F-99DD-0608D7DFC067}"/>
                </a:ext>
              </a:extLst>
            </p:cNvPr>
            <p:cNvSpPr/>
            <p:nvPr/>
          </p:nvSpPr>
          <p:spPr>
            <a:xfrm>
              <a:off x="11267188" y="3507037"/>
              <a:ext cx="75000" cy="88420"/>
            </a:xfrm>
            <a:custGeom>
              <a:avLst/>
              <a:gdLst>
                <a:gd name="connsiteX0" fmla="*/ 10714 w 75000"/>
                <a:gd name="connsiteY0" fmla="*/ 0 h 88420"/>
                <a:gd name="connsiteX1" fmla="*/ 15555 w 75000"/>
                <a:gd name="connsiteY1" fmla="*/ 49931 h 88420"/>
                <a:gd name="connsiteX2" fmla="*/ 21429 w 75000"/>
                <a:gd name="connsiteY2" fmla="*/ 55263 h 88420"/>
                <a:gd name="connsiteX3" fmla="*/ 27303 w 75000"/>
                <a:gd name="connsiteY3" fmla="*/ 49931 h 88420"/>
                <a:gd name="connsiteX4" fmla="*/ 32143 w 75000"/>
                <a:gd name="connsiteY4" fmla="*/ 0 h 88420"/>
                <a:gd name="connsiteX5" fmla="*/ 42857 w 75000"/>
                <a:gd name="connsiteY5" fmla="*/ 0 h 88420"/>
                <a:gd name="connsiteX6" fmla="*/ 47697 w 75000"/>
                <a:gd name="connsiteY6" fmla="*/ 49931 h 88420"/>
                <a:gd name="connsiteX7" fmla="*/ 53571 w 75000"/>
                <a:gd name="connsiteY7" fmla="*/ 55263 h 88420"/>
                <a:gd name="connsiteX8" fmla="*/ 59445 w 75000"/>
                <a:gd name="connsiteY8" fmla="*/ 49931 h 88420"/>
                <a:gd name="connsiteX9" fmla="*/ 64286 w 75000"/>
                <a:gd name="connsiteY9" fmla="*/ 0 h 88420"/>
                <a:gd name="connsiteX10" fmla="*/ 75000 w 75000"/>
                <a:gd name="connsiteY10" fmla="*/ 0 h 88420"/>
                <a:gd name="connsiteX11" fmla="*/ 75000 w 75000"/>
                <a:gd name="connsiteY11" fmla="*/ 50921 h 88420"/>
                <a:gd name="connsiteX12" fmla="*/ 37500 w 75000"/>
                <a:gd name="connsiteY12" fmla="*/ 88421 h 88420"/>
                <a:gd name="connsiteX13" fmla="*/ 0 w 75000"/>
                <a:gd name="connsiteY13" fmla="*/ 50921 h 88420"/>
                <a:gd name="connsiteX14" fmla="*/ 0 w 75000"/>
                <a:gd name="connsiteY14" fmla="*/ 0 h 88420"/>
                <a:gd name="connsiteX15" fmla="*/ 10714 w 75000"/>
                <a:gd name="connsiteY15" fmla="*/ 0 h 8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5000" h="88420">
                  <a:moveTo>
                    <a:pt x="10714" y="0"/>
                  </a:moveTo>
                  <a:lnTo>
                    <a:pt x="15555" y="49931"/>
                  </a:lnTo>
                  <a:cubicBezTo>
                    <a:pt x="15848" y="52956"/>
                    <a:pt x="18390" y="55263"/>
                    <a:pt x="21429" y="55263"/>
                  </a:cubicBezTo>
                  <a:cubicBezTo>
                    <a:pt x="24467" y="55263"/>
                    <a:pt x="27009" y="52956"/>
                    <a:pt x="27303" y="49931"/>
                  </a:cubicBezTo>
                  <a:lnTo>
                    <a:pt x="32143" y="0"/>
                  </a:lnTo>
                  <a:lnTo>
                    <a:pt x="42857" y="0"/>
                  </a:lnTo>
                  <a:lnTo>
                    <a:pt x="47697" y="49931"/>
                  </a:lnTo>
                  <a:cubicBezTo>
                    <a:pt x="47991" y="52956"/>
                    <a:pt x="50533" y="55263"/>
                    <a:pt x="53571" y="55263"/>
                  </a:cubicBezTo>
                  <a:cubicBezTo>
                    <a:pt x="56610" y="55263"/>
                    <a:pt x="59152" y="52956"/>
                    <a:pt x="59445" y="49931"/>
                  </a:cubicBezTo>
                  <a:lnTo>
                    <a:pt x="64286" y="0"/>
                  </a:lnTo>
                  <a:lnTo>
                    <a:pt x="75000" y="0"/>
                  </a:lnTo>
                  <a:lnTo>
                    <a:pt x="75000" y="50921"/>
                  </a:lnTo>
                  <a:cubicBezTo>
                    <a:pt x="75000" y="71632"/>
                    <a:pt x="58211" y="88421"/>
                    <a:pt x="37500" y="88421"/>
                  </a:cubicBezTo>
                  <a:cubicBezTo>
                    <a:pt x="16789" y="88421"/>
                    <a:pt x="0" y="71632"/>
                    <a:pt x="0" y="50921"/>
                  </a:cubicBezTo>
                  <a:lnTo>
                    <a:pt x="0" y="0"/>
                  </a:lnTo>
                  <a:lnTo>
                    <a:pt x="10714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5" name="Полилиния 574">
              <a:extLst>
                <a:ext uri="{FF2B5EF4-FFF2-40B4-BE49-F238E27FC236}">
                  <a16:creationId xmlns:a16="http://schemas.microsoft.com/office/drawing/2014/main" id="{9824C70B-A2C7-B44B-B9A9-C991337E390B}"/>
                </a:ext>
              </a:extLst>
            </p:cNvPr>
            <p:cNvSpPr/>
            <p:nvPr/>
          </p:nvSpPr>
          <p:spPr>
            <a:xfrm>
              <a:off x="11289458" y="3617562"/>
              <a:ext cx="30458" cy="99474"/>
            </a:xfrm>
            <a:custGeom>
              <a:avLst/>
              <a:gdLst>
                <a:gd name="connsiteX0" fmla="*/ 15229 w 30458"/>
                <a:gd name="connsiteY0" fmla="*/ 0 h 99474"/>
                <a:gd name="connsiteX1" fmla="*/ 15229 w 30458"/>
                <a:gd name="connsiteY1" fmla="*/ 0 h 99474"/>
                <a:gd name="connsiteX2" fmla="*/ 26520 w 30458"/>
                <a:gd name="connsiteY2" fmla="*/ 10700 h 99474"/>
                <a:gd name="connsiteX3" fmla="*/ 30436 w 30458"/>
                <a:gd name="connsiteY3" fmla="*/ 83426 h 99474"/>
                <a:gd name="connsiteX4" fmla="*/ 16048 w 30458"/>
                <a:gd name="connsiteY4" fmla="*/ 99452 h 99474"/>
                <a:gd name="connsiteX5" fmla="*/ 15229 w 30458"/>
                <a:gd name="connsiteY5" fmla="*/ 99474 h 99474"/>
                <a:gd name="connsiteX6" fmla="*/ 15229 w 30458"/>
                <a:gd name="connsiteY6" fmla="*/ 99474 h 99474"/>
                <a:gd name="connsiteX7" fmla="*/ 0 w 30458"/>
                <a:gd name="connsiteY7" fmla="*/ 84244 h 99474"/>
                <a:gd name="connsiteX8" fmla="*/ 22 w 30458"/>
                <a:gd name="connsiteY8" fmla="*/ 83426 h 99474"/>
                <a:gd name="connsiteX9" fmla="*/ 3939 w 30458"/>
                <a:gd name="connsiteY9" fmla="*/ 10700 h 99474"/>
                <a:gd name="connsiteX10" fmla="*/ 15229 w 30458"/>
                <a:gd name="connsiteY10" fmla="*/ 0 h 99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458" h="99474">
                  <a:moveTo>
                    <a:pt x="15229" y="0"/>
                  </a:moveTo>
                  <a:lnTo>
                    <a:pt x="15229" y="0"/>
                  </a:lnTo>
                  <a:cubicBezTo>
                    <a:pt x="21237" y="0"/>
                    <a:pt x="26197" y="4700"/>
                    <a:pt x="26520" y="10700"/>
                  </a:cubicBezTo>
                  <a:lnTo>
                    <a:pt x="30436" y="83426"/>
                  </a:lnTo>
                  <a:cubicBezTo>
                    <a:pt x="30889" y="91824"/>
                    <a:pt x="24447" y="99000"/>
                    <a:pt x="16048" y="99452"/>
                  </a:cubicBezTo>
                  <a:cubicBezTo>
                    <a:pt x="15776" y="99467"/>
                    <a:pt x="15502" y="99474"/>
                    <a:pt x="15229" y="99474"/>
                  </a:cubicBezTo>
                  <a:lnTo>
                    <a:pt x="15229" y="99474"/>
                  </a:lnTo>
                  <a:cubicBezTo>
                    <a:pt x="6818" y="99474"/>
                    <a:pt x="0" y="92655"/>
                    <a:pt x="0" y="84244"/>
                  </a:cubicBezTo>
                  <a:cubicBezTo>
                    <a:pt x="0" y="83971"/>
                    <a:pt x="7" y="83699"/>
                    <a:pt x="22" y="83426"/>
                  </a:cubicBezTo>
                  <a:lnTo>
                    <a:pt x="3939" y="10700"/>
                  </a:lnTo>
                  <a:cubicBezTo>
                    <a:pt x="4262" y="4700"/>
                    <a:pt x="9221" y="0"/>
                    <a:pt x="15229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76" name="Рисунок 123">
            <a:extLst>
              <a:ext uri="{FF2B5EF4-FFF2-40B4-BE49-F238E27FC236}">
                <a16:creationId xmlns:a16="http://schemas.microsoft.com/office/drawing/2014/main" id="{5188E6EE-FD61-5A41-8438-75BB4A64CF5B}"/>
              </a:ext>
            </a:extLst>
          </p:cNvPr>
          <p:cNvGrpSpPr/>
          <p:nvPr/>
        </p:nvGrpSpPr>
        <p:grpSpPr>
          <a:xfrm>
            <a:off x="8224352" y="3115315"/>
            <a:ext cx="360000" cy="360000"/>
            <a:chOff x="8246654" y="3432037"/>
            <a:chExt cx="360000" cy="360000"/>
          </a:xfrm>
        </p:grpSpPr>
        <p:sp>
          <p:nvSpPr>
            <p:cNvPr id="577" name="Полилиния 576">
              <a:extLst>
                <a:ext uri="{FF2B5EF4-FFF2-40B4-BE49-F238E27FC236}">
                  <a16:creationId xmlns:a16="http://schemas.microsoft.com/office/drawing/2014/main" id="{D2761423-B9D7-9944-A723-98B6C1A648E1}"/>
                </a:ext>
              </a:extLst>
            </p:cNvPr>
            <p:cNvSpPr/>
            <p:nvPr/>
          </p:nvSpPr>
          <p:spPr>
            <a:xfrm>
              <a:off x="8246654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8" name="Полилиния 577">
              <a:extLst>
                <a:ext uri="{FF2B5EF4-FFF2-40B4-BE49-F238E27FC236}">
                  <a16:creationId xmlns:a16="http://schemas.microsoft.com/office/drawing/2014/main" id="{581763A7-9B81-F949-AAF0-485C6AEE1366}"/>
                </a:ext>
              </a:extLst>
            </p:cNvPr>
            <p:cNvSpPr/>
            <p:nvPr/>
          </p:nvSpPr>
          <p:spPr>
            <a:xfrm>
              <a:off x="8291654" y="3477037"/>
              <a:ext cx="270000" cy="270000"/>
            </a:xfrm>
            <a:custGeom>
              <a:avLst/>
              <a:gdLst>
                <a:gd name="connsiteX0" fmla="*/ 30000 w 270000"/>
                <a:gd name="connsiteY0" fmla="*/ 240000 h 270000"/>
                <a:gd name="connsiteX1" fmla="*/ 255000 w 270000"/>
                <a:gd name="connsiteY1" fmla="*/ 240000 h 270000"/>
                <a:gd name="connsiteX2" fmla="*/ 270000 w 270000"/>
                <a:gd name="connsiteY2" fmla="*/ 255000 h 270000"/>
                <a:gd name="connsiteX3" fmla="*/ 255000 w 270000"/>
                <a:gd name="connsiteY3" fmla="*/ 270000 h 270000"/>
                <a:gd name="connsiteX4" fmla="*/ 15000 w 270000"/>
                <a:gd name="connsiteY4" fmla="*/ 270000 h 270000"/>
                <a:gd name="connsiteX5" fmla="*/ 0 w 270000"/>
                <a:gd name="connsiteY5" fmla="*/ 255000 h 270000"/>
                <a:gd name="connsiteX6" fmla="*/ 0 w 270000"/>
                <a:gd name="connsiteY6" fmla="*/ 15000 h 270000"/>
                <a:gd name="connsiteX7" fmla="*/ 15000 w 270000"/>
                <a:gd name="connsiteY7" fmla="*/ 0 h 270000"/>
                <a:gd name="connsiteX8" fmla="*/ 30000 w 270000"/>
                <a:gd name="connsiteY8" fmla="*/ 15000 h 270000"/>
                <a:gd name="connsiteX9" fmla="*/ 30000 w 270000"/>
                <a:gd name="connsiteY9" fmla="*/ 24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00" h="270000">
                  <a:moveTo>
                    <a:pt x="30000" y="240000"/>
                  </a:moveTo>
                  <a:lnTo>
                    <a:pt x="255000" y="240000"/>
                  </a:lnTo>
                  <a:cubicBezTo>
                    <a:pt x="263285" y="240000"/>
                    <a:pt x="270000" y="246716"/>
                    <a:pt x="270000" y="255000"/>
                  </a:cubicBezTo>
                  <a:cubicBezTo>
                    <a:pt x="270000" y="263285"/>
                    <a:pt x="263285" y="270000"/>
                    <a:pt x="255000" y="270000"/>
                  </a:cubicBezTo>
                  <a:lnTo>
                    <a:pt x="15000" y="270000"/>
                  </a:lnTo>
                  <a:cubicBezTo>
                    <a:pt x="6716" y="270000"/>
                    <a:pt x="0" y="263285"/>
                    <a:pt x="0" y="25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ubicBezTo>
                    <a:pt x="23284" y="0"/>
                    <a:pt x="30000" y="6716"/>
                    <a:pt x="30000" y="15000"/>
                  </a:cubicBezTo>
                  <a:lnTo>
                    <a:pt x="30000" y="24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9" name="Полилиния 578">
              <a:extLst>
                <a:ext uri="{FF2B5EF4-FFF2-40B4-BE49-F238E27FC236}">
                  <a16:creationId xmlns:a16="http://schemas.microsoft.com/office/drawing/2014/main" id="{2734661B-B3DA-C548-BE55-39DA2385EBB5}"/>
                </a:ext>
              </a:extLst>
            </p:cNvPr>
            <p:cNvSpPr/>
            <p:nvPr/>
          </p:nvSpPr>
          <p:spPr>
            <a:xfrm flipV="1">
              <a:off x="8351653" y="3529536"/>
              <a:ext cx="210000" cy="127500"/>
            </a:xfrm>
            <a:custGeom>
              <a:avLst/>
              <a:gdLst>
                <a:gd name="connsiteX0" fmla="*/ 25943 w 210000"/>
                <a:gd name="connsiteY0" fmla="*/ 122759 h 127500"/>
                <a:gd name="connsiteX1" fmla="*/ 4741 w 210000"/>
                <a:gd name="connsiteY1" fmla="*/ 123443 h 127500"/>
                <a:gd name="connsiteX2" fmla="*/ 4057 w 210000"/>
                <a:gd name="connsiteY2" fmla="*/ 102242 h 127500"/>
                <a:gd name="connsiteX3" fmla="*/ 60308 w 210000"/>
                <a:gd name="connsiteY3" fmla="*/ 42241 h 127500"/>
                <a:gd name="connsiteX4" fmla="*/ 80987 w 210000"/>
                <a:gd name="connsiteY4" fmla="*/ 41090 h 127500"/>
                <a:gd name="connsiteX5" fmla="*/ 125384 w 210000"/>
                <a:gd name="connsiteY5" fmla="*/ 78976 h 127500"/>
                <a:gd name="connsiteX6" fmla="*/ 183227 w 210000"/>
                <a:gd name="connsiteY6" fmla="*/ 5706 h 127500"/>
                <a:gd name="connsiteX7" fmla="*/ 204294 w 210000"/>
                <a:gd name="connsiteY7" fmla="*/ 3227 h 127500"/>
                <a:gd name="connsiteX8" fmla="*/ 206774 w 210000"/>
                <a:gd name="connsiteY8" fmla="*/ 24295 h 127500"/>
                <a:gd name="connsiteX9" fmla="*/ 139274 w 210000"/>
                <a:gd name="connsiteY9" fmla="*/ 109795 h 127500"/>
                <a:gd name="connsiteX10" fmla="*/ 117764 w 210000"/>
                <a:gd name="connsiteY10" fmla="*/ 111911 h 127500"/>
                <a:gd name="connsiteX11" fmla="*/ 72402 w 210000"/>
                <a:gd name="connsiteY11" fmla="*/ 73204 h 127500"/>
                <a:gd name="connsiteX12" fmla="*/ 25943 w 210000"/>
                <a:gd name="connsiteY12" fmla="*/ 122759 h 12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000" h="127500">
                  <a:moveTo>
                    <a:pt x="25943" y="122759"/>
                  </a:moveTo>
                  <a:cubicBezTo>
                    <a:pt x="20277" y="128804"/>
                    <a:pt x="10785" y="129110"/>
                    <a:pt x="4741" y="123443"/>
                  </a:cubicBezTo>
                  <a:cubicBezTo>
                    <a:pt x="-1303" y="117778"/>
                    <a:pt x="-1609" y="108286"/>
                    <a:pt x="4057" y="102242"/>
                  </a:cubicBezTo>
                  <a:lnTo>
                    <a:pt x="60308" y="42241"/>
                  </a:lnTo>
                  <a:cubicBezTo>
                    <a:pt x="65787" y="36397"/>
                    <a:pt x="74892" y="35890"/>
                    <a:pt x="80987" y="41090"/>
                  </a:cubicBezTo>
                  <a:lnTo>
                    <a:pt x="125384" y="78976"/>
                  </a:lnTo>
                  <a:lnTo>
                    <a:pt x="183227" y="5706"/>
                  </a:lnTo>
                  <a:cubicBezTo>
                    <a:pt x="188360" y="-796"/>
                    <a:pt x="197793" y="-1906"/>
                    <a:pt x="204294" y="3227"/>
                  </a:cubicBezTo>
                  <a:cubicBezTo>
                    <a:pt x="210797" y="8361"/>
                    <a:pt x="211907" y="17793"/>
                    <a:pt x="206774" y="24295"/>
                  </a:cubicBezTo>
                  <a:lnTo>
                    <a:pt x="139274" y="109795"/>
                  </a:lnTo>
                  <a:cubicBezTo>
                    <a:pt x="134001" y="116474"/>
                    <a:pt x="124236" y="117434"/>
                    <a:pt x="117764" y="111911"/>
                  </a:cubicBezTo>
                  <a:lnTo>
                    <a:pt x="72402" y="73204"/>
                  </a:lnTo>
                  <a:lnTo>
                    <a:pt x="25943" y="122759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80" name="Рисунок 124">
            <a:extLst>
              <a:ext uri="{FF2B5EF4-FFF2-40B4-BE49-F238E27FC236}">
                <a16:creationId xmlns:a16="http://schemas.microsoft.com/office/drawing/2014/main" id="{C3081D5C-18D6-394D-B0AD-95E0C593207B}"/>
              </a:ext>
            </a:extLst>
          </p:cNvPr>
          <p:cNvGrpSpPr/>
          <p:nvPr/>
        </p:nvGrpSpPr>
        <p:grpSpPr>
          <a:xfrm>
            <a:off x="9734618" y="3115315"/>
            <a:ext cx="360000" cy="360000"/>
            <a:chOff x="9756920" y="3432037"/>
            <a:chExt cx="360000" cy="360000"/>
          </a:xfrm>
        </p:grpSpPr>
        <p:sp>
          <p:nvSpPr>
            <p:cNvPr id="581" name="Полилиния 580">
              <a:extLst>
                <a:ext uri="{FF2B5EF4-FFF2-40B4-BE49-F238E27FC236}">
                  <a16:creationId xmlns:a16="http://schemas.microsoft.com/office/drawing/2014/main" id="{29BDDB1D-6E22-0544-A9F5-87247A2EB57F}"/>
                </a:ext>
              </a:extLst>
            </p:cNvPr>
            <p:cNvSpPr/>
            <p:nvPr/>
          </p:nvSpPr>
          <p:spPr>
            <a:xfrm>
              <a:off x="9756920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2" name="Полилиния 581">
              <a:extLst>
                <a:ext uri="{FF2B5EF4-FFF2-40B4-BE49-F238E27FC236}">
                  <a16:creationId xmlns:a16="http://schemas.microsoft.com/office/drawing/2014/main" id="{F5C3D026-0B44-2E4A-8C14-A41EBE0E98B4}"/>
                </a:ext>
              </a:extLst>
            </p:cNvPr>
            <p:cNvSpPr/>
            <p:nvPr/>
          </p:nvSpPr>
          <p:spPr>
            <a:xfrm>
              <a:off x="9816956" y="3492965"/>
              <a:ext cx="239963" cy="239071"/>
            </a:xfrm>
            <a:custGeom>
              <a:avLst/>
              <a:gdLst>
                <a:gd name="connsiteX0" fmla="*/ 0 w 239963"/>
                <a:gd name="connsiteY0" fmla="*/ 122079 h 239071"/>
                <a:gd name="connsiteX1" fmla="*/ 134963 w 239963"/>
                <a:gd name="connsiteY1" fmla="*/ 149072 h 239071"/>
                <a:gd name="connsiteX2" fmla="*/ 134963 w 239963"/>
                <a:gd name="connsiteY2" fmla="*/ 0 h 239071"/>
                <a:gd name="connsiteX3" fmla="*/ 239963 w 239963"/>
                <a:gd name="connsiteY3" fmla="*/ 119072 h 239071"/>
                <a:gd name="connsiteX4" fmla="*/ 119963 w 239963"/>
                <a:gd name="connsiteY4" fmla="*/ 239072 h 239071"/>
                <a:gd name="connsiteX5" fmla="*/ 0 w 239963"/>
                <a:gd name="connsiteY5" fmla="*/ 122079 h 239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963" h="239071">
                  <a:moveTo>
                    <a:pt x="0" y="122079"/>
                  </a:moveTo>
                  <a:lnTo>
                    <a:pt x="134963" y="149072"/>
                  </a:lnTo>
                  <a:lnTo>
                    <a:pt x="134963" y="0"/>
                  </a:lnTo>
                  <a:cubicBezTo>
                    <a:pt x="194158" y="7381"/>
                    <a:pt x="239963" y="57877"/>
                    <a:pt x="239963" y="119072"/>
                  </a:cubicBezTo>
                  <a:cubicBezTo>
                    <a:pt x="239963" y="185346"/>
                    <a:pt x="186238" y="239072"/>
                    <a:pt x="119963" y="239072"/>
                  </a:cubicBezTo>
                  <a:cubicBezTo>
                    <a:pt x="54694" y="239072"/>
                    <a:pt x="1596" y="186963"/>
                    <a:pt x="0" y="122079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583" name="Полилиния 582">
              <a:extLst>
                <a:ext uri="{FF2B5EF4-FFF2-40B4-BE49-F238E27FC236}">
                  <a16:creationId xmlns:a16="http://schemas.microsoft.com/office/drawing/2014/main" id="{793ADD63-2A32-5241-8093-EE9C474CE3B1}"/>
                </a:ext>
              </a:extLst>
            </p:cNvPr>
            <p:cNvSpPr/>
            <p:nvPr/>
          </p:nvSpPr>
          <p:spPr>
            <a:xfrm>
              <a:off x="9802826" y="3477037"/>
              <a:ext cx="119093" cy="129000"/>
            </a:xfrm>
            <a:custGeom>
              <a:avLst/>
              <a:gdLst>
                <a:gd name="connsiteX0" fmla="*/ 0 w 119093"/>
                <a:gd name="connsiteY0" fmla="*/ 105182 h 129000"/>
                <a:gd name="connsiteX1" fmla="*/ 119094 w 119093"/>
                <a:gd name="connsiteY1" fmla="*/ 0 h 129000"/>
                <a:gd name="connsiteX2" fmla="*/ 119094 w 119093"/>
                <a:gd name="connsiteY2" fmla="*/ 129000 h 129000"/>
                <a:gd name="connsiteX3" fmla="*/ 0 w 119093"/>
                <a:gd name="connsiteY3" fmla="*/ 105182 h 12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093" h="129000">
                  <a:moveTo>
                    <a:pt x="0" y="105182"/>
                  </a:moveTo>
                  <a:cubicBezTo>
                    <a:pt x="7301" y="45899"/>
                    <a:pt x="57837" y="0"/>
                    <a:pt x="119094" y="0"/>
                  </a:cubicBezTo>
                  <a:lnTo>
                    <a:pt x="119094" y="129000"/>
                  </a:lnTo>
                  <a:lnTo>
                    <a:pt x="0" y="105182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84" name="Рисунок 125">
            <a:extLst>
              <a:ext uri="{FF2B5EF4-FFF2-40B4-BE49-F238E27FC236}">
                <a16:creationId xmlns:a16="http://schemas.microsoft.com/office/drawing/2014/main" id="{03F8B531-27B7-B140-AA81-53F97181BD51}"/>
              </a:ext>
            </a:extLst>
          </p:cNvPr>
          <p:cNvGrpSpPr/>
          <p:nvPr/>
        </p:nvGrpSpPr>
        <p:grpSpPr>
          <a:xfrm>
            <a:off x="10489751" y="3115315"/>
            <a:ext cx="360000" cy="360000"/>
            <a:chOff x="10512053" y="3432037"/>
            <a:chExt cx="360000" cy="360000"/>
          </a:xfrm>
        </p:grpSpPr>
        <p:sp>
          <p:nvSpPr>
            <p:cNvPr id="585" name="Полилиния 584">
              <a:extLst>
                <a:ext uri="{FF2B5EF4-FFF2-40B4-BE49-F238E27FC236}">
                  <a16:creationId xmlns:a16="http://schemas.microsoft.com/office/drawing/2014/main" id="{8E84E6E6-82FF-C245-ADC1-82CBD4549F35}"/>
                </a:ext>
              </a:extLst>
            </p:cNvPr>
            <p:cNvSpPr/>
            <p:nvPr/>
          </p:nvSpPr>
          <p:spPr>
            <a:xfrm>
              <a:off x="10512053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6" name="Полилиния 585">
              <a:extLst>
                <a:ext uri="{FF2B5EF4-FFF2-40B4-BE49-F238E27FC236}">
                  <a16:creationId xmlns:a16="http://schemas.microsoft.com/office/drawing/2014/main" id="{3FB58E90-12E1-7C41-BDAD-F93EFCC3E735}"/>
                </a:ext>
              </a:extLst>
            </p:cNvPr>
            <p:cNvSpPr/>
            <p:nvPr/>
          </p:nvSpPr>
          <p:spPr>
            <a:xfrm>
              <a:off x="10557053" y="3657037"/>
              <a:ext cx="97500" cy="97500"/>
            </a:xfrm>
            <a:custGeom>
              <a:avLst/>
              <a:gdLst>
                <a:gd name="connsiteX0" fmla="*/ 30000 w 97500"/>
                <a:gd name="connsiteY0" fmla="*/ 0 h 97500"/>
                <a:gd name="connsiteX1" fmla="*/ 0 w 97500"/>
                <a:gd name="connsiteY1" fmla="*/ 97500 h 97500"/>
                <a:gd name="connsiteX2" fmla="*/ 97500 w 97500"/>
                <a:gd name="connsiteY2" fmla="*/ 67500 h 9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500" h="97500">
                  <a:moveTo>
                    <a:pt x="30000" y="0"/>
                  </a:moveTo>
                  <a:lnTo>
                    <a:pt x="0" y="97500"/>
                  </a:lnTo>
                  <a:lnTo>
                    <a:pt x="97500" y="675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7" name="Полилиния 586">
              <a:extLst>
                <a:ext uri="{FF2B5EF4-FFF2-40B4-BE49-F238E27FC236}">
                  <a16:creationId xmlns:a16="http://schemas.microsoft.com/office/drawing/2014/main" id="{343DC307-2273-1746-819A-05CAA2B466BF}"/>
                </a:ext>
              </a:extLst>
            </p:cNvPr>
            <p:cNvSpPr/>
            <p:nvPr/>
          </p:nvSpPr>
          <p:spPr>
            <a:xfrm>
              <a:off x="10572053" y="3462037"/>
              <a:ext cx="285000" cy="285000"/>
            </a:xfrm>
            <a:custGeom>
              <a:avLst/>
              <a:gdLst>
                <a:gd name="connsiteX0" fmla="*/ 142500 w 285000"/>
                <a:gd name="connsiteY0" fmla="*/ 285000 h 285000"/>
                <a:gd name="connsiteX1" fmla="*/ 0 w 285000"/>
                <a:gd name="connsiteY1" fmla="*/ 142500 h 285000"/>
                <a:gd name="connsiteX2" fmla="*/ 142500 w 285000"/>
                <a:gd name="connsiteY2" fmla="*/ 0 h 285000"/>
                <a:gd name="connsiteX3" fmla="*/ 285000 w 285000"/>
                <a:gd name="connsiteY3" fmla="*/ 142500 h 285000"/>
                <a:gd name="connsiteX4" fmla="*/ 142500 w 285000"/>
                <a:gd name="connsiteY4" fmla="*/ 285000 h 285000"/>
                <a:gd name="connsiteX5" fmla="*/ 67500 w 285000"/>
                <a:gd name="connsiteY5" fmla="*/ 165000 h 285000"/>
                <a:gd name="connsiteX6" fmla="*/ 90000 w 285000"/>
                <a:gd name="connsiteY6" fmla="*/ 142500 h 285000"/>
                <a:gd name="connsiteX7" fmla="*/ 67500 w 285000"/>
                <a:gd name="connsiteY7" fmla="*/ 120000 h 285000"/>
                <a:gd name="connsiteX8" fmla="*/ 45000 w 285000"/>
                <a:gd name="connsiteY8" fmla="*/ 142500 h 285000"/>
                <a:gd name="connsiteX9" fmla="*/ 67500 w 285000"/>
                <a:gd name="connsiteY9" fmla="*/ 165000 h 285000"/>
                <a:gd name="connsiteX10" fmla="*/ 142500 w 285000"/>
                <a:gd name="connsiteY10" fmla="*/ 165000 h 285000"/>
                <a:gd name="connsiteX11" fmla="*/ 165000 w 285000"/>
                <a:gd name="connsiteY11" fmla="*/ 142500 h 285000"/>
                <a:gd name="connsiteX12" fmla="*/ 142500 w 285000"/>
                <a:gd name="connsiteY12" fmla="*/ 120000 h 285000"/>
                <a:gd name="connsiteX13" fmla="*/ 120000 w 285000"/>
                <a:gd name="connsiteY13" fmla="*/ 142500 h 285000"/>
                <a:gd name="connsiteX14" fmla="*/ 142500 w 285000"/>
                <a:gd name="connsiteY14" fmla="*/ 165000 h 285000"/>
                <a:gd name="connsiteX15" fmla="*/ 217500 w 285000"/>
                <a:gd name="connsiteY15" fmla="*/ 165000 h 285000"/>
                <a:gd name="connsiteX16" fmla="*/ 240000 w 285000"/>
                <a:gd name="connsiteY16" fmla="*/ 142500 h 285000"/>
                <a:gd name="connsiteX17" fmla="*/ 217500 w 285000"/>
                <a:gd name="connsiteY17" fmla="*/ 120000 h 285000"/>
                <a:gd name="connsiteX18" fmla="*/ 195000 w 285000"/>
                <a:gd name="connsiteY18" fmla="*/ 142500 h 285000"/>
                <a:gd name="connsiteX19" fmla="*/ 217500 w 285000"/>
                <a:gd name="connsiteY19" fmla="*/ 165000 h 28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5000" h="285000">
                  <a:moveTo>
                    <a:pt x="142500" y="285000"/>
                  </a:moveTo>
                  <a:cubicBezTo>
                    <a:pt x="63799" y="285000"/>
                    <a:pt x="0" y="221201"/>
                    <a:pt x="0" y="142500"/>
                  </a:cubicBezTo>
                  <a:cubicBezTo>
                    <a:pt x="0" y="63799"/>
                    <a:pt x="63799" y="0"/>
                    <a:pt x="142500" y="0"/>
                  </a:cubicBezTo>
                  <a:cubicBezTo>
                    <a:pt x="221201" y="0"/>
                    <a:pt x="285000" y="63799"/>
                    <a:pt x="285000" y="142500"/>
                  </a:cubicBezTo>
                  <a:cubicBezTo>
                    <a:pt x="285000" y="221201"/>
                    <a:pt x="221201" y="285000"/>
                    <a:pt x="142500" y="285000"/>
                  </a:cubicBezTo>
                  <a:close/>
                  <a:moveTo>
                    <a:pt x="67500" y="165000"/>
                  </a:moveTo>
                  <a:cubicBezTo>
                    <a:pt x="79926" y="165000"/>
                    <a:pt x="90000" y="154926"/>
                    <a:pt x="90000" y="142500"/>
                  </a:cubicBezTo>
                  <a:cubicBezTo>
                    <a:pt x="90000" y="130074"/>
                    <a:pt x="79926" y="120000"/>
                    <a:pt x="67500" y="120000"/>
                  </a:cubicBezTo>
                  <a:cubicBezTo>
                    <a:pt x="55074" y="120000"/>
                    <a:pt x="45000" y="130074"/>
                    <a:pt x="45000" y="142500"/>
                  </a:cubicBezTo>
                  <a:cubicBezTo>
                    <a:pt x="45000" y="154926"/>
                    <a:pt x="55074" y="165000"/>
                    <a:pt x="67500" y="165000"/>
                  </a:cubicBezTo>
                  <a:close/>
                  <a:moveTo>
                    <a:pt x="142500" y="165000"/>
                  </a:moveTo>
                  <a:cubicBezTo>
                    <a:pt x="154926" y="165000"/>
                    <a:pt x="165000" y="154926"/>
                    <a:pt x="165000" y="142500"/>
                  </a:cubicBezTo>
                  <a:cubicBezTo>
                    <a:pt x="165000" y="130074"/>
                    <a:pt x="154926" y="120000"/>
                    <a:pt x="142500" y="120000"/>
                  </a:cubicBezTo>
                  <a:cubicBezTo>
                    <a:pt x="130074" y="120000"/>
                    <a:pt x="120000" y="130074"/>
                    <a:pt x="120000" y="142500"/>
                  </a:cubicBezTo>
                  <a:cubicBezTo>
                    <a:pt x="120000" y="154926"/>
                    <a:pt x="130074" y="165000"/>
                    <a:pt x="142500" y="165000"/>
                  </a:cubicBezTo>
                  <a:close/>
                  <a:moveTo>
                    <a:pt x="217500" y="165000"/>
                  </a:moveTo>
                  <a:cubicBezTo>
                    <a:pt x="229926" y="165000"/>
                    <a:pt x="240000" y="154926"/>
                    <a:pt x="240000" y="142500"/>
                  </a:cubicBezTo>
                  <a:cubicBezTo>
                    <a:pt x="240000" y="130074"/>
                    <a:pt x="229926" y="120000"/>
                    <a:pt x="217500" y="120000"/>
                  </a:cubicBezTo>
                  <a:cubicBezTo>
                    <a:pt x="205074" y="120000"/>
                    <a:pt x="195000" y="130074"/>
                    <a:pt x="195000" y="142500"/>
                  </a:cubicBezTo>
                  <a:cubicBezTo>
                    <a:pt x="195000" y="154926"/>
                    <a:pt x="205074" y="165000"/>
                    <a:pt x="217500" y="16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88" name="Рисунок 126">
            <a:extLst>
              <a:ext uri="{FF2B5EF4-FFF2-40B4-BE49-F238E27FC236}">
                <a16:creationId xmlns:a16="http://schemas.microsoft.com/office/drawing/2014/main" id="{659D36B5-FB52-6F42-90DB-F6296314C888}"/>
              </a:ext>
            </a:extLst>
          </p:cNvPr>
          <p:cNvGrpSpPr/>
          <p:nvPr/>
        </p:nvGrpSpPr>
        <p:grpSpPr>
          <a:xfrm>
            <a:off x="8979485" y="3115315"/>
            <a:ext cx="360000" cy="360000"/>
            <a:chOff x="9001787" y="3432037"/>
            <a:chExt cx="360000" cy="360000"/>
          </a:xfrm>
        </p:grpSpPr>
        <p:sp>
          <p:nvSpPr>
            <p:cNvPr id="589" name="Полилиния 588">
              <a:extLst>
                <a:ext uri="{FF2B5EF4-FFF2-40B4-BE49-F238E27FC236}">
                  <a16:creationId xmlns:a16="http://schemas.microsoft.com/office/drawing/2014/main" id="{6AB867CD-9A3F-F343-A3CE-BB47FEA73BE5}"/>
                </a:ext>
              </a:extLst>
            </p:cNvPr>
            <p:cNvSpPr/>
            <p:nvPr/>
          </p:nvSpPr>
          <p:spPr>
            <a:xfrm>
              <a:off x="9001787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0" name="Полилиния 589">
              <a:extLst>
                <a:ext uri="{FF2B5EF4-FFF2-40B4-BE49-F238E27FC236}">
                  <a16:creationId xmlns:a16="http://schemas.microsoft.com/office/drawing/2014/main" id="{B42087C0-A560-534B-AC34-EB746794F415}"/>
                </a:ext>
              </a:extLst>
            </p:cNvPr>
            <p:cNvSpPr/>
            <p:nvPr/>
          </p:nvSpPr>
          <p:spPr>
            <a:xfrm>
              <a:off x="9046787" y="3657037"/>
              <a:ext cx="97500" cy="97500"/>
            </a:xfrm>
            <a:custGeom>
              <a:avLst/>
              <a:gdLst>
                <a:gd name="connsiteX0" fmla="*/ 30000 w 97500"/>
                <a:gd name="connsiteY0" fmla="*/ 0 h 97500"/>
                <a:gd name="connsiteX1" fmla="*/ 0 w 97500"/>
                <a:gd name="connsiteY1" fmla="*/ 97500 h 97500"/>
                <a:gd name="connsiteX2" fmla="*/ 97500 w 97500"/>
                <a:gd name="connsiteY2" fmla="*/ 67500 h 9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500" h="97500">
                  <a:moveTo>
                    <a:pt x="30000" y="0"/>
                  </a:moveTo>
                  <a:lnTo>
                    <a:pt x="0" y="97500"/>
                  </a:lnTo>
                  <a:lnTo>
                    <a:pt x="97500" y="675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1" name="Полилиния 590">
              <a:extLst>
                <a:ext uri="{FF2B5EF4-FFF2-40B4-BE49-F238E27FC236}">
                  <a16:creationId xmlns:a16="http://schemas.microsoft.com/office/drawing/2014/main" id="{17484CDC-7E5A-FF48-B2EE-07447C836704}"/>
                </a:ext>
              </a:extLst>
            </p:cNvPr>
            <p:cNvSpPr/>
            <p:nvPr/>
          </p:nvSpPr>
          <p:spPr>
            <a:xfrm>
              <a:off x="9061787" y="3462037"/>
              <a:ext cx="285000" cy="285000"/>
            </a:xfrm>
            <a:custGeom>
              <a:avLst/>
              <a:gdLst>
                <a:gd name="connsiteX0" fmla="*/ 142500 w 285000"/>
                <a:gd name="connsiteY0" fmla="*/ 285000 h 285000"/>
                <a:gd name="connsiteX1" fmla="*/ 0 w 285000"/>
                <a:gd name="connsiteY1" fmla="*/ 142500 h 285000"/>
                <a:gd name="connsiteX2" fmla="*/ 142500 w 285000"/>
                <a:gd name="connsiteY2" fmla="*/ 0 h 285000"/>
                <a:gd name="connsiteX3" fmla="*/ 285000 w 285000"/>
                <a:gd name="connsiteY3" fmla="*/ 142500 h 285000"/>
                <a:gd name="connsiteX4" fmla="*/ 142500 w 285000"/>
                <a:gd name="connsiteY4" fmla="*/ 285000 h 285000"/>
                <a:gd name="connsiteX5" fmla="*/ 75000 w 285000"/>
                <a:gd name="connsiteY5" fmla="*/ 90000 h 285000"/>
                <a:gd name="connsiteX6" fmla="*/ 60000 w 285000"/>
                <a:gd name="connsiteY6" fmla="*/ 105000 h 285000"/>
                <a:gd name="connsiteX7" fmla="*/ 75000 w 285000"/>
                <a:gd name="connsiteY7" fmla="*/ 120000 h 285000"/>
                <a:gd name="connsiteX8" fmla="*/ 210000 w 285000"/>
                <a:gd name="connsiteY8" fmla="*/ 120000 h 285000"/>
                <a:gd name="connsiteX9" fmla="*/ 225000 w 285000"/>
                <a:gd name="connsiteY9" fmla="*/ 105000 h 285000"/>
                <a:gd name="connsiteX10" fmla="*/ 210000 w 285000"/>
                <a:gd name="connsiteY10" fmla="*/ 90000 h 285000"/>
                <a:gd name="connsiteX11" fmla="*/ 75000 w 285000"/>
                <a:gd name="connsiteY11" fmla="*/ 90000 h 285000"/>
                <a:gd name="connsiteX12" fmla="*/ 75000 w 285000"/>
                <a:gd name="connsiteY12" fmla="*/ 150000 h 285000"/>
                <a:gd name="connsiteX13" fmla="*/ 60000 w 285000"/>
                <a:gd name="connsiteY13" fmla="*/ 165000 h 285000"/>
                <a:gd name="connsiteX14" fmla="*/ 75000 w 285000"/>
                <a:gd name="connsiteY14" fmla="*/ 180000 h 285000"/>
                <a:gd name="connsiteX15" fmla="*/ 150000 w 285000"/>
                <a:gd name="connsiteY15" fmla="*/ 180000 h 285000"/>
                <a:gd name="connsiteX16" fmla="*/ 165000 w 285000"/>
                <a:gd name="connsiteY16" fmla="*/ 165000 h 285000"/>
                <a:gd name="connsiteX17" fmla="*/ 150000 w 285000"/>
                <a:gd name="connsiteY17" fmla="*/ 150000 h 285000"/>
                <a:gd name="connsiteX18" fmla="*/ 75000 w 285000"/>
                <a:gd name="connsiteY18" fmla="*/ 150000 h 28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5000" h="285000">
                  <a:moveTo>
                    <a:pt x="142500" y="285000"/>
                  </a:moveTo>
                  <a:cubicBezTo>
                    <a:pt x="63799" y="285000"/>
                    <a:pt x="0" y="221201"/>
                    <a:pt x="0" y="142500"/>
                  </a:cubicBezTo>
                  <a:cubicBezTo>
                    <a:pt x="0" y="63799"/>
                    <a:pt x="63799" y="0"/>
                    <a:pt x="142500" y="0"/>
                  </a:cubicBezTo>
                  <a:cubicBezTo>
                    <a:pt x="221201" y="0"/>
                    <a:pt x="285000" y="63799"/>
                    <a:pt x="285000" y="142500"/>
                  </a:cubicBezTo>
                  <a:cubicBezTo>
                    <a:pt x="285000" y="221201"/>
                    <a:pt x="221201" y="285000"/>
                    <a:pt x="142500" y="285000"/>
                  </a:cubicBezTo>
                  <a:close/>
                  <a:moveTo>
                    <a:pt x="75000" y="90000"/>
                  </a:moveTo>
                  <a:cubicBezTo>
                    <a:pt x="66716" y="90000"/>
                    <a:pt x="60000" y="96716"/>
                    <a:pt x="60000" y="105000"/>
                  </a:cubicBezTo>
                  <a:cubicBezTo>
                    <a:pt x="60000" y="113284"/>
                    <a:pt x="66716" y="120000"/>
                    <a:pt x="75000" y="120000"/>
                  </a:cubicBezTo>
                  <a:lnTo>
                    <a:pt x="210000" y="120000"/>
                  </a:lnTo>
                  <a:cubicBezTo>
                    <a:pt x="218285" y="120000"/>
                    <a:pt x="225000" y="113284"/>
                    <a:pt x="225000" y="105000"/>
                  </a:cubicBezTo>
                  <a:cubicBezTo>
                    <a:pt x="225000" y="96716"/>
                    <a:pt x="218285" y="90000"/>
                    <a:pt x="210000" y="90000"/>
                  </a:cubicBezTo>
                  <a:lnTo>
                    <a:pt x="75000" y="90000"/>
                  </a:lnTo>
                  <a:close/>
                  <a:moveTo>
                    <a:pt x="75000" y="150000"/>
                  </a:moveTo>
                  <a:cubicBezTo>
                    <a:pt x="66716" y="150000"/>
                    <a:pt x="60000" y="156716"/>
                    <a:pt x="60000" y="165000"/>
                  </a:cubicBezTo>
                  <a:cubicBezTo>
                    <a:pt x="60000" y="173285"/>
                    <a:pt x="66716" y="180000"/>
                    <a:pt x="75000" y="180000"/>
                  </a:cubicBezTo>
                  <a:lnTo>
                    <a:pt x="150000" y="180000"/>
                  </a:lnTo>
                  <a:cubicBezTo>
                    <a:pt x="158285" y="180000"/>
                    <a:pt x="165000" y="173285"/>
                    <a:pt x="165000" y="165000"/>
                  </a:cubicBezTo>
                  <a:cubicBezTo>
                    <a:pt x="165000" y="156716"/>
                    <a:pt x="158285" y="150000"/>
                    <a:pt x="150000" y="150000"/>
                  </a:cubicBezTo>
                  <a:lnTo>
                    <a:pt x="75000" y="15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92" name="Рисунок 127">
            <a:extLst>
              <a:ext uri="{FF2B5EF4-FFF2-40B4-BE49-F238E27FC236}">
                <a16:creationId xmlns:a16="http://schemas.microsoft.com/office/drawing/2014/main" id="{96515606-B305-DB4D-B1A5-716C0CCF24C9}"/>
              </a:ext>
            </a:extLst>
          </p:cNvPr>
          <p:cNvGrpSpPr/>
          <p:nvPr/>
        </p:nvGrpSpPr>
        <p:grpSpPr>
          <a:xfrm>
            <a:off x="7469219" y="3115315"/>
            <a:ext cx="360000" cy="360000"/>
            <a:chOff x="7491521" y="3432037"/>
            <a:chExt cx="360000" cy="360000"/>
          </a:xfrm>
        </p:grpSpPr>
        <p:sp>
          <p:nvSpPr>
            <p:cNvPr id="593" name="Полилиния 592">
              <a:extLst>
                <a:ext uri="{FF2B5EF4-FFF2-40B4-BE49-F238E27FC236}">
                  <a16:creationId xmlns:a16="http://schemas.microsoft.com/office/drawing/2014/main" id="{19DA0B08-F34A-404E-B565-E21DAC6E2BC7}"/>
                </a:ext>
              </a:extLst>
            </p:cNvPr>
            <p:cNvSpPr/>
            <p:nvPr/>
          </p:nvSpPr>
          <p:spPr>
            <a:xfrm>
              <a:off x="7491521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4" name="Полилиния 593">
              <a:extLst>
                <a:ext uri="{FF2B5EF4-FFF2-40B4-BE49-F238E27FC236}">
                  <a16:creationId xmlns:a16="http://schemas.microsoft.com/office/drawing/2014/main" id="{B8E0C7F8-504A-FD4E-AD2E-69D42931DBE8}"/>
                </a:ext>
              </a:extLst>
            </p:cNvPr>
            <p:cNvSpPr/>
            <p:nvPr/>
          </p:nvSpPr>
          <p:spPr>
            <a:xfrm>
              <a:off x="7521521" y="3477037"/>
              <a:ext cx="300373" cy="263787"/>
            </a:xfrm>
            <a:custGeom>
              <a:avLst/>
              <a:gdLst>
                <a:gd name="connsiteX0" fmla="*/ 300000 w 300373"/>
                <a:gd name="connsiteY0" fmla="*/ 180147 h 263787"/>
                <a:gd name="connsiteX1" fmla="*/ 300374 w 300373"/>
                <a:gd name="connsiteY1" fmla="*/ 180000 h 263787"/>
                <a:gd name="connsiteX2" fmla="*/ 300374 w 300373"/>
                <a:gd name="connsiteY2" fmla="*/ 248787 h 263787"/>
                <a:gd name="connsiteX3" fmla="*/ 285374 w 300373"/>
                <a:gd name="connsiteY3" fmla="*/ 263787 h 263787"/>
                <a:gd name="connsiteX4" fmla="*/ 274767 w 300373"/>
                <a:gd name="connsiteY4" fmla="*/ 259394 h 263787"/>
                <a:gd name="connsiteX5" fmla="*/ 240374 w 300373"/>
                <a:gd name="connsiteY5" fmla="*/ 225000 h 263787"/>
                <a:gd name="connsiteX6" fmla="*/ 45000 w 300373"/>
                <a:gd name="connsiteY6" fmla="*/ 225000 h 263787"/>
                <a:gd name="connsiteX7" fmla="*/ 0 w 300373"/>
                <a:gd name="connsiteY7" fmla="*/ 180000 h 263787"/>
                <a:gd name="connsiteX8" fmla="*/ 0 w 300373"/>
                <a:gd name="connsiteY8" fmla="*/ 45000 h 263787"/>
                <a:gd name="connsiteX9" fmla="*/ 45000 w 300373"/>
                <a:gd name="connsiteY9" fmla="*/ 0 h 263787"/>
                <a:gd name="connsiteX10" fmla="*/ 255000 w 300373"/>
                <a:gd name="connsiteY10" fmla="*/ 0 h 263787"/>
                <a:gd name="connsiteX11" fmla="*/ 300000 w 300373"/>
                <a:gd name="connsiteY11" fmla="*/ 45000 h 263787"/>
                <a:gd name="connsiteX12" fmla="*/ 300000 w 300373"/>
                <a:gd name="connsiteY12" fmla="*/ 180000 h 263787"/>
                <a:gd name="connsiteX13" fmla="*/ 300000 w 300373"/>
                <a:gd name="connsiteY13" fmla="*/ 180147 h 263787"/>
                <a:gd name="connsiteX14" fmla="*/ 62519 w 300373"/>
                <a:gd name="connsiteY14" fmla="*/ 113321 h 263787"/>
                <a:gd name="connsiteX15" fmla="*/ 150000 w 300373"/>
                <a:gd name="connsiteY15" fmla="*/ 165000 h 263787"/>
                <a:gd name="connsiteX16" fmla="*/ 237482 w 300373"/>
                <a:gd name="connsiteY16" fmla="*/ 113321 h 263787"/>
                <a:gd name="connsiteX17" fmla="*/ 233321 w 300373"/>
                <a:gd name="connsiteY17" fmla="*/ 92519 h 263787"/>
                <a:gd name="connsiteX18" fmla="*/ 212519 w 300373"/>
                <a:gd name="connsiteY18" fmla="*/ 96680 h 263787"/>
                <a:gd name="connsiteX19" fmla="*/ 150000 w 300373"/>
                <a:gd name="connsiteY19" fmla="*/ 135000 h 263787"/>
                <a:gd name="connsiteX20" fmla="*/ 87481 w 300373"/>
                <a:gd name="connsiteY20" fmla="*/ 96680 h 263787"/>
                <a:gd name="connsiteX21" fmla="*/ 66680 w 300373"/>
                <a:gd name="connsiteY21" fmla="*/ 92519 h 263787"/>
                <a:gd name="connsiteX22" fmla="*/ 62519 w 300373"/>
                <a:gd name="connsiteY22" fmla="*/ 113321 h 263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0373" h="263787">
                  <a:moveTo>
                    <a:pt x="300000" y="180147"/>
                  </a:moveTo>
                  <a:lnTo>
                    <a:pt x="300374" y="180000"/>
                  </a:lnTo>
                  <a:lnTo>
                    <a:pt x="300374" y="248787"/>
                  </a:lnTo>
                  <a:cubicBezTo>
                    <a:pt x="300374" y="257072"/>
                    <a:pt x="293658" y="263787"/>
                    <a:pt x="285374" y="263787"/>
                  </a:cubicBezTo>
                  <a:cubicBezTo>
                    <a:pt x="281396" y="263787"/>
                    <a:pt x="277581" y="262206"/>
                    <a:pt x="274767" y="259394"/>
                  </a:cubicBezTo>
                  <a:lnTo>
                    <a:pt x="240374" y="225000"/>
                  </a:lnTo>
                  <a:lnTo>
                    <a:pt x="45000" y="225000"/>
                  </a:lnTo>
                  <a:cubicBezTo>
                    <a:pt x="20147" y="225000"/>
                    <a:pt x="0" y="204854"/>
                    <a:pt x="0" y="180000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lnTo>
                    <a:pt x="255000" y="0"/>
                  </a:lnTo>
                  <a:cubicBezTo>
                    <a:pt x="279854" y="0"/>
                    <a:pt x="300000" y="20147"/>
                    <a:pt x="300000" y="45000"/>
                  </a:cubicBezTo>
                  <a:lnTo>
                    <a:pt x="300000" y="180000"/>
                  </a:lnTo>
                  <a:cubicBezTo>
                    <a:pt x="300000" y="180050"/>
                    <a:pt x="300000" y="180098"/>
                    <a:pt x="300000" y="180147"/>
                  </a:cubicBezTo>
                  <a:close/>
                  <a:moveTo>
                    <a:pt x="62519" y="113321"/>
                  </a:moveTo>
                  <a:cubicBezTo>
                    <a:pt x="85164" y="147287"/>
                    <a:pt x="114685" y="165000"/>
                    <a:pt x="150000" y="165000"/>
                  </a:cubicBezTo>
                  <a:cubicBezTo>
                    <a:pt x="185315" y="165000"/>
                    <a:pt x="214836" y="147287"/>
                    <a:pt x="237482" y="113321"/>
                  </a:cubicBezTo>
                  <a:cubicBezTo>
                    <a:pt x="242076" y="106428"/>
                    <a:pt x="240213" y="97115"/>
                    <a:pt x="233321" y="92519"/>
                  </a:cubicBezTo>
                  <a:cubicBezTo>
                    <a:pt x="226428" y="87924"/>
                    <a:pt x="217115" y="89787"/>
                    <a:pt x="212519" y="96680"/>
                  </a:cubicBezTo>
                  <a:cubicBezTo>
                    <a:pt x="195164" y="122713"/>
                    <a:pt x="174686" y="135000"/>
                    <a:pt x="150000" y="135000"/>
                  </a:cubicBezTo>
                  <a:cubicBezTo>
                    <a:pt x="125314" y="135000"/>
                    <a:pt x="104836" y="122713"/>
                    <a:pt x="87481" y="96680"/>
                  </a:cubicBezTo>
                  <a:cubicBezTo>
                    <a:pt x="82886" y="89787"/>
                    <a:pt x="73572" y="87924"/>
                    <a:pt x="66680" y="92519"/>
                  </a:cubicBezTo>
                  <a:cubicBezTo>
                    <a:pt x="59787" y="97115"/>
                    <a:pt x="57924" y="106428"/>
                    <a:pt x="62519" y="113321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95" name="Рисунок 128">
            <a:extLst>
              <a:ext uri="{FF2B5EF4-FFF2-40B4-BE49-F238E27FC236}">
                <a16:creationId xmlns:a16="http://schemas.microsoft.com/office/drawing/2014/main" id="{576B6625-F92E-AC45-919F-B311F5EBF3C0}"/>
              </a:ext>
            </a:extLst>
          </p:cNvPr>
          <p:cNvGrpSpPr/>
          <p:nvPr/>
        </p:nvGrpSpPr>
        <p:grpSpPr>
          <a:xfrm>
            <a:off x="6714086" y="3115315"/>
            <a:ext cx="360000" cy="360000"/>
            <a:chOff x="6736388" y="3432037"/>
            <a:chExt cx="360000" cy="360000"/>
          </a:xfrm>
        </p:grpSpPr>
        <p:sp>
          <p:nvSpPr>
            <p:cNvPr id="596" name="Полилиния 595">
              <a:extLst>
                <a:ext uri="{FF2B5EF4-FFF2-40B4-BE49-F238E27FC236}">
                  <a16:creationId xmlns:a16="http://schemas.microsoft.com/office/drawing/2014/main" id="{C2CC18A6-54F5-714A-9140-4509C06A5C60}"/>
                </a:ext>
              </a:extLst>
            </p:cNvPr>
            <p:cNvSpPr/>
            <p:nvPr/>
          </p:nvSpPr>
          <p:spPr>
            <a:xfrm>
              <a:off x="6736388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7" name="Полилиния 596">
              <a:extLst>
                <a:ext uri="{FF2B5EF4-FFF2-40B4-BE49-F238E27FC236}">
                  <a16:creationId xmlns:a16="http://schemas.microsoft.com/office/drawing/2014/main" id="{D3705CC7-21BF-2F44-A28D-2C594B61A374}"/>
                </a:ext>
              </a:extLst>
            </p:cNvPr>
            <p:cNvSpPr/>
            <p:nvPr/>
          </p:nvSpPr>
          <p:spPr>
            <a:xfrm>
              <a:off x="6781388" y="3477037"/>
              <a:ext cx="285373" cy="263787"/>
            </a:xfrm>
            <a:custGeom>
              <a:avLst/>
              <a:gdLst>
                <a:gd name="connsiteX0" fmla="*/ 285000 w 285373"/>
                <a:gd name="connsiteY0" fmla="*/ 180147 h 263787"/>
                <a:gd name="connsiteX1" fmla="*/ 285374 w 285373"/>
                <a:gd name="connsiteY1" fmla="*/ 180000 h 263787"/>
                <a:gd name="connsiteX2" fmla="*/ 285374 w 285373"/>
                <a:gd name="connsiteY2" fmla="*/ 248787 h 263787"/>
                <a:gd name="connsiteX3" fmla="*/ 270374 w 285373"/>
                <a:gd name="connsiteY3" fmla="*/ 263787 h 263787"/>
                <a:gd name="connsiteX4" fmla="*/ 259767 w 285373"/>
                <a:gd name="connsiteY4" fmla="*/ 259394 h 263787"/>
                <a:gd name="connsiteX5" fmla="*/ 225374 w 285373"/>
                <a:gd name="connsiteY5" fmla="*/ 225000 h 263787"/>
                <a:gd name="connsiteX6" fmla="*/ 45000 w 285373"/>
                <a:gd name="connsiteY6" fmla="*/ 225000 h 263787"/>
                <a:gd name="connsiteX7" fmla="*/ 0 w 285373"/>
                <a:gd name="connsiteY7" fmla="*/ 180000 h 263787"/>
                <a:gd name="connsiteX8" fmla="*/ 0 w 285373"/>
                <a:gd name="connsiteY8" fmla="*/ 45000 h 263787"/>
                <a:gd name="connsiteX9" fmla="*/ 45000 w 285373"/>
                <a:gd name="connsiteY9" fmla="*/ 0 h 263787"/>
                <a:gd name="connsiteX10" fmla="*/ 240000 w 285373"/>
                <a:gd name="connsiteY10" fmla="*/ 0 h 263787"/>
                <a:gd name="connsiteX11" fmla="*/ 285000 w 285373"/>
                <a:gd name="connsiteY11" fmla="*/ 45000 h 263787"/>
                <a:gd name="connsiteX12" fmla="*/ 285000 w 285373"/>
                <a:gd name="connsiteY12" fmla="*/ 180000 h 263787"/>
                <a:gd name="connsiteX13" fmla="*/ 285000 w 285373"/>
                <a:gd name="connsiteY13" fmla="*/ 180147 h 263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5373" h="263787">
                  <a:moveTo>
                    <a:pt x="285000" y="180147"/>
                  </a:moveTo>
                  <a:lnTo>
                    <a:pt x="285374" y="180000"/>
                  </a:lnTo>
                  <a:lnTo>
                    <a:pt x="285374" y="248787"/>
                  </a:lnTo>
                  <a:cubicBezTo>
                    <a:pt x="285374" y="257072"/>
                    <a:pt x="278658" y="263787"/>
                    <a:pt x="270374" y="263787"/>
                  </a:cubicBezTo>
                  <a:cubicBezTo>
                    <a:pt x="266396" y="263787"/>
                    <a:pt x="262581" y="262206"/>
                    <a:pt x="259767" y="259394"/>
                  </a:cubicBezTo>
                  <a:lnTo>
                    <a:pt x="225374" y="225000"/>
                  </a:lnTo>
                  <a:lnTo>
                    <a:pt x="45000" y="225000"/>
                  </a:lnTo>
                  <a:cubicBezTo>
                    <a:pt x="20147" y="225000"/>
                    <a:pt x="0" y="204854"/>
                    <a:pt x="0" y="180000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lnTo>
                    <a:pt x="240000" y="0"/>
                  </a:lnTo>
                  <a:cubicBezTo>
                    <a:pt x="264854" y="0"/>
                    <a:pt x="285000" y="20147"/>
                    <a:pt x="285000" y="45000"/>
                  </a:cubicBezTo>
                  <a:lnTo>
                    <a:pt x="285000" y="180000"/>
                  </a:lnTo>
                  <a:cubicBezTo>
                    <a:pt x="285000" y="180050"/>
                    <a:pt x="285000" y="180098"/>
                    <a:pt x="285000" y="180147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598" name="Полилиния 597">
              <a:extLst>
                <a:ext uri="{FF2B5EF4-FFF2-40B4-BE49-F238E27FC236}">
                  <a16:creationId xmlns:a16="http://schemas.microsoft.com/office/drawing/2014/main" id="{C61BA87B-2E01-C94A-945D-62E7456E5659}"/>
                </a:ext>
              </a:extLst>
            </p:cNvPr>
            <p:cNvSpPr/>
            <p:nvPr/>
          </p:nvSpPr>
          <p:spPr>
            <a:xfrm>
              <a:off x="6826388" y="3567037"/>
              <a:ext cx="195000" cy="45000"/>
            </a:xfrm>
            <a:custGeom>
              <a:avLst/>
              <a:gdLst>
                <a:gd name="connsiteX0" fmla="*/ 22500 w 195000"/>
                <a:gd name="connsiteY0" fmla="*/ 45000 h 45000"/>
                <a:gd name="connsiteX1" fmla="*/ 0 w 195000"/>
                <a:gd name="connsiteY1" fmla="*/ 22500 h 45000"/>
                <a:gd name="connsiteX2" fmla="*/ 22500 w 195000"/>
                <a:gd name="connsiteY2" fmla="*/ 0 h 45000"/>
                <a:gd name="connsiteX3" fmla="*/ 45000 w 195000"/>
                <a:gd name="connsiteY3" fmla="*/ 22500 h 45000"/>
                <a:gd name="connsiteX4" fmla="*/ 22500 w 195000"/>
                <a:gd name="connsiteY4" fmla="*/ 45000 h 45000"/>
                <a:gd name="connsiteX5" fmla="*/ 97500 w 195000"/>
                <a:gd name="connsiteY5" fmla="*/ 45000 h 45000"/>
                <a:gd name="connsiteX6" fmla="*/ 75000 w 195000"/>
                <a:gd name="connsiteY6" fmla="*/ 22500 h 45000"/>
                <a:gd name="connsiteX7" fmla="*/ 97500 w 195000"/>
                <a:gd name="connsiteY7" fmla="*/ 0 h 45000"/>
                <a:gd name="connsiteX8" fmla="*/ 120000 w 195000"/>
                <a:gd name="connsiteY8" fmla="*/ 22500 h 45000"/>
                <a:gd name="connsiteX9" fmla="*/ 97500 w 195000"/>
                <a:gd name="connsiteY9" fmla="*/ 45000 h 45000"/>
                <a:gd name="connsiteX10" fmla="*/ 172500 w 195000"/>
                <a:gd name="connsiteY10" fmla="*/ 45000 h 45000"/>
                <a:gd name="connsiteX11" fmla="*/ 150000 w 195000"/>
                <a:gd name="connsiteY11" fmla="*/ 22500 h 45000"/>
                <a:gd name="connsiteX12" fmla="*/ 172500 w 195000"/>
                <a:gd name="connsiteY12" fmla="*/ 0 h 45000"/>
                <a:gd name="connsiteX13" fmla="*/ 195000 w 195000"/>
                <a:gd name="connsiteY13" fmla="*/ 22500 h 45000"/>
                <a:gd name="connsiteX14" fmla="*/ 172500 w 195000"/>
                <a:gd name="connsiteY14" fmla="*/ 4500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5000" h="45000">
                  <a:moveTo>
                    <a:pt x="22500" y="45000"/>
                  </a:move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ubicBezTo>
                    <a:pt x="34926" y="0"/>
                    <a:pt x="45000" y="10074"/>
                    <a:pt x="45000" y="22500"/>
                  </a:cubicBezTo>
                  <a:cubicBezTo>
                    <a:pt x="45000" y="34926"/>
                    <a:pt x="34926" y="45000"/>
                    <a:pt x="22500" y="45000"/>
                  </a:cubicBezTo>
                  <a:close/>
                  <a:moveTo>
                    <a:pt x="97500" y="45000"/>
                  </a:moveTo>
                  <a:cubicBezTo>
                    <a:pt x="85074" y="45000"/>
                    <a:pt x="75000" y="34926"/>
                    <a:pt x="75000" y="22500"/>
                  </a:cubicBezTo>
                  <a:cubicBezTo>
                    <a:pt x="75000" y="10074"/>
                    <a:pt x="85074" y="0"/>
                    <a:pt x="97500" y="0"/>
                  </a:cubicBezTo>
                  <a:cubicBezTo>
                    <a:pt x="109926" y="0"/>
                    <a:pt x="120000" y="10074"/>
                    <a:pt x="120000" y="22500"/>
                  </a:cubicBezTo>
                  <a:cubicBezTo>
                    <a:pt x="120000" y="34926"/>
                    <a:pt x="109926" y="45000"/>
                    <a:pt x="97500" y="45000"/>
                  </a:cubicBezTo>
                  <a:close/>
                  <a:moveTo>
                    <a:pt x="172500" y="45000"/>
                  </a:moveTo>
                  <a:cubicBezTo>
                    <a:pt x="160074" y="45000"/>
                    <a:pt x="150000" y="34926"/>
                    <a:pt x="150000" y="22500"/>
                  </a:cubicBezTo>
                  <a:cubicBezTo>
                    <a:pt x="150000" y="10074"/>
                    <a:pt x="160074" y="0"/>
                    <a:pt x="172500" y="0"/>
                  </a:cubicBezTo>
                  <a:cubicBezTo>
                    <a:pt x="184926" y="0"/>
                    <a:pt x="195000" y="10074"/>
                    <a:pt x="195000" y="22500"/>
                  </a:cubicBezTo>
                  <a:cubicBezTo>
                    <a:pt x="195000" y="34926"/>
                    <a:pt x="184926" y="45000"/>
                    <a:pt x="1725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599" name="Рисунок 129">
            <a:extLst>
              <a:ext uri="{FF2B5EF4-FFF2-40B4-BE49-F238E27FC236}">
                <a16:creationId xmlns:a16="http://schemas.microsoft.com/office/drawing/2014/main" id="{2E2B4645-4143-0648-A556-352100C85D86}"/>
              </a:ext>
            </a:extLst>
          </p:cNvPr>
          <p:cNvGrpSpPr/>
          <p:nvPr/>
        </p:nvGrpSpPr>
        <p:grpSpPr>
          <a:xfrm>
            <a:off x="5958953" y="3115315"/>
            <a:ext cx="360000" cy="360000"/>
            <a:chOff x="5981255" y="3432037"/>
            <a:chExt cx="360000" cy="360000"/>
          </a:xfrm>
        </p:grpSpPr>
        <p:sp>
          <p:nvSpPr>
            <p:cNvPr id="600" name="Полилиния 599">
              <a:extLst>
                <a:ext uri="{FF2B5EF4-FFF2-40B4-BE49-F238E27FC236}">
                  <a16:creationId xmlns:a16="http://schemas.microsoft.com/office/drawing/2014/main" id="{87A0CC5E-D345-E84F-9F5B-A7E12551FEAB}"/>
                </a:ext>
              </a:extLst>
            </p:cNvPr>
            <p:cNvSpPr/>
            <p:nvPr/>
          </p:nvSpPr>
          <p:spPr>
            <a:xfrm>
              <a:off x="5981255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1" name="Полилиния 600">
              <a:extLst>
                <a:ext uri="{FF2B5EF4-FFF2-40B4-BE49-F238E27FC236}">
                  <a16:creationId xmlns:a16="http://schemas.microsoft.com/office/drawing/2014/main" id="{7D5F8C95-A2F5-B84A-BB71-CBFCD2DD5EA9}"/>
                </a:ext>
              </a:extLst>
            </p:cNvPr>
            <p:cNvSpPr/>
            <p:nvPr/>
          </p:nvSpPr>
          <p:spPr>
            <a:xfrm>
              <a:off x="6011255" y="3477037"/>
              <a:ext cx="300000" cy="278597"/>
            </a:xfrm>
            <a:custGeom>
              <a:avLst/>
              <a:gdLst>
                <a:gd name="connsiteX0" fmla="*/ 187293 w 300000"/>
                <a:gd name="connsiteY0" fmla="*/ 225000 h 278597"/>
                <a:gd name="connsiteX1" fmla="*/ 161963 w 300000"/>
                <a:gd name="connsiteY1" fmla="*/ 270849 h 278597"/>
                <a:gd name="connsiteX2" fmla="*/ 141579 w 300000"/>
                <a:gd name="connsiteY2" fmla="*/ 276725 h 278597"/>
                <a:gd name="connsiteX3" fmla="*/ 136331 w 300000"/>
                <a:gd name="connsiteY3" fmla="*/ 271883 h 278597"/>
                <a:gd name="connsiteX4" fmla="*/ 105248 w 300000"/>
                <a:gd name="connsiteY4" fmla="*/ 225000 h 278597"/>
                <a:gd name="connsiteX5" fmla="*/ 45000 w 300000"/>
                <a:gd name="connsiteY5" fmla="*/ 225000 h 278597"/>
                <a:gd name="connsiteX6" fmla="*/ 0 w 300000"/>
                <a:gd name="connsiteY6" fmla="*/ 180000 h 278597"/>
                <a:gd name="connsiteX7" fmla="*/ 0 w 300000"/>
                <a:gd name="connsiteY7" fmla="*/ 45000 h 278597"/>
                <a:gd name="connsiteX8" fmla="*/ 45000 w 300000"/>
                <a:gd name="connsiteY8" fmla="*/ 0 h 278597"/>
                <a:gd name="connsiteX9" fmla="*/ 255000 w 300000"/>
                <a:gd name="connsiteY9" fmla="*/ 0 h 278597"/>
                <a:gd name="connsiteX10" fmla="*/ 300000 w 300000"/>
                <a:gd name="connsiteY10" fmla="*/ 45000 h 278597"/>
                <a:gd name="connsiteX11" fmla="*/ 300000 w 300000"/>
                <a:gd name="connsiteY11" fmla="*/ 180000 h 278597"/>
                <a:gd name="connsiteX12" fmla="*/ 255000 w 300000"/>
                <a:gd name="connsiteY12" fmla="*/ 225000 h 278597"/>
                <a:gd name="connsiteX13" fmla="*/ 187293 w 300000"/>
                <a:gd name="connsiteY13" fmla="*/ 225000 h 278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000" h="278597">
                  <a:moveTo>
                    <a:pt x="187293" y="225000"/>
                  </a:moveTo>
                  <a:lnTo>
                    <a:pt x="161963" y="270849"/>
                  </a:lnTo>
                  <a:cubicBezTo>
                    <a:pt x="157956" y="278100"/>
                    <a:pt x="148830" y="280730"/>
                    <a:pt x="141579" y="276725"/>
                  </a:cubicBezTo>
                  <a:cubicBezTo>
                    <a:pt x="139466" y="275556"/>
                    <a:pt x="137666" y="273896"/>
                    <a:pt x="136331" y="271883"/>
                  </a:cubicBezTo>
                  <a:lnTo>
                    <a:pt x="105248" y="225000"/>
                  </a:lnTo>
                  <a:lnTo>
                    <a:pt x="45000" y="225000"/>
                  </a:lnTo>
                  <a:cubicBezTo>
                    <a:pt x="20147" y="225000"/>
                    <a:pt x="0" y="204854"/>
                    <a:pt x="0" y="180000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lnTo>
                    <a:pt x="255000" y="0"/>
                  </a:lnTo>
                  <a:cubicBezTo>
                    <a:pt x="279854" y="0"/>
                    <a:pt x="300000" y="20147"/>
                    <a:pt x="300000" y="45000"/>
                  </a:cubicBezTo>
                  <a:lnTo>
                    <a:pt x="300000" y="180000"/>
                  </a:lnTo>
                  <a:cubicBezTo>
                    <a:pt x="300000" y="204854"/>
                    <a:pt x="279854" y="225000"/>
                    <a:pt x="255000" y="225000"/>
                  </a:cubicBezTo>
                  <a:lnTo>
                    <a:pt x="187293" y="22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2" name="Полилиния 601">
              <a:extLst>
                <a:ext uri="{FF2B5EF4-FFF2-40B4-BE49-F238E27FC236}">
                  <a16:creationId xmlns:a16="http://schemas.microsoft.com/office/drawing/2014/main" id="{D246B8CA-7780-1849-ADD3-728CEDE6B91D}"/>
                </a:ext>
              </a:extLst>
            </p:cNvPr>
            <p:cNvSpPr/>
            <p:nvPr/>
          </p:nvSpPr>
          <p:spPr>
            <a:xfrm>
              <a:off x="6056255" y="3537037"/>
              <a:ext cx="165000" cy="90000"/>
            </a:xfrm>
            <a:custGeom>
              <a:avLst/>
              <a:gdLst>
                <a:gd name="connsiteX0" fmla="*/ 15000 w 165000"/>
                <a:gd name="connsiteY0" fmla="*/ 0 h 90000"/>
                <a:gd name="connsiteX1" fmla="*/ 150000 w 165000"/>
                <a:gd name="connsiteY1" fmla="*/ 0 h 90000"/>
                <a:gd name="connsiteX2" fmla="*/ 165000 w 165000"/>
                <a:gd name="connsiteY2" fmla="*/ 15000 h 90000"/>
                <a:gd name="connsiteX3" fmla="*/ 150000 w 165000"/>
                <a:gd name="connsiteY3" fmla="*/ 30000 h 90000"/>
                <a:gd name="connsiteX4" fmla="*/ 15000 w 165000"/>
                <a:gd name="connsiteY4" fmla="*/ 30000 h 90000"/>
                <a:gd name="connsiteX5" fmla="*/ 0 w 165000"/>
                <a:gd name="connsiteY5" fmla="*/ 15000 h 90000"/>
                <a:gd name="connsiteX6" fmla="*/ 15000 w 165000"/>
                <a:gd name="connsiteY6" fmla="*/ 0 h 90000"/>
                <a:gd name="connsiteX7" fmla="*/ 15000 w 165000"/>
                <a:gd name="connsiteY7" fmla="*/ 60000 h 90000"/>
                <a:gd name="connsiteX8" fmla="*/ 90000 w 165000"/>
                <a:gd name="connsiteY8" fmla="*/ 60000 h 90000"/>
                <a:gd name="connsiteX9" fmla="*/ 105000 w 165000"/>
                <a:gd name="connsiteY9" fmla="*/ 75000 h 90000"/>
                <a:gd name="connsiteX10" fmla="*/ 90000 w 165000"/>
                <a:gd name="connsiteY10" fmla="*/ 90000 h 90000"/>
                <a:gd name="connsiteX11" fmla="*/ 15000 w 165000"/>
                <a:gd name="connsiteY11" fmla="*/ 90000 h 90000"/>
                <a:gd name="connsiteX12" fmla="*/ 0 w 165000"/>
                <a:gd name="connsiteY12" fmla="*/ 75000 h 90000"/>
                <a:gd name="connsiteX13" fmla="*/ 15000 w 165000"/>
                <a:gd name="connsiteY13" fmla="*/ 6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5000" h="90000">
                  <a:moveTo>
                    <a:pt x="15000" y="0"/>
                  </a:moveTo>
                  <a:lnTo>
                    <a:pt x="150000" y="0"/>
                  </a:lnTo>
                  <a:cubicBezTo>
                    <a:pt x="158285" y="0"/>
                    <a:pt x="165000" y="6716"/>
                    <a:pt x="165000" y="15000"/>
                  </a:cubicBezTo>
                  <a:cubicBezTo>
                    <a:pt x="165000" y="23284"/>
                    <a:pt x="158285" y="30000"/>
                    <a:pt x="150000" y="30000"/>
                  </a:cubicBez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000" y="60000"/>
                  </a:moveTo>
                  <a:lnTo>
                    <a:pt x="90000" y="60000"/>
                  </a:lnTo>
                  <a:cubicBezTo>
                    <a:pt x="98285" y="60000"/>
                    <a:pt x="105000" y="66715"/>
                    <a:pt x="105000" y="75000"/>
                  </a:cubicBezTo>
                  <a:cubicBezTo>
                    <a:pt x="105000" y="83285"/>
                    <a:pt x="98285" y="90000"/>
                    <a:pt x="90000" y="90000"/>
                  </a:cubicBezTo>
                  <a:lnTo>
                    <a:pt x="15000" y="90000"/>
                  </a:lnTo>
                  <a:cubicBezTo>
                    <a:pt x="6716" y="90000"/>
                    <a:pt x="0" y="83285"/>
                    <a:pt x="0" y="75000"/>
                  </a:cubicBezTo>
                  <a:cubicBezTo>
                    <a:pt x="0" y="66715"/>
                    <a:pt x="6716" y="60000"/>
                    <a:pt x="15000" y="6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03" name="Рисунок 130">
            <a:extLst>
              <a:ext uri="{FF2B5EF4-FFF2-40B4-BE49-F238E27FC236}">
                <a16:creationId xmlns:a16="http://schemas.microsoft.com/office/drawing/2014/main" id="{36A3535E-5CBA-A048-BE4F-EDDD6861EAAB}"/>
              </a:ext>
            </a:extLst>
          </p:cNvPr>
          <p:cNvGrpSpPr/>
          <p:nvPr/>
        </p:nvGrpSpPr>
        <p:grpSpPr>
          <a:xfrm>
            <a:off x="5203820" y="3115315"/>
            <a:ext cx="360000" cy="360000"/>
            <a:chOff x="5226122" y="3432037"/>
            <a:chExt cx="360000" cy="360000"/>
          </a:xfrm>
        </p:grpSpPr>
        <p:sp>
          <p:nvSpPr>
            <p:cNvPr id="604" name="Полилиния 603">
              <a:extLst>
                <a:ext uri="{FF2B5EF4-FFF2-40B4-BE49-F238E27FC236}">
                  <a16:creationId xmlns:a16="http://schemas.microsoft.com/office/drawing/2014/main" id="{48119407-8288-E845-B462-00F30EA1473E}"/>
                </a:ext>
              </a:extLst>
            </p:cNvPr>
            <p:cNvSpPr/>
            <p:nvPr/>
          </p:nvSpPr>
          <p:spPr>
            <a:xfrm>
              <a:off x="5226122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5" name="Полилиния 604">
              <a:extLst>
                <a:ext uri="{FF2B5EF4-FFF2-40B4-BE49-F238E27FC236}">
                  <a16:creationId xmlns:a16="http://schemas.microsoft.com/office/drawing/2014/main" id="{5BCA34E5-3EAC-7B41-8E92-46C475DBF4D4}"/>
                </a:ext>
              </a:extLst>
            </p:cNvPr>
            <p:cNvSpPr/>
            <p:nvPr/>
          </p:nvSpPr>
          <p:spPr>
            <a:xfrm>
              <a:off x="5256122" y="3657037"/>
              <a:ext cx="114999" cy="86249"/>
            </a:xfrm>
            <a:custGeom>
              <a:avLst/>
              <a:gdLst>
                <a:gd name="connsiteX0" fmla="*/ 43125 w 114999"/>
                <a:gd name="connsiteY0" fmla="*/ 86250 h 86249"/>
                <a:gd name="connsiteX1" fmla="*/ 33063 w 114999"/>
                <a:gd name="connsiteY1" fmla="*/ 81937 h 86249"/>
                <a:gd name="connsiteX2" fmla="*/ 4312 w 114999"/>
                <a:gd name="connsiteY2" fmla="*/ 53187 h 86249"/>
                <a:gd name="connsiteX3" fmla="*/ 4312 w 114999"/>
                <a:gd name="connsiteY3" fmla="*/ 33063 h 86249"/>
                <a:gd name="connsiteX4" fmla="*/ 24438 w 114999"/>
                <a:gd name="connsiteY4" fmla="*/ 33063 h 86249"/>
                <a:gd name="connsiteX5" fmla="*/ 43125 w 114999"/>
                <a:gd name="connsiteY5" fmla="*/ 51750 h 86249"/>
                <a:gd name="connsiteX6" fmla="*/ 90562 w 114999"/>
                <a:gd name="connsiteY6" fmla="*/ 4312 h 86249"/>
                <a:gd name="connsiteX7" fmla="*/ 110688 w 114999"/>
                <a:gd name="connsiteY7" fmla="*/ 4312 h 86249"/>
                <a:gd name="connsiteX8" fmla="*/ 110688 w 114999"/>
                <a:gd name="connsiteY8" fmla="*/ 24438 h 86249"/>
                <a:gd name="connsiteX9" fmla="*/ 53187 w 114999"/>
                <a:gd name="connsiteY9" fmla="*/ 81937 h 86249"/>
                <a:gd name="connsiteX10" fmla="*/ 43125 w 114999"/>
                <a:gd name="connsiteY10" fmla="*/ 86250 h 86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4999" h="86249">
                  <a:moveTo>
                    <a:pt x="43125" y="86250"/>
                  </a:moveTo>
                  <a:cubicBezTo>
                    <a:pt x="39531" y="86250"/>
                    <a:pt x="35937" y="84813"/>
                    <a:pt x="33063" y="81937"/>
                  </a:cubicBezTo>
                  <a:lnTo>
                    <a:pt x="4312" y="53187"/>
                  </a:lnTo>
                  <a:cubicBezTo>
                    <a:pt x="-1437" y="47437"/>
                    <a:pt x="-1437" y="38812"/>
                    <a:pt x="4312" y="33063"/>
                  </a:cubicBezTo>
                  <a:cubicBezTo>
                    <a:pt x="10062" y="27312"/>
                    <a:pt x="19406" y="27312"/>
                    <a:pt x="24438" y="33063"/>
                  </a:cubicBezTo>
                  <a:lnTo>
                    <a:pt x="43125" y="51750"/>
                  </a:lnTo>
                  <a:lnTo>
                    <a:pt x="90562" y="4312"/>
                  </a:lnTo>
                  <a:cubicBezTo>
                    <a:pt x="96312" y="-1437"/>
                    <a:pt x="104937" y="-1437"/>
                    <a:pt x="110688" y="4312"/>
                  </a:cubicBezTo>
                  <a:cubicBezTo>
                    <a:pt x="116437" y="10062"/>
                    <a:pt x="116437" y="18687"/>
                    <a:pt x="110688" y="24438"/>
                  </a:cubicBezTo>
                  <a:lnTo>
                    <a:pt x="53187" y="81937"/>
                  </a:lnTo>
                  <a:cubicBezTo>
                    <a:pt x="50313" y="84813"/>
                    <a:pt x="46719" y="86250"/>
                    <a:pt x="43125" y="8625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6" name="Полилиния 605">
              <a:extLst>
                <a:ext uri="{FF2B5EF4-FFF2-40B4-BE49-F238E27FC236}">
                  <a16:creationId xmlns:a16="http://schemas.microsoft.com/office/drawing/2014/main" id="{1C46C775-A746-E34D-9949-FF10DF7718E7}"/>
                </a:ext>
              </a:extLst>
            </p:cNvPr>
            <p:cNvSpPr/>
            <p:nvPr/>
          </p:nvSpPr>
          <p:spPr>
            <a:xfrm>
              <a:off x="5256122" y="3477037"/>
              <a:ext cx="300373" cy="263787"/>
            </a:xfrm>
            <a:custGeom>
              <a:avLst/>
              <a:gdLst>
                <a:gd name="connsiteX0" fmla="*/ 0 w 300373"/>
                <a:gd name="connsiteY0" fmla="*/ 132975 h 263787"/>
                <a:gd name="connsiteX1" fmla="*/ 0 w 300373"/>
                <a:gd name="connsiteY1" fmla="*/ 45000 h 263787"/>
                <a:gd name="connsiteX2" fmla="*/ 45000 w 300373"/>
                <a:gd name="connsiteY2" fmla="*/ 0 h 263787"/>
                <a:gd name="connsiteX3" fmla="*/ 255000 w 300373"/>
                <a:gd name="connsiteY3" fmla="*/ 0 h 263787"/>
                <a:gd name="connsiteX4" fmla="*/ 300000 w 300373"/>
                <a:gd name="connsiteY4" fmla="*/ 45000 h 263787"/>
                <a:gd name="connsiteX5" fmla="*/ 300000 w 300373"/>
                <a:gd name="connsiteY5" fmla="*/ 180000 h 263787"/>
                <a:gd name="connsiteX6" fmla="*/ 300000 w 300373"/>
                <a:gd name="connsiteY6" fmla="*/ 180147 h 263787"/>
                <a:gd name="connsiteX7" fmla="*/ 300374 w 300373"/>
                <a:gd name="connsiteY7" fmla="*/ 180000 h 263787"/>
                <a:gd name="connsiteX8" fmla="*/ 300374 w 300373"/>
                <a:gd name="connsiteY8" fmla="*/ 248787 h 263787"/>
                <a:gd name="connsiteX9" fmla="*/ 285374 w 300373"/>
                <a:gd name="connsiteY9" fmla="*/ 263787 h 263787"/>
                <a:gd name="connsiteX10" fmla="*/ 274767 w 300373"/>
                <a:gd name="connsiteY10" fmla="*/ 259394 h 263787"/>
                <a:gd name="connsiteX11" fmla="*/ 240374 w 300373"/>
                <a:gd name="connsiteY11" fmla="*/ 225000 h 263787"/>
                <a:gd name="connsiteX12" fmla="*/ 164754 w 300373"/>
                <a:gd name="connsiteY12" fmla="*/ 225000 h 263787"/>
                <a:gd name="connsiteX13" fmla="*/ 52500 w 300373"/>
                <a:gd name="connsiteY13" fmla="*/ 120000 h 263787"/>
                <a:gd name="connsiteX14" fmla="*/ 0 w 300373"/>
                <a:gd name="connsiteY14" fmla="*/ 132975 h 263787"/>
                <a:gd name="connsiteX15" fmla="*/ 60000 w 300373"/>
                <a:gd name="connsiteY15" fmla="*/ 60000 h 263787"/>
                <a:gd name="connsiteX16" fmla="*/ 45000 w 300373"/>
                <a:gd name="connsiteY16" fmla="*/ 75000 h 263787"/>
                <a:gd name="connsiteX17" fmla="*/ 60000 w 300373"/>
                <a:gd name="connsiteY17" fmla="*/ 90000 h 263787"/>
                <a:gd name="connsiteX18" fmla="*/ 195000 w 300373"/>
                <a:gd name="connsiteY18" fmla="*/ 90000 h 263787"/>
                <a:gd name="connsiteX19" fmla="*/ 210000 w 300373"/>
                <a:gd name="connsiteY19" fmla="*/ 75000 h 263787"/>
                <a:gd name="connsiteX20" fmla="*/ 195000 w 300373"/>
                <a:gd name="connsiteY20" fmla="*/ 60000 h 263787"/>
                <a:gd name="connsiteX21" fmla="*/ 60000 w 300373"/>
                <a:gd name="connsiteY21" fmla="*/ 60000 h 263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00373" h="263787">
                  <a:moveTo>
                    <a:pt x="0" y="132975"/>
                  </a:move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lnTo>
                    <a:pt x="255000" y="0"/>
                  </a:lnTo>
                  <a:cubicBezTo>
                    <a:pt x="279854" y="0"/>
                    <a:pt x="300000" y="20147"/>
                    <a:pt x="300000" y="45000"/>
                  </a:cubicBezTo>
                  <a:lnTo>
                    <a:pt x="300000" y="180000"/>
                  </a:lnTo>
                  <a:cubicBezTo>
                    <a:pt x="300000" y="180050"/>
                    <a:pt x="300000" y="180098"/>
                    <a:pt x="300000" y="180147"/>
                  </a:cubicBezTo>
                  <a:lnTo>
                    <a:pt x="300374" y="180000"/>
                  </a:lnTo>
                  <a:lnTo>
                    <a:pt x="300374" y="248787"/>
                  </a:lnTo>
                  <a:cubicBezTo>
                    <a:pt x="300374" y="257072"/>
                    <a:pt x="293658" y="263787"/>
                    <a:pt x="285374" y="263787"/>
                  </a:cubicBezTo>
                  <a:cubicBezTo>
                    <a:pt x="281396" y="263787"/>
                    <a:pt x="277581" y="262206"/>
                    <a:pt x="274767" y="259394"/>
                  </a:cubicBezTo>
                  <a:lnTo>
                    <a:pt x="240374" y="225000"/>
                  </a:lnTo>
                  <a:lnTo>
                    <a:pt x="164754" y="225000"/>
                  </a:lnTo>
                  <a:cubicBezTo>
                    <a:pt x="160895" y="166365"/>
                    <a:pt x="112112" y="120000"/>
                    <a:pt x="52500" y="120000"/>
                  </a:cubicBezTo>
                  <a:cubicBezTo>
                    <a:pt x="33539" y="120000"/>
                    <a:pt x="15673" y="124691"/>
                    <a:pt x="0" y="132975"/>
                  </a:cubicBezTo>
                  <a:close/>
                  <a:moveTo>
                    <a:pt x="60000" y="60000"/>
                  </a:moveTo>
                  <a:cubicBezTo>
                    <a:pt x="51716" y="60000"/>
                    <a:pt x="45000" y="66716"/>
                    <a:pt x="45000" y="75000"/>
                  </a:cubicBezTo>
                  <a:cubicBezTo>
                    <a:pt x="45000" y="83284"/>
                    <a:pt x="51716" y="90000"/>
                    <a:pt x="60000" y="90000"/>
                  </a:cubicBezTo>
                  <a:lnTo>
                    <a:pt x="195000" y="90000"/>
                  </a:lnTo>
                  <a:cubicBezTo>
                    <a:pt x="203285" y="90000"/>
                    <a:pt x="210000" y="83284"/>
                    <a:pt x="210000" y="75000"/>
                  </a:cubicBezTo>
                  <a:cubicBezTo>
                    <a:pt x="210000" y="66716"/>
                    <a:pt x="203285" y="60000"/>
                    <a:pt x="195000" y="60000"/>
                  </a:cubicBezTo>
                  <a:lnTo>
                    <a:pt x="60000" y="6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607" name="Рисунок 131">
            <a:extLst>
              <a:ext uri="{FF2B5EF4-FFF2-40B4-BE49-F238E27FC236}">
                <a16:creationId xmlns:a16="http://schemas.microsoft.com/office/drawing/2014/main" id="{995AD7F6-D225-374C-90BD-DAEE1B375C6E}"/>
              </a:ext>
            </a:extLst>
          </p:cNvPr>
          <p:cNvGrpSpPr/>
          <p:nvPr/>
        </p:nvGrpSpPr>
        <p:grpSpPr>
          <a:xfrm>
            <a:off x="4448687" y="3115315"/>
            <a:ext cx="360000" cy="360000"/>
            <a:chOff x="4470989" y="3432037"/>
            <a:chExt cx="360000" cy="360000"/>
          </a:xfrm>
        </p:grpSpPr>
        <p:sp>
          <p:nvSpPr>
            <p:cNvPr id="608" name="Полилиния 607">
              <a:extLst>
                <a:ext uri="{FF2B5EF4-FFF2-40B4-BE49-F238E27FC236}">
                  <a16:creationId xmlns:a16="http://schemas.microsoft.com/office/drawing/2014/main" id="{5FB1DFD8-AB76-664A-A4A9-D458B17FA89A}"/>
                </a:ext>
              </a:extLst>
            </p:cNvPr>
            <p:cNvSpPr/>
            <p:nvPr/>
          </p:nvSpPr>
          <p:spPr>
            <a:xfrm>
              <a:off x="4470989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9" name="Полилиния 608">
              <a:extLst>
                <a:ext uri="{FF2B5EF4-FFF2-40B4-BE49-F238E27FC236}">
                  <a16:creationId xmlns:a16="http://schemas.microsoft.com/office/drawing/2014/main" id="{102514C1-D84B-CA42-8C6C-895D9DBDDA62}"/>
                </a:ext>
              </a:extLst>
            </p:cNvPr>
            <p:cNvSpPr/>
            <p:nvPr/>
          </p:nvSpPr>
          <p:spPr>
            <a:xfrm>
              <a:off x="4500989" y="3477037"/>
              <a:ext cx="300373" cy="263787"/>
            </a:xfrm>
            <a:custGeom>
              <a:avLst/>
              <a:gdLst>
                <a:gd name="connsiteX0" fmla="*/ 0 w 300373"/>
                <a:gd name="connsiteY0" fmla="*/ 132975 h 263787"/>
                <a:gd name="connsiteX1" fmla="*/ 0 w 300373"/>
                <a:gd name="connsiteY1" fmla="*/ 45000 h 263787"/>
                <a:gd name="connsiteX2" fmla="*/ 45000 w 300373"/>
                <a:gd name="connsiteY2" fmla="*/ 0 h 263787"/>
                <a:gd name="connsiteX3" fmla="*/ 255000 w 300373"/>
                <a:gd name="connsiteY3" fmla="*/ 0 h 263787"/>
                <a:gd name="connsiteX4" fmla="*/ 300000 w 300373"/>
                <a:gd name="connsiteY4" fmla="*/ 45000 h 263787"/>
                <a:gd name="connsiteX5" fmla="*/ 300000 w 300373"/>
                <a:gd name="connsiteY5" fmla="*/ 180000 h 263787"/>
                <a:gd name="connsiteX6" fmla="*/ 300000 w 300373"/>
                <a:gd name="connsiteY6" fmla="*/ 180147 h 263787"/>
                <a:gd name="connsiteX7" fmla="*/ 300374 w 300373"/>
                <a:gd name="connsiteY7" fmla="*/ 180000 h 263787"/>
                <a:gd name="connsiteX8" fmla="*/ 300374 w 300373"/>
                <a:gd name="connsiteY8" fmla="*/ 248787 h 263787"/>
                <a:gd name="connsiteX9" fmla="*/ 285374 w 300373"/>
                <a:gd name="connsiteY9" fmla="*/ 263787 h 263787"/>
                <a:gd name="connsiteX10" fmla="*/ 274767 w 300373"/>
                <a:gd name="connsiteY10" fmla="*/ 259394 h 263787"/>
                <a:gd name="connsiteX11" fmla="*/ 240374 w 300373"/>
                <a:gd name="connsiteY11" fmla="*/ 225000 h 263787"/>
                <a:gd name="connsiteX12" fmla="*/ 164754 w 300373"/>
                <a:gd name="connsiteY12" fmla="*/ 225000 h 263787"/>
                <a:gd name="connsiteX13" fmla="*/ 52500 w 300373"/>
                <a:gd name="connsiteY13" fmla="*/ 120000 h 263787"/>
                <a:gd name="connsiteX14" fmla="*/ 0 w 300373"/>
                <a:gd name="connsiteY14" fmla="*/ 132975 h 263787"/>
                <a:gd name="connsiteX15" fmla="*/ 60000 w 300373"/>
                <a:gd name="connsiteY15" fmla="*/ 60000 h 263787"/>
                <a:gd name="connsiteX16" fmla="*/ 45000 w 300373"/>
                <a:gd name="connsiteY16" fmla="*/ 75000 h 263787"/>
                <a:gd name="connsiteX17" fmla="*/ 60000 w 300373"/>
                <a:gd name="connsiteY17" fmla="*/ 90000 h 263787"/>
                <a:gd name="connsiteX18" fmla="*/ 195000 w 300373"/>
                <a:gd name="connsiteY18" fmla="*/ 90000 h 263787"/>
                <a:gd name="connsiteX19" fmla="*/ 210000 w 300373"/>
                <a:gd name="connsiteY19" fmla="*/ 75000 h 263787"/>
                <a:gd name="connsiteX20" fmla="*/ 195000 w 300373"/>
                <a:gd name="connsiteY20" fmla="*/ 60000 h 263787"/>
                <a:gd name="connsiteX21" fmla="*/ 60000 w 300373"/>
                <a:gd name="connsiteY21" fmla="*/ 60000 h 263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00373" h="263787">
                  <a:moveTo>
                    <a:pt x="0" y="132975"/>
                  </a:move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lnTo>
                    <a:pt x="255000" y="0"/>
                  </a:lnTo>
                  <a:cubicBezTo>
                    <a:pt x="279854" y="0"/>
                    <a:pt x="300000" y="20147"/>
                    <a:pt x="300000" y="45000"/>
                  </a:cubicBezTo>
                  <a:lnTo>
                    <a:pt x="300000" y="180000"/>
                  </a:lnTo>
                  <a:cubicBezTo>
                    <a:pt x="300000" y="180050"/>
                    <a:pt x="300000" y="180098"/>
                    <a:pt x="300000" y="180147"/>
                  </a:cubicBezTo>
                  <a:lnTo>
                    <a:pt x="300374" y="180000"/>
                  </a:lnTo>
                  <a:lnTo>
                    <a:pt x="300374" y="248787"/>
                  </a:lnTo>
                  <a:cubicBezTo>
                    <a:pt x="300374" y="257072"/>
                    <a:pt x="293658" y="263787"/>
                    <a:pt x="285374" y="263787"/>
                  </a:cubicBezTo>
                  <a:cubicBezTo>
                    <a:pt x="281396" y="263787"/>
                    <a:pt x="277581" y="262206"/>
                    <a:pt x="274767" y="259394"/>
                  </a:cubicBezTo>
                  <a:lnTo>
                    <a:pt x="240374" y="225000"/>
                  </a:lnTo>
                  <a:lnTo>
                    <a:pt x="164754" y="225000"/>
                  </a:lnTo>
                  <a:cubicBezTo>
                    <a:pt x="160895" y="166365"/>
                    <a:pt x="112112" y="120000"/>
                    <a:pt x="52500" y="120000"/>
                  </a:cubicBezTo>
                  <a:cubicBezTo>
                    <a:pt x="33539" y="120000"/>
                    <a:pt x="15673" y="124691"/>
                    <a:pt x="0" y="132975"/>
                  </a:cubicBezTo>
                  <a:close/>
                  <a:moveTo>
                    <a:pt x="60000" y="60000"/>
                  </a:moveTo>
                  <a:cubicBezTo>
                    <a:pt x="51716" y="60000"/>
                    <a:pt x="45000" y="66716"/>
                    <a:pt x="45000" y="75000"/>
                  </a:cubicBezTo>
                  <a:cubicBezTo>
                    <a:pt x="45000" y="83284"/>
                    <a:pt x="51716" y="90000"/>
                    <a:pt x="60000" y="90000"/>
                  </a:cubicBezTo>
                  <a:lnTo>
                    <a:pt x="195000" y="90000"/>
                  </a:lnTo>
                  <a:cubicBezTo>
                    <a:pt x="203285" y="90000"/>
                    <a:pt x="210000" y="83284"/>
                    <a:pt x="210000" y="75000"/>
                  </a:cubicBezTo>
                  <a:cubicBezTo>
                    <a:pt x="210000" y="66716"/>
                    <a:pt x="203285" y="60000"/>
                    <a:pt x="195000" y="60000"/>
                  </a:cubicBezTo>
                  <a:lnTo>
                    <a:pt x="60000" y="6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0" name="Полилиния 609">
              <a:extLst>
                <a:ext uri="{FF2B5EF4-FFF2-40B4-BE49-F238E27FC236}">
                  <a16:creationId xmlns:a16="http://schemas.microsoft.com/office/drawing/2014/main" id="{562AFE38-6D3D-6B4B-971F-D0F07BA7389B}"/>
                </a:ext>
              </a:extLst>
            </p:cNvPr>
            <p:cNvSpPr/>
            <p:nvPr/>
          </p:nvSpPr>
          <p:spPr>
            <a:xfrm>
              <a:off x="4545989" y="3642037"/>
              <a:ext cx="30000" cy="105000"/>
            </a:xfrm>
            <a:custGeom>
              <a:avLst/>
              <a:gdLst>
                <a:gd name="connsiteX0" fmla="*/ 15000 w 30000"/>
                <a:gd name="connsiteY0" fmla="*/ 0 h 105000"/>
                <a:gd name="connsiteX1" fmla="*/ 30000 w 30000"/>
                <a:gd name="connsiteY1" fmla="*/ 15000 h 105000"/>
                <a:gd name="connsiteX2" fmla="*/ 30000 w 30000"/>
                <a:gd name="connsiteY2" fmla="*/ 45000 h 105000"/>
                <a:gd name="connsiteX3" fmla="*/ 15000 w 30000"/>
                <a:gd name="connsiteY3" fmla="*/ 60000 h 105000"/>
                <a:gd name="connsiteX4" fmla="*/ 0 w 30000"/>
                <a:gd name="connsiteY4" fmla="*/ 45000 h 105000"/>
                <a:gd name="connsiteX5" fmla="*/ 0 w 30000"/>
                <a:gd name="connsiteY5" fmla="*/ 15000 h 105000"/>
                <a:gd name="connsiteX6" fmla="*/ 15000 w 30000"/>
                <a:gd name="connsiteY6" fmla="*/ 0 h 105000"/>
                <a:gd name="connsiteX7" fmla="*/ 15000 w 30000"/>
                <a:gd name="connsiteY7" fmla="*/ 105000 h 105000"/>
                <a:gd name="connsiteX8" fmla="*/ 0 w 30000"/>
                <a:gd name="connsiteY8" fmla="*/ 90000 h 105000"/>
                <a:gd name="connsiteX9" fmla="*/ 15000 w 30000"/>
                <a:gd name="connsiteY9" fmla="*/ 75000 h 105000"/>
                <a:gd name="connsiteX10" fmla="*/ 30000 w 30000"/>
                <a:gd name="connsiteY10" fmla="*/ 90000 h 105000"/>
                <a:gd name="connsiteX11" fmla="*/ 15000 w 30000"/>
                <a:gd name="connsiteY11" fmla="*/ 10500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" h="105000">
                  <a:moveTo>
                    <a:pt x="15000" y="0"/>
                  </a:moveTo>
                  <a:cubicBezTo>
                    <a:pt x="23284" y="0"/>
                    <a:pt x="30000" y="6715"/>
                    <a:pt x="30000" y="15000"/>
                  </a:cubicBezTo>
                  <a:lnTo>
                    <a:pt x="30000" y="45000"/>
                  </a:lnTo>
                  <a:cubicBezTo>
                    <a:pt x="30000" y="53284"/>
                    <a:pt x="23284" y="60000"/>
                    <a:pt x="15000" y="60000"/>
                  </a:cubicBezTo>
                  <a:cubicBezTo>
                    <a:pt x="6716" y="60000"/>
                    <a:pt x="0" y="53284"/>
                    <a:pt x="0" y="45000"/>
                  </a:cubicBezTo>
                  <a:lnTo>
                    <a:pt x="0" y="15000"/>
                  </a:lnTo>
                  <a:cubicBezTo>
                    <a:pt x="0" y="6715"/>
                    <a:pt x="6716" y="0"/>
                    <a:pt x="15000" y="0"/>
                  </a:cubicBezTo>
                  <a:close/>
                  <a:moveTo>
                    <a:pt x="15000" y="105000"/>
                  </a:moveTo>
                  <a:cubicBezTo>
                    <a:pt x="6716" y="105000"/>
                    <a:pt x="0" y="98284"/>
                    <a:pt x="0" y="90000"/>
                  </a:cubicBezTo>
                  <a:cubicBezTo>
                    <a:pt x="0" y="81716"/>
                    <a:pt x="6716" y="75000"/>
                    <a:pt x="15000" y="75000"/>
                  </a:cubicBezTo>
                  <a:cubicBezTo>
                    <a:pt x="23284" y="75000"/>
                    <a:pt x="30000" y="81716"/>
                    <a:pt x="30000" y="90000"/>
                  </a:cubicBezTo>
                  <a:cubicBezTo>
                    <a:pt x="30000" y="98284"/>
                    <a:pt x="23284" y="105000"/>
                    <a:pt x="15000" y="10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11" name="Рисунок 132">
            <a:extLst>
              <a:ext uri="{FF2B5EF4-FFF2-40B4-BE49-F238E27FC236}">
                <a16:creationId xmlns:a16="http://schemas.microsoft.com/office/drawing/2014/main" id="{9C42BCE1-F59C-CF45-A21C-282D0155BAFD}"/>
              </a:ext>
            </a:extLst>
          </p:cNvPr>
          <p:cNvGrpSpPr/>
          <p:nvPr/>
        </p:nvGrpSpPr>
        <p:grpSpPr>
          <a:xfrm>
            <a:off x="3693554" y="3115315"/>
            <a:ext cx="360000" cy="360000"/>
            <a:chOff x="3715856" y="3432037"/>
            <a:chExt cx="360000" cy="360000"/>
          </a:xfrm>
        </p:grpSpPr>
        <p:sp>
          <p:nvSpPr>
            <p:cNvPr id="612" name="Полилиния 611">
              <a:extLst>
                <a:ext uri="{FF2B5EF4-FFF2-40B4-BE49-F238E27FC236}">
                  <a16:creationId xmlns:a16="http://schemas.microsoft.com/office/drawing/2014/main" id="{B6A2EDBC-E113-EB41-9033-4F4EA3710CBA}"/>
                </a:ext>
              </a:extLst>
            </p:cNvPr>
            <p:cNvSpPr/>
            <p:nvPr/>
          </p:nvSpPr>
          <p:spPr>
            <a:xfrm>
              <a:off x="3715856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3" name="Полилиния 612">
              <a:extLst>
                <a:ext uri="{FF2B5EF4-FFF2-40B4-BE49-F238E27FC236}">
                  <a16:creationId xmlns:a16="http://schemas.microsoft.com/office/drawing/2014/main" id="{0AC611C6-F75A-BB4A-BD0E-1EC5223671C2}"/>
                </a:ext>
              </a:extLst>
            </p:cNvPr>
            <p:cNvSpPr/>
            <p:nvPr/>
          </p:nvSpPr>
          <p:spPr>
            <a:xfrm>
              <a:off x="3760856" y="3657037"/>
              <a:ext cx="97500" cy="97500"/>
            </a:xfrm>
            <a:custGeom>
              <a:avLst/>
              <a:gdLst>
                <a:gd name="connsiteX0" fmla="*/ 30000 w 97500"/>
                <a:gd name="connsiteY0" fmla="*/ 0 h 97500"/>
                <a:gd name="connsiteX1" fmla="*/ 0 w 97500"/>
                <a:gd name="connsiteY1" fmla="*/ 97500 h 97500"/>
                <a:gd name="connsiteX2" fmla="*/ 97500 w 97500"/>
                <a:gd name="connsiteY2" fmla="*/ 67500 h 9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500" h="97500">
                  <a:moveTo>
                    <a:pt x="30000" y="0"/>
                  </a:moveTo>
                  <a:lnTo>
                    <a:pt x="0" y="97500"/>
                  </a:lnTo>
                  <a:lnTo>
                    <a:pt x="97500" y="675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4" name="Полилиния 613">
              <a:extLst>
                <a:ext uri="{FF2B5EF4-FFF2-40B4-BE49-F238E27FC236}">
                  <a16:creationId xmlns:a16="http://schemas.microsoft.com/office/drawing/2014/main" id="{8AA7FF1A-279B-6D46-A21B-48049305290C}"/>
                </a:ext>
              </a:extLst>
            </p:cNvPr>
            <p:cNvSpPr/>
            <p:nvPr/>
          </p:nvSpPr>
          <p:spPr>
            <a:xfrm>
              <a:off x="3775856" y="3462037"/>
              <a:ext cx="285000" cy="285000"/>
            </a:xfrm>
            <a:custGeom>
              <a:avLst/>
              <a:gdLst>
                <a:gd name="connsiteX0" fmla="*/ 180000 w 285000"/>
                <a:gd name="connsiteY0" fmla="*/ 120000 h 285000"/>
                <a:gd name="connsiteX1" fmla="*/ 180000 w 285000"/>
                <a:gd name="connsiteY1" fmla="*/ 112500 h 285000"/>
                <a:gd name="connsiteX2" fmla="*/ 142500 w 285000"/>
                <a:gd name="connsiteY2" fmla="*/ 75000 h 285000"/>
                <a:gd name="connsiteX3" fmla="*/ 105000 w 285000"/>
                <a:gd name="connsiteY3" fmla="*/ 112500 h 285000"/>
                <a:gd name="connsiteX4" fmla="*/ 105000 w 285000"/>
                <a:gd name="connsiteY4" fmla="*/ 120000 h 285000"/>
                <a:gd name="connsiteX5" fmla="*/ 90000 w 285000"/>
                <a:gd name="connsiteY5" fmla="*/ 135000 h 285000"/>
                <a:gd name="connsiteX6" fmla="*/ 90000 w 285000"/>
                <a:gd name="connsiteY6" fmla="*/ 180000 h 285000"/>
                <a:gd name="connsiteX7" fmla="*/ 105000 w 285000"/>
                <a:gd name="connsiteY7" fmla="*/ 195000 h 285000"/>
                <a:gd name="connsiteX8" fmla="*/ 180000 w 285000"/>
                <a:gd name="connsiteY8" fmla="*/ 195000 h 285000"/>
                <a:gd name="connsiteX9" fmla="*/ 195000 w 285000"/>
                <a:gd name="connsiteY9" fmla="*/ 180000 h 285000"/>
                <a:gd name="connsiteX10" fmla="*/ 195000 w 285000"/>
                <a:gd name="connsiteY10" fmla="*/ 135000 h 285000"/>
                <a:gd name="connsiteX11" fmla="*/ 180000 w 285000"/>
                <a:gd name="connsiteY11" fmla="*/ 120000 h 285000"/>
                <a:gd name="connsiteX12" fmla="*/ 142500 w 285000"/>
                <a:gd name="connsiteY12" fmla="*/ 285000 h 285000"/>
                <a:gd name="connsiteX13" fmla="*/ 0 w 285000"/>
                <a:gd name="connsiteY13" fmla="*/ 142500 h 285000"/>
                <a:gd name="connsiteX14" fmla="*/ 142500 w 285000"/>
                <a:gd name="connsiteY14" fmla="*/ 0 h 285000"/>
                <a:gd name="connsiteX15" fmla="*/ 285000 w 285000"/>
                <a:gd name="connsiteY15" fmla="*/ 142500 h 285000"/>
                <a:gd name="connsiteX16" fmla="*/ 142500 w 285000"/>
                <a:gd name="connsiteY16" fmla="*/ 285000 h 285000"/>
                <a:gd name="connsiteX17" fmla="*/ 142500 w 285000"/>
                <a:gd name="connsiteY17" fmla="*/ 90000 h 285000"/>
                <a:gd name="connsiteX18" fmla="*/ 142500 w 285000"/>
                <a:gd name="connsiteY18" fmla="*/ 90000 h 285000"/>
                <a:gd name="connsiteX19" fmla="*/ 165000 w 285000"/>
                <a:gd name="connsiteY19" fmla="*/ 112500 h 285000"/>
                <a:gd name="connsiteX20" fmla="*/ 165000 w 285000"/>
                <a:gd name="connsiteY20" fmla="*/ 120000 h 285000"/>
                <a:gd name="connsiteX21" fmla="*/ 120000 w 285000"/>
                <a:gd name="connsiteY21" fmla="*/ 120000 h 285000"/>
                <a:gd name="connsiteX22" fmla="*/ 120000 w 285000"/>
                <a:gd name="connsiteY22" fmla="*/ 112500 h 285000"/>
                <a:gd name="connsiteX23" fmla="*/ 142500 w 285000"/>
                <a:gd name="connsiteY23" fmla="*/ 90000 h 28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85000" h="285000">
                  <a:moveTo>
                    <a:pt x="180000" y="120000"/>
                  </a:moveTo>
                  <a:lnTo>
                    <a:pt x="180000" y="112500"/>
                  </a:lnTo>
                  <a:cubicBezTo>
                    <a:pt x="180000" y="91789"/>
                    <a:pt x="163211" y="75000"/>
                    <a:pt x="142500" y="75000"/>
                  </a:cubicBezTo>
                  <a:cubicBezTo>
                    <a:pt x="121790" y="75000"/>
                    <a:pt x="105000" y="91789"/>
                    <a:pt x="105000" y="112500"/>
                  </a:cubicBezTo>
                  <a:lnTo>
                    <a:pt x="105000" y="120000"/>
                  </a:lnTo>
                  <a:cubicBezTo>
                    <a:pt x="96715" y="120000"/>
                    <a:pt x="90000" y="126715"/>
                    <a:pt x="90000" y="135000"/>
                  </a:cubicBezTo>
                  <a:lnTo>
                    <a:pt x="90000" y="180000"/>
                  </a:lnTo>
                  <a:cubicBezTo>
                    <a:pt x="90000" y="188285"/>
                    <a:pt x="96715" y="195000"/>
                    <a:pt x="105000" y="195000"/>
                  </a:cubicBezTo>
                  <a:lnTo>
                    <a:pt x="180000" y="195000"/>
                  </a:lnTo>
                  <a:cubicBezTo>
                    <a:pt x="188285" y="195000"/>
                    <a:pt x="195000" y="188285"/>
                    <a:pt x="195000" y="180000"/>
                  </a:cubicBezTo>
                  <a:lnTo>
                    <a:pt x="195000" y="135000"/>
                  </a:lnTo>
                  <a:cubicBezTo>
                    <a:pt x="195000" y="126715"/>
                    <a:pt x="188285" y="120000"/>
                    <a:pt x="180000" y="120000"/>
                  </a:cubicBezTo>
                  <a:close/>
                  <a:moveTo>
                    <a:pt x="142500" y="285000"/>
                  </a:moveTo>
                  <a:cubicBezTo>
                    <a:pt x="63799" y="285000"/>
                    <a:pt x="0" y="221201"/>
                    <a:pt x="0" y="142500"/>
                  </a:cubicBezTo>
                  <a:cubicBezTo>
                    <a:pt x="0" y="63799"/>
                    <a:pt x="63799" y="0"/>
                    <a:pt x="142500" y="0"/>
                  </a:cubicBezTo>
                  <a:cubicBezTo>
                    <a:pt x="221201" y="0"/>
                    <a:pt x="285000" y="63799"/>
                    <a:pt x="285000" y="142500"/>
                  </a:cubicBezTo>
                  <a:cubicBezTo>
                    <a:pt x="285000" y="221201"/>
                    <a:pt x="221201" y="285000"/>
                    <a:pt x="142500" y="285000"/>
                  </a:cubicBezTo>
                  <a:close/>
                  <a:moveTo>
                    <a:pt x="142500" y="90000"/>
                  </a:moveTo>
                  <a:lnTo>
                    <a:pt x="142500" y="90000"/>
                  </a:lnTo>
                  <a:cubicBezTo>
                    <a:pt x="154926" y="90000"/>
                    <a:pt x="165000" y="100074"/>
                    <a:pt x="165000" y="112500"/>
                  </a:cubicBezTo>
                  <a:lnTo>
                    <a:pt x="165000" y="120000"/>
                  </a:lnTo>
                  <a:lnTo>
                    <a:pt x="120000" y="120000"/>
                  </a:lnTo>
                  <a:lnTo>
                    <a:pt x="120000" y="112500"/>
                  </a:lnTo>
                  <a:cubicBezTo>
                    <a:pt x="120000" y="100074"/>
                    <a:pt x="130074" y="90000"/>
                    <a:pt x="142500" y="9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15" name="Рисунок 133">
            <a:extLst>
              <a:ext uri="{FF2B5EF4-FFF2-40B4-BE49-F238E27FC236}">
                <a16:creationId xmlns:a16="http://schemas.microsoft.com/office/drawing/2014/main" id="{CACB674C-1EEC-5448-BF7C-D69A5BEF45A8}"/>
              </a:ext>
            </a:extLst>
          </p:cNvPr>
          <p:cNvGrpSpPr/>
          <p:nvPr/>
        </p:nvGrpSpPr>
        <p:grpSpPr>
          <a:xfrm>
            <a:off x="2938421" y="3115315"/>
            <a:ext cx="360000" cy="360000"/>
            <a:chOff x="2960723" y="3432037"/>
            <a:chExt cx="360000" cy="360000"/>
          </a:xfrm>
        </p:grpSpPr>
        <p:sp>
          <p:nvSpPr>
            <p:cNvPr id="616" name="Полилиния 615">
              <a:extLst>
                <a:ext uri="{FF2B5EF4-FFF2-40B4-BE49-F238E27FC236}">
                  <a16:creationId xmlns:a16="http://schemas.microsoft.com/office/drawing/2014/main" id="{642FA0EE-B4DF-E046-A877-35AED4715DC2}"/>
                </a:ext>
              </a:extLst>
            </p:cNvPr>
            <p:cNvSpPr/>
            <p:nvPr/>
          </p:nvSpPr>
          <p:spPr>
            <a:xfrm>
              <a:off x="2960723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7" name="Полилиния 616">
              <a:extLst>
                <a:ext uri="{FF2B5EF4-FFF2-40B4-BE49-F238E27FC236}">
                  <a16:creationId xmlns:a16="http://schemas.microsoft.com/office/drawing/2014/main" id="{8D097445-27EC-5C41-92EE-527C3C914288}"/>
                </a:ext>
              </a:extLst>
            </p:cNvPr>
            <p:cNvSpPr/>
            <p:nvPr/>
          </p:nvSpPr>
          <p:spPr>
            <a:xfrm>
              <a:off x="3005723" y="3657037"/>
              <a:ext cx="97500" cy="97500"/>
            </a:xfrm>
            <a:custGeom>
              <a:avLst/>
              <a:gdLst>
                <a:gd name="connsiteX0" fmla="*/ 30000 w 97500"/>
                <a:gd name="connsiteY0" fmla="*/ 0 h 97500"/>
                <a:gd name="connsiteX1" fmla="*/ 0 w 97500"/>
                <a:gd name="connsiteY1" fmla="*/ 97500 h 97500"/>
                <a:gd name="connsiteX2" fmla="*/ 97500 w 97500"/>
                <a:gd name="connsiteY2" fmla="*/ 67500 h 9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500" h="97500">
                  <a:moveTo>
                    <a:pt x="30000" y="0"/>
                  </a:moveTo>
                  <a:lnTo>
                    <a:pt x="0" y="97500"/>
                  </a:lnTo>
                  <a:lnTo>
                    <a:pt x="97500" y="675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8" name="Полилиния 617">
              <a:extLst>
                <a:ext uri="{FF2B5EF4-FFF2-40B4-BE49-F238E27FC236}">
                  <a16:creationId xmlns:a16="http://schemas.microsoft.com/office/drawing/2014/main" id="{2B90CA65-0121-5549-A7D5-0754A95B2F7F}"/>
                </a:ext>
              </a:extLst>
            </p:cNvPr>
            <p:cNvSpPr/>
            <p:nvPr/>
          </p:nvSpPr>
          <p:spPr>
            <a:xfrm>
              <a:off x="3005723" y="3462037"/>
              <a:ext cx="300000" cy="300000"/>
            </a:xfrm>
            <a:custGeom>
              <a:avLst/>
              <a:gdLst>
                <a:gd name="connsiteX0" fmla="*/ 150000 w 300000"/>
                <a:gd name="connsiteY0" fmla="*/ 0 h 300000"/>
                <a:gd name="connsiteX1" fmla="*/ 300000 w 300000"/>
                <a:gd name="connsiteY1" fmla="*/ 150000 h 300000"/>
                <a:gd name="connsiteX2" fmla="*/ 150000 w 300000"/>
                <a:gd name="connsiteY2" fmla="*/ 300000 h 300000"/>
                <a:gd name="connsiteX3" fmla="*/ 0 w 300000"/>
                <a:gd name="connsiteY3" fmla="*/ 150000 h 300000"/>
                <a:gd name="connsiteX4" fmla="*/ 150000 w 300000"/>
                <a:gd name="connsiteY4" fmla="*/ 0 h 300000"/>
                <a:gd name="connsiteX5" fmla="*/ 62519 w 300000"/>
                <a:gd name="connsiteY5" fmla="*/ 173321 h 300000"/>
                <a:gd name="connsiteX6" fmla="*/ 150000 w 300000"/>
                <a:gd name="connsiteY6" fmla="*/ 225000 h 300000"/>
                <a:gd name="connsiteX7" fmla="*/ 237482 w 300000"/>
                <a:gd name="connsiteY7" fmla="*/ 173321 h 300000"/>
                <a:gd name="connsiteX8" fmla="*/ 233321 w 300000"/>
                <a:gd name="connsiteY8" fmla="*/ 152519 h 300000"/>
                <a:gd name="connsiteX9" fmla="*/ 212519 w 300000"/>
                <a:gd name="connsiteY9" fmla="*/ 156680 h 300000"/>
                <a:gd name="connsiteX10" fmla="*/ 150000 w 300000"/>
                <a:gd name="connsiteY10" fmla="*/ 195000 h 300000"/>
                <a:gd name="connsiteX11" fmla="*/ 87481 w 300000"/>
                <a:gd name="connsiteY11" fmla="*/ 156680 h 300000"/>
                <a:gd name="connsiteX12" fmla="*/ 66680 w 300000"/>
                <a:gd name="connsiteY12" fmla="*/ 152519 h 300000"/>
                <a:gd name="connsiteX13" fmla="*/ 62519 w 300000"/>
                <a:gd name="connsiteY13" fmla="*/ 173321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000" h="300000">
                  <a:moveTo>
                    <a:pt x="150000" y="0"/>
                  </a:moveTo>
                  <a:cubicBezTo>
                    <a:pt x="232842" y="0"/>
                    <a:pt x="300000" y="67157"/>
                    <a:pt x="300000" y="150000"/>
                  </a:cubicBezTo>
                  <a:cubicBezTo>
                    <a:pt x="300000" y="232842"/>
                    <a:pt x="232842" y="300000"/>
                    <a:pt x="150000" y="300000"/>
                  </a:cubicBezTo>
                  <a:cubicBezTo>
                    <a:pt x="67157" y="300000"/>
                    <a:pt x="0" y="232842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lose/>
                  <a:moveTo>
                    <a:pt x="62519" y="173321"/>
                  </a:moveTo>
                  <a:cubicBezTo>
                    <a:pt x="85164" y="207287"/>
                    <a:pt x="114686" y="225000"/>
                    <a:pt x="150000" y="225000"/>
                  </a:cubicBezTo>
                  <a:cubicBezTo>
                    <a:pt x="185315" y="225000"/>
                    <a:pt x="214836" y="207287"/>
                    <a:pt x="237482" y="173321"/>
                  </a:cubicBezTo>
                  <a:cubicBezTo>
                    <a:pt x="242076" y="166428"/>
                    <a:pt x="240213" y="157115"/>
                    <a:pt x="233321" y="152519"/>
                  </a:cubicBezTo>
                  <a:cubicBezTo>
                    <a:pt x="226428" y="147924"/>
                    <a:pt x="217115" y="149787"/>
                    <a:pt x="212519" y="156680"/>
                  </a:cubicBezTo>
                  <a:cubicBezTo>
                    <a:pt x="195164" y="182714"/>
                    <a:pt x="174686" y="195000"/>
                    <a:pt x="150000" y="195000"/>
                  </a:cubicBezTo>
                  <a:cubicBezTo>
                    <a:pt x="125314" y="195000"/>
                    <a:pt x="104836" y="182714"/>
                    <a:pt x="87481" y="156680"/>
                  </a:cubicBezTo>
                  <a:cubicBezTo>
                    <a:pt x="82885" y="149787"/>
                    <a:pt x="73572" y="147924"/>
                    <a:pt x="66680" y="152519"/>
                  </a:cubicBezTo>
                  <a:cubicBezTo>
                    <a:pt x="59787" y="157115"/>
                    <a:pt x="57924" y="166428"/>
                    <a:pt x="62519" y="173321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19" name="Рисунок 134">
            <a:extLst>
              <a:ext uri="{FF2B5EF4-FFF2-40B4-BE49-F238E27FC236}">
                <a16:creationId xmlns:a16="http://schemas.microsoft.com/office/drawing/2014/main" id="{3393B466-297D-BB47-9B27-13DE37ED887B}"/>
              </a:ext>
            </a:extLst>
          </p:cNvPr>
          <p:cNvGrpSpPr/>
          <p:nvPr/>
        </p:nvGrpSpPr>
        <p:grpSpPr>
          <a:xfrm>
            <a:off x="2183288" y="3115315"/>
            <a:ext cx="360000" cy="360000"/>
            <a:chOff x="2205590" y="3432037"/>
            <a:chExt cx="360000" cy="360000"/>
          </a:xfrm>
        </p:grpSpPr>
        <p:sp>
          <p:nvSpPr>
            <p:cNvPr id="620" name="Полилиния 619">
              <a:extLst>
                <a:ext uri="{FF2B5EF4-FFF2-40B4-BE49-F238E27FC236}">
                  <a16:creationId xmlns:a16="http://schemas.microsoft.com/office/drawing/2014/main" id="{4669C6F1-D362-5A46-BF81-944C4845FB34}"/>
                </a:ext>
              </a:extLst>
            </p:cNvPr>
            <p:cNvSpPr/>
            <p:nvPr/>
          </p:nvSpPr>
          <p:spPr>
            <a:xfrm>
              <a:off x="2205590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1" name="Полилиния 620">
              <a:extLst>
                <a:ext uri="{FF2B5EF4-FFF2-40B4-BE49-F238E27FC236}">
                  <a16:creationId xmlns:a16="http://schemas.microsoft.com/office/drawing/2014/main" id="{36B4D3A8-C894-E242-93DB-95DD3B6341EE}"/>
                </a:ext>
              </a:extLst>
            </p:cNvPr>
            <p:cNvSpPr/>
            <p:nvPr/>
          </p:nvSpPr>
          <p:spPr>
            <a:xfrm rot="-10800000">
              <a:off x="2273090" y="3522036"/>
              <a:ext cx="225000" cy="180000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22" name="Рисунок 135">
            <a:extLst>
              <a:ext uri="{FF2B5EF4-FFF2-40B4-BE49-F238E27FC236}">
                <a16:creationId xmlns:a16="http://schemas.microsoft.com/office/drawing/2014/main" id="{102DDC53-572C-A542-A5D0-233179C73F8F}"/>
              </a:ext>
            </a:extLst>
          </p:cNvPr>
          <p:cNvGrpSpPr/>
          <p:nvPr/>
        </p:nvGrpSpPr>
        <p:grpSpPr>
          <a:xfrm>
            <a:off x="1428155" y="3115315"/>
            <a:ext cx="360000" cy="360000"/>
            <a:chOff x="1450457" y="3432037"/>
            <a:chExt cx="360000" cy="360000"/>
          </a:xfrm>
        </p:grpSpPr>
        <p:sp>
          <p:nvSpPr>
            <p:cNvPr id="623" name="Полилиния 622">
              <a:extLst>
                <a:ext uri="{FF2B5EF4-FFF2-40B4-BE49-F238E27FC236}">
                  <a16:creationId xmlns:a16="http://schemas.microsoft.com/office/drawing/2014/main" id="{FDF735DA-EBE3-2A41-BACE-366980FEF04C}"/>
                </a:ext>
              </a:extLst>
            </p:cNvPr>
            <p:cNvSpPr/>
            <p:nvPr/>
          </p:nvSpPr>
          <p:spPr>
            <a:xfrm>
              <a:off x="1450457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4" name="Скругленный прямоугольник 623">
              <a:extLst>
                <a:ext uri="{FF2B5EF4-FFF2-40B4-BE49-F238E27FC236}">
                  <a16:creationId xmlns:a16="http://schemas.microsoft.com/office/drawing/2014/main" id="{8670508A-A529-B444-BAFA-0893C8B53D44}"/>
                </a:ext>
              </a:extLst>
            </p:cNvPr>
            <p:cNvSpPr/>
            <p:nvPr/>
          </p:nvSpPr>
          <p:spPr>
            <a:xfrm>
              <a:off x="1525457" y="3732037"/>
              <a:ext cx="21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5" name="Полилиния 624">
              <a:extLst>
                <a:ext uri="{FF2B5EF4-FFF2-40B4-BE49-F238E27FC236}">
                  <a16:creationId xmlns:a16="http://schemas.microsoft.com/office/drawing/2014/main" id="{90F0D5A3-AA71-8D43-A736-D513FB698209}"/>
                </a:ext>
              </a:extLst>
            </p:cNvPr>
            <p:cNvSpPr/>
            <p:nvPr/>
          </p:nvSpPr>
          <p:spPr>
            <a:xfrm>
              <a:off x="1480457" y="3447037"/>
              <a:ext cx="300000" cy="255000"/>
            </a:xfrm>
            <a:custGeom>
              <a:avLst/>
              <a:gdLst>
                <a:gd name="connsiteX0" fmla="*/ 45000 w 300000"/>
                <a:gd name="connsiteY0" fmla="*/ 178110 h 255000"/>
                <a:gd name="connsiteX1" fmla="*/ 0 w 300000"/>
                <a:gd name="connsiteY1" fmla="*/ 120000 h 255000"/>
                <a:gd name="connsiteX2" fmla="*/ 60000 w 300000"/>
                <a:gd name="connsiteY2" fmla="*/ 60000 h 255000"/>
                <a:gd name="connsiteX3" fmla="*/ 65048 w 300000"/>
                <a:gd name="connsiteY3" fmla="*/ 60209 h 255000"/>
                <a:gd name="connsiteX4" fmla="*/ 150000 w 300000"/>
                <a:gd name="connsiteY4" fmla="*/ 0 h 255000"/>
                <a:gd name="connsiteX5" fmla="*/ 234953 w 300000"/>
                <a:gd name="connsiteY5" fmla="*/ 60209 h 255000"/>
                <a:gd name="connsiteX6" fmla="*/ 240000 w 300000"/>
                <a:gd name="connsiteY6" fmla="*/ 60000 h 255000"/>
                <a:gd name="connsiteX7" fmla="*/ 300000 w 300000"/>
                <a:gd name="connsiteY7" fmla="*/ 120000 h 255000"/>
                <a:gd name="connsiteX8" fmla="*/ 255000 w 300000"/>
                <a:gd name="connsiteY8" fmla="*/ 178110 h 255000"/>
                <a:gd name="connsiteX9" fmla="*/ 255000 w 300000"/>
                <a:gd name="connsiteY9" fmla="*/ 240000 h 255000"/>
                <a:gd name="connsiteX10" fmla="*/ 240000 w 300000"/>
                <a:gd name="connsiteY10" fmla="*/ 255000 h 255000"/>
                <a:gd name="connsiteX11" fmla="*/ 60000 w 300000"/>
                <a:gd name="connsiteY11" fmla="*/ 255000 h 255000"/>
                <a:gd name="connsiteX12" fmla="*/ 45000 w 300000"/>
                <a:gd name="connsiteY12" fmla="*/ 240000 h 255000"/>
                <a:gd name="connsiteX13" fmla="*/ 45000 w 300000"/>
                <a:gd name="connsiteY13" fmla="*/ 17811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000" h="255000">
                  <a:moveTo>
                    <a:pt x="45000" y="178110"/>
                  </a:moveTo>
                  <a:cubicBezTo>
                    <a:pt x="19122" y="171449"/>
                    <a:pt x="0" y="147957"/>
                    <a:pt x="0" y="120000"/>
                  </a:cubicBezTo>
                  <a:cubicBezTo>
                    <a:pt x="0" y="86863"/>
                    <a:pt x="26863" y="60000"/>
                    <a:pt x="60000" y="60000"/>
                  </a:cubicBezTo>
                  <a:cubicBezTo>
                    <a:pt x="61700" y="60000"/>
                    <a:pt x="63383" y="60071"/>
                    <a:pt x="65048" y="60209"/>
                  </a:cubicBezTo>
                  <a:cubicBezTo>
                    <a:pt x="77343" y="25144"/>
                    <a:pt x="110735" y="0"/>
                    <a:pt x="150000" y="0"/>
                  </a:cubicBezTo>
                  <a:cubicBezTo>
                    <a:pt x="189264" y="0"/>
                    <a:pt x="222657" y="25144"/>
                    <a:pt x="234953" y="60209"/>
                  </a:cubicBezTo>
                  <a:cubicBezTo>
                    <a:pt x="236616" y="60071"/>
                    <a:pt x="238301" y="60000"/>
                    <a:pt x="240000" y="60000"/>
                  </a:cubicBezTo>
                  <a:cubicBezTo>
                    <a:pt x="273137" y="60000"/>
                    <a:pt x="300000" y="86863"/>
                    <a:pt x="300000" y="120000"/>
                  </a:cubicBezTo>
                  <a:cubicBezTo>
                    <a:pt x="300000" y="147957"/>
                    <a:pt x="280878" y="171449"/>
                    <a:pt x="255000" y="178110"/>
                  </a:cubicBezTo>
                  <a:lnTo>
                    <a:pt x="255000" y="240000"/>
                  </a:lnTo>
                  <a:cubicBezTo>
                    <a:pt x="255000" y="248285"/>
                    <a:pt x="248285" y="255000"/>
                    <a:pt x="240000" y="255000"/>
                  </a:cubicBezTo>
                  <a:lnTo>
                    <a:pt x="60000" y="255000"/>
                  </a:lnTo>
                  <a:cubicBezTo>
                    <a:pt x="51716" y="255000"/>
                    <a:pt x="45000" y="248285"/>
                    <a:pt x="45000" y="240000"/>
                  </a:cubicBezTo>
                  <a:lnTo>
                    <a:pt x="45000" y="17811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26" name="Рисунок 136">
            <a:extLst>
              <a:ext uri="{FF2B5EF4-FFF2-40B4-BE49-F238E27FC236}">
                <a16:creationId xmlns:a16="http://schemas.microsoft.com/office/drawing/2014/main" id="{4382669D-ED48-0540-B596-42A7E4BB8BD3}"/>
              </a:ext>
            </a:extLst>
          </p:cNvPr>
          <p:cNvGrpSpPr/>
          <p:nvPr/>
        </p:nvGrpSpPr>
        <p:grpSpPr>
          <a:xfrm>
            <a:off x="673022" y="3115315"/>
            <a:ext cx="360000" cy="360000"/>
            <a:chOff x="695324" y="3432037"/>
            <a:chExt cx="360000" cy="360000"/>
          </a:xfrm>
        </p:grpSpPr>
        <p:sp>
          <p:nvSpPr>
            <p:cNvPr id="627" name="Полилиния 626">
              <a:extLst>
                <a:ext uri="{FF2B5EF4-FFF2-40B4-BE49-F238E27FC236}">
                  <a16:creationId xmlns:a16="http://schemas.microsoft.com/office/drawing/2014/main" id="{51B2AB23-2408-A447-9C6E-94C8C1CAD659}"/>
                </a:ext>
              </a:extLst>
            </p:cNvPr>
            <p:cNvSpPr/>
            <p:nvPr/>
          </p:nvSpPr>
          <p:spPr>
            <a:xfrm>
              <a:off x="695324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8" name="Полилиния 627">
              <a:extLst>
                <a:ext uri="{FF2B5EF4-FFF2-40B4-BE49-F238E27FC236}">
                  <a16:creationId xmlns:a16="http://schemas.microsoft.com/office/drawing/2014/main" id="{D8EDE146-1560-4548-BC73-BF465A33F553}"/>
                </a:ext>
              </a:extLst>
            </p:cNvPr>
            <p:cNvSpPr/>
            <p:nvPr/>
          </p:nvSpPr>
          <p:spPr>
            <a:xfrm>
              <a:off x="755324" y="3492037"/>
              <a:ext cx="240000" cy="240000"/>
            </a:xfrm>
            <a:custGeom>
              <a:avLst/>
              <a:gdLst>
                <a:gd name="connsiteX0" fmla="*/ 240000 w 240000"/>
                <a:gd name="connsiteY0" fmla="*/ 120000 h 240000"/>
                <a:gd name="connsiteX1" fmla="*/ 120000 w 240000"/>
                <a:gd name="connsiteY1" fmla="*/ 240000 h 240000"/>
                <a:gd name="connsiteX2" fmla="*/ 0 w 240000"/>
                <a:gd name="connsiteY2" fmla="*/ 120000 h 240000"/>
                <a:gd name="connsiteX3" fmla="*/ 120000 w 240000"/>
                <a:gd name="connsiteY3" fmla="*/ 0 h 240000"/>
                <a:gd name="connsiteX4" fmla="*/ 240000 w 240000"/>
                <a:gd name="connsiteY4" fmla="*/ 12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000" h="240000">
                  <a:moveTo>
                    <a:pt x="240000" y="120000"/>
                  </a:moveTo>
                  <a:cubicBezTo>
                    <a:pt x="240000" y="186274"/>
                    <a:pt x="186274" y="240000"/>
                    <a:pt x="120000" y="240000"/>
                  </a:cubicBezTo>
                  <a:cubicBezTo>
                    <a:pt x="53726" y="240000"/>
                    <a:pt x="0" y="186274"/>
                    <a:pt x="0" y="120000"/>
                  </a:cubicBezTo>
                  <a:cubicBezTo>
                    <a:pt x="0" y="53726"/>
                    <a:pt x="53726" y="0"/>
                    <a:pt x="120000" y="0"/>
                  </a:cubicBezTo>
                  <a:cubicBezTo>
                    <a:pt x="186274" y="0"/>
                    <a:pt x="240000" y="53726"/>
                    <a:pt x="24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29" name="Рисунок 137">
            <a:extLst>
              <a:ext uri="{FF2B5EF4-FFF2-40B4-BE49-F238E27FC236}">
                <a16:creationId xmlns:a16="http://schemas.microsoft.com/office/drawing/2014/main" id="{357CED69-08BD-A34F-8F0A-86DCACDF8F73}"/>
              </a:ext>
            </a:extLst>
          </p:cNvPr>
          <p:cNvGrpSpPr/>
          <p:nvPr/>
        </p:nvGrpSpPr>
        <p:grpSpPr>
          <a:xfrm>
            <a:off x="11244886" y="2442261"/>
            <a:ext cx="360000" cy="360000"/>
            <a:chOff x="11267188" y="2758983"/>
            <a:chExt cx="360000" cy="360000"/>
          </a:xfrm>
        </p:grpSpPr>
        <p:sp>
          <p:nvSpPr>
            <p:cNvPr id="630" name="Полилиния 629">
              <a:extLst>
                <a:ext uri="{FF2B5EF4-FFF2-40B4-BE49-F238E27FC236}">
                  <a16:creationId xmlns:a16="http://schemas.microsoft.com/office/drawing/2014/main" id="{3002AB16-3149-B540-97F9-355ECCB54DBE}"/>
                </a:ext>
              </a:extLst>
            </p:cNvPr>
            <p:cNvSpPr/>
            <p:nvPr/>
          </p:nvSpPr>
          <p:spPr>
            <a:xfrm>
              <a:off x="11267188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1" name="Полилиния 630">
              <a:extLst>
                <a:ext uri="{FF2B5EF4-FFF2-40B4-BE49-F238E27FC236}">
                  <a16:creationId xmlns:a16="http://schemas.microsoft.com/office/drawing/2014/main" id="{3D7712E2-FB56-DA49-87B4-F5A10C11F2AA}"/>
                </a:ext>
              </a:extLst>
            </p:cNvPr>
            <p:cNvSpPr/>
            <p:nvPr/>
          </p:nvSpPr>
          <p:spPr>
            <a:xfrm rot="2700000">
              <a:off x="11372187" y="2788983"/>
              <a:ext cx="165000" cy="315000"/>
            </a:xfrm>
            <a:custGeom>
              <a:avLst/>
              <a:gdLst>
                <a:gd name="connsiteX0" fmla="*/ 105000 w 165000"/>
                <a:gd name="connsiteY0" fmla="*/ 210000 h 315000"/>
                <a:gd name="connsiteX1" fmla="*/ 75000 w 165000"/>
                <a:gd name="connsiteY1" fmla="*/ 210000 h 315000"/>
                <a:gd name="connsiteX2" fmla="*/ 75000 w 165000"/>
                <a:gd name="connsiteY2" fmla="*/ 157500 h 315000"/>
                <a:gd name="connsiteX3" fmla="*/ 52500 w 165000"/>
                <a:gd name="connsiteY3" fmla="*/ 135000 h 315000"/>
                <a:gd name="connsiteX4" fmla="*/ 30000 w 165000"/>
                <a:gd name="connsiteY4" fmla="*/ 157500 h 315000"/>
                <a:gd name="connsiteX5" fmla="*/ 30000 w 165000"/>
                <a:gd name="connsiteY5" fmla="*/ 232500 h 315000"/>
                <a:gd name="connsiteX6" fmla="*/ 82500 w 165000"/>
                <a:gd name="connsiteY6" fmla="*/ 285000 h 315000"/>
                <a:gd name="connsiteX7" fmla="*/ 135000 w 165000"/>
                <a:gd name="connsiteY7" fmla="*/ 232500 h 315000"/>
                <a:gd name="connsiteX8" fmla="*/ 135000 w 165000"/>
                <a:gd name="connsiteY8" fmla="*/ 82500 h 315000"/>
                <a:gd name="connsiteX9" fmla="*/ 82500 w 165000"/>
                <a:gd name="connsiteY9" fmla="*/ 30000 h 315000"/>
                <a:gd name="connsiteX10" fmla="*/ 75000 w 165000"/>
                <a:gd name="connsiteY10" fmla="*/ 30000 h 315000"/>
                <a:gd name="connsiteX11" fmla="*/ 30000 w 165000"/>
                <a:gd name="connsiteY11" fmla="*/ 75000 h 315000"/>
                <a:gd name="connsiteX12" fmla="*/ 0 w 165000"/>
                <a:gd name="connsiteY12" fmla="*/ 75000 h 315000"/>
                <a:gd name="connsiteX13" fmla="*/ 75000 w 165000"/>
                <a:gd name="connsiteY13" fmla="*/ 0 h 315000"/>
                <a:gd name="connsiteX14" fmla="*/ 82500 w 165000"/>
                <a:gd name="connsiteY14" fmla="*/ 0 h 315000"/>
                <a:gd name="connsiteX15" fmla="*/ 165000 w 165000"/>
                <a:gd name="connsiteY15" fmla="*/ 82500 h 315000"/>
                <a:gd name="connsiteX16" fmla="*/ 165000 w 165000"/>
                <a:gd name="connsiteY16" fmla="*/ 232500 h 315000"/>
                <a:gd name="connsiteX17" fmla="*/ 82500 w 165000"/>
                <a:gd name="connsiteY17" fmla="*/ 315000 h 315000"/>
                <a:gd name="connsiteX18" fmla="*/ 0 w 165000"/>
                <a:gd name="connsiteY18" fmla="*/ 232500 h 315000"/>
                <a:gd name="connsiteX19" fmla="*/ 0 w 165000"/>
                <a:gd name="connsiteY19" fmla="*/ 157500 h 315000"/>
                <a:gd name="connsiteX20" fmla="*/ 52500 w 165000"/>
                <a:gd name="connsiteY20" fmla="*/ 105000 h 315000"/>
                <a:gd name="connsiteX21" fmla="*/ 105000 w 165000"/>
                <a:gd name="connsiteY21" fmla="*/ 157500 h 315000"/>
                <a:gd name="connsiteX22" fmla="*/ 105000 w 165000"/>
                <a:gd name="connsiteY22" fmla="*/ 210000 h 3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5000" h="315000">
                  <a:moveTo>
                    <a:pt x="105000" y="210000"/>
                  </a:moveTo>
                  <a:lnTo>
                    <a:pt x="75000" y="210000"/>
                  </a:lnTo>
                  <a:lnTo>
                    <a:pt x="75000" y="157500"/>
                  </a:lnTo>
                  <a:cubicBezTo>
                    <a:pt x="75000" y="145074"/>
                    <a:pt x="64926" y="135000"/>
                    <a:pt x="52500" y="135000"/>
                  </a:cubicBezTo>
                  <a:cubicBezTo>
                    <a:pt x="40074" y="135000"/>
                    <a:pt x="30000" y="145074"/>
                    <a:pt x="30000" y="157500"/>
                  </a:cubicBezTo>
                  <a:lnTo>
                    <a:pt x="30000" y="232500"/>
                  </a:lnTo>
                  <a:cubicBezTo>
                    <a:pt x="30000" y="261495"/>
                    <a:pt x="53505" y="285000"/>
                    <a:pt x="82500" y="285000"/>
                  </a:cubicBezTo>
                  <a:cubicBezTo>
                    <a:pt x="111495" y="285000"/>
                    <a:pt x="135000" y="261495"/>
                    <a:pt x="135000" y="232500"/>
                  </a:cubicBezTo>
                  <a:lnTo>
                    <a:pt x="135000" y="82500"/>
                  </a:lnTo>
                  <a:cubicBezTo>
                    <a:pt x="135000" y="53505"/>
                    <a:pt x="111495" y="30000"/>
                    <a:pt x="82500" y="30000"/>
                  </a:cubicBezTo>
                  <a:lnTo>
                    <a:pt x="75000" y="30000"/>
                  </a:lnTo>
                  <a:cubicBezTo>
                    <a:pt x="50147" y="30000"/>
                    <a:pt x="30000" y="50147"/>
                    <a:pt x="30000" y="75000"/>
                  </a:cubicBezTo>
                  <a:lnTo>
                    <a:pt x="0" y="75000"/>
                  </a:lnTo>
                  <a:cubicBezTo>
                    <a:pt x="0" y="33579"/>
                    <a:pt x="33579" y="0"/>
                    <a:pt x="75000" y="0"/>
                  </a:cubicBezTo>
                  <a:lnTo>
                    <a:pt x="82500" y="0"/>
                  </a:lnTo>
                  <a:cubicBezTo>
                    <a:pt x="128064" y="0"/>
                    <a:pt x="165000" y="36936"/>
                    <a:pt x="165000" y="82500"/>
                  </a:cubicBezTo>
                  <a:lnTo>
                    <a:pt x="165000" y="232500"/>
                  </a:lnTo>
                  <a:cubicBezTo>
                    <a:pt x="165000" y="278064"/>
                    <a:pt x="128064" y="315000"/>
                    <a:pt x="82500" y="315000"/>
                  </a:cubicBezTo>
                  <a:cubicBezTo>
                    <a:pt x="36936" y="315000"/>
                    <a:pt x="0" y="278064"/>
                    <a:pt x="0" y="232500"/>
                  </a:cubicBezTo>
                  <a:lnTo>
                    <a:pt x="0" y="157500"/>
                  </a:lnTo>
                  <a:cubicBezTo>
                    <a:pt x="0" y="128505"/>
                    <a:pt x="23505" y="105000"/>
                    <a:pt x="52500" y="105000"/>
                  </a:cubicBezTo>
                  <a:cubicBezTo>
                    <a:pt x="81495" y="105000"/>
                    <a:pt x="105000" y="128505"/>
                    <a:pt x="105000" y="157500"/>
                  </a:cubicBezTo>
                  <a:lnTo>
                    <a:pt x="105000" y="21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32" name="Рисунок 138">
            <a:extLst>
              <a:ext uri="{FF2B5EF4-FFF2-40B4-BE49-F238E27FC236}">
                <a16:creationId xmlns:a16="http://schemas.microsoft.com/office/drawing/2014/main" id="{2C043371-E64E-314D-803B-881BFE3C1C73}"/>
              </a:ext>
            </a:extLst>
          </p:cNvPr>
          <p:cNvGrpSpPr/>
          <p:nvPr/>
        </p:nvGrpSpPr>
        <p:grpSpPr>
          <a:xfrm>
            <a:off x="10489751" y="2442261"/>
            <a:ext cx="360000" cy="360000"/>
            <a:chOff x="10512053" y="2758983"/>
            <a:chExt cx="360000" cy="360000"/>
          </a:xfrm>
        </p:grpSpPr>
        <p:sp>
          <p:nvSpPr>
            <p:cNvPr id="633" name="Полилиния 632">
              <a:extLst>
                <a:ext uri="{FF2B5EF4-FFF2-40B4-BE49-F238E27FC236}">
                  <a16:creationId xmlns:a16="http://schemas.microsoft.com/office/drawing/2014/main" id="{74E71CC5-A56B-4D46-B688-28D5050D4F91}"/>
                </a:ext>
              </a:extLst>
            </p:cNvPr>
            <p:cNvSpPr/>
            <p:nvPr/>
          </p:nvSpPr>
          <p:spPr>
            <a:xfrm>
              <a:off x="10512053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4" name="Полилиния 633">
              <a:extLst>
                <a:ext uri="{FF2B5EF4-FFF2-40B4-BE49-F238E27FC236}">
                  <a16:creationId xmlns:a16="http://schemas.microsoft.com/office/drawing/2014/main" id="{5BF99C83-D3DC-2243-AA7F-09A5BC28D013}"/>
                </a:ext>
              </a:extLst>
            </p:cNvPr>
            <p:cNvSpPr/>
            <p:nvPr/>
          </p:nvSpPr>
          <p:spPr>
            <a:xfrm>
              <a:off x="10572053" y="2803983"/>
              <a:ext cx="240000" cy="300000"/>
            </a:xfrm>
            <a:custGeom>
              <a:avLst/>
              <a:gdLst>
                <a:gd name="connsiteX0" fmla="*/ 60000 w 240000"/>
                <a:gd name="connsiteY0" fmla="*/ 0 h 300000"/>
                <a:gd name="connsiteX1" fmla="*/ 60000 w 240000"/>
                <a:gd name="connsiteY1" fmla="*/ 7500 h 300000"/>
                <a:gd name="connsiteX2" fmla="*/ 82500 w 240000"/>
                <a:gd name="connsiteY2" fmla="*/ 30000 h 300000"/>
                <a:gd name="connsiteX3" fmla="*/ 157500 w 240000"/>
                <a:gd name="connsiteY3" fmla="*/ 30000 h 300000"/>
                <a:gd name="connsiteX4" fmla="*/ 180000 w 240000"/>
                <a:gd name="connsiteY4" fmla="*/ 7500 h 300000"/>
                <a:gd name="connsiteX5" fmla="*/ 180000 w 240000"/>
                <a:gd name="connsiteY5" fmla="*/ 0 h 300000"/>
                <a:gd name="connsiteX6" fmla="*/ 210000 w 240000"/>
                <a:gd name="connsiteY6" fmla="*/ 0 h 300000"/>
                <a:gd name="connsiteX7" fmla="*/ 240000 w 240000"/>
                <a:gd name="connsiteY7" fmla="*/ 30000 h 300000"/>
                <a:gd name="connsiteX8" fmla="*/ 240000 w 240000"/>
                <a:gd name="connsiteY8" fmla="*/ 270000 h 300000"/>
                <a:gd name="connsiteX9" fmla="*/ 210000 w 240000"/>
                <a:gd name="connsiteY9" fmla="*/ 300000 h 300000"/>
                <a:gd name="connsiteX10" fmla="*/ 30000 w 240000"/>
                <a:gd name="connsiteY10" fmla="*/ 300000 h 300000"/>
                <a:gd name="connsiteX11" fmla="*/ 0 w 240000"/>
                <a:gd name="connsiteY11" fmla="*/ 270000 h 300000"/>
                <a:gd name="connsiteX12" fmla="*/ 0 w 240000"/>
                <a:gd name="connsiteY12" fmla="*/ 30000 h 300000"/>
                <a:gd name="connsiteX13" fmla="*/ 30000 w 240000"/>
                <a:gd name="connsiteY13" fmla="*/ 0 h 300000"/>
                <a:gd name="connsiteX14" fmla="*/ 60000 w 240000"/>
                <a:gd name="connsiteY14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0000" h="300000">
                  <a:moveTo>
                    <a:pt x="60000" y="0"/>
                  </a:moveTo>
                  <a:lnTo>
                    <a:pt x="60000" y="7500"/>
                  </a:lnTo>
                  <a:cubicBezTo>
                    <a:pt x="60000" y="19926"/>
                    <a:pt x="70074" y="30000"/>
                    <a:pt x="82500" y="30000"/>
                  </a:cubicBezTo>
                  <a:lnTo>
                    <a:pt x="157500" y="30000"/>
                  </a:lnTo>
                  <a:cubicBezTo>
                    <a:pt x="169926" y="30000"/>
                    <a:pt x="180000" y="19926"/>
                    <a:pt x="180000" y="7500"/>
                  </a:cubicBezTo>
                  <a:lnTo>
                    <a:pt x="180000" y="0"/>
                  </a:lnTo>
                  <a:lnTo>
                    <a:pt x="210000" y="0"/>
                  </a:lnTo>
                  <a:cubicBezTo>
                    <a:pt x="226569" y="0"/>
                    <a:pt x="240000" y="13431"/>
                    <a:pt x="240000" y="30000"/>
                  </a:cubicBezTo>
                  <a:lnTo>
                    <a:pt x="240000" y="270000"/>
                  </a:lnTo>
                  <a:cubicBezTo>
                    <a:pt x="240000" y="286569"/>
                    <a:pt x="226569" y="300000"/>
                    <a:pt x="210000" y="300000"/>
                  </a:cubicBezTo>
                  <a:lnTo>
                    <a:pt x="30000" y="300000"/>
                  </a:lnTo>
                  <a:cubicBezTo>
                    <a:pt x="13431" y="300000"/>
                    <a:pt x="0" y="286569"/>
                    <a:pt x="0" y="27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6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5" name="Полилиния 634">
              <a:extLst>
                <a:ext uri="{FF2B5EF4-FFF2-40B4-BE49-F238E27FC236}">
                  <a16:creationId xmlns:a16="http://schemas.microsoft.com/office/drawing/2014/main" id="{0E334707-A8E6-5A4F-B592-B562F090AED5}"/>
                </a:ext>
              </a:extLst>
            </p:cNvPr>
            <p:cNvSpPr/>
            <p:nvPr/>
          </p:nvSpPr>
          <p:spPr>
            <a:xfrm>
              <a:off x="10647053" y="2773983"/>
              <a:ext cx="90000" cy="45000"/>
            </a:xfrm>
            <a:custGeom>
              <a:avLst/>
              <a:gdLst>
                <a:gd name="connsiteX0" fmla="*/ 30000 w 90000"/>
                <a:gd name="connsiteY0" fmla="*/ 15000 h 45000"/>
                <a:gd name="connsiteX1" fmla="*/ 45000 w 90000"/>
                <a:gd name="connsiteY1" fmla="*/ 0 h 45000"/>
                <a:gd name="connsiteX2" fmla="*/ 60000 w 90000"/>
                <a:gd name="connsiteY2" fmla="*/ 15000 h 45000"/>
                <a:gd name="connsiteX3" fmla="*/ 82500 w 90000"/>
                <a:gd name="connsiteY3" fmla="*/ 15000 h 45000"/>
                <a:gd name="connsiteX4" fmla="*/ 90000 w 90000"/>
                <a:gd name="connsiteY4" fmla="*/ 22500 h 45000"/>
                <a:gd name="connsiteX5" fmla="*/ 90000 w 90000"/>
                <a:gd name="connsiteY5" fmla="*/ 37500 h 45000"/>
                <a:gd name="connsiteX6" fmla="*/ 82500 w 90000"/>
                <a:gd name="connsiteY6" fmla="*/ 45000 h 45000"/>
                <a:gd name="connsiteX7" fmla="*/ 7500 w 90000"/>
                <a:gd name="connsiteY7" fmla="*/ 45000 h 45000"/>
                <a:gd name="connsiteX8" fmla="*/ 0 w 90000"/>
                <a:gd name="connsiteY8" fmla="*/ 37500 h 45000"/>
                <a:gd name="connsiteX9" fmla="*/ 0 w 90000"/>
                <a:gd name="connsiteY9" fmla="*/ 22500 h 45000"/>
                <a:gd name="connsiteX10" fmla="*/ 7500 w 90000"/>
                <a:gd name="connsiteY10" fmla="*/ 15000 h 45000"/>
                <a:gd name="connsiteX11" fmla="*/ 30000 w 90000"/>
                <a:gd name="connsiteY11" fmla="*/ 1500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000" h="45000">
                  <a:moveTo>
                    <a:pt x="30000" y="15000"/>
                  </a:moveTo>
                  <a:cubicBezTo>
                    <a:pt x="30000" y="6716"/>
                    <a:pt x="36715" y="0"/>
                    <a:pt x="45000" y="0"/>
                  </a:cubicBezTo>
                  <a:cubicBezTo>
                    <a:pt x="53285" y="0"/>
                    <a:pt x="60000" y="6716"/>
                    <a:pt x="60000" y="15000"/>
                  </a:cubicBezTo>
                  <a:lnTo>
                    <a:pt x="82500" y="15000"/>
                  </a:lnTo>
                  <a:cubicBezTo>
                    <a:pt x="86642" y="15000"/>
                    <a:pt x="90000" y="18358"/>
                    <a:pt x="90000" y="22500"/>
                  </a:cubicBezTo>
                  <a:lnTo>
                    <a:pt x="90000" y="37500"/>
                  </a:lnTo>
                  <a:cubicBezTo>
                    <a:pt x="90000" y="41642"/>
                    <a:pt x="86642" y="45000"/>
                    <a:pt x="82500" y="45000"/>
                  </a:cubicBezTo>
                  <a:lnTo>
                    <a:pt x="7500" y="45000"/>
                  </a:lnTo>
                  <a:cubicBezTo>
                    <a:pt x="3358" y="45000"/>
                    <a:pt x="0" y="41642"/>
                    <a:pt x="0" y="37500"/>
                  </a:cubicBezTo>
                  <a:lnTo>
                    <a:pt x="0" y="22500"/>
                  </a:lnTo>
                  <a:cubicBezTo>
                    <a:pt x="0" y="18358"/>
                    <a:pt x="3358" y="15000"/>
                    <a:pt x="7500" y="15000"/>
                  </a:cubicBezTo>
                  <a:lnTo>
                    <a:pt x="30000" y="1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6" name="Скругленный прямоугольник 635">
              <a:extLst>
                <a:ext uri="{FF2B5EF4-FFF2-40B4-BE49-F238E27FC236}">
                  <a16:creationId xmlns:a16="http://schemas.microsoft.com/office/drawing/2014/main" id="{E3F49706-EC03-3F4F-B99A-E1D4C27ABC02}"/>
                </a:ext>
              </a:extLst>
            </p:cNvPr>
            <p:cNvSpPr/>
            <p:nvPr/>
          </p:nvSpPr>
          <p:spPr>
            <a:xfrm>
              <a:off x="10617053" y="2908983"/>
              <a:ext cx="75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7" name="Скругленный прямоугольник 636">
              <a:extLst>
                <a:ext uri="{FF2B5EF4-FFF2-40B4-BE49-F238E27FC236}">
                  <a16:creationId xmlns:a16="http://schemas.microsoft.com/office/drawing/2014/main" id="{2DCB49D3-C972-D64C-8519-FA2145E9C69C}"/>
                </a:ext>
              </a:extLst>
            </p:cNvPr>
            <p:cNvSpPr/>
            <p:nvPr/>
          </p:nvSpPr>
          <p:spPr>
            <a:xfrm>
              <a:off x="10617053" y="2968983"/>
              <a:ext cx="135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38" name="Рисунок 139">
            <a:extLst>
              <a:ext uri="{FF2B5EF4-FFF2-40B4-BE49-F238E27FC236}">
                <a16:creationId xmlns:a16="http://schemas.microsoft.com/office/drawing/2014/main" id="{596BA518-4CA9-1846-A2AA-331423302F05}"/>
              </a:ext>
            </a:extLst>
          </p:cNvPr>
          <p:cNvGrpSpPr/>
          <p:nvPr/>
        </p:nvGrpSpPr>
        <p:grpSpPr>
          <a:xfrm>
            <a:off x="9734618" y="2442261"/>
            <a:ext cx="360000" cy="360000"/>
            <a:chOff x="9756920" y="2758983"/>
            <a:chExt cx="360000" cy="360000"/>
          </a:xfrm>
        </p:grpSpPr>
        <p:sp>
          <p:nvSpPr>
            <p:cNvPr id="639" name="Полилиния 638">
              <a:extLst>
                <a:ext uri="{FF2B5EF4-FFF2-40B4-BE49-F238E27FC236}">
                  <a16:creationId xmlns:a16="http://schemas.microsoft.com/office/drawing/2014/main" id="{FBBF55D7-FC09-7248-968D-C740AE2CBE67}"/>
                </a:ext>
              </a:extLst>
            </p:cNvPr>
            <p:cNvSpPr/>
            <p:nvPr/>
          </p:nvSpPr>
          <p:spPr>
            <a:xfrm>
              <a:off x="9756920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0" name="Полилиния 639">
              <a:extLst>
                <a:ext uri="{FF2B5EF4-FFF2-40B4-BE49-F238E27FC236}">
                  <a16:creationId xmlns:a16="http://schemas.microsoft.com/office/drawing/2014/main" id="{006DA722-AE5E-BA4B-B699-084415736CA3}"/>
                </a:ext>
              </a:extLst>
            </p:cNvPr>
            <p:cNvSpPr/>
            <p:nvPr/>
          </p:nvSpPr>
          <p:spPr>
            <a:xfrm>
              <a:off x="9816920" y="2803983"/>
              <a:ext cx="240000" cy="300000"/>
            </a:xfrm>
            <a:custGeom>
              <a:avLst/>
              <a:gdLst>
                <a:gd name="connsiteX0" fmla="*/ 60000 w 240000"/>
                <a:gd name="connsiteY0" fmla="*/ 0 h 300000"/>
                <a:gd name="connsiteX1" fmla="*/ 60000 w 240000"/>
                <a:gd name="connsiteY1" fmla="*/ 7500 h 300000"/>
                <a:gd name="connsiteX2" fmla="*/ 82500 w 240000"/>
                <a:gd name="connsiteY2" fmla="*/ 30000 h 300000"/>
                <a:gd name="connsiteX3" fmla="*/ 157500 w 240000"/>
                <a:gd name="connsiteY3" fmla="*/ 30000 h 300000"/>
                <a:gd name="connsiteX4" fmla="*/ 180000 w 240000"/>
                <a:gd name="connsiteY4" fmla="*/ 7500 h 300000"/>
                <a:gd name="connsiteX5" fmla="*/ 180000 w 240000"/>
                <a:gd name="connsiteY5" fmla="*/ 0 h 300000"/>
                <a:gd name="connsiteX6" fmla="*/ 210000 w 240000"/>
                <a:gd name="connsiteY6" fmla="*/ 0 h 300000"/>
                <a:gd name="connsiteX7" fmla="*/ 240000 w 240000"/>
                <a:gd name="connsiteY7" fmla="*/ 30000 h 300000"/>
                <a:gd name="connsiteX8" fmla="*/ 240000 w 240000"/>
                <a:gd name="connsiteY8" fmla="*/ 270000 h 300000"/>
                <a:gd name="connsiteX9" fmla="*/ 210000 w 240000"/>
                <a:gd name="connsiteY9" fmla="*/ 300000 h 300000"/>
                <a:gd name="connsiteX10" fmla="*/ 30000 w 240000"/>
                <a:gd name="connsiteY10" fmla="*/ 300000 h 300000"/>
                <a:gd name="connsiteX11" fmla="*/ 0 w 240000"/>
                <a:gd name="connsiteY11" fmla="*/ 270000 h 300000"/>
                <a:gd name="connsiteX12" fmla="*/ 0 w 240000"/>
                <a:gd name="connsiteY12" fmla="*/ 30000 h 300000"/>
                <a:gd name="connsiteX13" fmla="*/ 30000 w 240000"/>
                <a:gd name="connsiteY13" fmla="*/ 0 h 300000"/>
                <a:gd name="connsiteX14" fmla="*/ 60000 w 240000"/>
                <a:gd name="connsiteY14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0000" h="300000">
                  <a:moveTo>
                    <a:pt x="60000" y="0"/>
                  </a:moveTo>
                  <a:lnTo>
                    <a:pt x="60000" y="7500"/>
                  </a:lnTo>
                  <a:cubicBezTo>
                    <a:pt x="60000" y="19926"/>
                    <a:pt x="70074" y="30000"/>
                    <a:pt x="82500" y="30000"/>
                  </a:cubicBezTo>
                  <a:lnTo>
                    <a:pt x="157500" y="30000"/>
                  </a:lnTo>
                  <a:cubicBezTo>
                    <a:pt x="169926" y="30000"/>
                    <a:pt x="180000" y="19926"/>
                    <a:pt x="180000" y="7500"/>
                  </a:cubicBezTo>
                  <a:lnTo>
                    <a:pt x="180000" y="0"/>
                  </a:lnTo>
                  <a:lnTo>
                    <a:pt x="210000" y="0"/>
                  </a:lnTo>
                  <a:cubicBezTo>
                    <a:pt x="226569" y="0"/>
                    <a:pt x="240000" y="13431"/>
                    <a:pt x="240000" y="30000"/>
                  </a:cubicBezTo>
                  <a:lnTo>
                    <a:pt x="240000" y="270000"/>
                  </a:lnTo>
                  <a:cubicBezTo>
                    <a:pt x="240000" y="286569"/>
                    <a:pt x="226569" y="300000"/>
                    <a:pt x="210000" y="300000"/>
                  </a:cubicBezTo>
                  <a:lnTo>
                    <a:pt x="30000" y="300000"/>
                  </a:lnTo>
                  <a:cubicBezTo>
                    <a:pt x="13431" y="300000"/>
                    <a:pt x="0" y="286569"/>
                    <a:pt x="0" y="27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6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1" name="Полилиния 640">
              <a:extLst>
                <a:ext uri="{FF2B5EF4-FFF2-40B4-BE49-F238E27FC236}">
                  <a16:creationId xmlns:a16="http://schemas.microsoft.com/office/drawing/2014/main" id="{512C706F-103A-1040-B80C-F6711941A608}"/>
                </a:ext>
              </a:extLst>
            </p:cNvPr>
            <p:cNvSpPr/>
            <p:nvPr/>
          </p:nvSpPr>
          <p:spPr>
            <a:xfrm>
              <a:off x="9876920" y="2908983"/>
              <a:ext cx="115000" cy="86249"/>
            </a:xfrm>
            <a:custGeom>
              <a:avLst/>
              <a:gdLst>
                <a:gd name="connsiteX0" fmla="*/ 43125 w 115000"/>
                <a:gd name="connsiteY0" fmla="*/ 86250 h 86249"/>
                <a:gd name="connsiteX1" fmla="*/ 33063 w 115000"/>
                <a:gd name="connsiteY1" fmla="*/ 81937 h 86249"/>
                <a:gd name="connsiteX2" fmla="*/ 4312 w 115000"/>
                <a:gd name="connsiteY2" fmla="*/ 53187 h 86249"/>
                <a:gd name="connsiteX3" fmla="*/ 4312 w 115000"/>
                <a:gd name="connsiteY3" fmla="*/ 33063 h 86249"/>
                <a:gd name="connsiteX4" fmla="*/ 24438 w 115000"/>
                <a:gd name="connsiteY4" fmla="*/ 33063 h 86249"/>
                <a:gd name="connsiteX5" fmla="*/ 43125 w 115000"/>
                <a:gd name="connsiteY5" fmla="*/ 51750 h 86249"/>
                <a:gd name="connsiteX6" fmla="*/ 90562 w 115000"/>
                <a:gd name="connsiteY6" fmla="*/ 4312 h 86249"/>
                <a:gd name="connsiteX7" fmla="*/ 110688 w 115000"/>
                <a:gd name="connsiteY7" fmla="*/ 4312 h 86249"/>
                <a:gd name="connsiteX8" fmla="*/ 110688 w 115000"/>
                <a:gd name="connsiteY8" fmla="*/ 24438 h 86249"/>
                <a:gd name="connsiteX9" fmla="*/ 53187 w 115000"/>
                <a:gd name="connsiteY9" fmla="*/ 81937 h 86249"/>
                <a:gd name="connsiteX10" fmla="*/ 43125 w 115000"/>
                <a:gd name="connsiteY10" fmla="*/ 86250 h 86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000" h="86249">
                  <a:moveTo>
                    <a:pt x="43125" y="86250"/>
                  </a:moveTo>
                  <a:cubicBezTo>
                    <a:pt x="39531" y="86250"/>
                    <a:pt x="35937" y="84813"/>
                    <a:pt x="33063" y="81937"/>
                  </a:cubicBezTo>
                  <a:lnTo>
                    <a:pt x="4312" y="53187"/>
                  </a:lnTo>
                  <a:cubicBezTo>
                    <a:pt x="-1437" y="47437"/>
                    <a:pt x="-1437" y="38812"/>
                    <a:pt x="4312" y="33063"/>
                  </a:cubicBezTo>
                  <a:cubicBezTo>
                    <a:pt x="10062" y="27312"/>
                    <a:pt x="19406" y="27312"/>
                    <a:pt x="24438" y="33063"/>
                  </a:cubicBezTo>
                  <a:lnTo>
                    <a:pt x="43125" y="51750"/>
                  </a:lnTo>
                  <a:lnTo>
                    <a:pt x="90562" y="4312"/>
                  </a:lnTo>
                  <a:cubicBezTo>
                    <a:pt x="96312" y="-1437"/>
                    <a:pt x="104937" y="-1437"/>
                    <a:pt x="110688" y="4312"/>
                  </a:cubicBezTo>
                  <a:cubicBezTo>
                    <a:pt x="116437" y="10062"/>
                    <a:pt x="116437" y="18687"/>
                    <a:pt x="110688" y="24438"/>
                  </a:cubicBezTo>
                  <a:lnTo>
                    <a:pt x="53187" y="81937"/>
                  </a:lnTo>
                  <a:cubicBezTo>
                    <a:pt x="50313" y="84813"/>
                    <a:pt x="46719" y="86250"/>
                    <a:pt x="43125" y="8625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2" name="Полилиния 641">
              <a:extLst>
                <a:ext uri="{FF2B5EF4-FFF2-40B4-BE49-F238E27FC236}">
                  <a16:creationId xmlns:a16="http://schemas.microsoft.com/office/drawing/2014/main" id="{F2267116-EDC0-2642-9096-8683EFF3433B}"/>
                </a:ext>
              </a:extLst>
            </p:cNvPr>
            <p:cNvSpPr/>
            <p:nvPr/>
          </p:nvSpPr>
          <p:spPr>
            <a:xfrm>
              <a:off x="9891920" y="2773983"/>
              <a:ext cx="90000" cy="45000"/>
            </a:xfrm>
            <a:custGeom>
              <a:avLst/>
              <a:gdLst>
                <a:gd name="connsiteX0" fmla="*/ 30000 w 90000"/>
                <a:gd name="connsiteY0" fmla="*/ 15000 h 45000"/>
                <a:gd name="connsiteX1" fmla="*/ 45000 w 90000"/>
                <a:gd name="connsiteY1" fmla="*/ 0 h 45000"/>
                <a:gd name="connsiteX2" fmla="*/ 60000 w 90000"/>
                <a:gd name="connsiteY2" fmla="*/ 15000 h 45000"/>
                <a:gd name="connsiteX3" fmla="*/ 82500 w 90000"/>
                <a:gd name="connsiteY3" fmla="*/ 15000 h 45000"/>
                <a:gd name="connsiteX4" fmla="*/ 90000 w 90000"/>
                <a:gd name="connsiteY4" fmla="*/ 22500 h 45000"/>
                <a:gd name="connsiteX5" fmla="*/ 90000 w 90000"/>
                <a:gd name="connsiteY5" fmla="*/ 37500 h 45000"/>
                <a:gd name="connsiteX6" fmla="*/ 82500 w 90000"/>
                <a:gd name="connsiteY6" fmla="*/ 45000 h 45000"/>
                <a:gd name="connsiteX7" fmla="*/ 7500 w 90000"/>
                <a:gd name="connsiteY7" fmla="*/ 45000 h 45000"/>
                <a:gd name="connsiteX8" fmla="*/ 0 w 90000"/>
                <a:gd name="connsiteY8" fmla="*/ 37500 h 45000"/>
                <a:gd name="connsiteX9" fmla="*/ 0 w 90000"/>
                <a:gd name="connsiteY9" fmla="*/ 22500 h 45000"/>
                <a:gd name="connsiteX10" fmla="*/ 7500 w 90000"/>
                <a:gd name="connsiteY10" fmla="*/ 15000 h 45000"/>
                <a:gd name="connsiteX11" fmla="*/ 30000 w 90000"/>
                <a:gd name="connsiteY11" fmla="*/ 1500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000" h="45000">
                  <a:moveTo>
                    <a:pt x="30000" y="15000"/>
                  </a:moveTo>
                  <a:cubicBezTo>
                    <a:pt x="30000" y="6716"/>
                    <a:pt x="36715" y="0"/>
                    <a:pt x="45000" y="0"/>
                  </a:cubicBezTo>
                  <a:cubicBezTo>
                    <a:pt x="53285" y="0"/>
                    <a:pt x="60000" y="6716"/>
                    <a:pt x="60000" y="15000"/>
                  </a:cubicBezTo>
                  <a:lnTo>
                    <a:pt x="82500" y="15000"/>
                  </a:lnTo>
                  <a:cubicBezTo>
                    <a:pt x="86642" y="15000"/>
                    <a:pt x="90000" y="18358"/>
                    <a:pt x="90000" y="22500"/>
                  </a:cubicBezTo>
                  <a:lnTo>
                    <a:pt x="90000" y="37500"/>
                  </a:lnTo>
                  <a:cubicBezTo>
                    <a:pt x="90000" y="41642"/>
                    <a:pt x="86642" y="45000"/>
                    <a:pt x="82500" y="45000"/>
                  </a:cubicBezTo>
                  <a:lnTo>
                    <a:pt x="7500" y="45000"/>
                  </a:lnTo>
                  <a:cubicBezTo>
                    <a:pt x="3358" y="45000"/>
                    <a:pt x="0" y="41642"/>
                    <a:pt x="0" y="37500"/>
                  </a:cubicBezTo>
                  <a:lnTo>
                    <a:pt x="0" y="22500"/>
                  </a:lnTo>
                  <a:cubicBezTo>
                    <a:pt x="0" y="18358"/>
                    <a:pt x="3358" y="15000"/>
                    <a:pt x="7500" y="15000"/>
                  </a:cubicBezTo>
                  <a:lnTo>
                    <a:pt x="30000" y="1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643" name="Рисунок 140">
            <a:extLst>
              <a:ext uri="{FF2B5EF4-FFF2-40B4-BE49-F238E27FC236}">
                <a16:creationId xmlns:a16="http://schemas.microsoft.com/office/drawing/2014/main" id="{4E810B15-AC99-A944-88FF-C96F67ED8C9A}"/>
              </a:ext>
            </a:extLst>
          </p:cNvPr>
          <p:cNvGrpSpPr/>
          <p:nvPr/>
        </p:nvGrpSpPr>
        <p:grpSpPr>
          <a:xfrm>
            <a:off x="8979485" y="2442261"/>
            <a:ext cx="360000" cy="360000"/>
            <a:chOff x="9001787" y="2758983"/>
            <a:chExt cx="360000" cy="360000"/>
          </a:xfrm>
        </p:grpSpPr>
        <p:sp>
          <p:nvSpPr>
            <p:cNvPr id="644" name="Полилиния 643">
              <a:extLst>
                <a:ext uri="{FF2B5EF4-FFF2-40B4-BE49-F238E27FC236}">
                  <a16:creationId xmlns:a16="http://schemas.microsoft.com/office/drawing/2014/main" id="{13BE6702-41E3-7040-8F33-4EF2E6125DED}"/>
                </a:ext>
              </a:extLst>
            </p:cNvPr>
            <p:cNvSpPr/>
            <p:nvPr/>
          </p:nvSpPr>
          <p:spPr>
            <a:xfrm>
              <a:off x="9001787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5" name="Полилиния 644">
              <a:extLst>
                <a:ext uri="{FF2B5EF4-FFF2-40B4-BE49-F238E27FC236}">
                  <a16:creationId xmlns:a16="http://schemas.microsoft.com/office/drawing/2014/main" id="{F0AAECC9-86A0-784C-BCDE-617C8CDD70C9}"/>
                </a:ext>
              </a:extLst>
            </p:cNvPr>
            <p:cNvSpPr/>
            <p:nvPr/>
          </p:nvSpPr>
          <p:spPr>
            <a:xfrm>
              <a:off x="9061787" y="2803983"/>
              <a:ext cx="240000" cy="300000"/>
            </a:xfrm>
            <a:custGeom>
              <a:avLst/>
              <a:gdLst>
                <a:gd name="connsiteX0" fmla="*/ 60000 w 240000"/>
                <a:gd name="connsiteY0" fmla="*/ 0 h 300000"/>
                <a:gd name="connsiteX1" fmla="*/ 60000 w 240000"/>
                <a:gd name="connsiteY1" fmla="*/ 7500 h 300000"/>
                <a:gd name="connsiteX2" fmla="*/ 82500 w 240000"/>
                <a:gd name="connsiteY2" fmla="*/ 30000 h 300000"/>
                <a:gd name="connsiteX3" fmla="*/ 157500 w 240000"/>
                <a:gd name="connsiteY3" fmla="*/ 30000 h 300000"/>
                <a:gd name="connsiteX4" fmla="*/ 180000 w 240000"/>
                <a:gd name="connsiteY4" fmla="*/ 7500 h 300000"/>
                <a:gd name="connsiteX5" fmla="*/ 180000 w 240000"/>
                <a:gd name="connsiteY5" fmla="*/ 0 h 300000"/>
                <a:gd name="connsiteX6" fmla="*/ 210000 w 240000"/>
                <a:gd name="connsiteY6" fmla="*/ 0 h 300000"/>
                <a:gd name="connsiteX7" fmla="*/ 240000 w 240000"/>
                <a:gd name="connsiteY7" fmla="*/ 30000 h 300000"/>
                <a:gd name="connsiteX8" fmla="*/ 240000 w 240000"/>
                <a:gd name="connsiteY8" fmla="*/ 270000 h 300000"/>
                <a:gd name="connsiteX9" fmla="*/ 210000 w 240000"/>
                <a:gd name="connsiteY9" fmla="*/ 300000 h 300000"/>
                <a:gd name="connsiteX10" fmla="*/ 30000 w 240000"/>
                <a:gd name="connsiteY10" fmla="*/ 300000 h 300000"/>
                <a:gd name="connsiteX11" fmla="*/ 0 w 240000"/>
                <a:gd name="connsiteY11" fmla="*/ 270000 h 300000"/>
                <a:gd name="connsiteX12" fmla="*/ 0 w 240000"/>
                <a:gd name="connsiteY12" fmla="*/ 30000 h 300000"/>
                <a:gd name="connsiteX13" fmla="*/ 30000 w 240000"/>
                <a:gd name="connsiteY13" fmla="*/ 0 h 300000"/>
                <a:gd name="connsiteX14" fmla="*/ 60000 w 240000"/>
                <a:gd name="connsiteY14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0000" h="300000">
                  <a:moveTo>
                    <a:pt x="60000" y="0"/>
                  </a:moveTo>
                  <a:lnTo>
                    <a:pt x="60000" y="7500"/>
                  </a:lnTo>
                  <a:cubicBezTo>
                    <a:pt x="60000" y="19926"/>
                    <a:pt x="70074" y="30000"/>
                    <a:pt x="82500" y="30000"/>
                  </a:cubicBezTo>
                  <a:lnTo>
                    <a:pt x="157500" y="30000"/>
                  </a:lnTo>
                  <a:cubicBezTo>
                    <a:pt x="169926" y="30000"/>
                    <a:pt x="180000" y="19926"/>
                    <a:pt x="180000" y="7500"/>
                  </a:cubicBezTo>
                  <a:lnTo>
                    <a:pt x="180000" y="0"/>
                  </a:lnTo>
                  <a:lnTo>
                    <a:pt x="210000" y="0"/>
                  </a:lnTo>
                  <a:cubicBezTo>
                    <a:pt x="226569" y="0"/>
                    <a:pt x="240000" y="13431"/>
                    <a:pt x="240000" y="30000"/>
                  </a:cubicBezTo>
                  <a:lnTo>
                    <a:pt x="240000" y="270000"/>
                  </a:lnTo>
                  <a:cubicBezTo>
                    <a:pt x="240000" y="286569"/>
                    <a:pt x="226569" y="300000"/>
                    <a:pt x="210000" y="300000"/>
                  </a:cubicBezTo>
                  <a:lnTo>
                    <a:pt x="30000" y="300000"/>
                  </a:lnTo>
                  <a:cubicBezTo>
                    <a:pt x="13431" y="300000"/>
                    <a:pt x="0" y="286569"/>
                    <a:pt x="0" y="27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6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6" name="Полилиния 645">
              <a:extLst>
                <a:ext uri="{FF2B5EF4-FFF2-40B4-BE49-F238E27FC236}">
                  <a16:creationId xmlns:a16="http://schemas.microsoft.com/office/drawing/2014/main" id="{33D473A3-B7C7-3742-91D5-82759AD22789}"/>
                </a:ext>
              </a:extLst>
            </p:cNvPr>
            <p:cNvSpPr/>
            <p:nvPr/>
          </p:nvSpPr>
          <p:spPr>
            <a:xfrm>
              <a:off x="9136787" y="2773983"/>
              <a:ext cx="90000" cy="45000"/>
            </a:xfrm>
            <a:custGeom>
              <a:avLst/>
              <a:gdLst>
                <a:gd name="connsiteX0" fmla="*/ 30000 w 90000"/>
                <a:gd name="connsiteY0" fmla="*/ 15000 h 45000"/>
                <a:gd name="connsiteX1" fmla="*/ 45000 w 90000"/>
                <a:gd name="connsiteY1" fmla="*/ 0 h 45000"/>
                <a:gd name="connsiteX2" fmla="*/ 60000 w 90000"/>
                <a:gd name="connsiteY2" fmla="*/ 15000 h 45000"/>
                <a:gd name="connsiteX3" fmla="*/ 82500 w 90000"/>
                <a:gd name="connsiteY3" fmla="*/ 15000 h 45000"/>
                <a:gd name="connsiteX4" fmla="*/ 90000 w 90000"/>
                <a:gd name="connsiteY4" fmla="*/ 22500 h 45000"/>
                <a:gd name="connsiteX5" fmla="*/ 90000 w 90000"/>
                <a:gd name="connsiteY5" fmla="*/ 37500 h 45000"/>
                <a:gd name="connsiteX6" fmla="*/ 82500 w 90000"/>
                <a:gd name="connsiteY6" fmla="*/ 45000 h 45000"/>
                <a:gd name="connsiteX7" fmla="*/ 7500 w 90000"/>
                <a:gd name="connsiteY7" fmla="*/ 45000 h 45000"/>
                <a:gd name="connsiteX8" fmla="*/ 0 w 90000"/>
                <a:gd name="connsiteY8" fmla="*/ 37500 h 45000"/>
                <a:gd name="connsiteX9" fmla="*/ 0 w 90000"/>
                <a:gd name="connsiteY9" fmla="*/ 22500 h 45000"/>
                <a:gd name="connsiteX10" fmla="*/ 7500 w 90000"/>
                <a:gd name="connsiteY10" fmla="*/ 15000 h 45000"/>
                <a:gd name="connsiteX11" fmla="*/ 30000 w 90000"/>
                <a:gd name="connsiteY11" fmla="*/ 1500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000" h="45000">
                  <a:moveTo>
                    <a:pt x="30000" y="15000"/>
                  </a:moveTo>
                  <a:cubicBezTo>
                    <a:pt x="30000" y="6716"/>
                    <a:pt x="36715" y="0"/>
                    <a:pt x="45000" y="0"/>
                  </a:cubicBezTo>
                  <a:cubicBezTo>
                    <a:pt x="53285" y="0"/>
                    <a:pt x="60000" y="6716"/>
                    <a:pt x="60000" y="15000"/>
                  </a:cubicBezTo>
                  <a:lnTo>
                    <a:pt x="82500" y="15000"/>
                  </a:lnTo>
                  <a:cubicBezTo>
                    <a:pt x="86642" y="15000"/>
                    <a:pt x="90000" y="18358"/>
                    <a:pt x="90000" y="22500"/>
                  </a:cubicBezTo>
                  <a:lnTo>
                    <a:pt x="90000" y="37500"/>
                  </a:lnTo>
                  <a:cubicBezTo>
                    <a:pt x="90000" y="41642"/>
                    <a:pt x="86642" y="45000"/>
                    <a:pt x="82500" y="45000"/>
                  </a:cubicBezTo>
                  <a:lnTo>
                    <a:pt x="7500" y="45000"/>
                  </a:lnTo>
                  <a:cubicBezTo>
                    <a:pt x="3358" y="45000"/>
                    <a:pt x="0" y="41642"/>
                    <a:pt x="0" y="37500"/>
                  </a:cubicBezTo>
                  <a:lnTo>
                    <a:pt x="0" y="22500"/>
                  </a:lnTo>
                  <a:cubicBezTo>
                    <a:pt x="0" y="18358"/>
                    <a:pt x="3358" y="15000"/>
                    <a:pt x="7500" y="15000"/>
                  </a:cubicBezTo>
                  <a:lnTo>
                    <a:pt x="30000" y="1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7" name="Скругленный прямоугольник 646">
              <a:extLst>
                <a:ext uri="{FF2B5EF4-FFF2-40B4-BE49-F238E27FC236}">
                  <a16:creationId xmlns:a16="http://schemas.microsoft.com/office/drawing/2014/main" id="{3C5CF00E-C908-F445-AF9B-C0DB6809300B}"/>
                </a:ext>
              </a:extLst>
            </p:cNvPr>
            <p:cNvSpPr/>
            <p:nvPr/>
          </p:nvSpPr>
          <p:spPr>
            <a:xfrm>
              <a:off x="9151787" y="2893983"/>
              <a:ext cx="105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8" name="Скругленный прямоугольник 647">
              <a:extLst>
                <a:ext uri="{FF2B5EF4-FFF2-40B4-BE49-F238E27FC236}">
                  <a16:creationId xmlns:a16="http://schemas.microsoft.com/office/drawing/2014/main" id="{5F7F54FF-20FC-CE4C-B92B-B23B10B1E068}"/>
                </a:ext>
              </a:extLst>
            </p:cNvPr>
            <p:cNvSpPr/>
            <p:nvPr/>
          </p:nvSpPr>
          <p:spPr>
            <a:xfrm>
              <a:off x="9106787" y="2893983"/>
              <a:ext cx="30000" cy="3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9" name="Скругленный прямоугольник 648">
              <a:extLst>
                <a:ext uri="{FF2B5EF4-FFF2-40B4-BE49-F238E27FC236}">
                  <a16:creationId xmlns:a16="http://schemas.microsoft.com/office/drawing/2014/main" id="{364147F1-47F5-6648-B47A-71FCBA4C2292}"/>
                </a:ext>
              </a:extLst>
            </p:cNvPr>
            <p:cNvSpPr/>
            <p:nvPr/>
          </p:nvSpPr>
          <p:spPr>
            <a:xfrm>
              <a:off x="9106787" y="2953983"/>
              <a:ext cx="30000" cy="3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0" name="Скругленный прямоугольник 649">
              <a:extLst>
                <a:ext uri="{FF2B5EF4-FFF2-40B4-BE49-F238E27FC236}">
                  <a16:creationId xmlns:a16="http://schemas.microsoft.com/office/drawing/2014/main" id="{E62CE6C2-C65A-7240-8D8D-67157C422938}"/>
                </a:ext>
              </a:extLst>
            </p:cNvPr>
            <p:cNvSpPr/>
            <p:nvPr/>
          </p:nvSpPr>
          <p:spPr>
            <a:xfrm>
              <a:off x="9151787" y="2953983"/>
              <a:ext cx="105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1" name="Скругленный прямоугольник 650">
              <a:extLst>
                <a:ext uri="{FF2B5EF4-FFF2-40B4-BE49-F238E27FC236}">
                  <a16:creationId xmlns:a16="http://schemas.microsoft.com/office/drawing/2014/main" id="{61EE941B-1C09-9945-B508-EB1BA8EE57F3}"/>
                </a:ext>
              </a:extLst>
            </p:cNvPr>
            <p:cNvSpPr/>
            <p:nvPr/>
          </p:nvSpPr>
          <p:spPr>
            <a:xfrm>
              <a:off x="9106787" y="3013983"/>
              <a:ext cx="30000" cy="3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2" name="Скругленный прямоугольник 651">
              <a:extLst>
                <a:ext uri="{FF2B5EF4-FFF2-40B4-BE49-F238E27FC236}">
                  <a16:creationId xmlns:a16="http://schemas.microsoft.com/office/drawing/2014/main" id="{E883BEF6-56FA-004A-A797-97B0387BF8FE}"/>
                </a:ext>
              </a:extLst>
            </p:cNvPr>
            <p:cNvSpPr/>
            <p:nvPr/>
          </p:nvSpPr>
          <p:spPr>
            <a:xfrm>
              <a:off x="9151787" y="3013983"/>
              <a:ext cx="105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53" name="Рисунок 141">
            <a:extLst>
              <a:ext uri="{FF2B5EF4-FFF2-40B4-BE49-F238E27FC236}">
                <a16:creationId xmlns:a16="http://schemas.microsoft.com/office/drawing/2014/main" id="{30E45A06-8E59-6A4B-92E6-54ED28E2C44B}"/>
              </a:ext>
            </a:extLst>
          </p:cNvPr>
          <p:cNvGrpSpPr/>
          <p:nvPr/>
        </p:nvGrpSpPr>
        <p:grpSpPr>
          <a:xfrm>
            <a:off x="8224352" y="2442261"/>
            <a:ext cx="360000" cy="360000"/>
            <a:chOff x="8246654" y="2758983"/>
            <a:chExt cx="360000" cy="360000"/>
          </a:xfrm>
        </p:grpSpPr>
        <p:sp>
          <p:nvSpPr>
            <p:cNvPr id="654" name="Полилиния 653">
              <a:extLst>
                <a:ext uri="{FF2B5EF4-FFF2-40B4-BE49-F238E27FC236}">
                  <a16:creationId xmlns:a16="http://schemas.microsoft.com/office/drawing/2014/main" id="{1C544C5B-34A2-F44A-AE13-10E7CD8C3E77}"/>
                </a:ext>
              </a:extLst>
            </p:cNvPr>
            <p:cNvSpPr/>
            <p:nvPr/>
          </p:nvSpPr>
          <p:spPr>
            <a:xfrm>
              <a:off x="8246654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5" name="Полилиния 654">
              <a:extLst>
                <a:ext uri="{FF2B5EF4-FFF2-40B4-BE49-F238E27FC236}">
                  <a16:creationId xmlns:a16="http://schemas.microsoft.com/office/drawing/2014/main" id="{ABF0BB96-94E0-C043-89EA-A3BCFF5D2575}"/>
                </a:ext>
              </a:extLst>
            </p:cNvPr>
            <p:cNvSpPr/>
            <p:nvPr/>
          </p:nvSpPr>
          <p:spPr>
            <a:xfrm>
              <a:off x="8291654" y="2818983"/>
              <a:ext cx="270000" cy="270000"/>
            </a:xfrm>
            <a:custGeom>
              <a:avLst/>
              <a:gdLst>
                <a:gd name="connsiteX0" fmla="*/ 135000 w 270000"/>
                <a:gd name="connsiteY0" fmla="*/ 270000 h 270000"/>
                <a:gd name="connsiteX1" fmla="*/ 0 w 270000"/>
                <a:gd name="connsiteY1" fmla="*/ 135000 h 270000"/>
                <a:gd name="connsiteX2" fmla="*/ 135000 w 270000"/>
                <a:gd name="connsiteY2" fmla="*/ 0 h 270000"/>
                <a:gd name="connsiteX3" fmla="*/ 270000 w 270000"/>
                <a:gd name="connsiteY3" fmla="*/ 135000 h 270000"/>
                <a:gd name="connsiteX4" fmla="*/ 135000 w 270000"/>
                <a:gd name="connsiteY4" fmla="*/ 27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000" h="270000">
                  <a:moveTo>
                    <a:pt x="135000" y="270000"/>
                  </a:moveTo>
                  <a:cubicBezTo>
                    <a:pt x="60442" y="270000"/>
                    <a:pt x="0" y="209559"/>
                    <a:pt x="0" y="135000"/>
                  </a:cubicBezTo>
                  <a:cubicBezTo>
                    <a:pt x="0" y="60442"/>
                    <a:pt x="60442" y="0"/>
                    <a:pt x="135000" y="0"/>
                  </a:cubicBezTo>
                  <a:cubicBezTo>
                    <a:pt x="209559" y="0"/>
                    <a:pt x="270000" y="60442"/>
                    <a:pt x="270000" y="135000"/>
                  </a:cubicBezTo>
                  <a:cubicBezTo>
                    <a:pt x="270000" y="209559"/>
                    <a:pt x="209559" y="270000"/>
                    <a:pt x="135000" y="27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6" name="Полилиния 655">
              <a:extLst>
                <a:ext uri="{FF2B5EF4-FFF2-40B4-BE49-F238E27FC236}">
                  <a16:creationId xmlns:a16="http://schemas.microsoft.com/office/drawing/2014/main" id="{30A03B49-8074-334B-BC8E-3FA721D01FF1}"/>
                </a:ext>
              </a:extLst>
            </p:cNvPr>
            <p:cNvSpPr/>
            <p:nvPr/>
          </p:nvSpPr>
          <p:spPr>
            <a:xfrm>
              <a:off x="8412107" y="2871483"/>
              <a:ext cx="82046" cy="118228"/>
            </a:xfrm>
            <a:custGeom>
              <a:avLst/>
              <a:gdLst>
                <a:gd name="connsiteX0" fmla="*/ 13992 w 82046"/>
                <a:gd name="connsiteY0" fmla="*/ 0 h 118228"/>
                <a:gd name="connsiteX1" fmla="*/ 15259 w 82046"/>
                <a:gd name="connsiteY1" fmla="*/ 0 h 118228"/>
                <a:gd name="connsiteX2" fmla="*/ 22722 w 82046"/>
                <a:gd name="connsiteY2" fmla="*/ 6754 h 118228"/>
                <a:gd name="connsiteX3" fmla="*/ 29547 w 82046"/>
                <a:gd name="connsiteY3" fmla="*/ 75000 h 118228"/>
                <a:gd name="connsiteX4" fmla="*/ 78268 w 82046"/>
                <a:gd name="connsiteY4" fmla="*/ 102840 h 118228"/>
                <a:gd name="connsiteX5" fmla="*/ 82047 w 82046"/>
                <a:gd name="connsiteY5" fmla="*/ 109353 h 118228"/>
                <a:gd name="connsiteX6" fmla="*/ 82047 w 82046"/>
                <a:gd name="connsiteY6" fmla="*/ 112500 h 118228"/>
                <a:gd name="connsiteX7" fmla="*/ 76318 w 82046"/>
                <a:gd name="connsiteY7" fmla="*/ 118229 h 118228"/>
                <a:gd name="connsiteX8" fmla="*/ 74811 w 82046"/>
                <a:gd name="connsiteY8" fmla="*/ 118026 h 118228"/>
                <a:gd name="connsiteX9" fmla="*/ 5527 w 82046"/>
                <a:gd name="connsiteY9" fmla="*/ 99131 h 118228"/>
                <a:gd name="connsiteX10" fmla="*/ 22 w 82046"/>
                <a:gd name="connsiteY10" fmla="*/ 91320 h 118228"/>
                <a:gd name="connsiteX11" fmla="*/ 6514 w 82046"/>
                <a:gd name="connsiteY11" fmla="*/ 6925 h 118228"/>
                <a:gd name="connsiteX12" fmla="*/ 13992 w 82046"/>
                <a:gd name="connsiteY12" fmla="*/ 0 h 118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046" h="118228">
                  <a:moveTo>
                    <a:pt x="13992" y="0"/>
                  </a:moveTo>
                  <a:lnTo>
                    <a:pt x="15259" y="0"/>
                  </a:lnTo>
                  <a:cubicBezTo>
                    <a:pt x="19113" y="0"/>
                    <a:pt x="22339" y="2920"/>
                    <a:pt x="22722" y="6754"/>
                  </a:cubicBezTo>
                  <a:lnTo>
                    <a:pt x="29547" y="75000"/>
                  </a:lnTo>
                  <a:lnTo>
                    <a:pt x="78268" y="102840"/>
                  </a:lnTo>
                  <a:cubicBezTo>
                    <a:pt x="80605" y="104177"/>
                    <a:pt x="82047" y="106660"/>
                    <a:pt x="82047" y="109353"/>
                  </a:cubicBezTo>
                  <a:lnTo>
                    <a:pt x="82047" y="112500"/>
                  </a:lnTo>
                  <a:cubicBezTo>
                    <a:pt x="82047" y="115664"/>
                    <a:pt x="79482" y="118229"/>
                    <a:pt x="76318" y="118229"/>
                  </a:cubicBezTo>
                  <a:cubicBezTo>
                    <a:pt x="75810" y="118229"/>
                    <a:pt x="75303" y="118161"/>
                    <a:pt x="74811" y="118026"/>
                  </a:cubicBezTo>
                  <a:lnTo>
                    <a:pt x="5527" y="99131"/>
                  </a:lnTo>
                  <a:cubicBezTo>
                    <a:pt x="2056" y="98184"/>
                    <a:pt x="-254" y="94907"/>
                    <a:pt x="22" y="91320"/>
                  </a:cubicBezTo>
                  <a:lnTo>
                    <a:pt x="6514" y="6925"/>
                  </a:lnTo>
                  <a:cubicBezTo>
                    <a:pt x="6814" y="3017"/>
                    <a:pt x="10072" y="0"/>
                    <a:pt x="13992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57" name="Рисунок 143">
            <a:extLst>
              <a:ext uri="{FF2B5EF4-FFF2-40B4-BE49-F238E27FC236}">
                <a16:creationId xmlns:a16="http://schemas.microsoft.com/office/drawing/2014/main" id="{AB133DCB-18F9-9341-B09D-97FA4D6F0D23}"/>
              </a:ext>
            </a:extLst>
          </p:cNvPr>
          <p:cNvGrpSpPr/>
          <p:nvPr/>
        </p:nvGrpSpPr>
        <p:grpSpPr>
          <a:xfrm>
            <a:off x="6714086" y="2442261"/>
            <a:ext cx="360000" cy="360000"/>
            <a:chOff x="6736388" y="2758983"/>
            <a:chExt cx="360000" cy="360000"/>
          </a:xfrm>
        </p:grpSpPr>
        <p:sp>
          <p:nvSpPr>
            <p:cNvPr id="658" name="Полилиния 657">
              <a:extLst>
                <a:ext uri="{FF2B5EF4-FFF2-40B4-BE49-F238E27FC236}">
                  <a16:creationId xmlns:a16="http://schemas.microsoft.com/office/drawing/2014/main" id="{387092EE-8F9A-8343-A9E1-EC1693BD7C4E}"/>
                </a:ext>
              </a:extLst>
            </p:cNvPr>
            <p:cNvSpPr/>
            <p:nvPr/>
          </p:nvSpPr>
          <p:spPr>
            <a:xfrm>
              <a:off x="6736388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9" name="Полилиния 658">
              <a:extLst>
                <a:ext uri="{FF2B5EF4-FFF2-40B4-BE49-F238E27FC236}">
                  <a16:creationId xmlns:a16="http://schemas.microsoft.com/office/drawing/2014/main" id="{C3143E70-5B60-4546-A6DC-A35F33D2DC62}"/>
                </a:ext>
              </a:extLst>
            </p:cNvPr>
            <p:cNvSpPr/>
            <p:nvPr/>
          </p:nvSpPr>
          <p:spPr>
            <a:xfrm>
              <a:off x="6781388" y="2848983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8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60" name="Рисунок 144">
            <a:extLst>
              <a:ext uri="{FF2B5EF4-FFF2-40B4-BE49-F238E27FC236}">
                <a16:creationId xmlns:a16="http://schemas.microsoft.com/office/drawing/2014/main" id="{64D31FFE-64C4-4540-9169-64B2D03A6E3D}"/>
              </a:ext>
            </a:extLst>
          </p:cNvPr>
          <p:cNvGrpSpPr/>
          <p:nvPr/>
        </p:nvGrpSpPr>
        <p:grpSpPr>
          <a:xfrm>
            <a:off x="5958953" y="2442261"/>
            <a:ext cx="360000" cy="360000"/>
            <a:chOff x="5981255" y="2758983"/>
            <a:chExt cx="360000" cy="360000"/>
          </a:xfrm>
        </p:grpSpPr>
        <p:sp>
          <p:nvSpPr>
            <p:cNvPr id="661" name="Полилиния 660">
              <a:extLst>
                <a:ext uri="{FF2B5EF4-FFF2-40B4-BE49-F238E27FC236}">
                  <a16:creationId xmlns:a16="http://schemas.microsoft.com/office/drawing/2014/main" id="{01673523-21E7-B349-BA89-08F9C701A838}"/>
                </a:ext>
              </a:extLst>
            </p:cNvPr>
            <p:cNvSpPr/>
            <p:nvPr/>
          </p:nvSpPr>
          <p:spPr>
            <a:xfrm>
              <a:off x="5981255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2" name="Полилиния 661">
              <a:extLst>
                <a:ext uri="{FF2B5EF4-FFF2-40B4-BE49-F238E27FC236}">
                  <a16:creationId xmlns:a16="http://schemas.microsoft.com/office/drawing/2014/main" id="{F8CA3C8F-CD9B-4744-8311-2166E573AF68}"/>
                </a:ext>
              </a:extLst>
            </p:cNvPr>
            <p:cNvSpPr/>
            <p:nvPr/>
          </p:nvSpPr>
          <p:spPr>
            <a:xfrm>
              <a:off x="6146255" y="2833983"/>
              <a:ext cx="150000" cy="150000"/>
            </a:xfrm>
            <a:custGeom>
              <a:avLst/>
              <a:gdLst>
                <a:gd name="connsiteX0" fmla="*/ 150000 w 150000"/>
                <a:gd name="connsiteY0" fmla="*/ 75000 h 150000"/>
                <a:gd name="connsiteX1" fmla="*/ 75000 w 150000"/>
                <a:gd name="connsiteY1" fmla="*/ 150000 h 150000"/>
                <a:gd name="connsiteX2" fmla="*/ 0 w 150000"/>
                <a:gd name="connsiteY2" fmla="*/ 75000 h 150000"/>
                <a:gd name="connsiteX3" fmla="*/ 75000 w 150000"/>
                <a:gd name="connsiteY3" fmla="*/ 0 h 150000"/>
                <a:gd name="connsiteX4" fmla="*/ 150000 w 150000"/>
                <a:gd name="connsiteY4" fmla="*/ 7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000" h="150000">
                  <a:moveTo>
                    <a:pt x="150000" y="75000"/>
                  </a:moveTo>
                  <a:cubicBezTo>
                    <a:pt x="150000" y="116421"/>
                    <a:pt x="116421" y="150000"/>
                    <a:pt x="75000" y="150000"/>
                  </a:cubicBezTo>
                  <a:cubicBezTo>
                    <a:pt x="33579" y="150000"/>
                    <a:pt x="0" y="116421"/>
                    <a:pt x="0" y="75000"/>
                  </a:cubicBezTo>
                  <a:cubicBezTo>
                    <a:pt x="0" y="33579"/>
                    <a:pt x="33579" y="0"/>
                    <a:pt x="75000" y="0"/>
                  </a:cubicBezTo>
                  <a:cubicBezTo>
                    <a:pt x="116421" y="0"/>
                    <a:pt x="150000" y="33579"/>
                    <a:pt x="150000" y="7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3" name="Полилиния 662">
              <a:extLst>
                <a:ext uri="{FF2B5EF4-FFF2-40B4-BE49-F238E27FC236}">
                  <a16:creationId xmlns:a16="http://schemas.microsoft.com/office/drawing/2014/main" id="{45EF5D51-B958-5342-AE4A-D8BC9B804F61}"/>
                </a:ext>
              </a:extLst>
            </p:cNvPr>
            <p:cNvSpPr/>
            <p:nvPr/>
          </p:nvSpPr>
          <p:spPr>
            <a:xfrm>
              <a:off x="6026255" y="2863983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8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64" name="Рисунок 145">
            <a:extLst>
              <a:ext uri="{FF2B5EF4-FFF2-40B4-BE49-F238E27FC236}">
                <a16:creationId xmlns:a16="http://schemas.microsoft.com/office/drawing/2014/main" id="{0DB07698-7307-4A4F-ADC1-4CDD44114821}"/>
              </a:ext>
            </a:extLst>
          </p:cNvPr>
          <p:cNvGrpSpPr/>
          <p:nvPr/>
        </p:nvGrpSpPr>
        <p:grpSpPr>
          <a:xfrm>
            <a:off x="5203820" y="2442261"/>
            <a:ext cx="360000" cy="360000"/>
            <a:chOff x="5226122" y="2758983"/>
            <a:chExt cx="360000" cy="360000"/>
          </a:xfrm>
        </p:grpSpPr>
        <p:sp>
          <p:nvSpPr>
            <p:cNvPr id="665" name="Полилиния 664">
              <a:extLst>
                <a:ext uri="{FF2B5EF4-FFF2-40B4-BE49-F238E27FC236}">
                  <a16:creationId xmlns:a16="http://schemas.microsoft.com/office/drawing/2014/main" id="{E8A565AC-D49B-C342-BC0C-361EDFA8D24A}"/>
                </a:ext>
              </a:extLst>
            </p:cNvPr>
            <p:cNvSpPr/>
            <p:nvPr/>
          </p:nvSpPr>
          <p:spPr>
            <a:xfrm>
              <a:off x="5226122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6" name="Полилиния 665">
              <a:extLst>
                <a:ext uri="{FF2B5EF4-FFF2-40B4-BE49-F238E27FC236}">
                  <a16:creationId xmlns:a16="http://schemas.microsoft.com/office/drawing/2014/main" id="{FD3DDBB4-18E6-F84F-9026-15C14CD0FEF5}"/>
                </a:ext>
              </a:extLst>
            </p:cNvPr>
            <p:cNvSpPr/>
            <p:nvPr/>
          </p:nvSpPr>
          <p:spPr>
            <a:xfrm>
              <a:off x="5271122" y="2788983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9"/>
                    <a:pt x="41207" y="165639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7" name="Полилиния 666">
              <a:extLst>
                <a:ext uri="{FF2B5EF4-FFF2-40B4-BE49-F238E27FC236}">
                  <a16:creationId xmlns:a16="http://schemas.microsoft.com/office/drawing/2014/main" id="{2FF5DD51-88C5-1645-A0B3-338F8A6300E2}"/>
                </a:ext>
              </a:extLst>
            </p:cNvPr>
            <p:cNvSpPr/>
            <p:nvPr/>
          </p:nvSpPr>
          <p:spPr>
            <a:xfrm rot="5400000">
              <a:off x="5352312" y="2989406"/>
              <a:ext cx="105200" cy="104042"/>
            </a:xfrm>
            <a:custGeom>
              <a:avLst/>
              <a:gdLst>
                <a:gd name="connsiteX0" fmla="*/ 37615 w 105200"/>
                <a:gd name="connsiteY0" fmla="*/ 7500 h 104042"/>
                <a:gd name="connsiteX1" fmla="*/ 37615 w 105200"/>
                <a:gd name="connsiteY1" fmla="*/ 36847 h 104042"/>
                <a:gd name="connsiteX2" fmla="*/ 7500 w 105200"/>
                <a:gd name="connsiteY2" fmla="*/ 36847 h 104042"/>
                <a:gd name="connsiteX3" fmla="*/ 0 w 105200"/>
                <a:gd name="connsiteY3" fmla="*/ 44347 h 104042"/>
                <a:gd name="connsiteX4" fmla="*/ 0 w 105200"/>
                <a:gd name="connsiteY4" fmla="*/ 59697 h 104042"/>
                <a:gd name="connsiteX5" fmla="*/ 7500 w 105200"/>
                <a:gd name="connsiteY5" fmla="*/ 67197 h 104042"/>
                <a:gd name="connsiteX6" fmla="*/ 37615 w 105200"/>
                <a:gd name="connsiteY6" fmla="*/ 67197 h 104042"/>
                <a:gd name="connsiteX7" fmla="*/ 37615 w 105200"/>
                <a:gd name="connsiteY7" fmla="*/ 96543 h 104042"/>
                <a:gd name="connsiteX8" fmla="*/ 45115 w 105200"/>
                <a:gd name="connsiteY8" fmla="*/ 104043 h 104042"/>
                <a:gd name="connsiteX9" fmla="*/ 49962 w 105200"/>
                <a:gd name="connsiteY9" fmla="*/ 102267 h 104042"/>
                <a:gd name="connsiteX10" fmla="*/ 102546 w 105200"/>
                <a:gd name="connsiteY10" fmla="*/ 57745 h 104042"/>
                <a:gd name="connsiteX11" fmla="*/ 103423 w 105200"/>
                <a:gd name="connsiteY11" fmla="*/ 47175 h 104042"/>
                <a:gd name="connsiteX12" fmla="*/ 102546 w 105200"/>
                <a:gd name="connsiteY12" fmla="*/ 46297 h 104042"/>
                <a:gd name="connsiteX13" fmla="*/ 49962 w 105200"/>
                <a:gd name="connsiteY13" fmla="*/ 1776 h 104042"/>
                <a:gd name="connsiteX14" fmla="*/ 39391 w 105200"/>
                <a:gd name="connsiteY14" fmla="*/ 2653 h 104042"/>
                <a:gd name="connsiteX15" fmla="*/ 37615 w 105200"/>
                <a:gd name="connsiteY15" fmla="*/ 7500 h 10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200" h="104042">
                  <a:moveTo>
                    <a:pt x="37615" y="7500"/>
                  </a:moveTo>
                  <a:lnTo>
                    <a:pt x="37615" y="36847"/>
                  </a:lnTo>
                  <a:lnTo>
                    <a:pt x="7500" y="36847"/>
                  </a:lnTo>
                  <a:cubicBezTo>
                    <a:pt x="3358" y="36847"/>
                    <a:pt x="0" y="40204"/>
                    <a:pt x="0" y="44347"/>
                  </a:cubicBezTo>
                  <a:lnTo>
                    <a:pt x="0" y="59697"/>
                  </a:lnTo>
                  <a:cubicBezTo>
                    <a:pt x="0" y="63838"/>
                    <a:pt x="3358" y="67197"/>
                    <a:pt x="7500" y="67197"/>
                  </a:cubicBezTo>
                  <a:lnTo>
                    <a:pt x="37615" y="67197"/>
                  </a:lnTo>
                  <a:lnTo>
                    <a:pt x="37615" y="96543"/>
                  </a:lnTo>
                  <a:cubicBezTo>
                    <a:pt x="37615" y="100686"/>
                    <a:pt x="40972" y="104043"/>
                    <a:pt x="45115" y="104043"/>
                  </a:cubicBezTo>
                  <a:cubicBezTo>
                    <a:pt x="46890" y="104043"/>
                    <a:pt x="48607" y="103414"/>
                    <a:pt x="49962" y="102267"/>
                  </a:cubicBezTo>
                  <a:lnTo>
                    <a:pt x="102546" y="57745"/>
                  </a:lnTo>
                  <a:cubicBezTo>
                    <a:pt x="105708" y="55069"/>
                    <a:pt x="106101" y="50337"/>
                    <a:pt x="103423" y="47175"/>
                  </a:cubicBezTo>
                  <a:cubicBezTo>
                    <a:pt x="103156" y="46858"/>
                    <a:pt x="102862" y="46566"/>
                    <a:pt x="102546" y="46297"/>
                  </a:cubicBezTo>
                  <a:lnTo>
                    <a:pt x="49962" y="1776"/>
                  </a:lnTo>
                  <a:cubicBezTo>
                    <a:pt x="46800" y="-900"/>
                    <a:pt x="42067" y="-507"/>
                    <a:pt x="39391" y="2653"/>
                  </a:cubicBezTo>
                  <a:cubicBezTo>
                    <a:pt x="38244" y="4008"/>
                    <a:pt x="37615" y="5725"/>
                    <a:pt x="37615" y="75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68" name="Рисунок 146">
            <a:extLst>
              <a:ext uri="{FF2B5EF4-FFF2-40B4-BE49-F238E27FC236}">
                <a16:creationId xmlns:a16="http://schemas.microsoft.com/office/drawing/2014/main" id="{9623B638-AEA0-6A45-8847-905D15C05486}"/>
              </a:ext>
            </a:extLst>
          </p:cNvPr>
          <p:cNvGrpSpPr/>
          <p:nvPr/>
        </p:nvGrpSpPr>
        <p:grpSpPr>
          <a:xfrm>
            <a:off x="4448687" y="2442261"/>
            <a:ext cx="360000" cy="360000"/>
            <a:chOff x="4470989" y="2758983"/>
            <a:chExt cx="360000" cy="360000"/>
          </a:xfrm>
        </p:grpSpPr>
        <p:sp>
          <p:nvSpPr>
            <p:cNvPr id="669" name="Полилиния 668">
              <a:extLst>
                <a:ext uri="{FF2B5EF4-FFF2-40B4-BE49-F238E27FC236}">
                  <a16:creationId xmlns:a16="http://schemas.microsoft.com/office/drawing/2014/main" id="{29932935-AD8F-214F-AA43-AA6790AC791E}"/>
                </a:ext>
              </a:extLst>
            </p:cNvPr>
            <p:cNvSpPr/>
            <p:nvPr/>
          </p:nvSpPr>
          <p:spPr>
            <a:xfrm>
              <a:off x="4470989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0" name="Полилиния 669">
              <a:extLst>
                <a:ext uri="{FF2B5EF4-FFF2-40B4-BE49-F238E27FC236}">
                  <a16:creationId xmlns:a16="http://schemas.microsoft.com/office/drawing/2014/main" id="{87CD5F22-E1BB-7648-95A6-0BB238628DA9}"/>
                </a:ext>
              </a:extLst>
            </p:cNvPr>
            <p:cNvSpPr/>
            <p:nvPr/>
          </p:nvSpPr>
          <p:spPr>
            <a:xfrm>
              <a:off x="4515989" y="2803983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9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1" name="Полилиния 670">
              <a:extLst>
                <a:ext uri="{FF2B5EF4-FFF2-40B4-BE49-F238E27FC236}">
                  <a16:creationId xmlns:a16="http://schemas.microsoft.com/office/drawing/2014/main" id="{F4749CDC-0D0C-6844-B91D-D0530A968278}"/>
                </a:ext>
              </a:extLst>
            </p:cNvPr>
            <p:cNvSpPr/>
            <p:nvPr/>
          </p:nvSpPr>
          <p:spPr>
            <a:xfrm>
              <a:off x="4530989" y="3013983"/>
              <a:ext cx="255000" cy="75000"/>
            </a:xfrm>
            <a:custGeom>
              <a:avLst/>
              <a:gdLst>
                <a:gd name="connsiteX0" fmla="*/ 7500 w 255000"/>
                <a:gd name="connsiteY0" fmla="*/ 0 h 75000"/>
                <a:gd name="connsiteX1" fmla="*/ 247500 w 255000"/>
                <a:gd name="connsiteY1" fmla="*/ 0 h 75000"/>
                <a:gd name="connsiteX2" fmla="*/ 255000 w 255000"/>
                <a:gd name="connsiteY2" fmla="*/ 7500 h 75000"/>
                <a:gd name="connsiteX3" fmla="*/ 247500 w 255000"/>
                <a:gd name="connsiteY3" fmla="*/ 15000 h 75000"/>
                <a:gd name="connsiteX4" fmla="*/ 7500 w 255000"/>
                <a:gd name="connsiteY4" fmla="*/ 15000 h 75000"/>
                <a:gd name="connsiteX5" fmla="*/ 0 w 255000"/>
                <a:gd name="connsiteY5" fmla="*/ 7500 h 75000"/>
                <a:gd name="connsiteX6" fmla="*/ 7500 w 255000"/>
                <a:gd name="connsiteY6" fmla="*/ 0 h 75000"/>
                <a:gd name="connsiteX7" fmla="*/ 7500 w 255000"/>
                <a:gd name="connsiteY7" fmla="*/ 30000 h 75000"/>
                <a:gd name="connsiteX8" fmla="*/ 67500 w 255000"/>
                <a:gd name="connsiteY8" fmla="*/ 30000 h 75000"/>
                <a:gd name="connsiteX9" fmla="*/ 75000 w 255000"/>
                <a:gd name="connsiteY9" fmla="*/ 37500 h 75000"/>
                <a:gd name="connsiteX10" fmla="*/ 67500 w 255000"/>
                <a:gd name="connsiteY10" fmla="*/ 45000 h 75000"/>
                <a:gd name="connsiteX11" fmla="*/ 7500 w 255000"/>
                <a:gd name="connsiteY11" fmla="*/ 45000 h 75000"/>
                <a:gd name="connsiteX12" fmla="*/ 0 w 255000"/>
                <a:gd name="connsiteY12" fmla="*/ 37500 h 75000"/>
                <a:gd name="connsiteX13" fmla="*/ 7500 w 255000"/>
                <a:gd name="connsiteY13" fmla="*/ 30000 h 75000"/>
                <a:gd name="connsiteX14" fmla="*/ 187500 w 255000"/>
                <a:gd name="connsiteY14" fmla="*/ 60000 h 75000"/>
                <a:gd name="connsiteX15" fmla="*/ 247500 w 255000"/>
                <a:gd name="connsiteY15" fmla="*/ 60000 h 75000"/>
                <a:gd name="connsiteX16" fmla="*/ 255000 w 255000"/>
                <a:gd name="connsiteY16" fmla="*/ 67500 h 75000"/>
                <a:gd name="connsiteX17" fmla="*/ 247500 w 255000"/>
                <a:gd name="connsiteY17" fmla="*/ 75000 h 75000"/>
                <a:gd name="connsiteX18" fmla="*/ 187500 w 255000"/>
                <a:gd name="connsiteY18" fmla="*/ 75000 h 75000"/>
                <a:gd name="connsiteX19" fmla="*/ 180000 w 255000"/>
                <a:gd name="connsiteY19" fmla="*/ 67500 h 75000"/>
                <a:gd name="connsiteX20" fmla="*/ 187500 w 255000"/>
                <a:gd name="connsiteY20" fmla="*/ 60000 h 75000"/>
                <a:gd name="connsiteX21" fmla="*/ 112500 w 255000"/>
                <a:gd name="connsiteY21" fmla="*/ 30000 h 75000"/>
                <a:gd name="connsiteX22" fmla="*/ 247500 w 255000"/>
                <a:gd name="connsiteY22" fmla="*/ 30000 h 75000"/>
                <a:gd name="connsiteX23" fmla="*/ 255000 w 255000"/>
                <a:gd name="connsiteY23" fmla="*/ 37500 h 75000"/>
                <a:gd name="connsiteX24" fmla="*/ 247500 w 255000"/>
                <a:gd name="connsiteY24" fmla="*/ 45000 h 75000"/>
                <a:gd name="connsiteX25" fmla="*/ 112500 w 255000"/>
                <a:gd name="connsiteY25" fmla="*/ 45000 h 75000"/>
                <a:gd name="connsiteX26" fmla="*/ 105000 w 255000"/>
                <a:gd name="connsiteY26" fmla="*/ 37500 h 75000"/>
                <a:gd name="connsiteX27" fmla="*/ 112500 w 255000"/>
                <a:gd name="connsiteY27" fmla="*/ 30000 h 75000"/>
                <a:gd name="connsiteX28" fmla="*/ 7500 w 255000"/>
                <a:gd name="connsiteY28" fmla="*/ 60000 h 75000"/>
                <a:gd name="connsiteX29" fmla="*/ 142500 w 255000"/>
                <a:gd name="connsiteY29" fmla="*/ 60000 h 75000"/>
                <a:gd name="connsiteX30" fmla="*/ 150000 w 255000"/>
                <a:gd name="connsiteY30" fmla="*/ 67500 h 75000"/>
                <a:gd name="connsiteX31" fmla="*/ 142500 w 255000"/>
                <a:gd name="connsiteY31" fmla="*/ 75000 h 75000"/>
                <a:gd name="connsiteX32" fmla="*/ 7500 w 255000"/>
                <a:gd name="connsiteY32" fmla="*/ 75000 h 75000"/>
                <a:gd name="connsiteX33" fmla="*/ 0 w 255000"/>
                <a:gd name="connsiteY33" fmla="*/ 67500 h 75000"/>
                <a:gd name="connsiteX34" fmla="*/ 7500 w 255000"/>
                <a:gd name="connsiteY34" fmla="*/ 600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55000" h="75000">
                  <a:moveTo>
                    <a:pt x="7500" y="0"/>
                  </a:moveTo>
                  <a:lnTo>
                    <a:pt x="247500" y="0"/>
                  </a:lnTo>
                  <a:cubicBezTo>
                    <a:pt x="251642" y="0"/>
                    <a:pt x="255000" y="3358"/>
                    <a:pt x="255000" y="7500"/>
                  </a:cubicBezTo>
                  <a:cubicBezTo>
                    <a:pt x="255000" y="11642"/>
                    <a:pt x="251642" y="15000"/>
                    <a:pt x="247500" y="15000"/>
                  </a:cubicBezTo>
                  <a:lnTo>
                    <a:pt x="7500" y="15000"/>
                  </a:lnTo>
                  <a:cubicBezTo>
                    <a:pt x="3358" y="15000"/>
                    <a:pt x="0" y="11642"/>
                    <a:pt x="0" y="7500"/>
                  </a:cubicBezTo>
                  <a:cubicBezTo>
                    <a:pt x="0" y="3358"/>
                    <a:pt x="3358" y="0"/>
                    <a:pt x="7500" y="0"/>
                  </a:cubicBezTo>
                  <a:close/>
                  <a:moveTo>
                    <a:pt x="7500" y="30000"/>
                  </a:moveTo>
                  <a:lnTo>
                    <a:pt x="67500" y="30000"/>
                  </a:lnTo>
                  <a:cubicBezTo>
                    <a:pt x="71642" y="30000"/>
                    <a:pt x="75000" y="33358"/>
                    <a:pt x="75000" y="37500"/>
                  </a:cubicBezTo>
                  <a:cubicBezTo>
                    <a:pt x="75000" y="41642"/>
                    <a:pt x="71642" y="45000"/>
                    <a:pt x="67500" y="45000"/>
                  </a:cubicBezTo>
                  <a:lnTo>
                    <a:pt x="7500" y="45000"/>
                  </a:lnTo>
                  <a:cubicBezTo>
                    <a:pt x="3358" y="45000"/>
                    <a:pt x="0" y="41642"/>
                    <a:pt x="0" y="37500"/>
                  </a:cubicBezTo>
                  <a:cubicBezTo>
                    <a:pt x="0" y="33358"/>
                    <a:pt x="3358" y="30000"/>
                    <a:pt x="7500" y="30000"/>
                  </a:cubicBezTo>
                  <a:close/>
                  <a:moveTo>
                    <a:pt x="187500" y="60000"/>
                  </a:moveTo>
                  <a:lnTo>
                    <a:pt x="247500" y="60000"/>
                  </a:lnTo>
                  <a:cubicBezTo>
                    <a:pt x="251642" y="60000"/>
                    <a:pt x="255000" y="63358"/>
                    <a:pt x="255000" y="67500"/>
                  </a:cubicBezTo>
                  <a:cubicBezTo>
                    <a:pt x="255000" y="71642"/>
                    <a:pt x="251642" y="75000"/>
                    <a:pt x="247500" y="75000"/>
                  </a:cubicBezTo>
                  <a:lnTo>
                    <a:pt x="187500" y="75000"/>
                  </a:lnTo>
                  <a:cubicBezTo>
                    <a:pt x="183359" y="75000"/>
                    <a:pt x="180000" y="71642"/>
                    <a:pt x="180000" y="67500"/>
                  </a:cubicBezTo>
                  <a:cubicBezTo>
                    <a:pt x="180000" y="63358"/>
                    <a:pt x="183359" y="60000"/>
                    <a:pt x="187500" y="60000"/>
                  </a:cubicBezTo>
                  <a:close/>
                  <a:moveTo>
                    <a:pt x="112500" y="30000"/>
                  </a:moveTo>
                  <a:lnTo>
                    <a:pt x="247500" y="30000"/>
                  </a:lnTo>
                  <a:cubicBezTo>
                    <a:pt x="251642" y="30000"/>
                    <a:pt x="255000" y="33358"/>
                    <a:pt x="255000" y="37500"/>
                  </a:cubicBezTo>
                  <a:cubicBezTo>
                    <a:pt x="255000" y="41642"/>
                    <a:pt x="251642" y="45000"/>
                    <a:pt x="247500" y="45000"/>
                  </a:cubicBezTo>
                  <a:lnTo>
                    <a:pt x="112500" y="45000"/>
                  </a:lnTo>
                  <a:cubicBezTo>
                    <a:pt x="108359" y="45000"/>
                    <a:pt x="105000" y="41642"/>
                    <a:pt x="105000" y="37500"/>
                  </a:cubicBezTo>
                  <a:cubicBezTo>
                    <a:pt x="105000" y="33358"/>
                    <a:pt x="108359" y="30000"/>
                    <a:pt x="112500" y="30000"/>
                  </a:cubicBezTo>
                  <a:close/>
                  <a:moveTo>
                    <a:pt x="7500" y="60000"/>
                  </a:moveTo>
                  <a:lnTo>
                    <a:pt x="142500" y="60000"/>
                  </a:lnTo>
                  <a:cubicBezTo>
                    <a:pt x="146642" y="60000"/>
                    <a:pt x="150000" y="63358"/>
                    <a:pt x="150000" y="67500"/>
                  </a:cubicBezTo>
                  <a:cubicBezTo>
                    <a:pt x="150000" y="71642"/>
                    <a:pt x="146642" y="75000"/>
                    <a:pt x="142500" y="75000"/>
                  </a:cubicBezTo>
                  <a:lnTo>
                    <a:pt x="7500" y="75000"/>
                  </a:lnTo>
                  <a:cubicBezTo>
                    <a:pt x="3358" y="75000"/>
                    <a:pt x="0" y="71642"/>
                    <a:pt x="0" y="67500"/>
                  </a:cubicBezTo>
                  <a:cubicBezTo>
                    <a:pt x="0" y="63358"/>
                    <a:pt x="3358" y="60000"/>
                    <a:pt x="7500" y="6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72" name="Рисунок 147">
            <a:extLst>
              <a:ext uri="{FF2B5EF4-FFF2-40B4-BE49-F238E27FC236}">
                <a16:creationId xmlns:a16="http://schemas.microsoft.com/office/drawing/2014/main" id="{F92D3C4E-24C1-5243-99AF-4BAE392C302F}"/>
              </a:ext>
            </a:extLst>
          </p:cNvPr>
          <p:cNvGrpSpPr/>
          <p:nvPr/>
        </p:nvGrpSpPr>
        <p:grpSpPr>
          <a:xfrm>
            <a:off x="3693554" y="2442261"/>
            <a:ext cx="360000" cy="360000"/>
            <a:chOff x="3715856" y="2758983"/>
            <a:chExt cx="360000" cy="360000"/>
          </a:xfrm>
        </p:grpSpPr>
        <p:sp>
          <p:nvSpPr>
            <p:cNvPr id="673" name="Полилиния 672">
              <a:extLst>
                <a:ext uri="{FF2B5EF4-FFF2-40B4-BE49-F238E27FC236}">
                  <a16:creationId xmlns:a16="http://schemas.microsoft.com/office/drawing/2014/main" id="{60528BBC-DF5B-7440-AFA6-2A0A401B88B3}"/>
                </a:ext>
              </a:extLst>
            </p:cNvPr>
            <p:cNvSpPr/>
            <p:nvPr/>
          </p:nvSpPr>
          <p:spPr>
            <a:xfrm>
              <a:off x="3715856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4" name="Полилиния 673">
              <a:extLst>
                <a:ext uri="{FF2B5EF4-FFF2-40B4-BE49-F238E27FC236}">
                  <a16:creationId xmlns:a16="http://schemas.microsoft.com/office/drawing/2014/main" id="{2E9C8001-A985-3040-BBED-BB7861F01034}"/>
                </a:ext>
              </a:extLst>
            </p:cNvPr>
            <p:cNvSpPr/>
            <p:nvPr/>
          </p:nvSpPr>
          <p:spPr>
            <a:xfrm>
              <a:off x="3796425" y="2781483"/>
              <a:ext cx="271930" cy="217500"/>
            </a:xfrm>
            <a:custGeom>
              <a:avLst/>
              <a:gdLst>
                <a:gd name="connsiteX0" fmla="*/ 114430 w 271930"/>
                <a:gd name="connsiteY0" fmla="*/ 217500 h 217500"/>
                <a:gd name="connsiteX1" fmla="*/ 54430 w 271930"/>
                <a:gd name="connsiteY1" fmla="*/ 157500 h 217500"/>
                <a:gd name="connsiteX2" fmla="*/ 114430 w 271930"/>
                <a:gd name="connsiteY2" fmla="*/ 97500 h 217500"/>
                <a:gd name="connsiteX3" fmla="*/ 174430 w 271930"/>
                <a:gd name="connsiteY3" fmla="*/ 157500 h 217500"/>
                <a:gd name="connsiteX4" fmla="*/ 114430 w 271930"/>
                <a:gd name="connsiteY4" fmla="*/ 217500 h 217500"/>
                <a:gd name="connsiteX5" fmla="*/ 226930 w 271930"/>
                <a:gd name="connsiteY5" fmla="*/ 135000 h 217500"/>
                <a:gd name="connsiteX6" fmla="*/ 249430 w 271930"/>
                <a:gd name="connsiteY6" fmla="*/ 135000 h 217500"/>
                <a:gd name="connsiteX7" fmla="*/ 271930 w 271930"/>
                <a:gd name="connsiteY7" fmla="*/ 157500 h 217500"/>
                <a:gd name="connsiteX8" fmla="*/ 249430 w 271930"/>
                <a:gd name="connsiteY8" fmla="*/ 180000 h 217500"/>
                <a:gd name="connsiteX9" fmla="*/ 226930 w 271930"/>
                <a:gd name="connsiteY9" fmla="*/ 180000 h 217500"/>
                <a:gd name="connsiteX10" fmla="*/ 204430 w 271930"/>
                <a:gd name="connsiteY10" fmla="*/ 157500 h 217500"/>
                <a:gd name="connsiteX11" fmla="*/ 226930 w 271930"/>
                <a:gd name="connsiteY11" fmla="*/ 135000 h 217500"/>
                <a:gd name="connsiteX12" fmla="*/ 175341 w 271930"/>
                <a:gd name="connsiteY12" fmla="*/ 65570 h 217500"/>
                <a:gd name="connsiteX13" fmla="*/ 191250 w 271930"/>
                <a:gd name="connsiteY13" fmla="*/ 49660 h 217500"/>
                <a:gd name="connsiteX14" fmla="*/ 223069 w 271930"/>
                <a:gd name="connsiteY14" fmla="*/ 49660 h 217500"/>
                <a:gd name="connsiteX15" fmla="*/ 223069 w 271930"/>
                <a:gd name="connsiteY15" fmla="*/ 81480 h 217500"/>
                <a:gd name="connsiteX16" fmla="*/ 207160 w 271930"/>
                <a:gd name="connsiteY16" fmla="*/ 97390 h 217500"/>
                <a:gd name="connsiteX17" fmla="*/ 175341 w 271930"/>
                <a:gd name="connsiteY17" fmla="*/ 97390 h 217500"/>
                <a:gd name="connsiteX18" fmla="*/ 175341 w 271930"/>
                <a:gd name="connsiteY18" fmla="*/ 65570 h 217500"/>
                <a:gd name="connsiteX19" fmla="*/ 114430 w 271930"/>
                <a:gd name="connsiteY19" fmla="*/ 0 h 217500"/>
                <a:gd name="connsiteX20" fmla="*/ 136930 w 271930"/>
                <a:gd name="connsiteY20" fmla="*/ 22500 h 217500"/>
                <a:gd name="connsiteX21" fmla="*/ 136930 w 271930"/>
                <a:gd name="connsiteY21" fmla="*/ 45000 h 217500"/>
                <a:gd name="connsiteX22" fmla="*/ 114430 w 271930"/>
                <a:gd name="connsiteY22" fmla="*/ 67500 h 217500"/>
                <a:gd name="connsiteX23" fmla="*/ 91930 w 271930"/>
                <a:gd name="connsiteY23" fmla="*/ 45000 h 217500"/>
                <a:gd name="connsiteX24" fmla="*/ 91930 w 271930"/>
                <a:gd name="connsiteY24" fmla="*/ 22500 h 217500"/>
                <a:gd name="connsiteX25" fmla="*/ 114430 w 271930"/>
                <a:gd name="connsiteY25" fmla="*/ 0 h 217500"/>
                <a:gd name="connsiteX26" fmla="*/ 6590 w 271930"/>
                <a:gd name="connsiteY26" fmla="*/ 49660 h 217500"/>
                <a:gd name="connsiteX27" fmla="*/ 38410 w 271930"/>
                <a:gd name="connsiteY27" fmla="*/ 49660 h 217500"/>
                <a:gd name="connsiteX28" fmla="*/ 54320 w 271930"/>
                <a:gd name="connsiteY28" fmla="*/ 65570 h 217500"/>
                <a:gd name="connsiteX29" fmla="*/ 54320 w 271930"/>
                <a:gd name="connsiteY29" fmla="*/ 97390 h 217500"/>
                <a:gd name="connsiteX30" fmla="*/ 22500 w 271930"/>
                <a:gd name="connsiteY30" fmla="*/ 97390 h 217500"/>
                <a:gd name="connsiteX31" fmla="*/ 6590 w 271930"/>
                <a:gd name="connsiteY31" fmla="*/ 81480 h 217500"/>
                <a:gd name="connsiteX32" fmla="*/ 6590 w 271930"/>
                <a:gd name="connsiteY32" fmla="*/ 49660 h 2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71930" h="217500">
                  <a:moveTo>
                    <a:pt x="114430" y="217500"/>
                  </a:moveTo>
                  <a:cubicBezTo>
                    <a:pt x="81294" y="217500"/>
                    <a:pt x="54430" y="190637"/>
                    <a:pt x="54430" y="157500"/>
                  </a:cubicBezTo>
                  <a:cubicBezTo>
                    <a:pt x="54430" y="124363"/>
                    <a:pt x="81294" y="97500"/>
                    <a:pt x="114430" y="97500"/>
                  </a:cubicBezTo>
                  <a:cubicBezTo>
                    <a:pt x="147567" y="97500"/>
                    <a:pt x="174430" y="124363"/>
                    <a:pt x="174430" y="157500"/>
                  </a:cubicBezTo>
                  <a:cubicBezTo>
                    <a:pt x="174430" y="190637"/>
                    <a:pt x="147567" y="217500"/>
                    <a:pt x="114430" y="217500"/>
                  </a:cubicBezTo>
                  <a:close/>
                  <a:moveTo>
                    <a:pt x="226930" y="135000"/>
                  </a:moveTo>
                  <a:lnTo>
                    <a:pt x="249430" y="135000"/>
                  </a:lnTo>
                  <a:cubicBezTo>
                    <a:pt x="261856" y="135000"/>
                    <a:pt x="271930" y="145074"/>
                    <a:pt x="271930" y="157500"/>
                  </a:cubicBezTo>
                  <a:cubicBezTo>
                    <a:pt x="271930" y="169926"/>
                    <a:pt x="261856" y="180000"/>
                    <a:pt x="249430" y="180000"/>
                  </a:cubicBezTo>
                  <a:lnTo>
                    <a:pt x="226930" y="180000"/>
                  </a:lnTo>
                  <a:cubicBezTo>
                    <a:pt x="214504" y="180000"/>
                    <a:pt x="204430" y="169926"/>
                    <a:pt x="204430" y="157500"/>
                  </a:cubicBezTo>
                  <a:cubicBezTo>
                    <a:pt x="204430" y="145074"/>
                    <a:pt x="214504" y="135000"/>
                    <a:pt x="226930" y="135000"/>
                  </a:cubicBezTo>
                  <a:close/>
                  <a:moveTo>
                    <a:pt x="175341" y="65570"/>
                  </a:moveTo>
                  <a:lnTo>
                    <a:pt x="191250" y="49660"/>
                  </a:lnTo>
                  <a:cubicBezTo>
                    <a:pt x="200037" y="40873"/>
                    <a:pt x="214284" y="40873"/>
                    <a:pt x="223069" y="49660"/>
                  </a:cubicBezTo>
                  <a:cubicBezTo>
                    <a:pt x="231856" y="58447"/>
                    <a:pt x="231856" y="72693"/>
                    <a:pt x="223069" y="81480"/>
                  </a:cubicBezTo>
                  <a:lnTo>
                    <a:pt x="207160" y="97390"/>
                  </a:lnTo>
                  <a:cubicBezTo>
                    <a:pt x="198373" y="106176"/>
                    <a:pt x="184126" y="106176"/>
                    <a:pt x="175341" y="97390"/>
                  </a:cubicBezTo>
                  <a:cubicBezTo>
                    <a:pt x="166554" y="88603"/>
                    <a:pt x="166554" y="74357"/>
                    <a:pt x="175341" y="65570"/>
                  </a:cubicBezTo>
                  <a:close/>
                  <a:moveTo>
                    <a:pt x="114430" y="0"/>
                  </a:moveTo>
                  <a:cubicBezTo>
                    <a:pt x="126856" y="0"/>
                    <a:pt x="136930" y="10074"/>
                    <a:pt x="136930" y="22500"/>
                  </a:cubicBezTo>
                  <a:lnTo>
                    <a:pt x="136930" y="45000"/>
                  </a:lnTo>
                  <a:cubicBezTo>
                    <a:pt x="136930" y="57426"/>
                    <a:pt x="126856" y="67500"/>
                    <a:pt x="114430" y="67500"/>
                  </a:cubicBezTo>
                  <a:cubicBezTo>
                    <a:pt x="102004" y="67500"/>
                    <a:pt x="91930" y="57426"/>
                    <a:pt x="91930" y="45000"/>
                  </a:cubicBezTo>
                  <a:lnTo>
                    <a:pt x="91930" y="22500"/>
                  </a:lnTo>
                  <a:cubicBezTo>
                    <a:pt x="91930" y="10074"/>
                    <a:pt x="102004" y="0"/>
                    <a:pt x="114430" y="0"/>
                  </a:cubicBezTo>
                  <a:close/>
                  <a:moveTo>
                    <a:pt x="6590" y="49660"/>
                  </a:moveTo>
                  <a:cubicBezTo>
                    <a:pt x="15377" y="40873"/>
                    <a:pt x="29623" y="40873"/>
                    <a:pt x="38410" y="49660"/>
                  </a:cubicBezTo>
                  <a:lnTo>
                    <a:pt x="54320" y="65570"/>
                  </a:lnTo>
                  <a:cubicBezTo>
                    <a:pt x="63107" y="74357"/>
                    <a:pt x="63107" y="88603"/>
                    <a:pt x="54320" y="97390"/>
                  </a:cubicBezTo>
                  <a:cubicBezTo>
                    <a:pt x="45533" y="106176"/>
                    <a:pt x="31287" y="106176"/>
                    <a:pt x="22500" y="97390"/>
                  </a:cubicBezTo>
                  <a:lnTo>
                    <a:pt x="6590" y="81480"/>
                  </a:lnTo>
                  <a:cubicBezTo>
                    <a:pt x="-2197" y="72693"/>
                    <a:pt x="-2197" y="58447"/>
                    <a:pt x="6590" y="4966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5" name="Полилиния 674">
              <a:extLst>
                <a:ext uri="{FF2B5EF4-FFF2-40B4-BE49-F238E27FC236}">
                  <a16:creationId xmlns:a16="http://schemas.microsoft.com/office/drawing/2014/main" id="{34A21B83-E679-3A4C-A98E-030973A92659}"/>
                </a:ext>
              </a:extLst>
            </p:cNvPr>
            <p:cNvSpPr/>
            <p:nvPr/>
          </p:nvSpPr>
          <p:spPr>
            <a:xfrm>
              <a:off x="3745856" y="2893983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5"/>
                    <a:pt x="40294" y="0"/>
                    <a:pt x="90000" y="0"/>
                  </a:cubicBezTo>
                  <a:cubicBezTo>
                    <a:pt x="131937" y="0"/>
                    <a:pt x="167174" y="28683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8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76" name="Рисунок 148">
            <a:extLst>
              <a:ext uri="{FF2B5EF4-FFF2-40B4-BE49-F238E27FC236}">
                <a16:creationId xmlns:a16="http://schemas.microsoft.com/office/drawing/2014/main" id="{3BC28543-50D6-1241-9CAA-E70DBC84E378}"/>
              </a:ext>
            </a:extLst>
          </p:cNvPr>
          <p:cNvGrpSpPr/>
          <p:nvPr/>
        </p:nvGrpSpPr>
        <p:grpSpPr>
          <a:xfrm>
            <a:off x="2938421" y="2442261"/>
            <a:ext cx="360000" cy="360000"/>
            <a:chOff x="2960723" y="2758983"/>
            <a:chExt cx="360000" cy="360000"/>
          </a:xfrm>
        </p:grpSpPr>
        <p:sp>
          <p:nvSpPr>
            <p:cNvPr id="677" name="Полилиния 676">
              <a:extLst>
                <a:ext uri="{FF2B5EF4-FFF2-40B4-BE49-F238E27FC236}">
                  <a16:creationId xmlns:a16="http://schemas.microsoft.com/office/drawing/2014/main" id="{4CE7C33D-FF4B-994B-97C3-381CC00754A8}"/>
                </a:ext>
              </a:extLst>
            </p:cNvPr>
            <p:cNvSpPr/>
            <p:nvPr/>
          </p:nvSpPr>
          <p:spPr>
            <a:xfrm>
              <a:off x="2960723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8" name="Полилиния 677">
              <a:extLst>
                <a:ext uri="{FF2B5EF4-FFF2-40B4-BE49-F238E27FC236}">
                  <a16:creationId xmlns:a16="http://schemas.microsoft.com/office/drawing/2014/main" id="{AAE12FB5-A6E9-BC47-BA28-06EB3FE2B853}"/>
                </a:ext>
              </a:extLst>
            </p:cNvPr>
            <p:cNvSpPr/>
            <p:nvPr/>
          </p:nvSpPr>
          <p:spPr>
            <a:xfrm>
              <a:off x="3005723" y="2788983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9"/>
                    <a:pt x="41207" y="165639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9" name="Полилиния 678">
              <a:extLst>
                <a:ext uri="{FF2B5EF4-FFF2-40B4-BE49-F238E27FC236}">
                  <a16:creationId xmlns:a16="http://schemas.microsoft.com/office/drawing/2014/main" id="{F6BD4A4C-E499-1A46-9AA8-E1E11498628C}"/>
                </a:ext>
              </a:extLst>
            </p:cNvPr>
            <p:cNvSpPr/>
            <p:nvPr/>
          </p:nvSpPr>
          <p:spPr>
            <a:xfrm rot="-5400000">
              <a:off x="3088122" y="2984361"/>
              <a:ext cx="105200" cy="104042"/>
            </a:xfrm>
            <a:custGeom>
              <a:avLst/>
              <a:gdLst>
                <a:gd name="connsiteX0" fmla="*/ 37615 w 105200"/>
                <a:gd name="connsiteY0" fmla="*/ 7500 h 104042"/>
                <a:gd name="connsiteX1" fmla="*/ 37615 w 105200"/>
                <a:gd name="connsiteY1" fmla="*/ 36847 h 104042"/>
                <a:gd name="connsiteX2" fmla="*/ 7500 w 105200"/>
                <a:gd name="connsiteY2" fmla="*/ 36847 h 104042"/>
                <a:gd name="connsiteX3" fmla="*/ 0 w 105200"/>
                <a:gd name="connsiteY3" fmla="*/ 44347 h 104042"/>
                <a:gd name="connsiteX4" fmla="*/ 0 w 105200"/>
                <a:gd name="connsiteY4" fmla="*/ 59697 h 104042"/>
                <a:gd name="connsiteX5" fmla="*/ 7500 w 105200"/>
                <a:gd name="connsiteY5" fmla="*/ 67197 h 104042"/>
                <a:gd name="connsiteX6" fmla="*/ 37615 w 105200"/>
                <a:gd name="connsiteY6" fmla="*/ 67197 h 104042"/>
                <a:gd name="connsiteX7" fmla="*/ 37615 w 105200"/>
                <a:gd name="connsiteY7" fmla="*/ 96543 h 104042"/>
                <a:gd name="connsiteX8" fmla="*/ 45115 w 105200"/>
                <a:gd name="connsiteY8" fmla="*/ 104043 h 104042"/>
                <a:gd name="connsiteX9" fmla="*/ 49962 w 105200"/>
                <a:gd name="connsiteY9" fmla="*/ 102267 h 104042"/>
                <a:gd name="connsiteX10" fmla="*/ 102546 w 105200"/>
                <a:gd name="connsiteY10" fmla="*/ 57745 h 104042"/>
                <a:gd name="connsiteX11" fmla="*/ 103423 w 105200"/>
                <a:gd name="connsiteY11" fmla="*/ 47175 h 104042"/>
                <a:gd name="connsiteX12" fmla="*/ 102546 w 105200"/>
                <a:gd name="connsiteY12" fmla="*/ 46297 h 104042"/>
                <a:gd name="connsiteX13" fmla="*/ 49962 w 105200"/>
                <a:gd name="connsiteY13" fmla="*/ 1776 h 104042"/>
                <a:gd name="connsiteX14" fmla="*/ 39391 w 105200"/>
                <a:gd name="connsiteY14" fmla="*/ 2653 h 104042"/>
                <a:gd name="connsiteX15" fmla="*/ 37615 w 105200"/>
                <a:gd name="connsiteY15" fmla="*/ 7500 h 10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200" h="104042">
                  <a:moveTo>
                    <a:pt x="37615" y="7500"/>
                  </a:moveTo>
                  <a:lnTo>
                    <a:pt x="37615" y="36847"/>
                  </a:lnTo>
                  <a:lnTo>
                    <a:pt x="7500" y="36847"/>
                  </a:lnTo>
                  <a:cubicBezTo>
                    <a:pt x="3358" y="36847"/>
                    <a:pt x="0" y="40204"/>
                    <a:pt x="0" y="44347"/>
                  </a:cubicBezTo>
                  <a:lnTo>
                    <a:pt x="0" y="59697"/>
                  </a:lnTo>
                  <a:cubicBezTo>
                    <a:pt x="0" y="63838"/>
                    <a:pt x="3358" y="67197"/>
                    <a:pt x="7500" y="67197"/>
                  </a:cubicBezTo>
                  <a:lnTo>
                    <a:pt x="37615" y="67197"/>
                  </a:lnTo>
                  <a:lnTo>
                    <a:pt x="37615" y="96543"/>
                  </a:lnTo>
                  <a:cubicBezTo>
                    <a:pt x="37615" y="100686"/>
                    <a:pt x="40972" y="104043"/>
                    <a:pt x="45115" y="104043"/>
                  </a:cubicBezTo>
                  <a:cubicBezTo>
                    <a:pt x="46890" y="104043"/>
                    <a:pt x="48607" y="103414"/>
                    <a:pt x="49962" y="102267"/>
                  </a:cubicBezTo>
                  <a:lnTo>
                    <a:pt x="102546" y="57745"/>
                  </a:lnTo>
                  <a:cubicBezTo>
                    <a:pt x="105708" y="55069"/>
                    <a:pt x="106101" y="50337"/>
                    <a:pt x="103423" y="47175"/>
                  </a:cubicBezTo>
                  <a:cubicBezTo>
                    <a:pt x="103156" y="46858"/>
                    <a:pt x="102862" y="46566"/>
                    <a:pt x="102546" y="46297"/>
                  </a:cubicBezTo>
                  <a:lnTo>
                    <a:pt x="49962" y="1776"/>
                  </a:lnTo>
                  <a:cubicBezTo>
                    <a:pt x="46800" y="-900"/>
                    <a:pt x="42067" y="-507"/>
                    <a:pt x="39391" y="2653"/>
                  </a:cubicBezTo>
                  <a:cubicBezTo>
                    <a:pt x="38244" y="4008"/>
                    <a:pt x="37615" y="5725"/>
                    <a:pt x="37615" y="75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80" name="Рисунок 149">
            <a:extLst>
              <a:ext uri="{FF2B5EF4-FFF2-40B4-BE49-F238E27FC236}">
                <a16:creationId xmlns:a16="http://schemas.microsoft.com/office/drawing/2014/main" id="{F5D5A73C-AD00-F048-9A94-040ADC0BB28F}"/>
              </a:ext>
            </a:extLst>
          </p:cNvPr>
          <p:cNvGrpSpPr/>
          <p:nvPr/>
        </p:nvGrpSpPr>
        <p:grpSpPr>
          <a:xfrm>
            <a:off x="2183288" y="2442261"/>
            <a:ext cx="360000" cy="360000"/>
            <a:chOff x="2205590" y="2758983"/>
            <a:chExt cx="360000" cy="360000"/>
          </a:xfrm>
        </p:grpSpPr>
        <p:sp>
          <p:nvSpPr>
            <p:cNvPr id="681" name="Полилиния 680">
              <a:extLst>
                <a:ext uri="{FF2B5EF4-FFF2-40B4-BE49-F238E27FC236}">
                  <a16:creationId xmlns:a16="http://schemas.microsoft.com/office/drawing/2014/main" id="{8658194B-41CE-5A45-8FAE-DAF22CB788E0}"/>
                </a:ext>
              </a:extLst>
            </p:cNvPr>
            <p:cNvSpPr/>
            <p:nvPr/>
          </p:nvSpPr>
          <p:spPr>
            <a:xfrm>
              <a:off x="2205590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2" name="Полилиния 681">
              <a:extLst>
                <a:ext uri="{FF2B5EF4-FFF2-40B4-BE49-F238E27FC236}">
                  <a16:creationId xmlns:a16="http://schemas.microsoft.com/office/drawing/2014/main" id="{C115C25A-5B6F-DA41-A65B-D5CE73888D97}"/>
                </a:ext>
              </a:extLst>
            </p:cNvPr>
            <p:cNvSpPr/>
            <p:nvPr/>
          </p:nvSpPr>
          <p:spPr>
            <a:xfrm>
              <a:off x="2250590" y="2758983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1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9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3" name="Полилиния 682">
              <a:extLst>
                <a:ext uri="{FF2B5EF4-FFF2-40B4-BE49-F238E27FC236}">
                  <a16:creationId xmlns:a16="http://schemas.microsoft.com/office/drawing/2014/main" id="{52B4CB63-2D77-7F45-AFC3-09888823DF71}"/>
                </a:ext>
              </a:extLst>
            </p:cNvPr>
            <p:cNvSpPr/>
            <p:nvPr/>
          </p:nvSpPr>
          <p:spPr>
            <a:xfrm flipV="1">
              <a:off x="2265590" y="2968983"/>
              <a:ext cx="255000" cy="105000"/>
            </a:xfrm>
            <a:custGeom>
              <a:avLst/>
              <a:gdLst>
                <a:gd name="connsiteX0" fmla="*/ 0 w 255000"/>
                <a:gd name="connsiteY0" fmla="*/ 105000 h 105000"/>
                <a:gd name="connsiteX1" fmla="*/ 0 w 255000"/>
                <a:gd name="connsiteY1" fmla="*/ 75000 h 105000"/>
                <a:gd name="connsiteX2" fmla="*/ 202500 w 255000"/>
                <a:gd name="connsiteY2" fmla="*/ 75000 h 105000"/>
                <a:gd name="connsiteX3" fmla="*/ 225000 w 255000"/>
                <a:gd name="connsiteY3" fmla="*/ 52500 h 105000"/>
                <a:gd name="connsiteX4" fmla="*/ 225000 w 255000"/>
                <a:gd name="connsiteY4" fmla="*/ 45000 h 105000"/>
                <a:gd name="connsiteX5" fmla="*/ 210000 w 255000"/>
                <a:gd name="connsiteY5" fmla="*/ 30000 h 105000"/>
                <a:gd name="connsiteX6" fmla="*/ 195000 w 255000"/>
                <a:gd name="connsiteY6" fmla="*/ 45000 h 105000"/>
                <a:gd name="connsiteX7" fmla="*/ 195000 w 255000"/>
                <a:gd name="connsiteY7" fmla="*/ 60000 h 105000"/>
                <a:gd name="connsiteX8" fmla="*/ 165000 w 255000"/>
                <a:gd name="connsiteY8" fmla="*/ 60000 h 105000"/>
                <a:gd name="connsiteX9" fmla="*/ 165000 w 255000"/>
                <a:gd name="connsiteY9" fmla="*/ 45000 h 105000"/>
                <a:gd name="connsiteX10" fmla="*/ 210000 w 255000"/>
                <a:gd name="connsiteY10" fmla="*/ 0 h 105000"/>
                <a:gd name="connsiteX11" fmla="*/ 255000 w 255000"/>
                <a:gd name="connsiteY11" fmla="*/ 45000 h 105000"/>
                <a:gd name="connsiteX12" fmla="*/ 255000 w 255000"/>
                <a:gd name="connsiteY12" fmla="*/ 52500 h 105000"/>
                <a:gd name="connsiteX13" fmla="*/ 202500 w 255000"/>
                <a:gd name="connsiteY13" fmla="*/ 105000 h 105000"/>
                <a:gd name="connsiteX14" fmla="*/ 0 w 255000"/>
                <a:gd name="connsiteY14" fmla="*/ 10500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5000" h="105000">
                  <a:moveTo>
                    <a:pt x="0" y="105000"/>
                  </a:moveTo>
                  <a:lnTo>
                    <a:pt x="0" y="75000"/>
                  </a:lnTo>
                  <a:lnTo>
                    <a:pt x="202500" y="75000"/>
                  </a:lnTo>
                  <a:cubicBezTo>
                    <a:pt x="214926" y="75000"/>
                    <a:pt x="225000" y="64926"/>
                    <a:pt x="225000" y="52500"/>
                  </a:cubicBezTo>
                  <a:lnTo>
                    <a:pt x="225000" y="45000"/>
                  </a:lnTo>
                  <a:cubicBezTo>
                    <a:pt x="225000" y="36716"/>
                    <a:pt x="218285" y="30000"/>
                    <a:pt x="210000" y="30000"/>
                  </a:cubicBezTo>
                  <a:cubicBezTo>
                    <a:pt x="201716" y="30000"/>
                    <a:pt x="195000" y="36716"/>
                    <a:pt x="195000" y="45000"/>
                  </a:cubicBezTo>
                  <a:lnTo>
                    <a:pt x="195000" y="60000"/>
                  </a:lnTo>
                  <a:lnTo>
                    <a:pt x="165000" y="60000"/>
                  </a:lnTo>
                  <a:lnTo>
                    <a:pt x="165000" y="45000"/>
                  </a:lnTo>
                  <a:cubicBezTo>
                    <a:pt x="165000" y="20146"/>
                    <a:pt x="185147" y="0"/>
                    <a:pt x="210000" y="0"/>
                  </a:cubicBezTo>
                  <a:cubicBezTo>
                    <a:pt x="234854" y="0"/>
                    <a:pt x="255000" y="20146"/>
                    <a:pt x="255000" y="45000"/>
                  </a:cubicBezTo>
                  <a:lnTo>
                    <a:pt x="255000" y="52500"/>
                  </a:lnTo>
                  <a:cubicBezTo>
                    <a:pt x="255000" y="81495"/>
                    <a:pt x="231495" y="105000"/>
                    <a:pt x="202500" y="105000"/>
                  </a:cubicBezTo>
                  <a:lnTo>
                    <a:pt x="0" y="10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4" name="Полилиния 683">
              <a:extLst>
                <a:ext uri="{FF2B5EF4-FFF2-40B4-BE49-F238E27FC236}">
                  <a16:creationId xmlns:a16="http://schemas.microsoft.com/office/drawing/2014/main" id="{FD1EFE14-4EB6-A047-A423-7F5686DB1927}"/>
                </a:ext>
              </a:extLst>
            </p:cNvPr>
            <p:cNvSpPr/>
            <p:nvPr/>
          </p:nvSpPr>
          <p:spPr>
            <a:xfrm flipV="1">
              <a:off x="2265590" y="3013983"/>
              <a:ext cx="150000" cy="105000"/>
            </a:xfrm>
            <a:custGeom>
              <a:avLst/>
              <a:gdLst>
                <a:gd name="connsiteX0" fmla="*/ 0 w 150000"/>
                <a:gd name="connsiteY0" fmla="*/ 105000 h 105000"/>
                <a:gd name="connsiteX1" fmla="*/ 0 w 150000"/>
                <a:gd name="connsiteY1" fmla="*/ 75000 h 105000"/>
                <a:gd name="connsiteX2" fmla="*/ 97500 w 150000"/>
                <a:gd name="connsiteY2" fmla="*/ 75000 h 105000"/>
                <a:gd name="connsiteX3" fmla="*/ 120000 w 150000"/>
                <a:gd name="connsiteY3" fmla="*/ 52500 h 105000"/>
                <a:gd name="connsiteX4" fmla="*/ 120000 w 150000"/>
                <a:gd name="connsiteY4" fmla="*/ 45000 h 105000"/>
                <a:gd name="connsiteX5" fmla="*/ 105000 w 150000"/>
                <a:gd name="connsiteY5" fmla="*/ 30000 h 105000"/>
                <a:gd name="connsiteX6" fmla="*/ 90000 w 150000"/>
                <a:gd name="connsiteY6" fmla="*/ 45000 h 105000"/>
                <a:gd name="connsiteX7" fmla="*/ 90000 w 150000"/>
                <a:gd name="connsiteY7" fmla="*/ 60000 h 105000"/>
                <a:gd name="connsiteX8" fmla="*/ 60000 w 150000"/>
                <a:gd name="connsiteY8" fmla="*/ 60000 h 105000"/>
                <a:gd name="connsiteX9" fmla="*/ 60000 w 150000"/>
                <a:gd name="connsiteY9" fmla="*/ 45000 h 105000"/>
                <a:gd name="connsiteX10" fmla="*/ 105000 w 150000"/>
                <a:gd name="connsiteY10" fmla="*/ 0 h 105000"/>
                <a:gd name="connsiteX11" fmla="*/ 150000 w 150000"/>
                <a:gd name="connsiteY11" fmla="*/ 45000 h 105000"/>
                <a:gd name="connsiteX12" fmla="*/ 150000 w 150000"/>
                <a:gd name="connsiteY12" fmla="*/ 52500 h 105000"/>
                <a:gd name="connsiteX13" fmla="*/ 97500 w 150000"/>
                <a:gd name="connsiteY13" fmla="*/ 105000 h 105000"/>
                <a:gd name="connsiteX14" fmla="*/ 0 w 150000"/>
                <a:gd name="connsiteY14" fmla="*/ 10500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0000" h="105000">
                  <a:moveTo>
                    <a:pt x="0" y="105000"/>
                  </a:moveTo>
                  <a:lnTo>
                    <a:pt x="0" y="75000"/>
                  </a:lnTo>
                  <a:lnTo>
                    <a:pt x="97500" y="75000"/>
                  </a:lnTo>
                  <a:cubicBezTo>
                    <a:pt x="109926" y="75000"/>
                    <a:pt x="120000" y="64926"/>
                    <a:pt x="120000" y="52500"/>
                  </a:cubicBezTo>
                  <a:lnTo>
                    <a:pt x="120000" y="45000"/>
                  </a:lnTo>
                  <a:cubicBezTo>
                    <a:pt x="120000" y="36716"/>
                    <a:pt x="113285" y="30000"/>
                    <a:pt x="105000" y="30000"/>
                  </a:cubicBezTo>
                  <a:cubicBezTo>
                    <a:pt x="96715" y="30000"/>
                    <a:pt x="90000" y="36716"/>
                    <a:pt x="90000" y="45000"/>
                  </a:cubicBezTo>
                  <a:lnTo>
                    <a:pt x="90000" y="60000"/>
                  </a:lnTo>
                  <a:lnTo>
                    <a:pt x="60000" y="60000"/>
                  </a:lnTo>
                  <a:lnTo>
                    <a:pt x="60000" y="45000"/>
                  </a:lnTo>
                  <a:cubicBezTo>
                    <a:pt x="60000" y="20146"/>
                    <a:pt x="80147" y="0"/>
                    <a:pt x="105000" y="0"/>
                  </a:cubicBezTo>
                  <a:cubicBezTo>
                    <a:pt x="129854" y="0"/>
                    <a:pt x="150000" y="20146"/>
                    <a:pt x="150000" y="45000"/>
                  </a:cubicBezTo>
                  <a:lnTo>
                    <a:pt x="150000" y="52500"/>
                  </a:lnTo>
                  <a:cubicBezTo>
                    <a:pt x="150000" y="81495"/>
                    <a:pt x="126495" y="105000"/>
                    <a:pt x="97500" y="105000"/>
                  </a:cubicBezTo>
                  <a:lnTo>
                    <a:pt x="0" y="10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85" name="Рисунок 150">
            <a:extLst>
              <a:ext uri="{FF2B5EF4-FFF2-40B4-BE49-F238E27FC236}">
                <a16:creationId xmlns:a16="http://schemas.microsoft.com/office/drawing/2014/main" id="{B6767823-265F-8C49-9849-3117C6AADF85}"/>
              </a:ext>
            </a:extLst>
          </p:cNvPr>
          <p:cNvGrpSpPr/>
          <p:nvPr/>
        </p:nvGrpSpPr>
        <p:grpSpPr>
          <a:xfrm>
            <a:off x="1428155" y="2442261"/>
            <a:ext cx="360000" cy="360000"/>
            <a:chOff x="1450457" y="2758983"/>
            <a:chExt cx="360000" cy="360000"/>
          </a:xfrm>
        </p:grpSpPr>
        <p:sp>
          <p:nvSpPr>
            <p:cNvPr id="686" name="Полилиния 685">
              <a:extLst>
                <a:ext uri="{FF2B5EF4-FFF2-40B4-BE49-F238E27FC236}">
                  <a16:creationId xmlns:a16="http://schemas.microsoft.com/office/drawing/2014/main" id="{857366D8-9C92-E940-A579-C2C6F77C971A}"/>
                </a:ext>
              </a:extLst>
            </p:cNvPr>
            <p:cNvSpPr/>
            <p:nvPr/>
          </p:nvSpPr>
          <p:spPr>
            <a:xfrm>
              <a:off x="1450457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7" name="Полилиния 686">
              <a:extLst>
                <a:ext uri="{FF2B5EF4-FFF2-40B4-BE49-F238E27FC236}">
                  <a16:creationId xmlns:a16="http://schemas.microsoft.com/office/drawing/2014/main" id="{E66DF17E-8840-8746-A851-291A5CB57F0F}"/>
                </a:ext>
              </a:extLst>
            </p:cNvPr>
            <p:cNvSpPr/>
            <p:nvPr/>
          </p:nvSpPr>
          <p:spPr>
            <a:xfrm>
              <a:off x="1525457" y="2818983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3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9"/>
                    <a:pt x="41207" y="165639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8" name="Полилиния 687">
              <a:extLst>
                <a:ext uri="{FF2B5EF4-FFF2-40B4-BE49-F238E27FC236}">
                  <a16:creationId xmlns:a16="http://schemas.microsoft.com/office/drawing/2014/main" id="{799A5D8E-D1EF-F449-9221-99F51ECDC095}"/>
                </a:ext>
              </a:extLst>
            </p:cNvPr>
            <p:cNvSpPr/>
            <p:nvPr/>
          </p:nvSpPr>
          <p:spPr>
            <a:xfrm>
              <a:off x="1465457" y="2878983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5"/>
                    <a:pt x="40294" y="0"/>
                    <a:pt x="90000" y="0"/>
                  </a:cubicBezTo>
                  <a:cubicBezTo>
                    <a:pt x="131936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8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89" name="Рисунок 151">
            <a:extLst>
              <a:ext uri="{FF2B5EF4-FFF2-40B4-BE49-F238E27FC236}">
                <a16:creationId xmlns:a16="http://schemas.microsoft.com/office/drawing/2014/main" id="{83FCBF5D-900B-1148-A423-9DB7E5E2E462}"/>
              </a:ext>
            </a:extLst>
          </p:cNvPr>
          <p:cNvGrpSpPr/>
          <p:nvPr/>
        </p:nvGrpSpPr>
        <p:grpSpPr>
          <a:xfrm>
            <a:off x="673022" y="2442261"/>
            <a:ext cx="360000" cy="360000"/>
            <a:chOff x="695324" y="2758983"/>
            <a:chExt cx="360000" cy="360000"/>
          </a:xfrm>
        </p:grpSpPr>
        <p:sp>
          <p:nvSpPr>
            <p:cNvPr id="690" name="Полилиния 689">
              <a:extLst>
                <a:ext uri="{FF2B5EF4-FFF2-40B4-BE49-F238E27FC236}">
                  <a16:creationId xmlns:a16="http://schemas.microsoft.com/office/drawing/2014/main" id="{BB93CFFB-201B-C043-8097-CFCEBD885DDA}"/>
                </a:ext>
              </a:extLst>
            </p:cNvPr>
            <p:cNvSpPr/>
            <p:nvPr/>
          </p:nvSpPr>
          <p:spPr>
            <a:xfrm>
              <a:off x="695324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1" name="Полилиния 690">
              <a:extLst>
                <a:ext uri="{FF2B5EF4-FFF2-40B4-BE49-F238E27FC236}">
                  <a16:creationId xmlns:a16="http://schemas.microsoft.com/office/drawing/2014/main" id="{8BB4BC0D-A55C-7B4E-836A-BA4796303856}"/>
                </a:ext>
              </a:extLst>
            </p:cNvPr>
            <p:cNvSpPr/>
            <p:nvPr/>
          </p:nvSpPr>
          <p:spPr>
            <a:xfrm rot="-1260001">
              <a:off x="890345" y="2804100"/>
              <a:ext cx="139967" cy="149999"/>
            </a:xfrm>
            <a:custGeom>
              <a:avLst/>
              <a:gdLst>
                <a:gd name="connsiteX0" fmla="*/ 75657 w 139967"/>
                <a:gd name="connsiteY0" fmla="*/ 3 h 149999"/>
                <a:gd name="connsiteX1" fmla="*/ 65625 w 139967"/>
                <a:gd name="connsiteY1" fmla="*/ 37500 h 149999"/>
                <a:gd name="connsiteX2" fmla="*/ 139968 w 139967"/>
                <a:gd name="connsiteY2" fmla="*/ 112497 h 149999"/>
                <a:gd name="connsiteX3" fmla="*/ 75000 w 139967"/>
                <a:gd name="connsiteY3" fmla="*/ 150000 h 149999"/>
                <a:gd name="connsiteX4" fmla="*/ 0 w 139967"/>
                <a:gd name="connsiteY4" fmla="*/ 75000 h 149999"/>
                <a:gd name="connsiteX5" fmla="*/ 75000 w 139967"/>
                <a:gd name="connsiteY5" fmla="*/ 0 h 149999"/>
                <a:gd name="connsiteX6" fmla="*/ 75657 w 139967"/>
                <a:gd name="connsiteY6" fmla="*/ 3 h 14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967" h="149999">
                  <a:moveTo>
                    <a:pt x="75657" y="3"/>
                  </a:moveTo>
                  <a:cubicBezTo>
                    <a:pt x="69276" y="11034"/>
                    <a:pt x="65625" y="23840"/>
                    <a:pt x="65625" y="37500"/>
                  </a:cubicBezTo>
                  <a:cubicBezTo>
                    <a:pt x="65625" y="78702"/>
                    <a:pt x="98848" y="112144"/>
                    <a:pt x="139968" y="112497"/>
                  </a:cubicBezTo>
                  <a:cubicBezTo>
                    <a:pt x="127000" y="134916"/>
                    <a:pt x="102762" y="150000"/>
                    <a:pt x="75000" y="150000"/>
                  </a:cubicBezTo>
                  <a:cubicBezTo>
                    <a:pt x="33579" y="150000"/>
                    <a:pt x="0" y="116421"/>
                    <a:pt x="0" y="75000"/>
                  </a:cubicBezTo>
                  <a:cubicBezTo>
                    <a:pt x="0" y="33579"/>
                    <a:pt x="33579" y="0"/>
                    <a:pt x="75000" y="0"/>
                  </a:cubicBezTo>
                  <a:cubicBezTo>
                    <a:pt x="75219" y="0"/>
                    <a:pt x="75438" y="1"/>
                    <a:pt x="75657" y="3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2" name="Полилиния 691">
              <a:extLst>
                <a:ext uri="{FF2B5EF4-FFF2-40B4-BE49-F238E27FC236}">
                  <a16:creationId xmlns:a16="http://schemas.microsoft.com/office/drawing/2014/main" id="{A07FBC3F-44D1-BD40-9485-F986966DE293}"/>
                </a:ext>
              </a:extLst>
            </p:cNvPr>
            <p:cNvSpPr/>
            <p:nvPr/>
          </p:nvSpPr>
          <p:spPr>
            <a:xfrm>
              <a:off x="740324" y="2863983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8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93" name="Рисунок 152">
            <a:extLst>
              <a:ext uri="{FF2B5EF4-FFF2-40B4-BE49-F238E27FC236}">
                <a16:creationId xmlns:a16="http://schemas.microsoft.com/office/drawing/2014/main" id="{8C5FAE7A-8DA4-DC41-93FA-F79E87433596}"/>
              </a:ext>
            </a:extLst>
          </p:cNvPr>
          <p:cNvGrpSpPr/>
          <p:nvPr/>
        </p:nvGrpSpPr>
        <p:grpSpPr>
          <a:xfrm>
            <a:off x="11244886" y="1769207"/>
            <a:ext cx="360000" cy="360000"/>
            <a:chOff x="11267188" y="2085929"/>
            <a:chExt cx="360000" cy="360000"/>
          </a:xfrm>
        </p:grpSpPr>
        <p:sp>
          <p:nvSpPr>
            <p:cNvPr id="694" name="Полилиния 693">
              <a:extLst>
                <a:ext uri="{FF2B5EF4-FFF2-40B4-BE49-F238E27FC236}">
                  <a16:creationId xmlns:a16="http://schemas.microsoft.com/office/drawing/2014/main" id="{C4381844-3B88-CB4B-8BEB-5D5AC3368061}"/>
                </a:ext>
              </a:extLst>
            </p:cNvPr>
            <p:cNvSpPr/>
            <p:nvPr/>
          </p:nvSpPr>
          <p:spPr>
            <a:xfrm>
              <a:off x="11267188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5" name="Полилиния 694">
              <a:extLst>
                <a:ext uri="{FF2B5EF4-FFF2-40B4-BE49-F238E27FC236}">
                  <a16:creationId xmlns:a16="http://schemas.microsoft.com/office/drawing/2014/main" id="{54055BCC-B70C-FA43-BCB8-A12DCFD75F80}"/>
                </a:ext>
              </a:extLst>
            </p:cNvPr>
            <p:cNvSpPr/>
            <p:nvPr/>
          </p:nvSpPr>
          <p:spPr>
            <a:xfrm>
              <a:off x="11327188" y="2145929"/>
              <a:ext cx="240000" cy="240000"/>
            </a:xfrm>
            <a:custGeom>
              <a:avLst/>
              <a:gdLst>
                <a:gd name="connsiteX0" fmla="*/ 75000 w 240000"/>
                <a:gd name="connsiteY0" fmla="*/ 165000 h 240000"/>
                <a:gd name="connsiteX1" fmla="*/ 52500 w 240000"/>
                <a:gd name="connsiteY1" fmla="*/ 165000 h 240000"/>
                <a:gd name="connsiteX2" fmla="*/ 30000 w 240000"/>
                <a:gd name="connsiteY2" fmla="*/ 187500 h 240000"/>
                <a:gd name="connsiteX3" fmla="*/ 52500 w 240000"/>
                <a:gd name="connsiteY3" fmla="*/ 210000 h 240000"/>
                <a:gd name="connsiteX4" fmla="*/ 75000 w 240000"/>
                <a:gd name="connsiteY4" fmla="*/ 187500 h 240000"/>
                <a:gd name="connsiteX5" fmla="*/ 75000 w 240000"/>
                <a:gd name="connsiteY5" fmla="*/ 165000 h 240000"/>
                <a:gd name="connsiteX6" fmla="*/ 75000 w 240000"/>
                <a:gd name="connsiteY6" fmla="*/ 165000 h 240000"/>
                <a:gd name="connsiteX7" fmla="*/ 75000 w 240000"/>
                <a:gd name="connsiteY7" fmla="*/ 75000 h 240000"/>
                <a:gd name="connsiteX8" fmla="*/ 165000 w 240000"/>
                <a:gd name="connsiteY8" fmla="*/ 75000 h 240000"/>
                <a:gd name="connsiteX9" fmla="*/ 165000 w 240000"/>
                <a:gd name="connsiteY9" fmla="*/ 165000 h 240000"/>
                <a:gd name="connsiteX10" fmla="*/ 75000 w 240000"/>
                <a:gd name="connsiteY10" fmla="*/ 165000 h 240000"/>
                <a:gd name="connsiteX11" fmla="*/ 165000 w 240000"/>
                <a:gd name="connsiteY11" fmla="*/ 187500 h 240000"/>
                <a:gd name="connsiteX12" fmla="*/ 187500 w 240000"/>
                <a:gd name="connsiteY12" fmla="*/ 210000 h 240000"/>
                <a:gd name="connsiteX13" fmla="*/ 210000 w 240000"/>
                <a:gd name="connsiteY13" fmla="*/ 187500 h 240000"/>
                <a:gd name="connsiteX14" fmla="*/ 187500 w 240000"/>
                <a:gd name="connsiteY14" fmla="*/ 165000 h 240000"/>
                <a:gd name="connsiteX15" fmla="*/ 165000 w 240000"/>
                <a:gd name="connsiteY15" fmla="*/ 165000 h 240000"/>
                <a:gd name="connsiteX16" fmla="*/ 165000 w 240000"/>
                <a:gd name="connsiteY16" fmla="*/ 187500 h 240000"/>
                <a:gd name="connsiteX17" fmla="*/ 187500 w 240000"/>
                <a:gd name="connsiteY17" fmla="*/ 75000 h 240000"/>
                <a:gd name="connsiteX18" fmla="*/ 210000 w 240000"/>
                <a:gd name="connsiteY18" fmla="*/ 52500 h 240000"/>
                <a:gd name="connsiteX19" fmla="*/ 187500 w 240000"/>
                <a:gd name="connsiteY19" fmla="*/ 30000 h 240000"/>
                <a:gd name="connsiteX20" fmla="*/ 165000 w 240000"/>
                <a:gd name="connsiteY20" fmla="*/ 52500 h 240000"/>
                <a:gd name="connsiteX21" fmla="*/ 165000 w 240000"/>
                <a:gd name="connsiteY21" fmla="*/ 75000 h 240000"/>
                <a:gd name="connsiteX22" fmla="*/ 187500 w 240000"/>
                <a:gd name="connsiteY22" fmla="*/ 75000 h 240000"/>
                <a:gd name="connsiteX23" fmla="*/ 75000 w 240000"/>
                <a:gd name="connsiteY23" fmla="*/ 52500 h 240000"/>
                <a:gd name="connsiteX24" fmla="*/ 52500 w 240000"/>
                <a:gd name="connsiteY24" fmla="*/ 30000 h 240000"/>
                <a:gd name="connsiteX25" fmla="*/ 30000 w 240000"/>
                <a:gd name="connsiteY25" fmla="*/ 52500 h 240000"/>
                <a:gd name="connsiteX26" fmla="*/ 52500 w 240000"/>
                <a:gd name="connsiteY26" fmla="*/ 75000 h 240000"/>
                <a:gd name="connsiteX27" fmla="*/ 75000 w 240000"/>
                <a:gd name="connsiteY27" fmla="*/ 75000 h 240000"/>
                <a:gd name="connsiteX28" fmla="*/ 75000 w 240000"/>
                <a:gd name="connsiteY28" fmla="*/ 52500 h 240000"/>
                <a:gd name="connsiteX29" fmla="*/ 105000 w 240000"/>
                <a:gd name="connsiteY29" fmla="*/ 135000 h 240000"/>
                <a:gd name="connsiteX30" fmla="*/ 135000 w 240000"/>
                <a:gd name="connsiteY30" fmla="*/ 135000 h 240000"/>
                <a:gd name="connsiteX31" fmla="*/ 135000 w 240000"/>
                <a:gd name="connsiteY31" fmla="*/ 105000 h 240000"/>
                <a:gd name="connsiteX32" fmla="*/ 105000 w 240000"/>
                <a:gd name="connsiteY32" fmla="*/ 105000 h 240000"/>
                <a:gd name="connsiteX33" fmla="*/ 105000 w 240000"/>
                <a:gd name="connsiteY33" fmla="*/ 135000 h 240000"/>
                <a:gd name="connsiteX34" fmla="*/ 135000 w 240000"/>
                <a:gd name="connsiteY34" fmla="*/ 105000 h 240000"/>
                <a:gd name="connsiteX35" fmla="*/ 135000 w 240000"/>
                <a:gd name="connsiteY35" fmla="*/ 52500 h 240000"/>
                <a:gd name="connsiteX36" fmla="*/ 187500 w 240000"/>
                <a:gd name="connsiteY36" fmla="*/ 0 h 240000"/>
                <a:gd name="connsiteX37" fmla="*/ 240000 w 240000"/>
                <a:gd name="connsiteY37" fmla="*/ 52500 h 240000"/>
                <a:gd name="connsiteX38" fmla="*/ 187500 w 240000"/>
                <a:gd name="connsiteY38" fmla="*/ 105000 h 240000"/>
                <a:gd name="connsiteX39" fmla="*/ 135000 w 240000"/>
                <a:gd name="connsiteY39" fmla="*/ 105000 h 240000"/>
                <a:gd name="connsiteX40" fmla="*/ 187500 w 240000"/>
                <a:gd name="connsiteY40" fmla="*/ 135000 h 240000"/>
                <a:gd name="connsiteX41" fmla="*/ 240000 w 240000"/>
                <a:gd name="connsiteY41" fmla="*/ 187500 h 240000"/>
                <a:gd name="connsiteX42" fmla="*/ 187500 w 240000"/>
                <a:gd name="connsiteY42" fmla="*/ 240000 h 240000"/>
                <a:gd name="connsiteX43" fmla="*/ 135000 w 240000"/>
                <a:gd name="connsiteY43" fmla="*/ 187500 h 240000"/>
                <a:gd name="connsiteX44" fmla="*/ 135000 w 240000"/>
                <a:gd name="connsiteY44" fmla="*/ 135000 h 240000"/>
                <a:gd name="connsiteX45" fmla="*/ 187500 w 240000"/>
                <a:gd name="connsiteY45" fmla="*/ 135000 h 240000"/>
                <a:gd name="connsiteX46" fmla="*/ 105000 w 240000"/>
                <a:gd name="connsiteY46" fmla="*/ 187500 h 240000"/>
                <a:gd name="connsiteX47" fmla="*/ 52500 w 240000"/>
                <a:gd name="connsiteY47" fmla="*/ 240000 h 240000"/>
                <a:gd name="connsiteX48" fmla="*/ 0 w 240000"/>
                <a:gd name="connsiteY48" fmla="*/ 187500 h 240000"/>
                <a:gd name="connsiteX49" fmla="*/ 52500 w 240000"/>
                <a:gd name="connsiteY49" fmla="*/ 135000 h 240000"/>
                <a:gd name="connsiteX50" fmla="*/ 105000 w 240000"/>
                <a:gd name="connsiteY50" fmla="*/ 135000 h 240000"/>
                <a:gd name="connsiteX51" fmla="*/ 105000 w 240000"/>
                <a:gd name="connsiteY51" fmla="*/ 187500 h 240000"/>
                <a:gd name="connsiteX52" fmla="*/ 52500 w 240000"/>
                <a:gd name="connsiteY52" fmla="*/ 105000 h 240000"/>
                <a:gd name="connsiteX53" fmla="*/ 0 w 240000"/>
                <a:gd name="connsiteY53" fmla="*/ 52500 h 240000"/>
                <a:gd name="connsiteX54" fmla="*/ 52500 w 240000"/>
                <a:gd name="connsiteY54" fmla="*/ 0 h 240000"/>
                <a:gd name="connsiteX55" fmla="*/ 105000 w 240000"/>
                <a:gd name="connsiteY55" fmla="*/ 52500 h 240000"/>
                <a:gd name="connsiteX56" fmla="*/ 105000 w 240000"/>
                <a:gd name="connsiteY56" fmla="*/ 105000 h 240000"/>
                <a:gd name="connsiteX57" fmla="*/ 52500 w 240000"/>
                <a:gd name="connsiteY57" fmla="*/ 105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40000" h="240000">
                  <a:moveTo>
                    <a:pt x="75000" y="165000"/>
                  </a:moveTo>
                  <a:lnTo>
                    <a:pt x="52500" y="165000"/>
                  </a:lnTo>
                  <a:cubicBezTo>
                    <a:pt x="40074" y="165000"/>
                    <a:pt x="30000" y="175074"/>
                    <a:pt x="30000" y="187500"/>
                  </a:cubicBezTo>
                  <a:cubicBezTo>
                    <a:pt x="30000" y="199926"/>
                    <a:pt x="40074" y="210000"/>
                    <a:pt x="52500" y="210000"/>
                  </a:cubicBezTo>
                  <a:cubicBezTo>
                    <a:pt x="64926" y="210000"/>
                    <a:pt x="75000" y="199926"/>
                    <a:pt x="75000" y="187500"/>
                  </a:cubicBezTo>
                  <a:lnTo>
                    <a:pt x="75000" y="165000"/>
                  </a:lnTo>
                  <a:close/>
                  <a:moveTo>
                    <a:pt x="75000" y="165000"/>
                  </a:moveTo>
                  <a:lnTo>
                    <a:pt x="75000" y="75000"/>
                  </a:lnTo>
                  <a:lnTo>
                    <a:pt x="165000" y="75000"/>
                  </a:lnTo>
                  <a:lnTo>
                    <a:pt x="165000" y="165000"/>
                  </a:lnTo>
                  <a:lnTo>
                    <a:pt x="75000" y="165000"/>
                  </a:lnTo>
                  <a:close/>
                  <a:moveTo>
                    <a:pt x="165000" y="187500"/>
                  </a:moveTo>
                  <a:cubicBezTo>
                    <a:pt x="165000" y="199926"/>
                    <a:pt x="175074" y="210000"/>
                    <a:pt x="187500" y="210000"/>
                  </a:cubicBezTo>
                  <a:cubicBezTo>
                    <a:pt x="199926" y="210000"/>
                    <a:pt x="210000" y="199926"/>
                    <a:pt x="210000" y="187500"/>
                  </a:cubicBezTo>
                  <a:cubicBezTo>
                    <a:pt x="210000" y="175074"/>
                    <a:pt x="199926" y="165000"/>
                    <a:pt x="187500" y="165000"/>
                  </a:cubicBezTo>
                  <a:lnTo>
                    <a:pt x="165000" y="165000"/>
                  </a:lnTo>
                  <a:lnTo>
                    <a:pt x="165000" y="187500"/>
                  </a:lnTo>
                  <a:close/>
                  <a:moveTo>
                    <a:pt x="187500" y="75000"/>
                  </a:moveTo>
                  <a:cubicBezTo>
                    <a:pt x="199926" y="75000"/>
                    <a:pt x="210000" y="64926"/>
                    <a:pt x="210000" y="52500"/>
                  </a:cubicBezTo>
                  <a:cubicBezTo>
                    <a:pt x="210000" y="40074"/>
                    <a:pt x="199926" y="30000"/>
                    <a:pt x="187500" y="30000"/>
                  </a:cubicBezTo>
                  <a:cubicBezTo>
                    <a:pt x="175074" y="30000"/>
                    <a:pt x="165000" y="40074"/>
                    <a:pt x="165000" y="52500"/>
                  </a:cubicBezTo>
                  <a:lnTo>
                    <a:pt x="165000" y="75000"/>
                  </a:lnTo>
                  <a:lnTo>
                    <a:pt x="187500" y="75000"/>
                  </a:lnTo>
                  <a:close/>
                  <a:moveTo>
                    <a:pt x="75000" y="52500"/>
                  </a:moveTo>
                  <a:cubicBezTo>
                    <a:pt x="75000" y="40074"/>
                    <a:pt x="64926" y="30000"/>
                    <a:pt x="52500" y="30000"/>
                  </a:cubicBezTo>
                  <a:cubicBezTo>
                    <a:pt x="40074" y="30000"/>
                    <a:pt x="30000" y="40074"/>
                    <a:pt x="30000" y="52500"/>
                  </a:cubicBezTo>
                  <a:cubicBezTo>
                    <a:pt x="30000" y="64926"/>
                    <a:pt x="40074" y="75000"/>
                    <a:pt x="52500" y="75000"/>
                  </a:cubicBezTo>
                  <a:lnTo>
                    <a:pt x="75000" y="75000"/>
                  </a:lnTo>
                  <a:lnTo>
                    <a:pt x="75000" y="52500"/>
                  </a:lnTo>
                  <a:close/>
                  <a:moveTo>
                    <a:pt x="105000" y="135000"/>
                  </a:moveTo>
                  <a:lnTo>
                    <a:pt x="135000" y="135000"/>
                  </a:lnTo>
                  <a:lnTo>
                    <a:pt x="135000" y="105000"/>
                  </a:lnTo>
                  <a:lnTo>
                    <a:pt x="105000" y="105000"/>
                  </a:lnTo>
                  <a:lnTo>
                    <a:pt x="105000" y="135000"/>
                  </a:lnTo>
                  <a:close/>
                  <a:moveTo>
                    <a:pt x="135000" y="105000"/>
                  </a:moveTo>
                  <a:lnTo>
                    <a:pt x="135000" y="52500"/>
                  </a:lnTo>
                  <a:cubicBezTo>
                    <a:pt x="135000" y="23505"/>
                    <a:pt x="158505" y="0"/>
                    <a:pt x="187500" y="0"/>
                  </a:cubicBezTo>
                  <a:cubicBezTo>
                    <a:pt x="216495" y="0"/>
                    <a:pt x="240000" y="23505"/>
                    <a:pt x="240000" y="52500"/>
                  </a:cubicBezTo>
                  <a:cubicBezTo>
                    <a:pt x="240000" y="81495"/>
                    <a:pt x="216495" y="105000"/>
                    <a:pt x="187500" y="105000"/>
                  </a:cubicBezTo>
                  <a:lnTo>
                    <a:pt x="135000" y="105000"/>
                  </a:lnTo>
                  <a:close/>
                  <a:moveTo>
                    <a:pt x="187500" y="135000"/>
                  </a:moveTo>
                  <a:cubicBezTo>
                    <a:pt x="216495" y="135000"/>
                    <a:pt x="240000" y="158505"/>
                    <a:pt x="240000" y="187500"/>
                  </a:cubicBezTo>
                  <a:cubicBezTo>
                    <a:pt x="240000" y="216495"/>
                    <a:pt x="216495" y="240000"/>
                    <a:pt x="187500" y="240000"/>
                  </a:cubicBezTo>
                  <a:cubicBezTo>
                    <a:pt x="158505" y="240000"/>
                    <a:pt x="135000" y="216495"/>
                    <a:pt x="135000" y="187500"/>
                  </a:cubicBezTo>
                  <a:lnTo>
                    <a:pt x="135000" y="135000"/>
                  </a:lnTo>
                  <a:lnTo>
                    <a:pt x="187500" y="135000"/>
                  </a:lnTo>
                  <a:close/>
                  <a:moveTo>
                    <a:pt x="105000" y="187500"/>
                  </a:moveTo>
                  <a:cubicBezTo>
                    <a:pt x="105000" y="216495"/>
                    <a:pt x="81495" y="240000"/>
                    <a:pt x="52500" y="240000"/>
                  </a:cubicBezTo>
                  <a:cubicBezTo>
                    <a:pt x="23505" y="240000"/>
                    <a:pt x="0" y="216495"/>
                    <a:pt x="0" y="187500"/>
                  </a:cubicBezTo>
                  <a:cubicBezTo>
                    <a:pt x="0" y="158505"/>
                    <a:pt x="23505" y="135000"/>
                    <a:pt x="52500" y="135000"/>
                  </a:cubicBezTo>
                  <a:lnTo>
                    <a:pt x="105000" y="135000"/>
                  </a:lnTo>
                  <a:lnTo>
                    <a:pt x="105000" y="187500"/>
                  </a:lnTo>
                  <a:close/>
                  <a:moveTo>
                    <a:pt x="52500" y="105000"/>
                  </a:moveTo>
                  <a:cubicBezTo>
                    <a:pt x="23505" y="105000"/>
                    <a:pt x="0" y="81495"/>
                    <a:pt x="0" y="52500"/>
                  </a:cubicBezTo>
                  <a:cubicBezTo>
                    <a:pt x="0" y="23505"/>
                    <a:pt x="23505" y="0"/>
                    <a:pt x="52500" y="0"/>
                  </a:cubicBezTo>
                  <a:cubicBezTo>
                    <a:pt x="81495" y="0"/>
                    <a:pt x="105000" y="23505"/>
                    <a:pt x="105000" y="52500"/>
                  </a:cubicBezTo>
                  <a:lnTo>
                    <a:pt x="105000" y="105000"/>
                  </a:lnTo>
                  <a:lnTo>
                    <a:pt x="52500" y="10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696" name="Рисунок 153">
            <a:extLst>
              <a:ext uri="{FF2B5EF4-FFF2-40B4-BE49-F238E27FC236}">
                <a16:creationId xmlns:a16="http://schemas.microsoft.com/office/drawing/2014/main" id="{CA4A7B9E-D061-B143-BE54-50A5877C4035}"/>
              </a:ext>
            </a:extLst>
          </p:cNvPr>
          <p:cNvGrpSpPr/>
          <p:nvPr/>
        </p:nvGrpSpPr>
        <p:grpSpPr>
          <a:xfrm>
            <a:off x="4448687" y="1769207"/>
            <a:ext cx="360000" cy="360000"/>
            <a:chOff x="4470989" y="2085929"/>
            <a:chExt cx="360000" cy="360000"/>
          </a:xfrm>
        </p:grpSpPr>
        <p:sp>
          <p:nvSpPr>
            <p:cNvPr id="697" name="Полилиния 696">
              <a:extLst>
                <a:ext uri="{FF2B5EF4-FFF2-40B4-BE49-F238E27FC236}">
                  <a16:creationId xmlns:a16="http://schemas.microsoft.com/office/drawing/2014/main" id="{AD7805F9-1C56-F945-8A14-CD3067C93469}"/>
                </a:ext>
              </a:extLst>
            </p:cNvPr>
            <p:cNvSpPr/>
            <p:nvPr/>
          </p:nvSpPr>
          <p:spPr>
            <a:xfrm>
              <a:off x="4470989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8" name="Полилиния 697">
              <a:extLst>
                <a:ext uri="{FF2B5EF4-FFF2-40B4-BE49-F238E27FC236}">
                  <a16:creationId xmlns:a16="http://schemas.microsoft.com/office/drawing/2014/main" id="{88AC2A66-B76F-614B-87A4-560B8DF92308}"/>
                </a:ext>
              </a:extLst>
            </p:cNvPr>
            <p:cNvSpPr/>
            <p:nvPr/>
          </p:nvSpPr>
          <p:spPr>
            <a:xfrm>
              <a:off x="4485988" y="2190928"/>
              <a:ext cx="330000" cy="157499"/>
            </a:xfrm>
            <a:custGeom>
              <a:avLst/>
              <a:gdLst>
                <a:gd name="connsiteX0" fmla="*/ 244077 w 330000"/>
                <a:gd name="connsiteY0" fmla="*/ 25281 h 157499"/>
                <a:gd name="connsiteX1" fmla="*/ 244719 w 330000"/>
                <a:gd name="connsiteY1" fmla="*/ 4077 h 157499"/>
                <a:gd name="connsiteX2" fmla="*/ 265923 w 330000"/>
                <a:gd name="connsiteY2" fmla="*/ 4720 h 157499"/>
                <a:gd name="connsiteX3" fmla="*/ 325923 w 330000"/>
                <a:gd name="connsiteY3" fmla="*/ 68469 h 157499"/>
                <a:gd name="connsiteX4" fmla="*/ 325923 w 330000"/>
                <a:gd name="connsiteY4" fmla="*/ 89031 h 157499"/>
                <a:gd name="connsiteX5" fmla="*/ 265923 w 330000"/>
                <a:gd name="connsiteY5" fmla="*/ 152781 h 157499"/>
                <a:gd name="connsiteX6" fmla="*/ 244719 w 330000"/>
                <a:gd name="connsiteY6" fmla="*/ 153423 h 157499"/>
                <a:gd name="connsiteX7" fmla="*/ 244077 w 330000"/>
                <a:gd name="connsiteY7" fmla="*/ 132219 h 157499"/>
                <a:gd name="connsiteX8" fmla="*/ 294402 w 330000"/>
                <a:gd name="connsiteY8" fmla="*/ 78750 h 157499"/>
                <a:gd name="connsiteX9" fmla="*/ 244077 w 330000"/>
                <a:gd name="connsiteY9" fmla="*/ 25281 h 157499"/>
                <a:gd name="connsiteX10" fmla="*/ 85923 w 330000"/>
                <a:gd name="connsiteY10" fmla="*/ 25280 h 157499"/>
                <a:gd name="connsiteX11" fmla="*/ 35599 w 330000"/>
                <a:gd name="connsiteY11" fmla="*/ 78750 h 157499"/>
                <a:gd name="connsiteX12" fmla="*/ 85923 w 330000"/>
                <a:gd name="connsiteY12" fmla="*/ 132219 h 157499"/>
                <a:gd name="connsiteX13" fmla="*/ 85280 w 330000"/>
                <a:gd name="connsiteY13" fmla="*/ 153423 h 157499"/>
                <a:gd name="connsiteX14" fmla="*/ 64077 w 330000"/>
                <a:gd name="connsiteY14" fmla="*/ 152781 h 157499"/>
                <a:gd name="connsiteX15" fmla="*/ 4077 w 330000"/>
                <a:gd name="connsiteY15" fmla="*/ 89031 h 157499"/>
                <a:gd name="connsiteX16" fmla="*/ 4077 w 330000"/>
                <a:gd name="connsiteY16" fmla="*/ 68469 h 157499"/>
                <a:gd name="connsiteX17" fmla="*/ 64077 w 330000"/>
                <a:gd name="connsiteY17" fmla="*/ 4720 h 157499"/>
                <a:gd name="connsiteX18" fmla="*/ 85280 w 330000"/>
                <a:gd name="connsiteY18" fmla="*/ 4077 h 157499"/>
                <a:gd name="connsiteX19" fmla="*/ 85923 w 330000"/>
                <a:gd name="connsiteY19" fmla="*/ 25280 h 15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000" h="157499">
                  <a:moveTo>
                    <a:pt x="244077" y="25281"/>
                  </a:moveTo>
                  <a:cubicBezTo>
                    <a:pt x="238400" y="19248"/>
                    <a:pt x="238688" y="9755"/>
                    <a:pt x="244719" y="4077"/>
                  </a:cubicBezTo>
                  <a:cubicBezTo>
                    <a:pt x="250752" y="-1601"/>
                    <a:pt x="260246" y="-1313"/>
                    <a:pt x="265923" y="4720"/>
                  </a:cubicBezTo>
                  <a:lnTo>
                    <a:pt x="325923" y="68469"/>
                  </a:lnTo>
                  <a:cubicBezTo>
                    <a:pt x="331359" y="74246"/>
                    <a:pt x="331359" y="83255"/>
                    <a:pt x="325923" y="89031"/>
                  </a:cubicBezTo>
                  <a:lnTo>
                    <a:pt x="265923" y="152781"/>
                  </a:lnTo>
                  <a:cubicBezTo>
                    <a:pt x="260246" y="158813"/>
                    <a:pt x="250752" y="159101"/>
                    <a:pt x="244719" y="153423"/>
                  </a:cubicBezTo>
                  <a:cubicBezTo>
                    <a:pt x="238688" y="147746"/>
                    <a:pt x="238400" y="138252"/>
                    <a:pt x="244077" y="132219"/>
                  </a:cubicBezTo>
                  <a:lnTo>
                    <a:pt x="294402" y="78750"/>
                  </a:lnTo>
                  <a:lnTo>
                    <a:pt x="244077" y="25281"/>
                  </a:lnTo>
                  <a:close/>
                  <a:moveTo>
                    <a:pt x="85923" y="25280"/>
                  </a:moveTo>
                  <a:lnTo>
                    <a:pt x="35599" y="78750"/>
                  </a:lnTo>
                  <a:lnTo>
                    <a:pt x="85923" y="132219"/>
                  </a:lnTo>
                  <a:cubicBezTo>
                    <a:pt x="91601" y="138252"/>
                    <a:pt x="91313" y="147746"/>
                    <a:pt x="85280" y="153423"/>
                  </a:cubicBezTo>
                  <a:cubicBezTo>
                    <a:pt x="79248" y="159101"/>
                    <a:pt x="69755" y="158813"/>
                    <a:pt x="64077" y="152781"/>
                  </a:cubicBezTo>
                  <a:lnTo>
                    <a:pt x="4077" y="89031"/>
                  </a:lnTo>
                  <a:cubicBezTo>
                    <a:pt x="-1359" y="83255"/>
                    <a:pt x="-1359" y="74246"/>
                    <a:pt x="4077" y="68469"/>
                  </a:cubicBezTo>
                  <a:lnTo>
                    <a:pt x="64077" y="4720"/>
                  </a:lnTo>
                  <a:cubicBezTo>
                    <a:pt x="69755" y="-1313"/>
                    <a:pt x="79248" y="-1601"/>
                    <a:pt x="85280" y="4077"/>
                  </a:cubicBezTo>
                  <a:cubicBezTo>
                    <a:pt x="91313" y="9755"/>
                    <a:pt x="91601" y="19248"/>
                    <a:pt x="85923" y="2528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9" name="Скругленный прямоугольник 698">
              <a:extLst>
                <a:ext uri="{FF2B5EF4-FFF2-40B4-BE49-F238E27FC236}">
                  <a16:creationId xmlns:a16="http://schemas.microsoft.com/office/drawing/2014/main" id="{0D888291-8DB0-9147-A2BB-7357912546D8}"/>
                </a:ext>
              </a:extLst>
            </p:cNvPr>
            <p:cNvSpPr/>
            <p:nvPr/>
          </p:nvSpPr>
          <p:spPr>
            <a:xfrm rot="900000">
              <a:off x="4635989" y="2145928"/>
              <a:ext cx="30000" cy="24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00" name="Рисунок 154">
            <a:extLst>
              <a:ext uri="{FF2B5EF4-FFF2-40B4-BE49-F238E27FC236}">
                <a16:creationId xmlns:a16="http://schemas.microsoft.com/office/drawing/2014/main" id="{7D28D771-785D-1747-82AF-8B541063E2BA}"/>
              </a:ext>
            </a:extLst>
          </p:cNvPr>
          <p:cNvGrpSpPr/>
          <p:nvPr/>
        </p:nvGrpSpPr>
        <p:grpSpPr>
          <a:xfrm>
            <a:off x="6714086" y="1769207"/>
            <a:ext cx="360000" cy="360000"/>
            <a:chOff x="6736388" y="2085929"/>
            <a:chExt cx="360000" cy="360000"/>
          </a:xfrm>
        </p:grpSpPr>
        <p:sp>
          <p:nvSpPr>
            <p:cNvPr id="701" name="Полилиния 700">
              <a:extLst>
                <a:ext uri="{FF2B5EF4-FFF2-40B4-BE49-F238E27FC236}">
                  <a16:creationId xmlns:a16="http://schemas.microsoft.com/office/drawing/2014/main" id="{3DD3F0DC-684E-A34F-9904-8F5F0ED4DAB5}"/>
                </a:ext>
              </a:extLst>
            </p:cNvPr>
            <p:cNvSpPr/>
            <p:nvPr/>
          </p:nvSpPr>
          <p:spPr>
            <a:xfrm>
              <a:off x="6736388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2" name="Полилиния 701">
              <a:extLst>
                <a:ext uri="{FF2B5EF4-FFF2-40B4-BE49-F238E27FC236}">
                  <a16:creationId xmlns:a16="http://schemas.microsoft.com/office/drawing/2014/main" id="{BD7819B5-5508-1F48-93BF-37274E095143}"/>
                </a:ext>
              </a:extLst>
            </p:cNvPr>
            <p:cNvSpPr/>
            <p:nvPr/>
          </p:nvSpPr>
          <p:spPr>
            <a:xfrm>
              <a:off x="6811388" y="2145929"/>
              <a:ext cx="210000" cy="255000"/>
            </a:xfrm>
            <a:custGeom>
              <a:avLst/>
              <a:gdLst>
                <a:gd name="connsiteX0" fmla="*/ 105000 w 210000"/>
                <a:gd name="connsiteY0" fmla="*/ 255000 h 255000"/>
                <a:gd name="connsiteX1" fmla="*/ 210000 w 210000"/>
                <a:gd name="connsiteY1" fmla="*/ 150000 h 255000"/>
                <a:gd name="connsiteX2" fmla="*/ 105000 w 210000"/>
                <a:gd name="connsiteY2" fmla="*/ 0 h 255000"/>
                <a:gd name="connsiteX3" fmla="*/ 0 w 210000"/>
                <a:gd name="connsiteY3" fmla="*/ 150000 h 255000"/>
                <a:gd name="connsiteX4" fmla="*/ 105000 w 210000"/>
                <a:gd name="connsiteY4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000" h="255000">
                  <a:moveTo>
                    <a:pt x="105000" y="255000"/>
                  </a:moveTo>
                  <a:cubicBezTo>
                    <a:pt x="162990" y="255000"/>
                    <a:pt x="210000" y="207990"/>
                    <a:pt x="210000" y="150000"/>
                  </a:cubicBezTo>
                  <a:cubicBezTo>
                    <a:pt x="210000" y="111341"/>
                    <a:pt x="175001" y="61340"/>
                    <a:pt x="105000" y="0"/>
                  </a:cubicBezTo>
                  <a:cubicBezTo>
                    <a:pt x="35000" y="61340"/>
                    <a:pt x="0" y="111341"/>
                    <a:pt x="0" y="150000"/>
                  </a:cubicBezTo>
                  <a:cubicBezTo>
                    <a:pt x="0" y="207990"/>
                    <a:pt x="47010" y="255000"/>
                    <a:pt x="105000" y="25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03" name="Рисунок 155">
            <a:extLst>
              <a:ext uri="{FF2B5EF4-FFF2-40B4-BE49-F238E27FC236}">
                <a16:creationId xmlns:a16="http://schemas.microsoft.com/office/drawing/2014/main" id="{09D9C061-E7C0-1D49-A51D-6F1F50535099}"/>
              </a:ext>
            </a:extLst>
          </p:cNvPr>
          <p:cNvGrpSpPr/>
          <p:nvPr/>
        </p:nvGrpSpPr>
        <p:grpSpPr>
          <a:xfrm>
            <a:off x="10489751" y="1769207"/>
            <a:ext cx="360000" cy="360000"/>
            <a:chOff x="10512053" y="2085929"/>
            <a:chExt cx="360000" cy="360000"/>
          </a:xfrm>
        </p:grpSpPr>
        <p:sp>
          <p:nvSpPr>
            <p:cNvPr id="704" name="Полилиния 703">
              <a:extLst>
                <a:ext uri="{FF2B5EF4-FFF2-40B4-BE49-F238E27FC236}">
                  <a16:creationId xmlns:a16="http://schemas.microsoft.com/office/drawing/2014/main" id="{8E15836E-F106-C24C-A675-5D661609B5BA}"/>
                </a:ext>
              </a:extLst>
            </p:cNvPr>
            <p:cNvSpPr/>
            <p:nvPr/>
          </p:nvSpPr>
          <p:spPr>
            <a:xfrm>
              <a:off x="10512053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5" name="Полилиния 704">
              <a:extLst>
                <a:ext uri="{FF2B5EF4-FFF2-40B4-BE49-F238E27FC236}">
                  <a16:creationId xmlns:a16="http://schemas.microsoft.com/office/drawing/2014/main" id="{EBA33CE0-EE30-CB4B-8EFE-617D7678A70C}"/>
                </a:ext>
              </a:extLst>
            </p:cNvPr>
            <p:cNvSpPr/>
            <p:nvPr/>
          </p:nvSpPr>
          <p:spPr>
            <a:xfrm>
              <a:off x="10572053" y="2235929"/>
              <a:ext cx="240000" cy="150000"/>
            </a:xfrm>
            <a:custGeom>
              <a:avLst/>
              <a:gdLst>
                <a:gd name="connsiteX0" fmla="*/ 120000 w 240000"/>
                <a:gd name="connsiteY0" fmla="*/ 14994 h 150000"/>
                <a:gd name="connsiteX1" fmla="*/ 165000 w 240000"/>
                <a:gd name="connsiteY1" fmla="*/ 0 h 150000"/>
                <a:gd name="connsiteX2" fmla="*/ 240000 w 240000"/>
                <a:gd name="connsiteY2" fmla="*/ 75000 h 150000"/>
                <a:gd name="connsiteX3" fmla="*/ 165000 w 240000"/>
                <a:gd name="connsiteY3" fmla="*/ 150000 h 150000"/>
                <a:gd name="connsiteX4" fmla="*/ 120000 w 240000"/>
                <a:gd name="connsiteY4" fmla="*/ 135006 h 150000"/>
                <a:gd name="connsiteX5" fmla="*/ 75000 w 240000"/>
                <a:gd name="connsiteY5" fmla="*/ 150000 h 150000"/>
                <a:gd name="connsiteX6" fmla="*/ 0 w 240000"/>
                <a:gd name="connsiteY6" fmla="*/ 75000 h 150000"/>
                <a:gd name="connsiteX7" fmla="*/ 75000 w 240000"/>
                <a:gd name="connsiteY7" fmla="*/ 0 h 150000"/>
                <a:gd name="connsiteX8" fmla="*/ 120000 w 240000"/>
                <a:gd name="connsiteY8" fmla="*/ 14994 h 150000"/>
                <a:gd name="connsiteX9" fmla="*/ 140004 w 240000"/>
                <a:gd name="connsiteY9" fmla="*/ 37566 h 150000"/>
                <a:gd name="connsiteX10" fmla="*/ 150000 w 240000"/>
                <a:gd name="connsiteY10" fmla="*/ 75000 h 150000"/>
                <a:gd name="connsiteX11" fmla="*/ 140004 w 240000"/>
                <a:gd name="connsiteY11" fmla="*/ 112434 h 150000"/>
                <a:gd name="connsiteX12" fmla="*/ 165000 w 240000"/>
                <a:gd name="connsiteY12" fmla="*/ 120000 h 150000"/>
                <a:gd name="connsiteX13" fmla="*/ 210000 w 240000"/>
                <a:gd name="connsiteY13" fmla="*/ 75000 h 150000"/>
                <a:gd name="connsiteX14" fmla="*/ 165000 w 240000"/>
                <a:gd name="connsiteY14" fmla="*/ 30000 h 150000"/>
                <a:gd name="connsiteX15" fmla="*/ 140004 w 240000"/>
                <a:gd name="connsiteY15" fmla="*/ 37566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0000" h="150000">
                  <a:moveTo>
                    <a:pt x="120000" y="14994"/>
                  </a:moveTo>
                  <a:cubicBezTo>
                    <a:pt x="132536" y="5578"/>
                    <a:pt x="148116" y="0"/>
                    <a:pt x="165000" y="0"/>
                  </a:cubicBezTo>
                  <a:cubicBezTo>
                    <a:pt x="206421" y="0"/>
                    <a:pt x="240000" y="33579"/>
                    <a:pt x="240000" y="75000"/>
                  </a:cubicBezTo>
                  <a:cubicBezTo>
                    <a:pt x="240000" y="116421"/>
                    <a:pt x="206421" y="150000"/>
                    <a:pt x="165000" y="150000"/>
                  </a:cubicBezTo>
                  <a:cubicBezTo>
                    <a:pt x="148116" y="150000"/>
                    <a:pt x="132536" y="144421"/>
                    <a:pt x="120000" y="135006"/>
                  </a:cubicBezTo>
                  <a:cubicBezTo>
                    <a:pt x="107465" y="144421"/>
                    <a:pt x="91884" y="150000"/>
                    <a:pt x="75000" y="150000"/>
                  </a:cubicBezTo>
                  <a:cubicBezTo>
                    <a:pt x="33579" y="150000"/>
                    <a:pt x="0" y="116421"/>
                    <a:pt x="0" y="75000"/>
                  </a:cubicBezTo>
                  <a:cubicBezTo>
                    <a:pt x="0" y="33579"/>
                    <a:pt x="33579" y="0"/>
                    <a:pt x="75000" y="0"/>
                  </a:cubicBezTo>
                  <a:cubicBezTo>
                    <a:pt x="91884" y="0"/>
                    <a:pt x="107465" y="5578"/>
                    <a:pt x="120000" y="14994"/>
                  </a:cubicBezTo>
                  <a:close/>
                  <a:moveTo>
                    <a:pt x="140004" y="37566"/>
                  </a:moveTo>
                  <a:cubicBezTo>
                    <a:pt x="146363" y="48582"/>
                    <a:pt x="150000" y="61366"/>
                    <a:pt x="150000" y="75000"/>
                  </a:cubicBezTo>
                  <a:cubicBezTo>
                    <a:pt x="150000" y="88634"/>
                    <a:pt x="146363" y="101417"/>
                    <a:pt x="140004" y="112434"/>
                  </a:cubicBezTo>
                  <a:cubicBezTo>
                    <a:pt x="147284" y="117310"/>
                    <a:pt x="155907" y="120000"/>
                    <a:pt x="165000" y="120000"/>
                  </a:cubicBezTo>
                  <a:cubicBezTo>
                    <a:pt x="189854" y="120000"/>
                    <a:pt x="210000" y="99854"/>
                    <a:pt x="210000" y="75000"/>
                  </a:cubicBezTo>
                  <a:cubicBezTo>
                    <a:pt x="210000" y="50146"/>
                    <a:pt x="189854" y="30000"/>
                    <a:pt x="165000" y="30000"/>
                  </a:cubicBezTo>
                  <a:cubicBezTo>
                    <a:pt x="155897" y="30000"/>
                    <a:pt x="147264" y="32706"/>
                    <a:pt x="140004" y="37566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6" name="Полилиния 705">
              <a:extLst>
                <a:ext uri="{FF2B5EF4-FFF2-40B4-BE49-F238E27FC236}">
                  <a16:creationId xmlns:a16="http://schemas.microsoft.com/office/drawing/2014/main" id="{B1ECE0F0-18E0-A646-A643-4D4B3AC2F81E}"/>
                </a:ext>
              </a:extLst>
            </p:cNvPr>
            <p:cNvSpPr/>
            <p:nvPr/>
          </p:nvSpPr>
          <p:spPr>
            <a:xfrm>
              <a:off x="10617053" y="2145929"/>
              <a:ext cx="150000" cy="150000"/>
            </a:xfrm>
            <a:custGeom>
              <a:avLst/>
              <a:gdLst>
                <a:gd name="connsiteX0" fmla="*/ 150000 w 150000"/>
                <a:gd name="connsiteY0" fmla="*/ 75000 h 150000"/>
                <a:gd name="connsiteX1" fmla="*/ 75000 w 150000"/>
                <a:gd name="connsiteY1" fmla="*/ 150000 h 150000"/>
                <a:gd name="connsiteX2" fmla="*/ 0 w 150000"/>
                <a:gd name="connsiteY2" fmla="*/ 75000 h 150000"/>
                <a:gd name="connsiteX3" fmla="*/ 75000 w 150000"/>
                <a:gd name="connsiteY3" fmla="*/ 0 h 150000"/>
                <a:gd name="connsiteX4" fmla="*/ 150000 w 150000"/>
                <a:gd name="connsiteY4" fmla="*/ 7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000" h="150000">
                  <a:moveTo>
                    <a:pt x="150000" y="75000"/>
                  </a:moveTo>
                  <a:cubicBezTo>
                    <a:pt x="150000" y="116421"/>
                    <a:pt x="116421" y="150000"/>
                    <a:pt x="75000" y="150000"/>
                  </a:cubicBezTo>
                  <a:cubicBezTo>
                    <a:pt x="33579" y="150000"/>
                    <a:pt x="0" y="116421"/>
                    <a:pt x="0" y="75000"/>
                  </a:cubicBezTo>
                  <a:cubicBezTo>
                    <a:pt x="0" y="33579"/>
                    <a:pt x="33579" y="0"/>
                    <a:pt x="75000" y="0"/>
                  </a:cubicBezTo>
                  <a:cubicBezTo>
                    <a:pt x="116421" y="0"/>
                    <a:pt x="150000" y="33579"/>
                    <a:pt x="150000" y="7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707" name="Рисунок 156">
            <a:extLst>
              <a:ext uri="{FF2B5EF4-FFF2-40B4-BE49-F238E27FC236}">
                <a16:creationId xmlns:a16="http://schemas.microsoft.com/office/drawing/2014/main" id="{1DBEDA9F-662E-E748-B8C2-1645DA9CABB9}"/>
              </a:ext>
            </a:extLst>
          </p:cNvPr>
          <p:cNvGrpSpPr/>
          <p:nvPr/>
        </p:nvGrpSpPr>
        <p:grpSpPr>
          <a:xfrm>
            <a:off x="7469219" y="1769207"/>
            <a:ext cx="360000" cy="360000"/>
            <a:chOff x="7491521" y="2085929"/>
            <a:chExt cx="360000" cy="360000"/>
          </a:xfrm>
        </p:grpSpPr>
        <p:sp>
          <p:nvSpPr>
            <p:cNvPr id="708" name="Полилиния 707">
              <a:extLst>
                <a:ext uri="{FF2B5EF4-FFF2-40B4-BE49-F238E27FC236}">
                  <a16:creationId xmlns:a16="http://schemas.microsoft.com/office/drawing/2014/main" id="{50364355-424B-4741-8606-A012F2B169B9}"/>
                </a:ext>
              </a:extLst>
            </p:cNvPr>
            <p:cNvSpPr/>
            <p:nvPr/>
          </p:nvSpPr>
          <p:spPr>
            <a:xfrm>
              <a:off x="7491521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9" name="Полилиния 708">
              <a:extLst>
                <a:ext uri="{FF2B5EF4-FFF2-40B4-BE49-F238E27FC236}">
                  <a16:creationId xmlns:a16="http://schemas.microsoft.com/office/drawing/2014/main" id="{F5EA316B-4202-BB40-8A17-21C02EEF0841}"/>
                </a:ext>
              </a:extLst>
            </p:cNvPr>
            <p:cNvSpPr/>
            <p:nvPr/>
          </p:nvSpPr>
          <p:spPr>
            <a:xfrm>
              <a:off x="7491521" y="2250929"/>
              <a:ext cx="360000" cy="45000"/>
            </a:xfrm>
            <a:custGeom>
              <a:avLst/>
              <a:gdLst>
                <a:gd name="connsiteX0" fmla="*/ 307500 w 360000"/>
                <a:gd name="connsiteY0" fmla="*/ 0 h 45000"/>
                <a:gd name="connsiteX1" fmla="*/ 337500 w 360000"/>
                <a:gd name="connsiteY1" fmla="*/ 0 h 45000"/>
                <a:gd name="connsiteX2" fmla="*/ 360000 w 360000"/>
                <a:gd name="connsiteY2" fmla="*/ 22500 h 45000"/>
                <a:gd name="connsiteX3" fmla="*/ 337500 w 360000"/>
                <a:gd name="connsiteY3" fmla="*/ 45000 h 45000"/>
                <a:gd name="connsiteX4" fmla="*/ 307500 w 360000"/>
                <a:gd name="connsiteY4" fmla="*/ 45000 h 45000"/>
                <a:gd name="connsiteX5" fmla="*/ 285000 w 360000"/>
                <a:gd name="connsiteY5" fmla="*/ 22500 h 45000"/>
                <a:gd name="connsiteX6" fmla="*/ 307500 w 360000"/>
                <a:gd name="connsiteY6" fmla="*/ 0 h 45000"/>
                <a:gd name="connsiteX7" fmla="*/ 22500 w 360000"/>
                <a:gd name="connsiteY7" fmla="*/ 0 h 45000"/>
                <a:gd name="connsiteX8" fmla="*/ 52500 w 360000"/>
                <a:gd name="connsiteY8" fmla="*/ 0 h 45000"/>
                <a:gd name="connsiteX9" fmla="*/ 75000 w 360000"/>
                <a:gd name="connsiteY9" fmla="*/ 22500 h 45000"/>
                <a:gd name="connsiteX10" fmla="*/ 52500 w 360000"/>
                <a:gd name="connsiteY10" fmla="*/ 45000 h 45000"/>
                <a:gd name="connsiteX11" fmla="*/ 22500 w 360000"/>
                <a:gd name="connsiteY11" fmla="*/ 45000 h 45000"/>
                <a:gd name="connsiteX12" fmla="*/ 0 w 360000"/>
                <a:gd name="connsiteY12" fmla="*/ 22500 h 45000"/>
                <a:gd name="connsiteX13" fmla="*/ 22500 w 360000"/>
                <a:gd name="connsiteY13" fmla="*/ 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0000" h="45000">
                  <a:moveTo>
                    <a:pt x="307500" y="0"/>
                  </a:moveTo>
                  <a:lnTo>
                    <a:pt x="337500" y="0"/>
                  </a:lnTo>
                  <a:cubicBezTo>
                    <a:pt x="349926" y="0"/>
                    <a:pt x="360000" y="10074"/>
                    <a:pt x="360000" y="22500"/>
                  </a:cubicBezTo>
                  <a:cubicBezTo>
                    <a:pt x="360000" y="34926"/>
                    <a:pt x="349926" y="45000"/>
                    <a:pt x="337500" y="45000"/>
                  </a:cubicBezTo>
                  <a:lnTo>
                    <a:pt x="307500" y="45000"/>
                  </a:lnTo>
                  <a:cubicBezTo>
                    <a:pt x="295074" y="45000"/>
                    <a:pt x="285000" y="34926"/>
                    <a:pt x="285000" y="22500"/>
                  </a:cubicBezTo>
                  <a:cubicBezTo>
                    <a:pt x="285000" y="10074"/>
                    <a:pt x="295074" y="0"/>
                    <a:pt x="307500" y="0"/>
                  </a:cubicBezTo>
                  <a:close/>
                  <a:moveTo>
                    <a:pt x="22500" y="0"/>
                  </a:moveTo>
                  <a:lnTo>
                    <a:pt x="52500" y="0"/>
                  </a:lnTo>
                  <a:cubicBezTo>
                    <a:pt x="64926" y="0"/>
                    <a:pt x="75000" y="10074"/>
                    <a:pt x="75000" y="22500"/>
                  </a:cubicBezTo>
                  <a:cubicBezTo>
                    <a:pt x="75000" y="34926"/>
                    <a:pt x="64926" y="45000"/>
                    <a:pt x="52500" y="45000"/>
                  </a:cubicBezTo>
                  <a:lnTo>
                    <a:pt x="22500" y="45000"/>
                  </a:ln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0" name="Полилиния 709">
              <a:extLst>
                <a:ext uri="{FF2B5EF4-FFF2-40B4-BE49-F238E27FC236}">
                  <a16:creationId xmlns:a16="http://schemas.microsoft.com/office/drawing/2014/main" id="{A7BE82C2-96F1-DB4C-89A6-F1B9BEDFEB52}"/>
                </a:ext>
              </a:extLst>
            </p:cNvPr>
            <p:cNvSpPr/>
            <p:nvPr/>
          </p:nvSpPr>
          <p:spPr>
            <a:xfrm>
              <a:off x="7596521" y="2205929"/>
              <a:ext cx="150000" cy="150000"/>
            </a:xfrm>
            <a:custGeom>
              <a:avLst/>
              <a:gdLst>
                <a:gd name="connsiteX0" fmla="*/ 75000 w 150000"/>
                <a:gd name="connsiteY0" fmla="*/ 120000 h 150000"/>
                <a:gd name="connsiteX1" fmla="*/ 120000 w 150000"/>
                <a:gd name="connsiteY1" fmla="*/ 75000 h 150000"/>
                <a:gd name="connsiteX2" fmla="*/ 75000 w 150000"/>
                <a:gd name="connsiteY2" fmla="*/ 30000 h 150000"/>
                <a:gd name="connsiteX3" fmla="*/ 30000 w 150000"/>
                <a:gd name="connsiteY3" fmla="*/ 75000 h 150000"/>
                <a:gd name="connsiteX4" fmla="*/ 75000 w 150000"/>
                <a:gd name="connsiteY4" fmla="*/ 120000 h 150000"/>
                <a:gd name="connsiteX5" fmla="*/ 75000 w 150000"/>
                <a:gd name="connsiteY5" fmla="*/ 150000 h 150000"/>
                <a:gd name="connsiteX6" fmla="*/ 0 w 150000"/>
                <a:gd name="connsiteY6" fmla="*/ 75000 h 150000"/>
                <a:gd name="connsiteX7" fmla="*/ 75000 w 150000"/>
                <a:gd name="connsiteY7" fmla="*/ 0 h 150000"/>
                <a:gd name="connsiteX8" fmla="*/ 150000 w 150000"/>
                <a:gd name="connsiteY8" fmla="*/ 75000 h 150000"/>
                <a:gd name="connsiteX9" fmla="*/ 75000 w 150000"/>
                <a:gd name="connsiteY9" fmla="*/ 150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000" h="150000">
                  <a:moveTo>
                    <a:pt x="75000" y="120000"/>
                  </a:moveTo>
                  <a:cubicBezTo>
                    <a:pt x="99854" y="120000"/>
                    <a:pt x="120000" y="99854"/>
                    <a:pt x="120000" y="75000"/>
                  </a:cubicBezTo>
                  <a:cubicBezTo>
                    <a:pt x="120000" y="50146"/>
                    <a:pt x="99854" y="30000"/>
                    <a:pt x="75000" y="30000"/>
                  </a:cubicBezTo>
                  <a:cubicBezTo>
                    <a:pt x="50146" y="30000"/>
                    <a:pt x="30000" y="50146"/>
                    <a:pt x="30000" y="75000"/>
                  </a:cubicBezTo>
                  <a:cubicBezTo>
                    <a:pt x="30000" y="99854"/>
                    <a:pt x="50146" y="120000"/>
                    <a:pt x="75000" y="120000"/>
                  </a:cubicBezTo>
                  <a:close/>
                  <a:moveTo>
                    <a:pt x="75000" y="150000"/>
                  </a:moveTo>
                  <a:cubicBezTo>
                    <a:pt x="33579" y="150000"/>
                    <a:pt x="0" y="116421"/>
                    <a:pt x="0" y="75000"/>
                  </a:cubicBezTo>
                  <a:cubicBezTo>
                    <a:pt x="0" y="33579"/>
                    <a:pt x="33579" y="0"/>
                    <a:pt x="75000" y="0"/>
                  </a:cubicBezTo>
                  <a:cubicBezTo>
                    <a:pt x="116421" y="0"/>
                    <a:pt x="150000" y="33579"/>
                    <a:pt x="150000" y="75000"/>
                  </a:cubicBezTo>
                  <a:cubicBezTo>
                    <a:pt x="150000" y="116421"/>
                    <a:pt x="116421" y="150000"/>
                    <a:pt x="75000" y="15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11" name="Рисунок 157">
            <a:extLst>
              <a:ext uri="{FF2B5EF4-FFF2-40B4-BE49-F238E27FC236}">
                <a16:creationId xmlns:a16="http://schemas.microsoft.com/office/drawing/2014/main" id="{DFA7E362-B7D7-CE4C-BD49-A9F1DD7408BB}"/>
              </a:ext>
            </a:extLst>
          </p:cNvPr>
          <p:cNvGrpSpPr/>
          <p:nvPr/>
        </p:nvGrpSpPr>
        <p:grpSpPr>
          <a:xfrm>
            <a:off x="5203820" y="1769207"/>
            <a:ext cx="360000" cy="360000"/>
            <a:chOff x="5226122" y="2085929"/>
            <a:chExt cx="360000" cy="360000"/>
          </a:xfrm>
        </p:grpSpPr>
        <p:sp>
          <p:nvSpPr>
            <p:cNvPr id="712" name="Полилиния 711">
              <a:extLst>
                <a:ext uri="{FF2B5EF4-FFF2-40B4-BE49-F238E27FC236}">
                  <a16:creationId xmlns:a16="http://schemas.microsoft.com/office/drawing/2014/main" id="{21DE33C8-BC9F-9043-9C7F-1143299085E6}"/>
                </a:ext>
              </a:extLst>
            </p:cNvPr>
            <p:cNvSpPr/>
            <p:nvPr/>
          </p:nvSpPr>
          <p:spPr>
            <a:xfrm>
              <a:off x="5226122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3" name="Полилиния 712">
              <a:extLst>
                <a:ext uri="{FF2B5EF4-FFF2-40B4-BE49-F238E27FC236}">
                  <a16:creationId xmlns:a16="http://schemas.microsoft.com/office/drawing/2014/main" id="{84065561-CFCA-AE4F-97C9-3DA6E4B19E8D}"/>
                </a:ext>
              </a:extLst>
            </p:cNvPr>
            <p:cNvSpPr/>
            <p:nvPr/>
          </p:nvSpPr>
          <p:spPr>
            <a:xfrm>
              <a:off x="5271122" y="2130929"/>
              <a:ext cx="270000" cy="270000"/>
            </a:xfrm>
            <a:custGeom>
              <a:avLst/>
              <a:gdLst>
                <a:gd name="connsiteX0" fmla="*/ 135000 w 270000"/>
                <a:gd name="connsiteY0" fmla="*/ 270000 h 270000"/>
                <a:gd name="connsiteX1" fmla="*/ 0 w 270000"/>
                <a:gd name="connsiteY1" fmla="*/ 135000 h 270000"/>
                <a:gd name="connsiteX2" fmla="*/ 135000 w 270000"/>
                <a:gd name="connsiteY2" fmla="*/ 0 h 270000"/>
                <a:gd name="connsiteX3" fmla="*/ 270000 w 270000"/>
                <a:gd name="connsiteY3" fmla="*/ 135000 h 270000"/>
                <a:gd name="connsiteX4" fmla="*/ 135000 w 270000"/>
                <a:gd name="connsiteY4" fmla="*/ 270000 h 270000"/>
                <a:gd name="connsiteX5" fmla="*/ 167483 w 270000"/>
                <a:gd name="connsiteY5" fmla="*/ 65323 h 270000"/>
                <a:gd name="connsiteX6" fmla="*/ 99158 w 270000"/>
                <a:gd name="connsiteY6" fmla="*/ 110435 h 270000"/>
                <a:gd name="connsiteX7" fmla="*/ 95804 w 270000"/>
                <a:gd name="connsiteY7" fmla="*/ 116244 h 270000"/>
                <a:gd name="connsiteX8" fmla="*/ 90899 w 270000"/>
                <a:gd name="connsiteY8" fmla="*/ 197969 h 270000"/>
                <a:gd name="connsiteX9" fmla="*/ 97936 w 270000"/>
                <a:gd name="connsiteY9" fmla="*/ 205905 h 270000"/>
                <a:gd name="connsiteX10" fmla="*/ 102518 w 270000"/>
                <a:gd name="connsiteY10" fmla="*/ 204678 h 270000"/>
                <a:gd name="connsiteX11" fmla="*/ 170841 w 270000"/>
                <a:gd name="connsiteY11" fmla="*/ 159566 h 270000"/>
                <a:gd name="connsiteX12" fmla="*/ 174197 w 270000"/>
                <a:gd name="connsiteY12" fmla="*/ 153756 h 270000"/>
                <a:gd name="connsiteX13" fmla="*/ 179102 w 270000"/>
                <a:gd name="connsiteY13" fmla="*/ 72031 h 270000"/>
                <a:gd name="connsiteX14" fmla="*/ 172064 w 270000"/>
                <a:gd name="connsiteY14" fmla="*/ 64095 h 270000"/>
                <a:gd name="connsiteX15" fmla="*/ 167483 w 270000"/>
                <a:gd name="connsiteY15" fmla="*/ 65323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0000" h="270000">
                  <a:moveTo>
                    <a:pt x="135000" y="270000"/>
                  </a:moveTo>
                  <a:cubicBezTo>
                    <a:pt x="60442" y="270000"/>
                    <a:pt x="0" y="209559"/>
                    <a:pt x="0" y="135000"/>
                  </a:cubicBezTo>
                  <a:cubicBezTo>
                    <a:pt x="0" y="60442"/>
                    <a:pt x="60442" y="0"/>
                    <a:pt x="135000" y="0"/>
                  </a:cubicBezTo>
                  <a:cubicBezTo>
                    <a:pt x="209559" y="0"/>
                    <a:pt x="270000" y="60442"/>
                    <a:pt x="270000" y="135000"/>
                  </a:cubicBezTo>
                  <a:cubicBezTo>
                    <a:pt x="270000" y="209559"/>
                    <a:pt x="209559" y="270000"/>
                    <a:pt x="135000" y="270000"/>
                  </a:cubicBezTo>
                  <a:close/>
                  <a:moveTo>
                    <a:pt x="167483" y="65323"/>
                  </a:moveTo>
                  <a:lnTo>
                    <a:pt x="99158" y="110435"/>
                  </a:lnTo>
                  <a:cubicBezTo>
                    <a:pt x="97188" y="111735"/>
                    <a:pt x="95946" y="113887"/>
                    <a:pt x="95804" y="116244"/>
                  </a:cubicBezTo>
                  <a:lnTo>
                    <a:pt x="90899" y="197969"/>
                  </a:lnTo>
                  <a:cubicBezTo>
                    <a:pt x="90651" y="202104"/>
                    <a:pt x="93801" y="205658"/>
                    <a:pt x="97936" y="205905"/>
                  </a:cubicBezTo>
                  <a:cubicBezTo>
                    <a:pt x="99556" y="206003"/>
                    <a:pt x="101163" y="205572"/>
                    <a:pt x="102518" y="204678"/>
                  </a:cubicBezTo>
                  <a:lnTo>
                    <a:pt x="170841" y="159566"/>
                  </a:lnTo>
                  <a:cubicBezTo>
                    <a:pt x="172812" y="158265"/>
                    <a:pt x="174054" y="156113"/>
                    <a:pt x="174197" y="153756"/>
                  </a:cubicBezTo>
                  <a:lnTo>
                    <a:pt x="179102" y="72031"/>
                  </a:lnTo>
                  <a:cubicBezTo>
                    <a:pt x="179349" y="67896"/>
                    <a:pt x="176199" y="64343"/>
                    <a:pt x="172064" y="64095"/>
                  </a:cubicBezTo>
                  <a:cubicBezTo>
                    <a:pt x="170445" y="63998"/>
                    <a:pt x="168837" y="64428"/>
                    <a:pt x="167483" y="6532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14" name="Рисунок 158">
            <a:extLst>
              <a:ext uri="{FF2B5EF4-FFF2-40B4-BE49-F238E27FC236}">
                <a16:creationId xmlns:a16="http://schemas.microsoft.com/office/drawing/2014/main" id="{A236F51F-C8EA-2E4D-9267-D505CC247253}"/>
              </a:ext>
            </a:extLst>
          </p:cNvPr>
          <p:cNvGrpSpPr/>
          <p:nvPr/>
        </p:nvGrpSpPr>
        <p:grpSpPr>
          <a:xfrm>
            <a:off x="5958953" y="1769207"/>
            <a:ext cx="360000" cy="360000"/>
            <a:chOff x="5981255" y="2085929"/>
            <a:chExt cx="360000" cy="360000"/>
          </a:xfrm>
        </p:grpSpPr>
        <p:sp>
          <p:nvSpPr>
            <p:cNvPr id="715" name="Полилиния 714">
              <a:extLst>
                <a:ext uri="{FF2B5EF4-FFF2-40B4-BE49-F238E27FC236}">
                  <a16:creationId xmlns:a16="http://schemas.microsoft.com/office/drawing/2014/main" id="{087D2197-590F-0540-AB41-03C436A4B438}"/>
                </a:ext>
              </a:extLst>
            </p:cNvPr>
            <p:cNvSpPr/>
            <p:nvPr/>
          </p:nvSpPr>
          <p:spPr>
            <a:xfrm>
              <a:off x="5981255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6" name="Полилиния 715">
              <a:extLst>
                <a:ext uri="{FF2B5EF4-FFF2-40B4-BE49-F238E27FC236}">
                  <a16:creationId xmlns:a16="http://schemas.microsoft.com/office/drawing/2014/main" id="{934997F0-A982-4D4D-A812-D868727FF184}"/>
                </a:ext>
              </a:extLst>
            </p:cNvPr>
            <p:cNvSpPr/>
            <p:nvPr/>
          </p:nvSpPr>
          <p:spPr>
            <a:xfrm>
              <a:off x="6011255" y="2145929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7" name="Скругленный прямоугольник 716">
              <a:extLst>
                <a:ext uri="{FF2B5EF4-FFF2-40B4-BE49-F238E27FC236}">
                  <a16:creationId xmlns:a16="http://schemas.microsoft.com/office/drawing/2014/main" id="{8A7824AB-231B-5F48-AE64-BE109E3EADA8}"/>
                </a:ext>
              </a:extLst>
            </p:cNvPr>
            <p:cNvSpPr/>
            <p:nvPr/>
          </p:nvSpPr>
          <p:spPr>
            <a:xfrm rot="-2700000">
              <a:off x="6092447" y="2274263"/>
              <a:ext cx="47142" cy="47142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8" name="Скругленный прямоугольник 717">
              <a:extLst>
                <a:ext uri="{FF2B5EF4-FFF2-40B4-BE49-F238E27FC236}">
                  <a16:creationId xmlns:a16="http://schemas.microsoft.com/office/drawing/2014/main" id="{9002E15C-DA38-7C43-BCC0-FB65088CF0C5}"/>
                </a:ext>
              </a:extLst>
            </p:cNvPr>
            <p:cNvSpPr/>
            <p:nvPr/>
          </p:nvSpPr>
          <p:spPr>
            <a:xfrm rot="-2700000">
              <a:off x="6186733" y="2274264"/>
              <a:ext cx="47142" cy="47142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9" name="Скругленный прямоугольник 718">
              <a:extLst>
                <a:ext uri="{FF2B5EF4-FFF2-40B4-BE49-F238E27FC236}">
                  <a16:creationId xmlns:a16="http://schemas.microsoft.com/office/drawing/2014/main" id="{D934DC03-6755-2C46-BEF9-C932A115377E}"/>
                </a:ext>
              </a:extLst>
            </p:cNvPr>
            <p:cNvSpPr/>
            <p:nvPr/>
          </p:nvSpPr>
          <p:spPr>
            <a:xfrm rot="-2700000">
              <a:off x="6139590" y="2321406"/>
              <a:ext cx="47142" cy="47142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0" name="Скругленный прямоугольник 719">
              <a:extLst>
                <a:ext uri="{FF2B5EF4-FFF2-40B4-BE49-F238E27FC236}">
                  <a16:creationId xmlns:a16="http://schemas.microsoft.com/office/drawing/2014/main" id="{2CF29DE5-3D02-F747-8092-85D62DC0C6AC}"/>
                </a:ext>
              </a:extLst>
            </p:cNvPr>
            <p:cNvSpPr/>
            <p:nvPr/>
          </p:nvSpPr>
          <p:spPr>
            <a:xfrm rot="-2700000">
              <a:off x="6139590" y="2227121"/>
              <a:ext cx="47142" cy="47142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21" name="Рисунок 159">
            <a:extLst>
              <a:ext uri="{FF2B5EF4-FFF2-40B4-BE49-F238E27FC236}">
                <a16:creationId xmlns:a16="http://schemas.microsoft.com/office/drawing/2014/main" id="{568F0F82-DDCF-8D40-80AE-08A1278C5E6B}"/>
              </a:ext>
            </a:extLst>
          </p:cNvPr>
          <p:cNvGrpSpPr/>
          <p:nvPr/>
        </p:nvGrpSpPr>
        <p:grpSpPr>
          <a:xfrm>
            <a:off x="1428155" y="1769207"/>
            <a:ext cx="360000" cy="360000"/>
            <a:chOff x="1450457" y="2085929"/>
            <a:chExt cx="360000" cy="360000"/>
          </a:xfrm>
        </p:grpSpPr>
        <p:sp>
          <p:nvSpPr>
            <p:cNvPr id="722" name="Полилиния 721">
              <a:extLst>
                <a:ext uri="{FF2B5EF4-FFF2-40B4-BE49-F238E27FC236}">
                  <a16:creationId xmlns:a16="http://schemas.microsoft.com/office/drawing/2014/main" id="{B7B8204E-2BBF-3842-A8A3-5E00BBB38EBD}"/>
                </a:ext>
              </a:extLst>
            </p:cNvPr>
            <p:cNvSpPr/>
            <p:nvPr/>
          </p:nvSpPr>
          <p:spPr>
            <a:xfrm>
              <a:off x="1450457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3" name="Полилиния 722">
              <a:extLst>
                <a:ext uri="{FF2B5EF4-FFF2-40B4-BE49-F238E27FC236}">
                  <a16:creationId xmlns:a16="http://schemas.microsoft.com/office/drawing/2014/main" id="{10F439E6-6D5B-9A42-81A5-E3039A26ABA1}"/>
                </a:ext>
              </a:extLst>
            </p:cNvPr>
            <p:cNvSpPr/>
            <p:nvPr/>
          </p:nvSpPr>
          <p:spPr>
            <a:xfrm>
              <a:off x="1510457" y="2115929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4" name="Полилиния 723">
              <a:extLst>
                <a:ext uri="{FF2B5EF4-FFF2-40B4-BE49-F238E27FC236}">
                  <a16:creationId xmlns:a16="http://schemas.microsoft.com/office/drawing/2014/main" id="{F8489F37-A485-264E-BF85-BEC22B70282F}"/>
                </a:ext>
              </a:extLst>
            </p:cNvPr>
            <p:cNvSpPr/>
            <p:nvPr/>
          </p:nvSpPr>
          <p:spPr>
            <a:xfrm rot="-2700000">
              <a:off x="1561649" y="2244264"/>
              <a:ext cx="47142" cy="47142"/>
            </a:xfrm>
            <a:custGeom>
              <a:avLst/>
              <a:gdLst>
                <a:gd name="connsiteX0" fmla="*/ 35893 w 47142"/>
                <a:gd name="connsiteY0" fmla="*/ 0 h 47142"/>
                <a:gd name="connsiteX1" fmla="*/ 47143 w 47142"/>
                <a:gd name="connsiteY1" fmla="*/ 0 h 47142"/>
                <a:gd name="connsiteX2" fmla="*/ 47143 w 47142"/>
                <a:gd name="connsiteY2" fmla="*/ 47143 h 47142"/>
                <a:gd name="connsiteX3" fmla="*/ 35893 w 47142"/>
                <a:gd name="connsiteY3" fmla="*/ 47143 h 47142"/>
                <a:gd name="connsiteX4" fmla="*/ 11250 w 47142"/>
                <a:gd name="connsiteY4" fmla="*/ 47143 h 47142"/>
                <a:gd name="connsiteX5" fmla="*/ 0 w 47142"/>
                <a:gd name="connsiteY5" fmla="*/ 47143 h 47142"/>
                <a:gd name="connsiteX6" fmla="*/ 0 w 47142"/>
                <a:gd name="connsiteY6" fmla="*/ 0 h 47142"/>
                <a:gd name="connsiteX7" fmla="*/ 11250 w 47142"/>
                <a:gd name="connsiteY7" fmla="*/ 0 h 4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142" h="47142">
                  <a:moveTo>
                    <a:pt x="35893" y="0"/>
                  </a:moveTo>
                  <a:cubicBezTo>
                    <a:pt x="42106" y="0"/>
                    <a:pt x="47143" y="0"/>
                    <a:pt x="47143" y="0"/>
                  </a:cubicBezTo>
                  <a:lnTo>
                    <a:pt x="47143" y="47143"/>
                  </a:lnTo>
                  <a:cubicBezTo>
                    <a:pt x="47143" y="47143"/>
                    <a:pt x="42106" y="47143"/>
                    <a:pt x="35893" y="47143"/>
                  </a:cubicBezTo>
                  <a:lnTo>
                    <a:pt x="11250" y="47143"/>
                  </a:lnTo>
                  <a:cubicBezTo>
                    <a:pt x="5037" y="47143"/>
                    <a:pt x="0" y="47143"/>
                    <a:pt x="0" y="47143"/>
                  </a:cubicBezTo>
                  <a:lnTo>
                    <a:pt x="0" y="0"/>
                  </a:lnTo>
                  <a:cubicBezTo>
                    <a:pt x="0" y="0"/>
                    <a:pt x="5037" y="0"/>
                    <a:pt x="1125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5" name="Полилиния 724">
              <a:extLst>
                <a:ext uri="{FF2B5EF4-FFF2-40B4-BE49-F238E27FC236}">
                  <a16:creationId xmlns:a16="http://schemas.microsoft.com/office/drawing/2014/main" id="{6855E764-51B9-644F-A528-5A57BFE2D564}"/>
                </a:ext>
              </a:extLst>
            </p:cNvPr>
            <p:cNvSpPr/>
            <p:nvPr/>
          </p:nvSpPr>
          <p:spPr>
            <a:xfrm rot="-2700000">
              <a:off x="1655934" y="2244264"/>
              <a:ext cx="47142" cy="47142"/>
            </a:xfrm>
            <a:custGeom>
              <a:avLst/>
              <a:gdLst>
                <a:gd name="connsiteX0" fmla="*/ 35893 w 47142"/>
                <a:gd name="connsiteY0" fmla="*/ 0 h 47142"/>
                <a:gd name="connsiteX1" fmla="*/ 47143 w 47142"/>
                <a:gd name="connsiteY1" fmla="*/ 0 h 47142"/>
                <a:gd name="connsiteX2" fmla="*/ 47143 w 47142"/>
                <a:gd name="connsiteY2" fmla="*/ 47143 h 47142"/>
                <a:gd name="connsiteX3" fmla="*/ 35893 w 47142"/>
                <a:gd name="connsiteY3" fmla="*/ 47143 h 47142"/>
                <a:gd name="connsiteX4" fmla="*/ 11250 w 47142"/>
                <a:gd name="connsiteY4" fmla="*/ 47143 h 47142"/>
                <a:gd name="connsiteX5" fmla="*/ 0 w 47142"/>
                <a:gd name="connsiteY5" fmla="*/ 47143 h 47142"/>
                <a:gd name="connsiteX6" fmla="*/ 0 w 47142"/>
                <a:gd name="connsiteY6" fmla="*/ 0 h 47142"/>
                <a:gd name="connsiteX7" fmla="*/ 11250 w 47142"/>
                <a:gd name="connsiteY7" fmla="*/ 0 h 4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142" h="47142">
                  <a:moveTo>
                    <a:pt x="35893" y="0"/>
                  </a:moveTo>
                  <a:cubicBezTo>
                    <a:pt x="42106" y="0"/>
                    <a:pt x="47143" y="0"/>
                    <a:pt x="47143" y="0"/>
                  </a:cubicBezTo>
                  <a:lnTo>
                    <a:pt x="47143" y="47143"/>
                  </a:lnTo>
                  <a:cubicBezTo>
                    <a:pt x="47143" y="47143"/>
                    <a:pt x="42106" y="47143"/>
                    <a:pt x="35893" y="47143"/>
                  </a:cubicBezTo>
                  <a:lnTo>
                    <a:pt x="11250" y="47143"/>
                  </a:lnTo>
                  <a:cubicBezTo>
                    <a:pt x="5037" y="47143"/>
                    <a:pt x="0" y="47143"/>
                    <a:pt x="0" y="47143"/>
                  </a:cubicBezTo>
                  <a:lnTo>
                    <a:pt x="0" y="0"/>
                  </a:lnTo>
                  <a:cubicBezTo>
                    <a:pt x="0" y="0"/>
                    <a:pt x="5037" y="0"/>
                    <a:pt x="1125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6" name="Полилиния 725">
              <a:extLst>
                <a:ext uri="{FF2B5EF4-FFF2-40B4-BE49-F238E27FC236}">
                  <a16:creationId xmlns:a16="http://schemas.microsoft.com/office/drawing/2014/main" id="{9F409DEB-D70B-AF4B-A0C6-74823A0594D8}"/>
                </a:ext>
              </a:extLst>
            </p:cNvPr>
            <p:cNvSpPr/>
            <p:nvPr/>
          </p:nvSpPr>
          <p:spPr>
            <a:xfrm rot="-2700000">
              <a:off x="1608792" y="2291405"/>
              <a:ext cx="47142" cy="47142"/>
            </a:xfrm>
            <a:custGeom>
              <a:avLst/>
              <a:gdLst>
                <a:gd name="connsiteX0" fmla="*/ 35893 w 47142"/>
                <a:gd name="connsiteY0" fmla="*/ 0 h 47142"/>
                <a:gd name="connsiteX1" fmla="*/ 47143 w 47142"/>
                <a:gd name="connsiteY1" fmla="*/ 0 h 47142"/>
                <a:gd name="connsiteX2" fmla="*/ 47143 w 47142"/>
                <a:gd name="connsiteY2" fmla="*/ 47143 h 47142"/>
                <a:gd name="connsiteX3" fmla="*/ 35893 w 47142"/>
                <a:gd name="connsiteY3" fmla="*/ 47143 h 47142"/>
                <a:gd name="connsiteX4" fmla="*/ 11250 w 47142"/>
                <a:gd name="connsiteY4" fmla="*/ 47143 h 47142"/>
                <a:gd name="connsiteX5" fmla="*/ 0 w 47142"/>
                <a:gd name="connsiteY5" fmla="*/ 47143 h 47142"/>
                <a:gd name="connsiteX6" fmla="*/ 0 w 47142"/>
                <a:gd name="connsiteY6" fmla="*/ 0 h 47142"/>
                <a:gd name="connsiteX7" fmla="*/ 11250 w 47142"/>
                <a:gd name="connsiteY7" fmla="*/ 0 h 4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142" h="47142">
                  <a:moveTo>
                    <a:pt x="35893" y="0"/>
                  </a:moveTo>
                  <a:cubicBezTo>
                    <a:pt x="42106" y="0"/>
                    <a:pt x="47143" y="0"/>
                    <a:pt x="47143" y="0"/>
                  </a:cubicBezTo>
                  <a:lnTo>
                    <a:pt x="47143" y="47143"/>
                  </a:lnTo>
                  <a:cubicBezTo>
                    <a:pt x="47143" y="47143"/>
                    <a:pt x="42106" y="47143"/>
                    <a:pt x="35893" y="47143"/>
                  </a:cubicBezTo>
                  <a:lnTo>
                    <a:pt x="11250" y="47143"/>
                  </a:lnTo>
                  <a:cubicBezTo>
                    <a:pt x="5037" y="47143"/>
                    <a:pt x="0" y="47143"/>
                    <a:pt x="0" y="47143"/>
                  </a:cubicBezTo>
                  <a:lnTo>
                    <a:pt x="0" y="0"/>
                  </a:lnTo>
                  <a:cubicBezTo>
                    <a:pt x="0" y="0"/>
                    <a:pt x="5037" y="0"/>
                    <a:pt x="1125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7" name="Полилиния 726">
              <a:extLst>
                <a:ext uri="{FF2B5EF4-FFF2-40B4-BE49-F238E27FC236}">
                  <a16:creationId xmlns:a16="http://schemas.microsoft.com/office/drawing/2014/main" id="{E7B6EF98-7597-774C-89C8-474989F8B161}"/>
                </a:ext>
              </a:extLst>
            </p:cNvPr>
            <p:cNvSpPr/>
            <p:nvPr/>
          </p:nvSpPr>
          <p:spPr>
            <a:xfrm rot="-2700000">
              <a:off x="1608792" y="2197121"/>
              <a:ext cx="47142" cy="47142"/>
            </a:xfrm>
            <a:custGeom>
              <a:avLst/>
              <a:gdLst>
                <a:gd name="connsiteX0" fmla="*/ 35893 w 47142"/>
                <a:gd name="connsiteY0" fmla="*/ 0 h 47142"/>
                <a:gd name="connsiteX1" fmla="*/ 47143 w 47142"/>
                <a:gd name="connsiteY1" fmla="*/ 0 h 47142"/>
                <a:gd name="connsiteX2" fmla="*/ 47143 w 47142"/>
                <a:gd name="connsiteY2" fmla="*/ 47143 h 47142"/>
                <a:gd name="connsiteX3" fmla="*/ 35893 w 47142"/>
                <a:gd name="connsiteY3" fmla="*/ 47143 h 47142"/>
                <a:gd name="connsiteX4" fmla="*/ 11250 w 47142"/>
                <a:gd name="connsiteY4" fmla="*/ 47143 h 47142"/>
                <a:gd name="connsiteX5" fmla="*/ 0 w 47142"/>
                <a:gd name="connsiteY5" fmla="*/ 47143 h 47142"/>
                <a:gd name="connsiteX6" fmla="*/ 0 w 47142"/>
                <a:gd name="connsiteY6" fmla="*/ 0 h 47142"/>
                <a:gd name="connsiteX7" fmla="*/ 11250 w 47142"/>
                <a:gd name="connsiteY7" fmla="*/ 0 h 4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142" h="47142">
                  <a:moveTo>
                    <a:pt x="35893" y="0"/>
                  </a:moveTo>
                  <a:cubicBezTo>
                    <a:pt x="42106" y="0"/>
                    <a:pt x="47143" y="0"/>
                    <a:pt x="47143" y="0"/>
                  </a:cubicBezTo>
                  <a:lnTo>
                    <a:pt x="47143" y="47143"/>
                  </a:lnTo>
                  <a:cubicBezTo>
                    <a:pt x="47143" y="47143"/>
                    <a:pt x="42106" y="47143"/>
                    <a:pt x="35893" y="47143"/>
                  </a:cubicBezTo>
                  <a:lnTo>
                    <a:pt x="11250" y="47143"/>
                  </a:lnTo>
                  <a:cubicBezTo>
                    <a:pt x="5037" y="47143"/>
                    <a:pt x="0" y="47143"/>
                    <a:pt x="0" y="47143"/>
                  </a:cubicBezTo>
                  <a:lnTo>
                    <a:pt x="0" y="0"/>
                  </a:lnTo>
                  <a:cubicBezTo>
                    <a:pt x="0" y="0"/>
                    <a:pt x="5037" y="0"/>
                    <a:pt x="1125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28" name="Рисунок 160">
            <a:extLst>
              <a:ext uri="{FF2B5EF4-FFF2-40B4-BE49-F238E27FC236}">
                <a16:creationId xmlns:a16="http://schemas.microsoft.com/office/drawing/2014/main" id="{F9BC97D7-AEF0-A043-A821-09916774BBF9}"/>
              </a:ext>
            </a:extLst>
          </p:cNvPr>
          <p:cNvGrpSpPr/>
          <p:nvPr/>
        </p:nvGrpSpPr>
        <p:grpSpPr>
          <a:xfrm>
            <a:off x="3693554" y="1769207"/>
            <a:ext cx="360000" cy="360000"/>
            <a:chOff x="3715856" y="2085929"/>
            <a:chExt cx="360000" cy="360000"/>
          </a:xfrm>
        </p:grpSpPr>
        <p:sp>
          <p:nvSpPr>
            <p:cNvPr id="729" name="Полилиния 728">
              <a:extLst>
                <a:ext uri="{FF2B5EF4-FFF2-40B4-BE49-F238E27FC236}">
                  <a16:creationId xmlns:a16="http://schemas.microsoft.com/office/drawing/2014/main" id="{467474D9-1E16-B94B-96C6-3C42DA49B502}"/>
                </a:ext>
              </a:extLst>
            </p:cNvPr>
            <p:cNvSpPr/>
            <p:nvPr/>
          </p:nvSpPr>
          <p:spPr>
            <a:xfrm>
              <a:off x="3715856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0" name="Полилиния 729">
              <a:extLst>
                <a:ext uri="{FF2B5EF4-FFF2-40B4-BE49-F238E27FC236}">
                  <a16:creationId xmlns:a16="http://schemas.microsoft.com/office/drawing/2014/main" id="{54BD75B2-5D74-144C-B11D-1F65F0486C6F}"/>
                </a:ext>
              </a:extLst>
            </p:cNvPr>
            <p:cNvSpPr/>
            <p:nvPr/>
          </p:nvSpPr>
          <p:spPr>
            <a:xfrm>
              <a:off x="3747675" y="2207748"/>
              <a:ext cx="288639" cy="108639"/>
            </a:xfrm>
            <a:custGeom>
              <a:avLst/>
              <a:gdLst>
                <a:gd name="connsiteX0" fmla="*/ 6590 w 288639"/>
                <a:gd name="connsiteY0" fmla="*/ 38410 h 108639"/>
                <a:gd name="connsiteX1" fmla="*/ 38410 w 288639"/>
                <a:gd name="connsiteY1" fmla="*/ 6590 h 108639"/>
                <a:gd name="connsiteX2" fmla="*/ 70230 w 288639"/>
                <a:gd name="connsiteY2" fmla="*/ 6590 h 108639"/>
                <a:gd name="connsiteX3" fmla="*/ 102050 w 288639"/>
                <a:gd name="connsiteY3" fmla="*/ 38410 h 108639"/>
                <a:gd name="connsiteX4" fmla="*/ 102050 w 288639"/>
                <a:gd name="connsiteY4" fmla="*/ 70230 h 108639"/>
                <a:gd name="connsiteX5" fmla="*/ 70230 w 288639"/>
                <a:gd name="connsiteY5" fmla="*/ 102049 h 108639"/>
                <a:gd name="connsiteX6" fmla="*/ 38410 w 288639"/>
                <a:gd name="connsiteY6" fmla="*/ 102049 h 108639"/>
                <a:gd name="connsiteX7" fmla="*/ 6590 w 288639"/>
                <a:gd name="connsiteY7" fmla="*/ 70230 h 108639"/>
                <a:gd name="connsiteX8" fmla="*/ 6590 w 288639"/>
                <a:gd name="connsiteY8" fmla="*/ 38410 h 108639"/>
                <a:gd name="connsiteX9" fmla="*/ 186591 w 288639"/>
                <a:gd name="connsiteY9" fmla="*/ 38410 h 108639"/>
                <a:gd name="connsiteX10" fmla="*/ 218410 w 288639"/>
                <a:gd name="connsiteY10" fmla="*/ 6590 h 108639"/>
                <a:gd name="connsiteX11" fmla="*/ 250230 w 288639"/>
                <a:gd name="connsiteY11" fmla="*/ 6590 h 108639"/>
                <a:gd name="connsiteX12" fmla="*/ 282049 w 288639"/>
                <a:gd name="connsiteY12" fmla="*/ 38410 h 108639"/>
                <a:gd name="connsiteX13" fmla="*/ 282049 w 288639"/>
                <a:gd name="connsiteY13" fmla="*/ 70230 h 108639"/>
                <a:gd name="connsiteX14" fmla="*/ 250230 w 288639"/>
                <a:gd name="connsiteY14" fmla="*/ 102049 h 108639"/>
                <a:gd name="connsiteX15" fmla="*/ 218410 w 288639"/>
                <a:gd name="connsiteY15" fmla="*/ 102049 h 108639"/>
                <a:gd name="connsiteX16" fmla="*/ 186591 w 288639"/>
                <a:gd name="connsiteY16" fmla="*/ 70230 h 108639"/>
                <a:gd name="connsiteX17" fmla="*/ 186591 w 288639"/>
                <a:gd name="connsiteY17" fmla="*/ 38410 h 10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8639" h="108639">
                  <a:moveTo>
                    <a:pt x="6590" y="38410"/>
                  </a:moveTo>
                  <a:lnTo>
                    <a:pt x="38410" y="6590"/>
                  </a:lnTo>
                  <a:cubicBezTo>
                    <a:pt x="47197" y="-2197"/>
                    <a:pt x="61443" y="-2197"/>
                    <a:pt x="70230" y="6590"/>
                  </a:cubicBezTo>
                  <a:lnTo>
                    <a:pt x="102050" y="38410"/>
                  </a:lnTo>
                  <a:cubicBezTo>
                    <a:pt x="110836" y="47197"/>
                    <a:pt x="110836" y="61443"/>
                    <a:pt x="102050" y="70230"/>
                  </a:cubicBezTo>
                  <a:lnTo>
                    <a:pt x="70230" y="102049"/>
                  </a:lnTo>
                  <a:cubicBezTo>
                    <a:pt x="61443" y="110836"/>
                    <a:pt x="47197" y="110836"/>
                    <a:pt x="38410" y="102049"/>
                  </a:cubicBezTo>
                  <a:lnTo>
                    <a:pt x="6590" y="70230"/>
                  </a:lnTo>
                  <a:cubicBezTo>
                    <a:pt x="-2197" y="61443"/>
                    <a:pt x="-2197" y="47197"/>
                    <a:pt x="6590" y="38410"/>
                  </a:cubicBezTo>
                  <a:close/>
                  <a:moveTo>
                    <a:pt x="186591" y="38410"/>
                  </a:moveTo>
                  <a:lnTo>
                    <a:pt x="218410" y="6590"/>
                  </a:lnTo>
                  <a:cubicBezTo>
                    <a:pt x="227197" y="-2197"/>
                    <a:pt x="241443" y="-2197"/>
                    <a:pt x="250230" y="6590"/>
                  </a:cubicBezTo>
                  <a:lnTo>
                    <a:pt x="282049" y="38410"/>
                  </a:lnTo>
                  <a:cubicBezTo>
                    <a:pt x="290836" y="47197"/>
                    <a:pt x="290836" y="61443"/>
                    <a:pt x="282049" y="70230"/>
                  </a:cubicBezTo>
                  <a:lnTo>
                    <a:pt x="250230" y="102049"/>
                  </a:lnTo>
                  <a:cubicBezTo>
                    <a:pt x="241443" y="110836"/>
                    <a:pt x="227197" y="110836"/>
                    <a:pt x="218410" y="102049"/>
                  </a:cubicBezTo>
                  <a:lnTo>
                    <a:pt x="186591" y="70230"/>
                  </a:lnTo>
                  <a:cubicBezTo>
                    <a:pt x="177804" y="61443"/>
                    <a:pt x="177804" y="47197"/>
                    <a:pt x="186591" y="3841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1" name="Полилиния 730">
              <a:extLst>
                <a:ext uri="{FF2B5EF4-FFF2-40B4-BE49-F238E27FC236}">
                  <a16:creationId xmlns:a16="http://schemas.microsoft.com/office/drawing/2014/main" id="{01B3B007-AC5D-064B-8A59-AC5CEBCE024C}"/>
                </a:ext>
              </a:extLst>
            </p:cNvPr>
            <p:cNvSpPr/>
            <p:nvPr/>
          </p:nvSpPr>
          <p:spPr>
            <a:xfrm>
              <a:off x="3837675" y="2117748"/>
              <a:ext cx="108639" cy="288639"/>
            </a:xfrm>
            <a:custGeom>
              <a:avLst/>
              <a:gdLst>
                <a:gd name="connsiteX0" fmla="*/ 6590 w 108639"/>
                <a:gd name="connsiteY0" fmla="*/ 218410 h 288639"/>
                <a:gd name="connsiteX1" fmla="*/ 38410 w 108639"/>
                <a:gd name="connsiteY1" fmla="*/ 186591 h 288639"/>
                <a:gd name="connsiteX2" fmla="*/ 70230 w 108639"/>
                <a:gd name="connsiteY2" fmla="*/ 186591 h 288639"/>
                <a:gd name="connsiteX3" fmla="*/ 102049 w 108639"/>
                <a:gd name="connsiteY3" fmla="*/ 218410 h 288639"/>
                <a:gd name="connsiteX4" fmla="*/ 102049 w 108639"/>
                <a:gd name="connsiteY4" fmla="*/ 250230 h 288639"/>
                <a:gd name="connsiteX5" fmla="*/ 70230 w 108639"/>
                <a:gd name="connsiteY5" fmla="*/ 282049 h 288639"/>
                <a:gd name="connsiteX6" fmla="*/ 38410 w 108639"/>
                <a:gd name="connsiteY6" fmla="*/ 282049 h 288639"/>
                <a:gd name="connsiteX7" fmla="*/ 6590 w 108639"/>
                <a:gd name="connsiteY7" fmla="*/ 250230 h 288639"/>
                <a:gd name="connsiteX8" fmla="*/ 6590 w 108639"/>
                <a:gd name="connsiteY8" fmla="*/ 218410 h 288639"/>
                <a:gd name="connsiteX9" fmla="*/ 6590 w 108639"/>
                <a:gd name="connsiteY9" fmla="*/ 38410 h 288639"/>
                <a:gd name="connsiteX10" fmla="*/ 38410 w 108639"/>
                <a:gd name="connsiteY10" fmla="*/ 6590 h 288639"/>
                <a:gd name="connsiteX11" fmla="*/ 70230 w 108639"/>
                <a:gd name="connsiteY11" fmla="*/ 6590 h 288639"/>
                <a:gd name="connsiteX12" fmla="*/ 102049 w 108639"/>
                <a:gd name="connsiteY12" fmla="*/ 38410 h 288639"/>
                <a:gd name="connsiteX13" fmla="*/ 102049 w 108639"/>
                <a:gd name="connsiteY13" fmla="*/ 70230 h 288639"/>
                <a:gd name="connsiteX14" fmla="*/ 70230 w 108639"/>
                <a:gd name="connsiteY14" fmla="*/ 102050 h 288639"/>
                <a:gd name="connsiteX15" fmla="*/ 38410 w 108639"/>
                <a:gd name="connsiteY15" fmla="*/ 102050 h 288639"/>
                <a:gd name="connsiteX16" fmla="*/ 6590 w 108639"/>
                <a:gd name="connsiteY16" fmla="*/ 70230 h 288639"/>
                <a:gd name="connsiteX17" fmla="*/ 6590 w 108639"/>
                <a:gd name="connsiteY17" fmla="*/ 38410 h 28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8639" h="288639">
                  <a:moveTo>
                    <a:pt x="6590" y="218410"/>
                  </a:moveTo>
                  <a:lnTo>
                    <a:pt x="38410" y="186591"/>
                  </a:lnTo>
                  <a:cubicBezTo>
                    <a:pt x="47197" y="177804"/>
                    <a:pt x="61443" y="177804"/>
                    <a:pt x="70230" y="186591"/>
                  </a:cubicBezTo>
                  <a:lnTo>
                    <a:pt x="102049" y="218410"/>
                  </a:lnTo>
                  <a:cubicBezTo>
                    <a:pt x="110836" y="227197"/>
                    <a:pt x="110836" y="241443"/>
                    <a:pt x="102049" y="250230"/>
                  </a:cubicBezTo>
                  <a:lnTo>
                    <a:pt x="70230" y="282049"/>
                  </a:lnTo>
                  <a:cubicBezTo>
                    <a:pt x="61443" y="290836"/>
                    <a:pt x="47197" y="290836"/>
                    <a:pt x="38410" y="282049"/>
                  </a:cubicBezTo>
                  <a:lnTo>
                    <a:pt x="6590" y="250230"/>
                  </a:lnTo>
                  <a:cubicBezTo>
                    <a:pt x="-2197" y="241443"/>
                    <a:pt x="-2197" y="227197"/>
                    <a:pt x="6590" y="218410"/>
                  </a:cubicBezTo>
                  <a:close/>
                  <a:moveTo>
                    <a:pt x="6590" y="38410"/>
                  </a:moveTo>
                  <a:lnTo>
                    <a:pt x="38410" y="6590"/>
                  </a:lnTo>
                  <a:cubicBezTo>
                    <a:pt x="47197" y="-2197"/>
                    <a:pt x="61443" y="-2197"/>
                    <a:pt x="70230" y="6590"/>
                  </a:cubicBezTo>
                  <a:lnTo>
                    <a:pt x="102049" y="38410"/>
                  </a:lnTo>
                  <a:cubicBezTo>
                    <a:pt x="110836" y="47197"/>
                    <a:pt x="110836" y="61443"/>
                    <a:pt x="102049" y="70230"/>
                  </a:cubicBezTo>
                  <a:lnTo>
                    <a:pt x="70230" y="102050"/>
                  </a:lnTo>
                  <a:cubicBezTo>
                    <a:pt x="61443" y="110836"/>
                    <a:pt x="47197" y="110836"/>
                    <a:pt x="38410" y="102050"/>
                  </a:cubicBezTo>
                  <a:lnTo>
                    <a:pt x="6590" y="70230"/>
                  </a:lnTo>
                  <a:cubicBezTo>
                    <a:pt x="-2197" y="61443"/>
                    <a:pt x="-2197" y="47197"/>
                    <a:pt x="6590" y="3841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32" name="Рисунок 161">
            <a:extLst>
              <a:ext uri="{FF2B5EF4-FFF2-40B4-BE49-F238E27FC236}">
                <a16:creationId xmlns:a16="http://schemas.microsoft.com/office/drawing/2014/main" id="{96160C28-3550-7441-B96A-5A358C3AF170}"/>
              </a:ext>
            </a:extLst>
          </p:cNvPr>
          <p:cNvGrpSpPr/>
          <p:nvPr/>
        </p:nvGrpSpPr>
        <p:grpSpPr>
          <a:xfrm>
            <a:off x="8224352" y="1769207"/>
            <a:ext cx="360000" cy="360000"/>
            <a:chOff x="8246654" y="2085929"/>
            <a:chExt cx="360000" cy="360000"/>
          </a:xfrm>
        </p:grpSpPr>
        <p:sp>
          <p:nvSpPr>
            <p:cNvPr id="733" name="Полилиния 732">
              <a:extLst>
                <a:ext uri="{FF2B5EF4-FFF2-40B4-BE49-F238E27FC236}">
                  <a16:creationId xmlns:a16="http://schemas.microsoft.com/office/drawing/2014/main" id="{9A1C43FA-C25C-E541-806D-AAEBA72FA302}"/>
                </a:ext>
              </a:extLst>
            </p:cNvPr>
            <p:cNvSpPr/>
            <p:nvPr/>
          </p:nvSpPr>
          <p:spPr>
            <a:xfrm>
              <a:off x="8246654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4" name="Полилиния 733">
              <a:extLst>
                <a:ext uri="{FF2B5EF4-FFF2-40B4-BE49-F238E27FC236}">
                  <a16:creationId xmlns:a16="http://schemas.microsoft.com/office/drawing/2014/main" id="{C82499BA-EBD8-414B-AFFC-8BD45EB83138}"/>
                </a:ext>
              </a:extLst>
            </p:cNvPr>
            <p:cNvSpPr/>
            <p:nvPr/>
          </p:nvSpPr>
          <p:spPr>
            <a:xfrm>
              <a:off x="8306607" y="2132146"/>
              <a:ext cx="240093" cy="267564"/>
            </a:xfrm>
            <a:custGeom>
              <a:avLst/>
              <a:gdLst>
                <a:gd name="connsiteX0" fmla="*/ 131210 w 240093"/>
                <a:gd name="connsiteY0" fmla="*/ 2964 h 267564"/>
                <a:gd name="connsiteX1" fmla="*/ 228756 w 240093"/>
                <a:gd name="connsiteY1" fmla="*/ 58706 h 267564"/>
                <a:gd name="connsiteX2" fmla="*/ 240093 w 240093"/>
                <a:gd name="connsiteY2" fmla="*/ 78241 h 267564"/>
                <a:gd name="connsiteX3" fmla="*/ 240093 w 240093"/>
                <a:gd name="connsiteY3" fmla="*/ 189323 h 267564"/>
                <a:gd name="connsiteX4" fmla="*/ 228756 w 240093"/>
                <a:gd name="connsiteY4" fmla="*/ 208859 h 267564"/>
                <a:gd name="connsiteX5" fmla="*/ 131210 w 240093"/>
                <a:gd name="connsiteY5" fmla="*/ 264600 h 267564"/>
                <a:gd name="connsiteX6" fmla="*/ 108884 w 240093"/>
                <a:gd name="connsiteY6" fmla="*/ 264600 h 267564"/>
                <a:gd name="connsiteX7" fmla="*/ 11337 w 240093"/>
                <a:gd name="connsiteY7" fmla="*/ 208859 h 267564"/>
                <a:gd name="connsiteX8" fmla="*/ 0 w 240093"/>
                <a:gd name="connsiteY8" fmla="*/ 189323 h 267564"/>
                <a:gd name="connsiteX9" fmla="*/ 0 w 240093"/>
                <a:gd name="connsiteY9" fmla="*/ 78241 h 267564"/>
                <a:gd name="connsiteX10" fmla="*/ 11337 w 240093"/>
                <a:gd name="connsiteY10" fmla="*/ 58706 h 267564"/>
                <a:gd name="connsiteX11" fmla="*/ 108884 w 240093"/>
                <a:gd name="connsiteY11" fmla="*/ 2964 h 267564"/>
                <a:gd name="connsiteX12" fmla="*/ 131210 w 240093"/>
                <a:gd name="connsiteY12" fmla="*/ 2964 h 267564"/>
                <a:gd name="connsiteX13" fmla="*/ 120047 w 240093"/>
                <a:gd name="connsiteY13" fmla="*/ 171282 h 267564"/>
                <a:gd name="connsiteX14" fmla="*/ 157547 w 240093"/>
                <a:gd name="connsiteY14" fmla="*/ 133782 h 267564"/>
                <a:gd name="connsiteX15" fmla="*/ 120047 w 240093"/>
                <a:gd name="connsiteY15" fmla="*/ 96282 h 267564"/>
                <a:gd name="connsiteX16" fmla="*/ 82547 w 240093"/>
                <a:gd name="connsiteY16" fmla="*/ 133782 h 267564"/>
                <a:gd name="connsiteX17" fmla="*/ 120047 w 240093"/>
                <a:gd name="connsiteY17" fmla="*/ 171282 h 267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093" h="267564">
                  <a:moveTo>
                    <a:pt x="131210" y="2964"/>
                  </a:moveTo>
                  <a:lnTo>
                    <a:pt x="228756" y="58706"/>
                  </a:lnTo>
                  <a:cubicBezTo>
                    <a:pt x="235767" y="62712"/>
                    <a:pt x="240093" y="70167"/>
                    <a:pt x="240093" y="78241"/>
                  </a:cubicBezTo>
                  <a:lnTo>
                    <a:pt x="240093" y="189323"/>
                  </a:lnTo>
                  <a:cubicBezTo>
                    <a:pt x="240093" y="197397"/>
                    <a:pt x="235767" y="204852"/>
                    <a:pt x="228756" y="208859"/>
                  </a:cubicBezTo>
                  <a:lnTo>
                    <a:pt x="131210" y="264600"/>
                  </a:lnTo>
                  <a:cubicBezTo>
                    <a:pt x="124293" y="268553"/>
                    <a:pt x="115800" y="268553"/>
                    <a:pt x="108884" y="264600"/>
                  </a:cubicBezTo>
                  <a:lnTo>
                    <a:pt x="11337" y="208859"/>
                  </a:lnTo>
                  <a:cubicBezTo>
                    <a:pt x="4326" y="204852"/>
                    <a:pt x="0" y="197397"/>
                    <a:pt x="0" y="189323"/>
                  </a:cubicBezTo>
                  <a:lnTo>
                    <a:pt x="0" y="78241"/>
                  </a:lnTo>
                  <a:cubicBezTo>
                    <a:pt x="0" y="70167"/>
                    <a:pt x="4326" y="62712"/>
                    <a:pt x="11337" y="58706"/>
                  </a:cubicBezTo>
                  <a:lnTo>
                    <a:pt x="108884" y="2964"/>
                  </a:lnTo>
                  <a:cubicBezTo>
                    <a:pt x="115800" y="-988"/>
                    <a:pt x="124293" y="-988"/>
                    <a:pt x="131210" y="2964"/>
                  </a:cubicBezTo>
                  <a:close/>
                  <a:moveTo>
                    <a:pt x="120047" y="171282"/>
                  </a:moveTo>
                  <a:cubicBezTo>
                    <a:pt x="140757" y="171282"/>
                    <a:pt x="157547" y="154493"/>
                    <a:pt x="157547" y="133782"/>
                  </a:cubicBezTo>
                  <a:cubicBezTo>
                    <a:pt x="157547" y="113072"/>
                    <a:pt x="140757" y="96282"/>
                    <a:pt x="120047" y="96282"/>
                  </a:cubicBezTo>
                  <a:cubicBezTo>
                    <a:pt x="99336" y="96282"/>
                    <a:pt x="82547" y="113072"/>
                    <a:pt x="82547" y="133782"/>
                  </a:cubicBezTo>
                  <a:cubicBezTo>
                    <a:pt x="82547" y="154493"/>
                    <a:pt x="99336" y="171282"/>
                    <a:pt x="120047" y="171282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735" name="Рисунок 162">
            <a:extLst>
              <a:ext uri="{FF2B5EF4-FFF2-40B4-BE49-F238E27FC236}">
                <a16:creationId xmlns:a16="http://schemas.microsoft.com/office/drawing/2014/main" id="{E5FF5D3E-259B-6B48-A658-2297F0E71718}"/>
              </a:ext>
            </a:extLst>
          </p:cNvPr>
          <p:cNvGrpSpPr/>
          <p:nvPr/>
        </p:nvGrpSpPr>
        <p:grpSpPr>
          <a:xfrm>
            <a:off x="2183288" y="1769207"/>
            <a:ext cx="360000" cy="360000"/>
            <a:chOff x="2205590" y="2085929"/>
            <a:chExt cx="360000" cy="360000"/>
          </a:xfrm>
        </p:grpSpPr>
        <p:sp>
          <p:nvSpPr>
            <p:cNvPr id="736" name="Полилиния 735">
              <a:extLst>
                <a:ext uri="{FF2B5EF4-FFF2-40B4-BE49-F238E27FC236}">
                  <a16:creationId xmlns:a16="http://schemas.microsoft.com/office/drawing/2014/main" id="{4E6D7914-0FEA-534C-BA10-E1247F6D31B9}"/>
                </a:ext>
              </a:extLst>
            </p:cNvPr>
            <p:cNvSpPr/>
            <p:nvPr/>
          </p:nvSpPr>
          <p:spPr>
            <a:xfrm>
              <a:off x="2205590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7" name="Полилиния 736">
              <a:extLst>
                <a:ext uri="{FF2B5EF4-FFF2-40B4-BE49-F238E27FC236}">
                  <a16:creationId xmlns:a16="http://schemas.microsoft.com/office/drawing/2014/main" id="{98239E36-DAA0-F34B-A04F-672AC7CC73C9}"/>
                </a:ext>
              </a:extLst>
            </p:cNvPr>
            <p:cNvSpPr/>
            <p:nvPr/>
          </p:nvSpPr>
          <p:spPr>
            <a:xfrm>
              <a:off x="2235590" y="2115929"/>
              <a:ext cx="300000" cy="300000"/>
            </a:xfrm>
            <a:custGeom>
              <a:avLst/>
              <a:gdLst>
                <a:gd name="connsiteX0" fmla="*/ 300000 w 300000"/>
                <a:gd name="connsiteY0" fmla="*/ 150000 h 300000"/>
                <a:gd name="connsiteX1" fmla="*/ 150000 w 300000"/>
                <a:gd name="connsiteY1" fmla="*/ 300000 h 300000"/>
                <a:gd name="connsiteX2" fmla="*/ 0 w 300000"/>
                <a:gd name="connsiteY2" fmla="*/ 150000 h 300000"/>
                <a:gd name="connsiteX3" fmla="*/ 150000 w 300000"/>
                <a:gd name="connsiteY3" fmla="*/ 0 h 300000"/>
                <a:gd name="connsiteX4" fmla="*/ 300000 w 300000"/>
                <a:gd name="connsiteY4" fmla="*/ 15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0" h="300000">
                  <a:moveTo>
                    <a:pt x="300000" y="150000"/>
                  </a:moveTo>
                  <a:cubicBezTo>
                    <a:pt x="300000" y="232843"/>
                    <a:pt x="232843" y="300000"/>
                    <a:pt x="150000" y="300000"/>
                  </a:cubicBezTo>
                  <a:cubicBezTo>
                    <a:pt x="67157" y="300000"/>
                    <a:pt x="0" y="232843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3" y="0"/>
                    <a:pt x="300000" y="67157"/>
                    <a:pt x="300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8" name="Полилиния 737">
              <a:extLst>
                <a:ext uri="{FF2B5EF4-FFF2-40B4-BE49-F238E27FC236}">
                  <a16:creationId xmlns:a16="http://schemas.microsoft.com/office/drawing/2014/main" id="{A9B6A1FA-EAF0-E14E-9C2A-3CFEB1B15607}"/>
                </a:ext>
              </a:extLst>
            </p:cNvPr>
            <p:cNvSpPr/>
            <p:nvPr/>
          </p:nvSpPr>
          <p:spPr>
            <a:xfrm>
              <a:off x="2310589" y="2190929"/>
              <a:ext cx="149999" cy="150000"/>
            </a:xfrm>
            <a:custGeom>
              <a:avLst/>
              <a:gdLst>
                <a:gd name="connsiteX0" fmla="*/ 75000 w 149999"/>
                <a:gd name="connsiteY0" fmla="*/ 60000 h 150000"/>
                <a:gd name="connsiteX1" fmla="*/ 45000 w 149999"/>
                <a:gd name="connsiteY1" fmla="*/ 30000 h 150000"/>
                <a:gd name="connsiteX2" fmla="*/ 75000 w 149999"/>
                <a:gd name="connsiteY2" fmla="*/ 0 h 150000"/>
                <a:gd name="connsiteX3" fmla="*/ 105000 w 149999"/>
                <a:gd name="connsiteY3" fmla="*/ 30000 h 150000"/>
                <a:gd name="connsiteX4" fmla="*/ 75000 w 149999"/>
                <a:gd name="connsiteY4" fmla="*/ 60000 h 150000"/>
                <a:gd name="connsiteX5" fmla="*/ 5 w 149999"/>
                <a:gd name="connsiteY5" fmla="*/ 142493 h 150000"/>
                <a:gd name="connsiteX6" fmla="*/ 74861 w 149999"/>
                <a:gd name="connsiteY6" fmla="*/ 75000 h 150000"/>
                <a:gd name="connsiteX7" fmla="*/ 149982 w 149999"/>
                <a:gd name="connsiteY7" fmla="*/ 142500 h 150000"/>
                <a:gd name="connsiteX8" fmla="*/ 143723 w 149999"/>
                <a:gd name="connsiteY8" fmla="*/ 150000 h 150000"/>
                <a:gd name="connsiteX9" fmla="*/ 6063 w 149999"/>
                <a:gd name="connsiteY9" fmla="*/ 150000 h 150000"/>
                <a:gd name="connsiteX10" fmla="*/ 5 w 149999"/>
                <a:gd name="connsiteY10" fmla="*/ 142493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9999" h="150000">
                  <a:moveTo>
                    <a:pt x="75000" y="60000"/>
                  </a:moveTo>
                  <a:cubicBezTo>
                    <a:pt x="58431" y="60000"/>
                    <a:pt x="45000" y="46569"/>
                    <a:pt x="45000" y="30000"/>
                  </a:cubicBezTo>
                  <a:cubicBezTo>
                    <a:pt x="45000" y="13431"/>
                    <a:pt x="58431" y="0"/>
                    <a:pt x="75000" y="0"/>
                  </a:cubicBezTo>
                  <a:cubicBezTo>
                    <a:pt x="91569" y="0"/>
                    <a:pt x="105000" y="13431"/>
                    <a:pt x="105000" y="30000"/>
                  </a:cubicBezTo>
                  <a:cubicBezTo>
                    <a:pt x="105000" y="46569"/>
                    <a:pt x="91569" y="60000"/>
                    <a:pt x="75000" y="60000"/>
                  </a:cubicBezTo>
                  <a:close/>
                  <a:moveTo>
                    <a:pt x="5" y="142493"/>
                  </a:moveTo>
                  <a:cubicBezTo>
                    <a:pt x="3236" y="97749"/>
                    <a:pt x="35516" y="75000"/>
                    <a:pt x="74861" y="75000"/>
                  </a:cubicBezTo>
                  <a:cubicBezTo>
                    <a:pt x="114761" y="75000"/>
                    <a:pt x="147540" y="96498"/>
                    <a:pt x="149982" y="142500"/>
                  </a:cubicBezTo>
                  <a:cubicBezTo>
                    <a:pt x="150080" y="144333"/>
                    <a:pt x="149982" y="150000"/>
                    <a:pt x="143723" y="150000"/>
                  </a:cubicBezTo>
                  <a:lnTo>
                    <a:pt x="6063" y="150000"/>
                  </a:lnTo>
                  <a:cubicBezTo>
                    <a:pt x="3973" y="150000"/>
                    <a:pt x="-171" y="144930"/>
                    <a:pt x="5" y="14249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39" name="Рисунок 163">
            <a:extLst>
              <a:ext uri="{FF2B5EF4-FFF2-40B4-BE49-F238E27FC236}">
                <a16:creationId xmlns:a16="http://schemas.microsoft.com/office/drawing/2014/main" id="{B7478350-8FC4-2247-AB58-F843D3C832FA}"/>
              </a:ext>
            </a:extLst>
          </p:cNvPr>
          <p:cNvGrpSpPr/>
          <p:nvPr/>
        </p:nvGrpSpPr>
        <p:grpSpPr>
          <a:xfrm>
            <a:off x="8979485" y="1769207"/>
            <a:ext cx="360000" cy="360000"/>
            <a:chOff x="9001787" y="2085929"/>
            <a:chExt cx="360000" cy="360000"/>
          </a:xfrm>
        </p:grpSpPr>
        <p:sp>
          <p:nvSpPr>
            <p:cNvPr id="740" name="Полилиния 739">
              <a:extLst>
                <a:ext uri="{FF2B5EF4-FFF2-40B4-BE49-F238E27FC236}">
                  <a16:creationId xmlns:a16="http://schemas.microsoft.com/office/drawing/2014/main" id="{B4F49599-1050-6D4B-B158-3392A72AC67F}"/>
                </a:ext>
              </a:extLst>
            </p:cNvPr>
            <p:cNvSpPr/>
            <p:nvPr/>
          </p:nvSpPr>
          <p:spPr>
            <a:xfrm>
              <a:off x="9001787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1" name="Полилиния 740">
              <a:extLst>
                <a:ext uri="{FF2B5EF4-FFF2-40B4-BE49-F238E27FC236}">
                  <a16:creationId xmlns:a16="http://schemas.microsoft.com/office/drawing/2014/main" id="{DC5BC4F9-BFF0-4640-B8B4-B47BA3871DDA}"/>
                </a:ext>
              </a:extLst>
            </p:cNvPr>
            <p:cNvSpPr/>
            <p:nvPr/>
          </p:nvSpPr>
          <p:spPr>
            <a:xfrm>
              <a:off x="9031786" y="2147313"/>
              <a:ext cx="300000" cy="148616"/>
            </a:xfrm>
            <a:custGeom>
              <a:avLst/>
              <a:gdLst>
                <a:gd name="connsiteX0" fmla="*/ 150000 w 300000"/>
                <a:gd name="connsiteY0" fmla="*/ 36116 h 148616"/>
                <a:gd name="connsiteX1" fmla="*/ 24662 w 300000"/>
                <a:gd name="connsiteY1" fmla="*/ 145089 h 148616"/>
                <a:gd name="connsiteX2" fmla="*/ 3527 w 300000"/>
                <a:gd name="connsiteY2" fmla="*/ 143277 h 148616"/>
                <a:gd name="connsiteX3" fmla="*/ 5338 w 300000"/>
                <a:gd name="connsiteY3" fmla="*/ 122142 h 148616"/>
                <a:gd name="connsiteX4" fmla="*/ 135086 w 300000"/>
                <a:gd name="connsiteY4" fmla="*/ 5289 h 148616"/>
                <a:gd name="connsiteX5" fmla="*/ 165000 w 300000"/>
                <a:gd name="connsiteY5" fmla="*/ 6116 h 148616"/>
                <a:gd name="connsiteX6" fmla="*/ 295281 w 300000"/>
                <a:gd name="connsiteY6" fmla="*/ 122693 h 148616"/>
                <a:gd name="connsiteX7" fmla="*/ 295923 w 300000"/>
                <a:gd name="connsiteY7" fmla="*/ 143897 h 148616"/>
                <a:gd name="connsiteX8" fmla="*/ 274719 w 300000"/>
                <a:gd name="connsiteY8" fmla="*/ 144539 h 148616"/>
                <a:gd name="connsiteX9" fmla="*/ 150000 w 300000"/>
                <a:gd name="connsiteY9" fmla="*/ 36116 h 14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0000" h="148616">
                  <a:moveTo>
                    <a:pt x="150000" y="36116"/>
                  </a:moveTo>
                  <a:lnTo>
                    <a:pt x="24662" y="145089"/>
                  </a:lnTo>
                  <a:cubicBezTo>
                    <a:pt x="18326" y="150426"/>
                    <a:pt x="8863" y="149615"/>
                    <a:pt x="3527" y="143277"/>
                  </a:cubicBezTo>
                  <a:cubicBezTo>
                    <a:pt x="-1810" y="136941"/>
                    <a:pt x="-998" y="127478"/>
                    <a:pt x="5338" y="122142"/>
                  </a:cubicBezTo>
                  <a:lnTo>
                    <a:pt x="135086" y="5289"/>
                  </a:lnTo>
                  <a:cubicBezTo>
                    <a:pt x="143822" y="-2067"/>
                    <a:pt x="156684" y="-1712"/>
                    <a:pt x="165000" y="6116"/>
                  </a:cubicBezTo>
                  <a:lnTo>
                    <a:pt x="295281" y="122693"/>
                  </a:lnTo>
                  <a:cubicBezTo>
                    <a:pt x="301313" y="128370"/>
                    <a:pt x="301601" y="137864"/>
                    <a:pt x="295923" y="143897"/>
                  </a:cubicBezTo>
                  <a:cubicBezTo>
                    <a:pt x="290246" y="149928"/>
                    <a:pt x="280752" y="150216"/>
                    <a:pt x="274719" y="144539"/>
                  </a:cubicBezTo>
                  <a:lnTo>
                    <a:pt x="150000" y="36116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742" name="Рисунок 164">
            <a:extLst>
              <a:ext uri="{FF2B5EF4-FFF2-40B4-BE49-F238E27FC236}">
                <a16:creationId xmlns:a16="http://schemas.microsoft.com/office/drawing/2014/main" id="{E6CC24CA-6CB2-9B4B-A3F7-A86E3850AC06}"/>
              </a:ext>
            </a:extLst>
          </p:cNvPr>
          <p:cNvGrpSpPr/>
          <p:nvPr/>
        </p:nvGrpSpPr>
        <p:grpSpPr>
          <a:xfrm>
            <a:off x="2938421" y="1769207"/>
            <a:ext cx="360000" cy="360000"/>
            <a:chOff x="2960723" y="2085929"/>
            <a:chExt cx="360000" cy="360000"/>
          </a:xfrm>
        </p:grpSpPr>
        <p:sp>
          <p:nvSpPr>
            <p:cNvPr id="743" name="Полилиния 742">
              <a:extLst>
                <a:ext uri="{FF2B5EF4-FFF2-40B4-BE49-F238E27FC236}">
                  <a16:creationId xmlns:a16="http://schemas.microsoft.com/office/drawing/2014/main" id="{B1DA3F99-4757-D54E-866A-0E5F99EB28DF}"/>
                </a:ext>
              </a:extLst>
            </p:cNvPr>
            <p:cNvSpPr/>
            <p:nvPr/>
          </p:nvSpPr>
          <p:spPr>
            <a:xfrm>
              <a:off x="2960723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4" name="Полилиния 743">
              <a:extLst>
                <a:ext uri="{FF2B5EF4-FFF2-40B4-BE49-F238E27FC236}">
                  <a16:creationId xmlns:a16="http://schemas.microsoft.com/office/drawing/2014/main" id="{11DB4637-F1E2-A14B-BBC9-6AF691F0A820}"/>
                </a:ext>
              </a:extLst>
            </p:cNvPr>
            <p:cNvSpPr/>
            <p:nvPr/>
          </p:nvSpPr>
          <p:spPr>
            <a:xfrm>
              <a:off x="3020723" y="2115929"/>
              <a:ext cx="240000" cy="300000"/>
            </a:xfrm>
            <a:custGeom>
              <a:avLst/>
              <a:gdLst>
                <a:gd name="connsiteX0" fmla="*/ 240000 w 240000"/>
                <a:gd name="connsiteY0" fmla="*/ 240000 h 300000"/>
                <a:gd name="connsiteX1" fmla="*/ 60000 w 240000"/>
                <a:gd name="connsiteY1" fmla="*/ 240000 h 300000"/>
                <a:gd name="connsiteX2" fmla="*/ 45000 w 240000"/>
                <a:gd name="connsiteY2" fmla="*/ 255000 h 300000"/>
                <a:gd name="connsiteX3" fmla="*/ 60000 w 240000"/>
                <a:gd name="connsiteY3" fmla="*/ 270000 h 300000"/>
                <a:gd name="connsiteX4" fmla="*/ 240000 w 240000"/>
                <a:gd name="connsiteY4" fmla="*/ 270000 h 300000"/>
                <a:gd name="connsiteX5" fmla="*/ 240000 w 240000"/>
                <a:gd name="connsiteY5" fmla="*/ 285000 h 300000"/>
                <a:gd name="connsiteX6" fmla="*/ 225000 w 240000"/>
                <a:gd name="connsiteY6" fmla="*/ 300000 h 300000"/>
                <a:gd name="connsiteX7" fmla="*/ 45000 w 240000"/>
                <a:gd name="connsiteY7" fmla="*/ 300000 h 300000"/>
                <a:gd name="connsiteX8" fmla="*/ 0 w 240000"/>
                <a:gd name="connsiteY8" fmla="*/ 255000 h 300000"/>
                <a:gd name="connsiteX9" fmla="*/ 0 w 240000"/>
                <a:gd name="connsiteY9" fmla="*/ 45000 h 300000"/>
                <a:gd name="connsiteX10" fmla="*/ 45000 w 240000"/>
                <a:gd name="connsiteY10" fmla="*/ 0 h 300000"/>
                <a:gd name="connsiteX11" fmla="*/ 225000 w 240000"/>
                <a:gd name="connsiteY11" fmla="*/ 0 h 300000"/>
                <a:gd name="connsiteX12" fmla="*/ 240000 w 240000"/>
                <a:gd name="connsiteY12" fmla="*/ 15000 h 300000"/>
                <a:gd name="connsiteX13" fmla="*/ 240000 w 240000"/>
                <a:gd name="connsiteY13" fmla="*/ 24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300000">
                  <a:moveTo>
                    <a:pt x="240000" y="240000"/>
                  </a:moveTo>
                  <a:lnTo>
                    <a:pt x="60000" y="240000"/>
                  </a:lnTo>
                  <a:cubicBezTo>
                    <a:pt x="51716" y="240000"/>
                    <a:pt x="45000" y="246716"/>
                    <a:pt x="45000" y="255000"/>
                  </a:cubicBezTo>
                  <a:cubicBezTo>
                    <a:pt x="45000" y="263285"/>
                    <a:pt x="51716" y="270000"/>
                    <a:pt x="60000" y="270000"/>
                  </a:cubicBezTo>
                  <a:lnTo>
                    <a:pt x="240000" y="270000"/>
                  </a:lnTo>
                  <a:lnTo>
                    <a:pt x="240000" y="285000"/>
                  </a:lnTo>
                  <a:cubicBezTo>
                    <a:pt x="240000" y="294404"/>
                    <a:pt x="234627" y="300000"/>
                    <a:pt x="225000" y="300000"/>
                  </a:cubicBezTo>
                  <a:lnTo>
                    <a:pt x="45000" y="300000"/>
                  </a:lnTo>
                  <a:cubicBezTo>
                    <a:pt x="18804" y="300000"/>
                    <a:pt x="0" y="280413"/>
                    <a:pt x="0" y="255000"/>
                  </a:cubicBezTo>
                  <a:lnTo>
                    <a:pt x="0" y="45000"/>
                  </a:lnTo>
                  <a:cubicBezTo>
                    <a:pt x="0" y="19588"/>
                    <a:pt x="18804" y="0"/>
                    <a:pt x="45000" y="0"/>
                  </a:cubicBezTo>
                  <a:lnTo>
                    <a:pt x="225000" y="0"/>
                  </a:lnTo>
                  <a:cubicBezTo>
                    <a:pt x="234627" y="0"/>
                    <a:pt x="240000" y="5597"/>
                    <a:pt x="240000" y="15000"/>
                  </a:cubicBezTo>
                  <a:lnTo>
                    <a:pt x="240000" y="24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5" name="Полилиния 744">
              <a:extLst>
                <a:ext uri="{FF2B5EF4-FFF2-40B4-BE49-F238E27FC236}">
                  <a16:creationId xmlns:a16="http://schemas.microsoft.com/office/drawing/2014/main" id="{F3F5A40F-83C5-464E-A890-CEBBD11D81D7}"/>
                </a:ext>
              </a:extLst>
            </p:cNvPr>
            <p:cNvSpPr/>
            <p:nvPr/>
          </p:nvSpPr>
          <p:spPr>
            <a:xfrm>
              <a:off x="3080723" y="2175929"/>
              <a:ext cx="135000" cy="120000"/>
            </a:xfrm>
            <a:custGeom>
              <a:avLst/>
              <a:gdLst>
                <a:gd name="connsiteX0" fmla="*/ 20250 w 135000"/>
                <a:gd name="connsiteY0" fmla="*/ 83817 h 120000"/>
                <a:gd name="connsiteX1" fmla="*/ 0 w 135000"/>
                <a:gd name="connsiteY1" fmla="*/ 56471 h 120000"/>
                <a:gd name="connsiteX2" fmla="*/ 27000 w 135000"/>
                <a:gd name="connsiteY2" fmla="*/ 28235 h 120000"/>
                <a:gd name="connsiteX3" fmla="*/ 29271 w 135000"/>
                <a:gd name="connsiteY3" fmla="*/ 28334 h 120000"/>
                <a:gd name="connsiteX4" fmla="*/ 67500 w 135000"/>
                <a:gd name="connsiteY4" fmla="*/ 0 h 120000"/>
                <a:gd name="connsiteX5" fmla="*/ 105729 w 135000"/>
                <a:gd name="connsiteY5" fmla="*/ 28334 h 120000"/>
                <a:gd name="connsiteX6" fmla="*/ 108000 w 135000"/>
                <a:gd name="connsiteY6" fmla="*/ 28235 h 120000"/>
                <a:gd name="connsiteX7" fmla="*/ 135000 w 135000"/>
                <a:gd name="connsiteY7" fmla="*/ 56471 h 120000"/>
                <a:gd name="connsiteX8" fmla="*/ 114750 w 135000"/>
                <a:gd name="connsiteY8" fmla="*/ 83817 h 120000"/>
                <a:gd name="connsiteX9" fmla="*/ 114750 w 135000"/>
                <a:gd name="connsiteY9" fmla="*/ 112941 h 120000"/>
                <a:gd name="connsiteX10" fmla="*/ 108000 w 135000"/>
                <a:gd name="connsiteY10" fmla="*/ 120000 h 120000"/>
                <a:gd name="connsiteX11" fmla="*/ 27000 w 135000"/>
                <a:gd name="connsiteY11" fmla="*/ 120000 h 120000"/>
                <a:gd name="connsiteX12" fmla="*/ 20250 w 135000"/>
                <a:gd name="connsiteY12" fmla="*/ 112941 h 120000"/>
                <a:gd name="connsiteX13" fmla="*/ 20250 w 135000"/>
                <a:gd name="connsiteY13" fmla="*/ 83817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5000" h="120000">
                  <a:moveTo>
                    <a:pt x="20250" y="83817"/>
                  </a:moveTo>
                  <a:cubicBezTo>
                    <a:pt x="8605" y="80682"/>
                    <a:pt x="0" y="69627"/>
                    <a:pt x="0" y="56471"/>
                  </a:cubicBezTo>
                  <a:cubicBezTo>
                    <a:pt x="0" y="40877"/>
                    <a:pt x="12088" y="28235"/>
                    <a:pt x="27000" y="28235"/>
                  </a:cubicBezTo>
                  <a:cubicBezTo>
                    <a:pt x="27765" y="28235"/>
                    <a:pt x="28522" y="28269"/>
                    <a:pt x="29271" y="28334"/>
                  </a:cubicBezTo>
                  <a:cubicBezTo>
                    <a:pt x="34805" y="11833"/>
                    <a:pt x="49831" y="0"/>
                    <a:pt x="67500" y="0"/>
                  </a:cubicBezTo>
                  <a:cubicBezTo>
                    <a:pt x="85169" y="0"/>
                    <a:pt x="100196" y="11833"/>
                    <a:pt x="105729" y="28334"/>
                  </a:cubicBezTo>
                  <a:cubicBezTo>
                    <a:pt x="106478" y="28269"/>
                    <a:pt x="107235" y="28235"/>
                    <a:pt x="108000" y="28235"/>
                  </a:cubicBezTo>
                  <a:cubicBezTo>
                    <a:pt x="122911" y="28235"/>
                    <a:pt x="135000" y="40877"/>
                    <a:pt x="135000" y="56471"/>
                  </a:cubicBezTo>
                  <a:cubicBezTo>
                    <a:pt x="135000" y="69627"/>
                    <a:pt x="126396" y="80682"/>
                    <a:pt x="114750" y="83817"/>
                  </a:cubicBezTo>
                  <a:lnTo>
                    <a:pt x="114750" y="112941"/>
                  </a:lnTo>
                  <a:cubicBezTo>
                    <a:pt x="114750" y="116840"/>
                    <a:pt x="111727" y="120000"/>
                    <a:pt x="108000" y="120000"/>
                  </a:cubicBezTo>
                  <a:lnTo>
                    <a:pt x="27000" y="120000"/>
                  </a:lnTo>
                  <a:cubicBezTo>
                    <a:pt x="23272" y="120000"/>
                    <a:pt x="20250" y="116840"/>
                    <a:pt x="20250" y="112941"/>
                  </a:cubicBezTo>
                  <a:lnTo>
                    <a:pt x="20250" y="83817"/>
                  </a:ln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46" name="Рисунок 165">
            <a:extLst>
              <a:ext uri="{FF2B5EF4-FFF2-40B4-BE49-F238E27FC236}">
                <a16:creationId xmlns:a16="http://schemas.microsoft.com/office/drawing/2014/main" id="{4376417B-C675-4D42-827B-4DA540983A5C}"/>
              </a:ext>
            </a:extLst>
          </p:cNvPr>
          <p:cNvGrpSpPr/>
          <p:nvPr/>
        </p:nvGrpSpPr>
        <p:grpSpPr>
          <a:xfrm>
            <a:off x="9734618" y="1769207"/>
            <a:ext cx="360000" cy="360000"/>
            <a:chOff x="9756920" y="2085929"/>
            <a:chExt cx="360000" cy="360000"/>
          </a:xfrm>
        </p:grpSpPr>
        <p:sp>
          <p:nvSpPr>
            <p:cNvPr id="747" name="Полилиния 746">
              <a:extLst>
                <a:ext uri="{FF2B5EF4-FFF2-40B4-BE49-F238E27FC236}">
                  <a16:creationId xmlns:a16="http://schemas.microsoft.com/office/drawing/2014/main" id="{3D71AA35-8430-D841-8B58-B6610743CBDB}"/>
                </a:ext>
              </a:extLst>
            </p:cNvPr>
            <p:cNvSpPr/>
            <p:nvPr/>
          </p:nvSpPr>
          <p:spPr>
            <a:xfrm>
              <a:off x="9756920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8" name="Полилиния 747">
              <a:extLst>
                <a:ext uri="{FF2B5EF4-FFF2-40B4-BE49-F238E27FC236}">
                  <a16:creationId xmlns:a16="http://schemas.microsoft.com/office/drawing/2014/main" id="{0C85408C-A1D3-A44E-8D55-755237C74D84}"/>
                </a:ext>
              </a:extLst>
            </p:cNvPr>
            <p:cNvSpPr/>
            <p:nvPr/>
          </p:nvSpPr>
          <p:spPr>
            <a:xfrm>
              <a:off x="9771920" y="2145929"/>
              <a:ext cx="330000" cy="135000"/>
            </a:xfrm>
            <a:custGeom>
              <a:avLst/>
              <a:gdLst>
                <a:gd name="connsiteX0" fmla="*/ 135000 w 330000"/>
                <a:gd name="connsiteY0" fmla="*/ 30000 h 135000"/>
                <a:gd name="connsiteX1" fmla="*/ 135000 w 330000"/>
                <a:gd name="connsiteY1" fmla="*/ 15000 h 135000"/>
                <a:gd name="connsiteX2" fmla="*/ 150000 w 330000"/>
                <a:gd name="connsiteY2" fmla="*/ 0 h 135000"/>
                <a:gd name="connsiteX3" fmla="*/ 180000 w 330000"/>
                <a:gd name="connsiteY3" fmla="*/ 0 h 135000"/>
                <a:gd name="connsiteX4" fmla="*/ 195000 w 330000"/>
                <a:gd name="connsiteY4" fmla="*/ 15000 h 135000"/>
                <a:gd name="connsiteX5" fmla="*/ 195000 w 330000"/>
                <a:gd name="connsiteY5" fmla="*/ 30000 h 135000"/>
                <a:gd name="connsiteX6" fmla="*/ 200757 w 330000"/>
                <a:gd name="connsiteY6" fmla="*/ 30000 h 135000"/>
                <a:gd name="connsiteX7" fmla="*/ 280715 w 330000"/>
                <a:gd name="connsiteY7" fmla="*/ 45000 h 135000"/>
                <a:gd name="connsiteX8" fmla="*/ 282026 w 330000"/>
                <a:gd name="connsiteY8" fmla="*/ 45510 h 135000"/>
                <a:gd name="connsiteX9" fmla="*/ 286298 w 330000"/>
                <a:gd name="connsiteY9" fmla="*/ 55218 h 135000"/>
                <a:gd name="connsiteX10" fmla="*/ 279308 w 330000"/>
                <a:gd name="connsiteY10" fmla="*/ 60000 h 135000"/>
                <a:gd name="connsiteX11" fmla="*/ 50693 w 330000"/>
                <a:gd name="connsiteY11" fmla="*/ 60000 h 135000"/>
                <a:gd name="connsiteX12" fmla="*/ 43193 w 330000"/>
                <a:gd name="connsiteY12" fmla="*/ 52500 h 135000"/>
                <a:gd name="connsiteX13" fmla="*/ 47974 w 330000"/>
                <a:gd name="connsiteY13" fmla="*/ 45510 h 135000"/>
                <a:gd name="connsiteX14" fmla="*/ 49286 w 330000"/>
                <a:gd name="connsiteY14" fmla="*/ 45000 h 135000"/>
                <a:gd name="connsiteX15" fmla="*/ 129243 w 330000"/>
                <a:gd name="connsiteY15" fmla="*/ 30000 h 135000"/>
                <a:gd name="connsiteX16" fmla="*/ 135000 w 330000"/>
                <a:gd name="connsiteY16" fmla="*/ 30000 h 135000"/>
                <a:gd name="connsiteX17" fmla="*/ 285000 w 330000"/>
                <a:gd name="connsiteY17" fmla="*/ 105000 h 135000"/>
                <a:gd name="connsiteX18" fmla="*/ 315000 w 330000"/>
                <a:gd name="connsiteY18" fmla="*/ 105000 h 135000"/>
                <a:gd name="connsiteX19" fmla="*/ 330000 w 330000"/>
                <a:gd name="connsiteY19" fmla="*/ 120000 h 135000"/>
                <a:gd name="connsiteX20" fmla="*/ 315000 w 330000"/>
                <a:gd name="connsiteY20" fmla="*/ 135000 h 135000"/>
                <a:gd name="connsiteX21" fmla="*/ 285000 w 330000"/>
                <a:gd name="connsiteY21" fmla="*/ 135000 h 135000"/>
                <a:gd name="connsiteX22" fmla="*/ 270000 w 330000"/>
                <a:gd name="connsiteY22" fmla="*/ 120000 h 135000"/>
                <a:gd name="connsiteX23" fmla="*/ 285000 w 330000"/>
                <a:gd name="connsiteY23" fmla="*/ 105000 h 135000"/>
                <a:gd name="connsiteX24" fmla="*/ 15000 w 330000"/>
                <a:gd name="connsiteY24" fmla="*/ 105000 h 135000"/>
                <a:gd name="connsiteX25" fmla="*/ 45000 w 330000"/>
                <a:gd name="connsiteY25" fmla="*/ 105000 h 135000"/>
                <a:gd name="connsiteX26" fmla="*/ 60000 w 330000"/>
                <a:gd name="connsiteY26" fmla="*/ 120000 h 135000"/>
                <a:gd name="connsiteX27" fmla="*/ 45000 w 330000"/>
                <a:gd name="connsiteY27" fmla="*/ 135000 h 135000"/>
                <a:gd name="connsiteX28" fmla="*/ 15000 w 330000"/>
                <a:gd name="connsiteY28" fmla="*/ 135000 h 135000"/>
                <a:gd name="connsiteX29" fmla="*/ 0 w 330000"/>
                <a:gd name="connsiteY29" fmla="*/ 120000 h 135000"/>
                <a:gd name="connsiteX30" fmla="*/ 15000 w 330000"/>
                <a:gd name="connsiteY30" fmla="*/ 105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30000" h="135000">
                  <a:moveTo>
                    <a:pt x="135000" y="30000"/>
                  </a:moveTo>
                  <a:lnTo>
                    <a:pt x="135000" y="15000"/>
                  </a:lnTo>
                  <a:cubicBezTo>
                    <a:pt x="135000" y="6716"/>
                    <a:pt x="141716" y="0"/>
                    <a:pt x="150000" y="0"/>
                  </a:cubicBezTo>
                  <a:lnTo>
                    <a:pt x="180000" y="0"/>
                  </a:lnTo>
                  <a:cubicBezTo>
                    <a:pt x="188285" y="0"/>
                    <a:pt x="195000" y="6716"/>
                    <a:pt x="195000" y="15000"/>
                  </a:cubicBezTo>
                  <a:lnTo>
                    <a:pt x="195000" y="30000"/>
                  </a:lnTo>
                  <a:lnTo>
                    <a:pt x="200757" y="30000"/>
                  </a:lnTo>
                  <a:cubicBezTo>
                    <a:pt x="228110" y="30000"/>
                    <a:pt x="255222" y="35087"/>
                    <a:pt x="280715" y="45000"/>
                  </a:cubicBezTo>
                  <a:lnTo>
                    <a:pt x="282026" y="45510"/>
                  </a:lnTo>
                  <a:cubicBezTo>
                    <a:pt x="285887" y="47011"/>
                    <a:pt x="287799" y="51358"/>
                    <a:pt x="286298" y="55218"/>
                  </a:cubicBezTo>
                  <a:cubicBezTo>
                    <a:pt x="285176" y="58101"/>
                    <a:pt x="282401" y="60000"/>
                    <a:pt x="279308" y="60000"/>
                  </a:cubicBezTo>
                  <a:lnTo>
                    <a:pt x="50693" y="60000"/>
                  </a:lnTo>
                  <a:cubicBezTo>
                    <a:pt x="46551" y="60000"/>
                    <a:pt x="43193" y="56642"/>
                    <a:pt x="43193" y="52500"/>
                  </a:cubicBezTo>
                  <a:cubicBezTo>
                    <a:pt x="43193" y="49407"/>
                    <a:pt x="45092" y="46631"/>
                    <a:pt x="47974" y="45510"/>
                  </a:cubicBezTo>
                  <a:lnTo>
                    <a:pt x="49286" y="45000"/>
                  </a:lnTo>
                  <a:cubicBezTo>
                    <a:pt x="74778" y="35087"/>
                    <a:pt x="101891" y="30000"/>
                    <a:pt x="129243" y="30000"/>
                  </a:cubicBezTo>
                  <a:lnTo>
                    <a:pt x="135000" y="30000"/>
                  </a:lnTo>
                  <a:close/>
                  <a:moveTo>
                    <a:pt x="285000" y="105000"/>
                  </a:moveTo>
                  <a:lnTo>
                    <a:pt x="315000" y="105000"/>
                  </a:lnTo>
                  <a:cubicBezTo>
                    <a:pt x="323285" y="105000"/>
                    <a:pt x="330000" y="111715"/>
                    <a:pt x="330000" y="120000"/>
                  </a:cubicBezTo>
                  <a:cubicBezTo>
                    <a:pt x="330000" y="128285"/>
                    <a:pt x="323285" y="135000"/>
                    <a:pt x="315000" y="135000"/>
                  </a:cubicBezTo>
                  <a:lnTo>
                    <a:pt x="285000" y="135000"/>
                  </a:lnTo>
                  <a:cubicBezTo>
                    <a:pt x="276716" y="135000"/>
                    <a:pt x="270000" y="128285"/>
                    <a:pt x="270000" y="120000"/>
                  </a:cubicBezTo>
                  <a:cubicBezTo>
                    <a:pt x="270000" y="111715"/>
                    <a:pt x="276716" y="105000"/>
                    <a:pt x="285000" y="105000"/>
                  </a:cubicBezTo>
                  <a:close/>
                  <a:moveTo>
                    <a:pt x="15000" y="105000"/>
                  </a:moveTo>
                  <a:lnTo>
                    <a:pt x="45000" y="105000"/>
                  </a:lnTo>
                  <a:cubicBezTo>
                    <a:pt x="53284" y="105000"/>
                    <a:pt x="60000" y="111715"/>
                    <a:pt x="60000" y="120000"/>
                  </a:cubicBezTo>
                  <a:cubicBezTo>
                    <a:pt x="60000" y="128285"/>
                    <a:pt x="53284" y="135000"/>
                    <a:pt x="45000" y="135000"/>
                  </a:cubicBezTo>
                  <a:lnTo>
                    <a:pt x="15000" y="135000"/>
                  </a:lnTo>
                  <a:cubicBezTo>
                    <a:pt x="6716" y="135000"/>
                    <a:pt x="0" y="128285"/>
                    <a:pt x="0" y="120000"/>
                  </a:cubicBezTo>
                  <a:cubicBezTo>
                    <a:pt x="0" y="111715"/>
                    <a:pt x="6716" y="105000"/>
                    <a:pt x="15000" y="10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9" name="Полилиния 748">
              <a:extLst>
                <a:ext uri="{FF2B5EF4-FFF2-40B4-BE49-F238E27FC236}">
                  <a16:creationId xmlns:a16="http://schemas.microsoft.com/office/drawing/2014/main" id="{94BEF139-AD46-6D43-90A6-1DA9AFAAB17B}"/>
                </a:ext>
              </a:extLst>
            </p:cNvPr>
            <p:cNvSpPr/>
            <p:nvPr/>
          </p:nvSpPr>
          <p:spPr>
            <a:xfrm>
              <a:off x="9816920" y="2220929"/>
              <a:ext cx="240000" cy="180000"/>
            </a:xfrm>
            <a:custGeom>
              <a:avLst/>
              <a:gdLst>
                <a:gd name="connsiteX0" fmla="*/ 15000 w 240000"/>
                <a:gd name="connsiteY0" fmla="*/ 0 h 180000"/>
                <a:gd name="connsiteX1" fmla="*/ 225000 w 240000"/>
                <a:gd name="connsiteY1" fmla="*/ 0 h 180000"/>
                <a:gd name="connsiteX2" fmla="*/ 240000 w 240000"/>
                <a:gd name="connsiteY2" fmla="*/ 15000 h 180000"/>
                <a:gd name="connsiteX3" fmla="*/ 240000 w 240000"/>
                <a:gd name="connsiteY3" fmla="*/ 120000 h 180000"/>
                <a:gd name="connsiteX4" fmla="*/ 180000 w 240000"/>
                <a:gd name="connsiteY4" fmla="*/ 180000 h 180000"/>
                <a:gd name="connsiteX5" fmla="*/ 60000 w 240000"/>
                <a:gd name="connsiteY5" fmla="*/ 180000 h 180000"/>
                <a:gd name="connsiteX6" fmla="*/ 0 w 240000"/>
                <a:gd name="connsiteY6" fmla="*/ 120000 h 180000"/>
                <a:gd name="connsiteX7" fmla="*/ 0 w 240000"/>
                <a:gd name="connsiteY7" fmla="*/ 15000 h 180000"/>
                <a:gd name="connsiteX8" fmla="*/ 15000 w 240000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0000" h="180000">
                  <a:moveTo>
                    <a:pt x="15000" y="0"/>
                  </a:moveTo>
                  <a:lnTo>
                    <a:pt x="225000" y="0"/>
                  </a:lnTo>
                  <a:cubicBezTo>
                    <a:pt x="233285" y="0"/>
                    <a:pt x="240000" y="6716"/>
                    <a:pt x="240000" y="15000"/>
                  </a:cubicBezTo>
                  <a:lnTo>
                    <a:pt x="240000" y="120000"/>
                  </a:lnTo>
                  <a:cubicBezTo>
                    <a:pt x="240000" y="153137"/>
                    <a:pt x="213137" y="180000"/>
                    <a:pt x="180000" y="180000"/>
                  </a:cubicBezTo>
                  <a:lnTo>
                    <a:pt x="60000" y="180000"/>
                  </a:lnTo>
                  <a:cubicBezTo>
                    <a:pt x="26863" y="180000"/>
                    <a:pt x="0" y="153137"/>
                    <a:pt x="0" y="120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0" name="Рисунок 166">
            <a:extLst>
              <a:ext uri="{FF2B5EF4-FFF2-40B4-BE49-F238E27FC236}">
                <a16:creationId xmlns:a16="http://schemas.microsoft.com/office/drawing/2014/main" id="{4C68F721-EB04-514E-9BF7-49ED54058314}"/>
              </a:ext>
            </a:extLst>
          </p:cNvPr>
          <p:cNvGrpSpPr/>
          <p:nvPr/>
        </p:nvGrpSpPr>
        <p:grpSpPr>
          <a:xfrm>
            <a:off x="688022" y="1844207"/>
            <a:ext cx="330000" cy="225000"/>
            <a:chOff x="710324" y="2160929"/>
            <a:chExt cx="330000" cy="225000"/>
          </a:xfrm>
        </p:grpSpPr>
        <p:sp>
          <p:nvSpPr>
            <p:cNvPr id="751" name="Полилиния 750">
              <a:extLst>
                <a:ext uri="{FF2B5EF4-FFF2-40B4-BE49-F238E27FC236}">
                  <a16:creationId xmlns:a16="http://schemas.microsoft.com/office/drawing/2014/main" id="{57498F23-83DD-BD4E-B5AB-4A3F1DC5BBCE}"/>
                </a:ext>
              </a:extLst>
            </p:cNvPr>
            <p:cNvSpPr/>
            <p:nvPr/>
          </p:nvSpPr>
          <p:spPr>
            <a:xfrm>
              <a:off x="755324" y="2325929"/>
              <a:ext cx="240000" cy="60000"/>
            </a:xfrm>
            <a:custGeom>
              <a:avLst/>
              <a:gdLst>
                <a:gd name="connsiteX0" fmla="*/ 30000 w 240000"/>
                <a:gd name="connsiteY0" fmla="*/ 60000 h 60000"/>
                <a:gd name="connsiteX1" fmla="*/ 0 w 240000"/>
                <a:gd name="connsiteY1" fmla="*/ 60000 h 60000"/>
                <a:gd name="connsiteX2" fmla="*/ 75000 w 240000"/>
                <a:gd name="connsiteY2" fmla="*/ 0 h 60000"/>
                <a:gd name="connsiteX3" fmla="*/ 165000 w 240000"/>
                <a:gd name="connsiteY3" fmla="*/ 0 h 60000"/>
                <a:gd name="connsiteX4" fmla="*/ 240000 w 240000"/>
                <a:gd name="connsiteY4" fmla="*/ 60000 h 60000"/>
                <a:gd name="connsiteX5" fmla="*/ 210000 w 240000"/>
                <a:gd name="connsiteY5" fmla="*/ 60000 h 60000"/>
                <a:gd name="connsiteX6" fmla="*/ 165000 w 240000"/>
                <a:gd name="connsiteY6" fmla="*/ 30000 h 60000"/>
                <a:gd name="connsiteX7" fmla="*/ 75000 w 240000"/>
                <a:gd name="connsiteY7" fmla="*/ 30000 h 60000"/>
                <a:gd name="connsiteX8" fmla="*/ 30000 w 240000"/>
                <a:gd name="connsiteY8" fmla="*/ 6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0000" h="60000">
                  <a:moveTo>
                    <a:pt x="30000" y="60000"/>
                  </a:moveTo>
                  <a:lnTo>
                    <a:pt x="0" y="60000"/>
                  </a:lnTo>
                  <a:cubicBezTo>
                    <a:pt x="0" y="18579"/>
                    <a:pt x="33579" y="0"/>
                    <a:pt x="75000" y="0"/>
                  </a:cubicBezTo>
                  <a:lnTo>
                    <a:pt x="165000" y="0"/>
                  </a:lnTo>
                  <a:cubicBezTo>
                    <a:pt x="206421" y="0"/>
                    <a:pt x="240000" y="18579"/>
                    <a:pt x="240000" y="60000"/>
                  </a:cubicBezTo>
                  <a:lnTo>
                    <a:pt x="210000" y="60000"/>
                  </a:lnTo>
                  <a:cubicBezTo>
                    <a:pt x="210000" y="35146"/>
                    <a:pt x="189854" y="30000"/>
                    <a:pt x="165000" y="30000"/>
                  </a:cubicBezTo>
                  <a:lnTo>
                    <a:pt x="75000" y="30000"/>
                  </a:lnTo>
                  <a:cubicBezTo>
                    <a:pt x="50147" y="30000"/>
                    <a:pt x="30000" y="35146"/>
                    <a:pt x="30000" y="6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2" name="Полилиния 751">
              <a:extLst>
                <a:ext uri="{FF2B5EF4-FFF2-40B4-BE49-F238E27FC236}">
                  <a16:creationId xmlns:a16="http://schemas.microsoft.com/office/drawing/2014/main" id="{100B3409-755A-2B4B-9362-72E5A77B89A6}"/>
                </a:ext>
              </a:extLst>
            </p:cNvPr>
            <p:cNvSpPr/>
            <p:nvPr/>
          </p:nvSpPr>
          <p:spPr>
            <a:xfrm>
              <a:off x="710324" y="2160929"/>
              <a:ext cx="330000" cy="120000"/>
            </a:xfrm>
            <a:custGeom>
              <a:avLst/>
              <a:gdLst>
                <a:gd name="connsiteX0" fmla="*/ 330000 w 330000"/>
                <a:gd name="connsiteY0" fmla="*/ 45000 h 120000"/>
                <a:gd name="connsiteX1" fmla="*/ 302609 w 330000"/>
                <a:gd name="connsiteY1" fmla="*/ 45000 h 120000"/>
                <a:gd name="connsiteX2" fmla="*/ 272609 w 330000"/>
                <a:gd name="connsiteY2" fmla="*/ 75000 h 120000"/>
                <a:gd name="connsiteX3" fmla="*/ 272609 w 330000"/>
                <a:gd name="connsiteY3" fmla="*/ 105000 h 120000"/>
                <a:gd name="connsiteX4" fmla="*/ 257609 w 330000"/>
                <a:gd name="connsiteY4" fmla="*/ 120000 h 120000"/>
                <a:gd name="connsiteX5" fmla="*/ 73044 w 330000"/>
                <a:gd name="connsiteY5" fmla="*/ 120000 h 120000"/>
                <a:gd name="connsiteX6" fmla="*/ 58044 w 330000"/>
                <a:gd name="connsiteY6" fmla="*/ 105000 h 120000"/>
                <a:gd name="connsiteX7" fmla="*/ 58044 w 330000"/>
                <a:gd name="connsiteY7" fmla="*/ 75000 h 120000"/>
                <a:gd name="connsiteX8" fmla="*/ 28044 w 330000"/>
                <a:gd name="connsiteY8" fmla="*/ 45000 h 120000"/>
                <a:gd name="connsiteX9" fmla="*/ 0 w 330000"/>
                <a:gd name="connsiteY9" fmla="*/ 45000 h 120000"/>
                <a:gd name="connsiteX10" fmla="*/ 45000 w 330000"/>
                <a:gd name="connsiteY10" fmla="*/ 0 h 120000"/>
                <a:gd name="connsiteX11" fmla="*/ 285000 w 330000"/>
                <a:gd name="connsiteY11" fmla="*/ 0 h 120000"/>
                <a:gd name="connsiteX12" fmla="*/ 330000 w 330000"/>
                <a:gd name="connsiteY12" fmla="*/ 4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0000" h="120000">
                  <a:moveTo>
                    <a:pt x="330000" y="45000"/>
                  </a:moveTo>
                  <a:lnTo>
                    <a:pt x="302609" y="45000"/>
                  </a:lnTo>
                  <a:cubicBezTo>
                    <a:pt x="286040" y="45000"/>
                    <a:pt x="272609" y="58431"/>
                    <a:pt x="272609" y="75000"/>
                  </a:cubicBezTo>
                  <a:lnTo>
                    <a:pt x="272609" y="105000"/>
                  </a:lnTo>
                  <a:cubicBezTo>
                    <a:pt x="272609" y="113285"/>
                    <a:pt x="265893" y="120000"/>
                    <a:pt x="257609" y="120000"/>
                  </a:cubicBezTo>
                  <a:lnTo>
                    <a:pt x="73044" y="120000"/>
                  </a:lnTo>
                  <a:cubicBezTo>
                    <a:pt x="64759" y="120000"/>
                    <a:pt x="58044" y="113285"/>
                    <a:pt x="58044" y="105000"/>
                  </a:cubicBezTo>
                  <a:lnTo>
                    <a:pt x="58044" y="75000"/>
                  </a:lnTo>
                  <a:cubicBezTo>
                    <a:pt x="58044" y="58431"/>
                    <a:pt x="44612" y="45000"/>
                    <a:pt x="28044" y="45000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lnTo>
                    <a:pt x="285000" y="0"/>
                  </a:lnTo>
                  <a:cubicBezTo>
                    <a:pt x="309854" y="0"/>
                    <a:pt x="330000" y="20147"/>
                    <a:pt x="330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3" name="Полилиния 752">
              <a:extLst>
                <a:ext uri="{FF2B5EF4-FFF2-40B4-BE49-F238E27FC236}">
                  <a16:creationId xmlns:a16="http://schemas.microsoft.com/office/drawing/2014/main" id="{D8917F43-67BA-924C-BD96-48F4826C1C7D}"/>
                </a:ext>
              </a:extLst>
            </p:cNvPr>
            <p:cNvSpPr/>
            <p:nvPr/>
          </p:nvSpPr>
          <p:spPr>
            <a:xfrm>
              <a:off x="710324" y="2235929"/>
              <a:ext cx="330000" cy="120000"/>
            </a:xfrm>
            <a:custGeom>
              <a:avLst/>
              <a:gdLst>
                <a:gd name="connsiteX0" fmla="*/ 330000 w 330000"/>
                <a:gd name="connsiteY0" fmla="*/ 0 h 120000"/>
                <a:gd name="connsiteX1" fmla="*/ 330000 w 330000"/>
                <a:gd name="connsiteY1" fmla="*/ 75000 h 120000"/>
                <a:gd name="connsiteX2" fmla="*/ 285000 w 330000"/>
                <a:gd name="connsiteY2" fmla="*/ 120000 h 120000"/>
                <a:gd name="connsiteX3" fmla="*/ 45000 w 330000"/>
                <a:gd name="connsiteY3" fmla="*/ 120000 h 120000"/>
                <a:gd name="connsiteX4" fmla="*/ 0 w 330000"/>
                <a:gd name="connsiteY4" fmla="*/ 75000 h 120000"/>
                <a:gd name="connsiteX5" fmla="*/ 0 w 330000"/>
                <a:gd name="connsiteY5" fmla="*/ 0 h 120000"/>
                <a:gd name="connsiteX6" fmla="*/ 28044 w 330000"/>
                <a:gd name="connsiteY6" fmla="*/ 0 h 120000"/>
                <a:gd name="connsiteX7" fmla="*/ 28044 w 330000"/>
                <a:gd name="connsiteY7" fmla="*/ 30000 h 120000"/>
                <a:gd name="connsiteX8" fmla="*/ 73044 w 330000"/>
                <a:gd name="connsiteY8" fmla="*/ 75000 h 120000"/>
                <a:gd name="connsiteX9" fmla="*/ 257609 w 330000"/>
                <a:gd name="connsiteY9" fmla="*/ 75000 h 120000"/>
                <a:gd name="connsiteX10" fmla="*/ 302609 w 330000"/>
                <a:gd name="connsiteY10" fmla="*/ 30000 h 120000"/>
                <a:gd name="connsiteX11" fmla="*/ 302609 w 330000"/>
                <a:gd name="connsiteY11" fmla="*/ 0 h 120000"/>
                <a:gd name="connsiteX12" fmla="*/ 330000 w 330000"/>
                <a:gd name="connsiteY12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0000" h="120000">
                  <a:moveTo>
                    <a:pt x="330000" y="0"/>
                  </a:moveTo>
                  <a:lnTo>
                    <a:pt x="330000" y="75000"/>
                  </a:lnTo>
                  <a:cubicBezTo>
                    <a:pt x="330000" y="99854"/>
                    <a:pt x="309854" y="120000"/>
                    <a:pt x="285000" y="120000"/>
                  </a:cubicBezTo>
                  <a:lnTo>
                    <a:pt x="45000" y="120000"/>
                  </a:lnTo>
                  <a:cubicBezTo>
                    <a:pt x="20147" y="120000"/>
                    <a:pt x="0" y="99854"/>
                    <a:pt x="0" y="75000"/>
                  </a:cubicBezTo>
                  <a:lnTo>
                    <a:pt x="0" y="0"/>
                  </a:lnTo>
                  <a:lnTo>
                    <a:pt x="28044" y="0"/>
                  </a:lnTo>
                  <a:lnTo>
                    <a:pt x="28044" y="30000"/>
                  </a:lnTo>
                  <a:cubicBezTo>
                    <a:pt x="28044" y="54854"/>
                    <a:pt x="48191" y="75000"/>
                    <a:pt x="73044" y="75000"/>
                  </a:cubicBezTo>
                  <a:lnTo>
                    <a:pt x="257609" y="75000"/>
                  </a:lnTo>
                  <a:cubicBezTo>
                    <a:pt x="282462" y="75000"/>
                    <a:pt x="302609" y="54854"/>
                    <a:pt x="302609" y="30000"/>
                  </a:cubicBezTo>
                  <a:lnTo>
                    <a:pt x="302609" y="0"/>
                  </a:lnTo>
                  <a:lnTo>
                    <a:pt x="330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4" name="Рисунок 167">
            <a:extLst>
              <a:ext uri="{FF2B5EF4-FFF2-40B4-BE49-F238E27FC236}">
                <a16:creationId xmlns:a16="http://schemas.microsoft.com/office/drawing/2014/main" id="{1AB4DFE4-2055-8E41-BE46-BEDFC38B91A8}"/>
              </a:ext>
            </a:extLst>
          </p:cNvPr>
          <p:cNvGrpSpPr/>
          <p:nvPr/>
        </p:nvGrpSpPr>
        <p:grpSpPr>
          <a:xfrm>
            <a:off x="3693554" y="1096153"/>
            <a:ext cx="360000" cy="360000"/>
            <a:chOff x="3715856" y="1412875"/>
            <a:chExt cx="360000" cy="360000"/>
          </a:xfrm>
        </p:grpSpPr>
        <p:sp>
          <p:nvSpPr>
            <p:cNvPr id="755" name="Полилиния 754">
              <a:extLst>
                <a:ext uri="{FF2B5EF4-FFF2-40B4-BE49-F238E27FC236}">
                  <a16:creationId xmlns:a16="http://schemas.microsoft.com/office/drawing/2014/main" id="{9D6DDF40-9052-514D-ACBE-78FD0DE9D8DA}"/>
                </a:ext>
              </a:extLst>
            </p:cNvPr>
            <p:cNvSpPr/>
            <p:nvPr/>
          </p:nvSpPr>
          <p:spPr>
            <a:xfrm>
              <a:off x="3715856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6" name="Скругленный прямоугольник 755">
              <a:extLst>
                <a:ext uri="{FF2B5EF4-FFF2-40B4-BE49-F238E27FC236}">
                  <a16:creationId xmlns:a16="http://schemas.microsoft.com/office/drawing/2014/main" id="{DC066A8F-769E-9046-9F8F-11CBC9DBD85E}"/>
                </a:ext>
              </a:extLst>
            </p:cNvPr>
            <p:cNvSpPr/>
            <p:nvPr/>
          </p:nvSpPr>
          <p:spPr>
            <a:xfrm>
              <a:off x="3775856" y="1472875"/>
              <a:ext cx="240000" cy="240000"/>
            </a:xfrm>
            <a:prstGeom prst="roundRect">
              <a:avLst>
                <a:gd name="adj" fmla="val 20742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7" name="Скругленный прямоугольник 756">
              <a:extLst>
                <a:ext uri="{FF2B5EF4-FFF2-40B4-BE49-F238E27FC236}">
                  <a16:creationId xmlns:a16="http://schemas.microsoft.com/office/drawing/2014/main" id="{B938AFD4-4628-F64E-BE28-B318C6567026}"/>
                </a:ext>
              </a:extLst>
            </p:cNvPr>
            <p:cNvSpPr/>
            <p:nvPr/>
          </p:nvSpPr>
          <p:spPr>
            <a:xfrm>
              <a:off x="3850856" y="1547875"/>
              <a:ext cx="90000" cy="9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8" name="Полилиния 757">
              <a:extLst>
                <a:ext uri="{FF2B5EF4-FFF2-40B4-BE49-F238E27FC236}">
                  <a16:creationId xmlns:a16="http://schemas.microsoft.com/office/drawing/2014/main" id="{4E5AD141-862D-A94A-9250-D0D3B41AD7DF}"/>
                </a:ext>
              </a:extLst>
            </p:cNvPr>
            <p:cNvSpPr/>
            <p:nvPr/>
          </p:nvSpPr>
          <p:spPr>
            <a:xfrm>
              <a:off x="4015856" y="1517875"/>
              <a:ext cx="30000" cy="30000"/>
            </a:xfrm>
            <a:custGeom>
              <a:avLst/>
              <a:gdLst>
                <a:gd name="connsiteX0" fmla="*/ 0 w 30000"/>
                <a:gd name="connsiteY0" fmla="*/ 0 h 30000"/>
                <a:gd name="connsiteX1" fmla="*/ 15000 w 30000"/>
                <a:gd name="connsiteY1" fmla="*/ 0 h 30000"/>
                <a:gd name="connsiteX2" fmla="*/ 30000 w 30000"/>
                <a:gd name="connsiteY2" fmla="*/ 15000 h 30000"/>
                <a:gd name="connsiteX3" fmla="*/ 30000 w 30000"/>
                <a:gd name="connsiteY3" fmla="*/ 15000 h 30000"/>
                <a:gd name="connsiteX4" fmla="*/ 150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" h="30000">
                  <a:moveTo>
                    <a:pt x="0" y="0"/>
                  </a:moveTo>
                  <a:lnTo>
                    <a:pt x="15000" y="0"/>
                  </a:lnTo>
                  <a:cubicBezTo>
                    <a:pt x="23284" y="0"/>
                    <a:pt x="30000" y="6716"/>
                    <a:pt x="30000" y="15000"/>
                  </a:cubicBezTo>
                  <a:lnTo>
                    <a:pt x="30000" y="15000"/>
                  </a:lnTo>
                  <a:cubicBezTo>
                    <a:pt x="30000" y="23284"/>
                    <a:pt x="23284" y="30000"/>
                    <a:pt x="15000" y="30000"/>
                  </a:cubicBezTo>
                  <a:lnTo>
                    <a:pt x="0" y="3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9" name="Полилиния 758">
              <a:extLst>
                <a:ext uri="{FF2B5EF4-FFF2-40B4-BE49-F238E27FC236}">
                  <a16:creationId xmlns:a16="http://schemas.microsoft.com/office/drawing/2014/main" id="{32F1C6EC-DBF2-CF45-82E2-18B195F9A649}"/>
                </a:ext>
              </a:extLst>
            </p:cNvPr>
            <p:cNvSpPr/>
            <p:nvPr/>
          </p:nvSpPr>
          <p:spPr>
            <a:xfrm>
              <a:off x="4015856" y="1577875"/>
              <a:ext cx="30000" cy="30000"/>
            </a:xfrm>
            <a:custGeom>
              <a:avLst/>
              <a:gdLst>
                <a:gd name="connsiteX0" fmla="*/ 0 w 30000"/>
                <a:gd name="connsiteY0" fmla="*/ 0 h 30000"/>
                <a:gd name="connsiteX1" fmla="*/ 15000 w 30000"/>
                <a:gd name="connsiteY1" fmla="*/ 0 h 30000"/>
                <a:gd name="connsiteX2" fmla="*/ 30000 w 30000"/>
                <a:gd name="connsiteY2" fmla="*/ 15000 h 30000"/>
                <a:gd name="connsiteX3" fmla="*/ 30000 w 30000"/>
                <a:gd name="connsiteY3" fmla="*/ 15000 h 30000"/>
                <a:gd name="connsiteX4" fmla="*/ 150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" h="30000">
                  <a:moveTo>
                    <a:pt x="0" y="0"/>
                  </a:moveTo>
                  <a:lnTo>
                    <a:pt x="15000" y="0"/>
                  </a:lnTo>
                  <a:cubicBezTo>
                    <a:pt x="23284" y="0"/>
                    <a:pt x="30000" y="6715"/>
                    <a:pt x="30000" y="15000"/>
                  </a:cubicBezTo>
                  <a:lnTo>
                    <a:pt x="30000" y="15000"/>
                  </a:lnTo>
                  <a:cubicBezTo>
                    <a:pt x="30000" y="23285"/>
                    <a:pt x="23284" y="30000"/>
                    <a:pt x="15000" y="30000"/>
                  </a:cubicBezTo>
                  <a:lnTo>
                    <a:pt x="0" y="3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0" name="Полилиния 759">
              <a:extLst>
                <a:ext uri="{FF2B5EF4-FFF2-40B4-BE49-F238E27FC236}">
                  <a16:creationId xmlns:a16="http://schemas.microsoft.com/office/drawing/2014/main" id="{5CE6516D-B3D6-1C41-8834-B2574FE7161B}"/>
                </a:ext>
              </a:extLst>
            </p:cNvPr>
            <p:cNvSpPr/>
            <p:nvPr/>
          </p:nvSpPr>
          <p:spPr>
            <a:xfrm>
              <a:off x="4015856" y="1637875"/>
              <a:ext cx="30000" cy="30000"/>
            </a:xfrm>
            <a:custGeom>
              <a:avLst/>
              <a:gdLst>
                <a:gd name="connsiteX0" fmla="*/ 0 w 30000"/>
                <a:gd name="connsiteY0" fmla="*/ 0 h 30000"/>
                <a:gd name="connsiteX1" fmla="*/ 15000 w 30000"/>
                <a:gd name="connsiteY1" fmla="*/ 0 h 30000"/>
                <a:gd name="connsiteX2" fmla="*/ 30000 w 30000"/>
                <a:gd name="connsiteY2" fmla="*/ 15000 h 30000"/>
                <a:gd name="connsiteX3" fmla="*/ 30000 w 30000"/>
                <a:gd name="connsiteY3" fmla="*/ 15000 h 30000"/>
                <a:gd name="connsiteX4" fmla="*/ 150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" h="30000">
                  <a:moveTo>
                    <a:pt x="0" y="0"/>
                  </a:moveTo>
                  <a:lnTo>
                    <a:pt x="15000" y="0"/>
                  </a:lnTo>
                  <a:cubicBezTo>
                    <a:pt x="23284" y="0"/>
                    <a:pt x="30000" y="6715"/>
                    <a:pt x="30000" y="15000"/>
                  </a:cubicBezTo>
                  <a:lnTo>
                    <a:pt x="30000" y="15000"/>
                  </a:lnTo>
                  <a:cubicBezTo>
                    <a:pt x="30000" y="23284"/>
                    <a:pt x="23284" y="30000"/>
                    <a:pt x="15000" y="30000"/>
                  </a:cubicBezTo>
                  <a:lnTo>
                    <a:pt x="0" y="3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1" name="Полилиния 760">
              <a:extLst>
                <a:ext uri="{FF2B5EF4-FFF2-40B4-BE49-F238E27FC236}">
                  <a16:creationId xmlns:a16="http://schemas.microsoft.com/office/drawing/2014/main" id="{0B5A7734-6364-104C-BA5E-1AC4DFB609D9}"/>
                </a:ext>
              </a:extLst>
            </p:cNvPr>
            <p:cNvSpPr/>
            <p:nvPr/>
          </p:nvSpPr>
          <p:spPr>
            <a:xfrm>
              <a:off x="3745856" y="1517875"/>
              <a:ext cx="30000" cy="30000"/>
            </a:xfrm>
            <a:custGeom>
              <a:avLst/>
              <a:gdLst>
                <a:gd name="connsiteX0" fmla="*/ 150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15000 w 30000"/>
                <a:gd name="connsiteY3" fmla="*/ 30000 h 30000"/>
                <a:gd name="connsiteX4" fmla="*/ 0 w 30000"/>
                <a:gd name="connsiteY4" fmla="*/ 15000 h 30000"/>
                <a:gd name="connsiteX5" fmla="*/ 0 w 30000"/>
                <a:gd name="connsiteY5" fmla="*/ 15000 h 30000"/>
                <a:gd name="connsiteX6" fmla="*/ 15000 w 30000"/>
                <a:gd name="connsiteY6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" h="30000">
                  <a:moveTo>
                    <a:pt x="15000" y="0"/>
                  </a:moveTo>
                  <a:lnTo>
                    <a:pt x="30000" y="0"/>
                  </a:lnTo>
                  <a:lnTo>
                    <a:pt x="30000" y="30000"/>
                  </a:ln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2" name="Полилиния 761">
              <a:extLst>
                <a:ext uri="{FF2B5EF4-FFF2-40B4-BE49-F238E27FC236}">
                  <a16:creationId xmlns:a16="http://schemas.microsoft.com/office/drawing/2014/main" id="{C6EC5584-FC19-D64A-9D39-F6ACC3123208}"/>
                </a:ext>
              </a:extLst>
            </p:cNvPr>
            <p:cNvSpPr/>
            <p:nvPr/>
          </p:nvSpPr>
          <p:spPr>
            <a:xfrm>
              <a:off x="3745856" y="1577875"/>
              <a:ext cx="30000" cy="30000"/>
            </a:xfrm>
            <a:custGeom>
              <a:avLst/>
              <a:gdLst>
                <a:gd name="connsiteX0" fmla="*/ 150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15000 w 30000"/>
                <a:gd name="connsiteY3" fmla="*/ 30000 h 30000"/>
                <a:gd name="connsiteX4" fmla="*/ 0 w 30000"/>
                <a:gd name="connsiteY4" fmla="*/ 15000 h 30000"/>
                <a:gd name="connsiteX5" fmla="*/ 0 w 30000"/>
                <a:gd name="connsiteY5" fmla="*/ 15000 h 30000"/>
                <a:gd name="connsiteX6" fmla="*/ 15000 w 30000"/>
                <a:gd name="connsiteY6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" h="30000">
                  <a:moveTo>
                    <a:pt x="15000" y="0"/>
                  </a:moveTo>
                  <a:lnTo>
                    <a:pt x="30000" y="0"/>
                  </a:lnTo>
                  <a:lnTo>
                    <a:pt x="30000" y="30000"/>
                  </a:lnTo>
                  <a:lnTo>
                    <a:pt x="15000" y="30000"/>
                  </a:lnTo>
                  <a:cubicBezTo>
                    <a:pt x="6716" y="30000"/>
                    <a:pt x="0" y="23285"/>
                    <a:pt x="0" y="15000"/>
                  </a:cubicBezTo>
                  <a:lnTo>
                    <a:pt x="0" y="15000"/>
                  </a:lnTo>
                  <a:cubicBezTo>
                    <a:pt x="0" y="6715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3" name="Полилиния 762">
              <a:extLst>
                <a:ext uri="{FF2B5EF4-FFF2-40B4-BE49-F238E27FC236}">
                  <a16:creationId xmlns:a16="http://schemas.microsoft.com/office/drawing/2014/main" id="{AA5B83DA-3AEB-C44D-923A-D898F8C37025}"/>
                </a:ext>
              </a:extLst>
            </p:cNvPr>
            <p:cNvSpPr/>
            <p:nvPr/>
          </p:nvSpPr>
          <p:spPr>
            <a:xfrm>
              <a:off x="3745856" y="1637875"/>
              <a:ext cx="30000" cy="30000"/>
            </a:xfrm>
            <a:custGeom>
              <a:avLst/>
              <a:gdLst>
                <a:gd name="connsiteX0" fmla="*/ 150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15000 w 30000"/>
                <a:gd name="connsiteY3" fmla="*/ 30000 h 30000"/>
                <a:gd name="connsiteX4" fmla="*/ 0 w 30000"/>
                <a:gd name="connsiteY4" fmla="*/ 15000 h 30000"/>
                <a:gd name="connsiteX5" fmla="*/ 0 w 30000"/>
                <a:gd name="connsiteY5" fmla="*/ 15000 h 30000"/>
                <a:gd name="connsiteX6" fmla="*/ 15000 w 30000"/>
                <a:gd name="connsiteY6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" h="30000">
                  <a:moveTo>
                    <a:pt x="15000" y="0"/>
                  </a:moveTo>
                  <a:lnTo>
                    <a:pt x="30000" y="0"/>
                  </a:lnTo>
                  <a:lnTo>
                    <a:pt x="30000" y="30000"/>
                  </a:ln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lnTo>
                    <a:pt x="0" y="15000"/>
                  </a:lnTo>
                  <a:cubicBezTo>
                    <a:pt x="0" y="6715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64" name="Рисунок 168">
            <a:extLst>
              <a:ext uri="{FF2B5EF4-FFF2-40B4-BE49-F238E27FC236}">
                <a16:creationId xmlns:a16="http://schemas.microsoft.com/office/drawing/2014/main" id="{C39DAEFF-0196-8C40-8DE4-7F0782F9E554}"/>
              </a:ext>
            </a:extLst>
          </p:cNvPr>
          <p:cNvGrpSpPr/>
          <p:nvPr/>
        </p:nvGrpSpPr>
        <p:grpSpPr>
          <a:xfrm>
            <a:off x="5203820" y="1096153"/>
            <a:ext cx="360000" cy="360000"/>
            <a:chOff x="5226122" y="1412875"/>
            <a:chExt cx="360000" cy="360000"/>
          </a:xfrm>
        </p:grpSpPr>
        <p:sp>
          <p:nvSpPr>
            <p:cNvPr id="765" name="Полилиния 764">
              <a:extLst>
                <a:ext uri="{FF2B5EF4-FFF2-40B4-BE49-F238E27FC236}">
                  <a16:creationId xmlns:a16="http://schemas.microsoft.com/office/drawing/2014/main" id="{865B4EFF-C6F7-5D48-AE65-BF57CAD1CC46}"/>
                </a:ext>
              </a:extLst>
            </p:cNvPr>
            <p:cNvSpPr/>
            <p:nvPr/>
          </p:nvSpPr>
          <p:spPr>
            <a:xfrm>
              <a:off x="5226122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6" name="Скругленный прямоугольник 765">
              <a:extLst>
                <a:ext uri="{FF2B5EF4-FFF2-40B4-BE49-F238E27FC236}">
                  <a16:creationId xmlns:a16="http://schemas.microsoft.com/office/drawing/2014/main" id="{B025D27A-75F6-C040-B830-50F4ABD54EB8}"/>
                </a:ext>
              </a:extLst>
            </p:cNvPr>
            <p:cNvSpPr/>
            <p:nvPr/>
          </p:nvSpPr>
          <p:spPr>
            <a:xfrm>
              <a:off x="5271122" y="1457875"/>
              <a:ext cx="270000" cy="27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7" name="Полилиния 766">
              <a:extLst>
                <a:ext uri="{FF2B5EF4-FFF2-40B4-BE49-F238E27FC236}">
                  <a16:creationId xmlns:a16="http://schemas.microsoft.com/office/drawing/2014/main" id="{76B7B040-F419-7B47-B43E-4C5F43354A5A}"/>
                </a:ext>
              </a:extLst>
            </p:cNvPr>
            <p:cNvSpPr/>
            <p:nvPr/>
          </p:nvSpPr>
          <p:spPr>
            <a:xfrm>
              <a:off x="5361122" y="1547875"/>
              <a:ext cx="90000" cy="90000"/>
            </a:xfrm>
            <a:custGeom>
              <a:avLst/>
              <a:gdLst>
                <a:gd name="connsiteX0" fmla="*/ 30000 w 90000"/>
                <a:gd name="connsiteY0" fmla="*/ 30000 h 90000"/>
                <a:gd name="connsiteX1" fmla="*/ 30000 w 90000"/>
                <a:gd name="connsiteY1" fmla="*/ 60000 h 90000"/>
                <a:gd name="connsiteX2" fmla="*/ 60000 w 90000"/>
                <a:gd name="connsiteY2" fmla="*/ 60000 h 90000"/>
                <a:gd name="connsiteX3" fmla="*/ 60000 w 90000"/>
                <a:gd name="connsiteY3" fmla="*/ 30000 h 90000"/>
                <a:gd name="connsiteX4" fmla="*/ 30000 w 90000"/>
                <a:gd name="connsiteY4" fmla="*/ 30000 h 90000"/>
                <a:gd name="connsiteX5" fmla="*/ 15000 w 90000"/>
                <a:gd name="connsiteY5" fmla="*/ 0 h 90000"/>
                <a:gd name="connsiteX6" fmla="*/ 75000 w 90000"/>
                <a:gd name="connsiteY6" fmla="*/ 0 h 90000"/>
                <a:gd name="connsiteX7" fmla="*/ 90000 w 90000"/>
                <a:gd name="connsiteY7" fmla="*/ 15000 h 90000"/>
                <a:gd name="connsiteX8" fmla="*/ 90000 w 90000"/>
                <a:gd name="connsiteY8" fmla="*/ 75000 h 90000"/>
                <a:gd name="connsiteX9" fmla="*/ 75000 w 90000"/>
                <a:gd name="connsiteY9" fmla="*/ 90000 h 90000"/>
                <a:gd name="connsiteX10" fmla="*/ 15000 w 90000"/>
                <a:gd name="connsiteY10" fmla="*/ 90000 h 90000"/>
                <a:gd name="connsiteX11" fmla="*/ 0 w 90000"/>
                <a:gd name="connsiteY11" fmla="*/ 75000 h 90000"/>
                <a:gd name="connsiteX12" fmla="*/ 0 w 90000"/>
                <a:gd name="connsiteY12" fmla="*/ 15000 h 90000"/>
                <a:gd name="connsiteX13" fmla="*/ 15000 w 90000"/>
                <a:gd name="connsiteY13" fmla="*/ 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0000" h="90000">
                  <a:moveTo>
                    <a:pt x="30000" y="30000"/>
                  </a:moveTo>
                  <a:lnTo>
                    <a:pt x="30000" y="60000"/>
                  </a:lnTo>
                  <a:lnTo>
                    <a:pt x="60000" y="60000"/>
                  </a:lnTo>
                  <a:lnTo>
                    <a:pt x="60000" y="30000"/>
                  </a:lnTo>
                  <a:lnTo>
                    <a:pt x="30000" y="30000"/>
                  </a:lnTo>
                  <a:close/>
                  <a:moveTo>
                    <a:pt x="15000" y="0"/>
                  </a:moveTo>
                  <a:lnTo>
                    <a:pt x="75000" y="0"/>
                  </a:lnTo>
                  <a:cubicBezTo>
                    <a:pt x="83285" y="0"/>
                    <a:pt x="90000" y="6716"/>
                    <a:pt x="90000" y="15000"/>
                  </a:cubicBezTo>
                  <a:lnTo>
                    <a:pt x="90000" y="75000"/>
                  </a:lnTo>
                  <a:cubicBezTo>
                    <a:pt x="90000" y="83285"/>
                    <a:pt x="83285" y="90000"/>
                    <a:pt x="75000" y="90000"/>
                  </a:cubicBezTo>
                  <a:lnTo>
                    <a:pt x="15000" y="90000"/>
                  </a:lnTo>
                  <a:cubicBezTo>
                    <a:pt x="6716" y="90000"/>
                    <a:pt x="0" y="83285"/>
                    <a:pt x="0" y="7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8" name="Полилиния 767">
              <a:extLst>
                <a:ext uri="{FF2B5EF4-FFF2-40B4-BE49-F238E27FC236}">
                  <a16:creationId xmlns:a16="http://schemas.microsoft.com/office/drawing/2014/main" id="{246B117F-805A-BD4F-B188-CCE24107AAA6}"/>
                </a:ext>
              </a:extLst>
            </p:cNvPr>
            <p:cNvSpPr/>
            <p:nvPr/>
          </p:nvSpPr>
          <p:spPr>
            <a:xfrm>
              <a:off x="5301122" y="1487875"/>
              <a:ext cx="30000" cy="30000"/>
            </a:xfrm>
            <a:custGeom>
              <a:avLst/>
              <a:gdLst>
                <a:gd name="connsiteX0" fmla="*/ 225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22500 w 30000"/>
                <a:gd name="connsiteY3" fmla="*/ 30000 h 30000"/>
                <a:gd name="connsiteX4" fmla="*/ 75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75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22500" y="0"/>
                  </a:moveTo>
                  <a:cubicBezTo>
                    <a:pt x="26642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6642" y="30000"/>
                    <a:pt x="22500" y="30000"/>
                  </a:cubicBezTo>
                  <a:lnTo>
                    <a:pt x="7500" y="30000"/>
                  </a:lnTo>
                  <a:cubicBezTo>
                    <a:pt x="3358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9" name="Полилиния 768">
              <a:extLst>
                <a:ext uri="{FF2B5EF4-FFF2-40B4-BE49-F238E27FC236}">
                  <a16:creationId xmlns:a16="http://schemas.microsoft.com/office/drawing/2014/main" id="{A5AEFDE9-96AC-5740-AA42-347BD1D8671D}"/>
                </a:ext>
              </a:extLst>
            </p:cNvPr>
            <p:cNvSpPr/>
            <p:nvPr/>
          </p:nvSpPr>
          <p:spPr>
            <a:xfrm>
              <a:off x="5301122" y="1547875"/>
              <a:ext cx="30000" cy="30000"/>
            </a:xfrm>
            <a:custGeom>
              <a:avLst/>
              <a:gdLst>
                <a:gd name="connsiteX0" fmla="*/ 225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22500 w 30000"/>
                <a:gd name="connsiteY3" fmla="*/ 30000 h 30000"/>
                <a:gd name="connsiteX4" fmla="*/ 75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75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22500" y="0"/>
                  </a:moveTo>
                  <a:cubicBezTo>
                    <a:pt x="26642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6642" y="30000"/>
                    <a:pt x="22500" y="30000"/>
                  </a:cubicBezTo>
                  <a:lnTo>
                    <a:pt x="7500" y="30000"/>
                  </a:lnTo>
                  <a:cubicBezTo>
                    <a:pt x="3358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0" name="Полилиния 769">
              <a:extLst>
                <a:ext uri="{FF2B5EF4-FFF2-40B4-BE49-F238E27FC236}">
                  <a16:creationId xmlns:a16="http://schemas.microsoft.com/office/drawing/2014/main" id="{6EC4EE51-C21C-C84C-A01E-B1C67A9882DA}"/>
                </a:ext>
              </a:extLst>
            </p:cNvPr>
            <p:cNvSpPr/>
            <p:nvPr/>
          </p:nvSpPr>
          <p:spPr>
            <a:xfrm>
              <a:off x="5301122" y="1607875"/>
              <a:ext cx="30000" cy="30000"/>
            </a:xfrm>
            <a:custGeom>
              <a:avLst/>
              <a:gdLst>
                <a:gd name="connsiteX0" fmla="*/ 225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22500 w 30000"/>
                <a:gd name="connsiteY3" fmla="*/ 30000 h 30000"/>
                <a:gd name="connsiteX4" fmla="*/ 75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75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22500" y="0"/>
                  </a:moveTo>
                  <a:cubicBezTo>
                    <a:pt x="26642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6642" y="30000"/>
                    <a:pt x="22500" y="30000"/>
                  </a:cubicBezTo>
                  <a:lnTo>
                    <a:pt x="7500" y="30000"/>
                  </a:lnTo>
                  <a:cubicBezTo>
                    <a:pt x="3358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1" name="Полилиния 770">
              <a:extLst>
                <a:ext uri="{FF2B5EF4-FFF2-40B4-BE49-F238E27FC236}">
                  <a16:creationId xmlns:a16="http://schemas.microsoft.com/office/drawing/2014/main" id="{176F6E2E-E94D-584F-BBD1-73A0A3F840CF}"/>
                </a:ext>
              </a:extLst>
            </p:cNvPr>
            <p:cNvSpPr/>
            <p:nvPr/>
          </p:nvSpPr>
          <p:spPr>
            <a:xfrm>
              <a:off x="5361122" y="1487875"/>
              <a:ext cx="30000" cy="30000"/>
            </a:xfrm>
            <a:custGeom>
              <a:avLst/>
              <a:gdLst>
                <a:gd name="connsiteX0" fmla="*/ 225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22500 w 30000"/>
                <a:gd name="connsiteY3" fmla="*/ 30000 h 30000"/>
                <a:gd name="connsiteX4" fmla="*/ 75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75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22500" y="0"/>
                  </a:moveTo>
                  <a:cubicBezTo>
                    <a:pt x="26642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6642" y="30000"/>
                    <a:pt x="22500" y="30000"/>
                  </a:cubicBezTo>
                  <a:lnTo>
                    <a:pt x="7500" y="30000"/>
                  </a:lnTo>
                  <a:cubicBezTo>
                    <a:pt x="3358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2" name="Полилиния 771">
              <a:extLst>
                <a:ext uri="{FF2B5EF4-FFF2-40B4-BE49-F238E27FC236}">
                  <a16:creationId xmlns:a16="http://schemas.microsoft.com/office/drawing/2014/main" id="{423C36CB-2D66-BC40-94A7-92B14E3F72EC}"/>
                </a:ext>
              </a:extLst>
            </p:cNvPr>
            <p:cNvSpPr/>
            <p:nvPr/>
          </p:nvSpPr>
          <p:spPr>
            <a:xfrm>
              <a:off x="5421122" y="1487875"/>
              <a:ext cx="30000" cy="30000"/>
            </a:xfrm>
            <a:custGeom>
              <a:avLst/>
              <a:gdLst>
                <a:gd name="connsiteX0" fmla="*/ 225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22500 w 30000"/>
                <a:gd name="connsiteY3" fmla="*/ 30000 h 30000"/>
                <a:gd name="connsiteX4" fmla="*/ 75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75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22500" y="0"/>
                  </a:moveTo>
                  <a:cubicBezTo>
                    <a:pt x="26642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6642" y="30000"/>
                    <a:pt x="22500" y="30000"/>
                  </a:cubicBezTo>
                  <a:lnTo>
                    <a:pt x="7500" y="30000"/>
                  </a:lnTo>
                  <a:cubicBezTo>
                    <a:pt x="3358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3" name="Полилиния 772">
              <a:extLst>
                <a:ext uri="{FF2B5EF4-FFF2-40B4-BE49-F238E27FC236}">
                  <a16:creationId xmlns:a16="http://schemas.microsoft.com/office/drawing/2014/main" id="{1B705ACF-6949-384C-B0E8-3D64839D94FB}"/>
                </a:ext>
              </a:extLst>
            </p:cNvPr>
            <p:cNvSpPr/>
            <p:nvPr/>
          </p:nvSpPr>
          <p:spPr>
            <a:xfrm>
              <a:off x="5481122" y="1487875"/>
              <a:ext cx="30000" cy="30000"/>
            </a:xfrm>
            <a:custGeom>
              <a:avLst/>
              <a:gdLst>
                <a:gd name="connsiteX0" fmla="*/ 225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22500 w 30000"/>
                <a:gd name="connsiteY3" fmla="*/ 30000 h 30000"/>
                <a:gd name="connsiteX4" fmla="*/ 75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75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22500" y="0"/>
                  </a:moveTo>
                  <a:cubicBezTo>
                    <a:pt x="26642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6642" y="30000"/>
                    <a:pt x="22500" y="30000"/>
                  </a:cubicBezTo>
                  <a:lnTo>
                    <a:pt x="7500" y="30000"/>
                  </a:lnTo>
                  <a:cubicBezTo>
                    <a:pt x="3358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4" name="Полилиния 773">
              <a:extLst>
                <a:ext uri="{FF2B5EF4-FFF2-40B4-BE49-F238E27FC236}">
                  <a16:creationId xmlns:a16="http://schemas.microsoft.com/office/drawing/2014/main" id="{C7A1B239-748E-1946-B7DC-E30BADF68529}"/>
                </a:ext>
              </a:extLst>
            </p:cNvPr>
            <p:cNvSpPr/>
            <p:nvPr/>
          </p:nvSpPr>
          <p:spPr>
            <a:xfrm>
              <a:off x="5481122" y="1547875"/>
              <a:ext cx="30000" cy="30000"/>
            </a:xfrm>
            <a:custGeom>
              <a:avLst/>
              <a:gdLst>
                <a:gd name="connsiteX0" fmla="*/ 225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22500 w 30000"/>
                <a:gd name="connsiteY3" fmla="*/ 30000 h 30000"/>
                <a:gd name="connsiteX4" fmla="*/ 75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75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22500" y="0"/>
                  </a:moveTo>
                  <a:cubicBezTo>
                    <a:pt x="26642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6642" y="30000"/>
                    <a:pt x="22500" y="30000"/>
                  </a:cubicBezTo>
                  <a:lnTo>
                    <a:pt x="7500" y="30000"/>
                  </a:lnTo>
                  <a:cubicBezTo>
                    <a:pt x="3358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5" name="Полилиния 774">
              <a:extLst>
                <a:ext uri="{FF2B5EF4-FFF2-40B4-BE49-F238E27FC236}">
                  <a16:creationId xmlns:a16="http://schemas.microsoft.com/office/drawing/2014/main" id="{F7147ED6-9378-7344-ABE8-59E3E7CA3302}"/>
                </a:ext>
              </a:extLst>
            </p:cNvPr>
            <p:cNvSpPr/>
            <p:nvPr/>
          </p:nvSpPr>
          <p:spPr>
            <a:xfrm>
              <a:off x="5481122" y="1607875"/>
              <a:ext cx="30000" cy="30000"/>
            </a:xfrm>
            <a:custGeom>
              <a:avLst/>
              <a:gdLst>
                <a:gd name="connsiteX0" fmla="*/ 225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22500 w 30000"/>
                <a:gd name="connsiteY3" fmla="*/ 30000 h 30000"/>
                <a:gd name="connsiteX4" fmla="*/ 75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75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22500" y="0"/>
                  </a:moveTo>
                  <a:cubicBezTo>
                    <a:pt x="26642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6642" y="30000"/>
                    <a:pt x="22500" y="30000"/>
                  </a:cubicBezTo>
                  <a:lnTo>
                    <a:pt x="7500" y="30000"/>
                  </a:lnTo>
                  <a:cubicBezTo>
                    <a:pt x="3358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6" name="Полилиния 775">
              <a:extLst>
                <a:ext uri="{FF2B5EF4-FFF2-40B4-BE49-F238E27FC236}">
                  <a16:creationId xmlns:a16="http://schemas.microsoft.com/office/drawing/2014/main" id="{523785D7-AD62-634F-9987-31C2D7407EFC}"/>
                </a:ext>
              </a:extLst>
            </p:cNvPr>
            <p:cNvSpPr/>
            <p:nvPr/>
          </p:nvSpPr>
          <p:spPr>
            <a:xfrm>
              <a:off x="5301122" y="1667875"/>
              <a:ext cx="30000" cy="30000"/>
            </a:xfrm>
            <a:custGeom>
              <a:avLst/>
              <a:gdLst>
                <a:gd name="connsiteX0" fmla="*/ 225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22500 w 30000"/>
                <a:gd name="connsiteY3" fmla="*/ 30000 h 30000"/>
                <a:gd name="connsiteX4" fmla="*/ 75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75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22500" y="0"/>
                  </a:moveTo>
                  <a:cubicBezTo>
                    <a:pt x="26642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6642" y="30000"/>
                    <a:pt x="22500" y="30000"/>
                  </a:cubicBezTo>
                  <a:lnTo>
                    <a:pt x="7500" y="30000"/>
                  </a:lnTo>
                  <a:cubicBezTo>
                    <a:pt x="3358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7" name="Полилиния 776">
              <a:extLst>
                <a:ext uri="{FF2B5EF4-FFF2-40B4-BE49-F238E27FC236}">
                  <a16:creationId xmlns:a16="http://schemas.microsoft.com/office/drawing/2014/main" id="{FC9F5C9B-06DC-C040-90DC-DA3926413182}"/>
                </a:ext>
              </a:extLst>
            </p:cNvPr>
            <p:cNvSpPr/>
            <p:nvPr/>
          </p:nvSpPr>
          <p:spPr>
            <a:xfrm>
              <a:off x="5361122" y="1667875"/>
              <a:ext cx="30000" cy="30000"/>
            </a:xfrm>
            <a:custGeom>
              <a:avLst/>
              <a:gdLst>
                <a:gd name="connsiteX0" fmla="*/ 225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22500 w 30000"/>
                <a:gd name="connsiteY3" fmla="*/ 30000 h 30000"/>
                <a:gd name="connsiteX4" fmla="*/ 75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75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22500" y="0"/>
                  </a:moveTo>
                  <a:cubicBezTo>
                    <a:pt x="26642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6642" y="30000"/>
                    <a:pt x="22500" y="30000"/>
                  </a:cubicBezTo>
                  <a:lnTo>
                    <a:pt x="7500" y="30000"/>
                  </a:lnTo>
                  <a:cubicBezTo>
                    <a:pt x="3358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8" name="Полилиния 777">
              <a:extLst>
                <a:ext uri="{FF2B5EF4-FFF2-40B4-BE49-F238E27FC236}">
                  <a16:creationId xmlns:a16="http://schemas.microsoft.com/office/drawing/2014/main" id="{7F9D4F95-76A2-5645-B82D-9A30ED9552E5}"/>
                </a:ext>
              </a:extLst>
            </p:cNvPr>
            <p:cNvSpPr/>
            <p:nvPr/>
          </p:nvSpPr>
          <p:spPr>
            <a:xfrm>
              <a:off x="5421122" y="1667875"/>
              <a:ext cx="30000" cy="30000"/>
            </a:xfrm>
            <a:custGeom>
              <a:avLst/>
              <a:gdLst>
                <a:gd name="connsiteX0" fmla="*/ 225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22500 w 30000"/>
                <a:gd name="connsiteY3" fmla="*/ 30000 h 30000"/>
                <a:gd name="connsiteX4" fmla="*/ 75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75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22500" y="0"/>
                  </a:moveTo>
                  <a:cubicBezTo>
                    <a:pt x="26642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6642" y="30000"/>
                    <a:pt x="22500" y="30000"/>
                  </a:cubicBezTo>
                  <a:lnTo>
                    <a:pt x="7500" y="30000"/>
                  </a:lnTo>
                  <a:cubicBezTo>
                    <a:pt x="3358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9" name="Полилиния 778">
              <a:extLst>
                <a:ext uri="{FF2B5EF4-FFF2-40B4-BE49-F238E27FC236}">
                  <a16:creationId xmlns:a16="http://schemas.microsoft.com/office/drawing/2014/main" id="{76238737-52E5-834B-81E1-075B46A3304F}"/>
                </a:ext>
              </a:extLst>
            </p:cNvPr>
            <p:cNvSpPr/>
            <p:nvPr/>
          </p:nvSpPr>
          <p:spPr>
            <a:xfrm>
              <a:off x="5481122" y="1667875"/>
              <a:ext cx="30000" cy="30000"/>
            </a:xfrm>
            <a:custGeom>
              <a:avLst/>
              <a:gdLst>
                <a:gd name="connsiteX0" fmla="*/ 225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22500 w 30000"/>
                <a:gd name="connsiteY3" fmla="*/ 30000 h 30000"/>
                <a:gd name="connsiteX4" fmla="*/ 75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75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22500" y="0"/>
                  </a:moveTo>
                  <a:cubicBezTo>
                    <a:pt x="26642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6642" y="30000"/>
                    <a:pt x="22500" y="30000"/>
                  </a:cubicBezTo>
                  <a:lnTo>
                    <a:pt x="7500" y="30000"/>
                  </a:lnTo>
                  <a:cubicBezTo>
                    <a:pt x="3358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80" name="Рисунок 169">
            <a:extLst>
              <a:ext uri="{FF2B5EF4-FFF2-40B4-BE49-F238E27FC236}">
                <a16:creationId xmlns:a16="http://schemas.microsoft.com/office/drawing/2014/main" id="{CCB6069C-9CEF-E648-8A04-70D756130E30}"/>
              </a:ext>
            </a:extLst>
          </p:cNvPr>
          <p:cNvGrpSpPr/>
          <p:nvPr/>
        </p:nvGrpSpPr>
        <p:grpSpPr>
          <a:xfrm>
            <a:off x="8979485" y="1096153"/>
            <a:ext cx="360000" cy="360000"/>
            <a:chOff x="9001787" y="1412875"/>
            <a:chExt cx="360000" cy="360000"/>
          </a:xfrm>
        </p:grpSpPr>
        <p:sp>
          <p:nvSpPr>
            <p:cNvPr id="781" name="Полилиния 780">
              <a:extLst>
                <a:ext uri="{FF2B5EF4-FFF2-40B4-BE49-F238E27FC236}">
                  <a16:creationId xmlns:a16="http://schemas.microsoft.com/office/drawing/2014/main" id="{756193A3-94CC-E541-8F10-004A11540AD7}"/>
                </a:ext>
              </a:extLst>
            </p:cNvPr>
            <p:cNvSpPr/>
            <p:nvPr/>
          </p:nvSpPr>
          <p:spPr>
            <a:xfrm>
              <a:off x="9001787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2" name="Скругленный прямоугольник 781">
              <a:extLst>
                <a:ext uri="{FF2B5EF4-FFF2-40B4-BE49-F238E27FC236}">
                  <a16:creationId xmlns:a16="http://schemas.microsoft.com/office/drawing/2014/main" id="{41C193D5-5409-9B4A-A22F-49A3F4D0063A}"/>
                </a:ext>
              </a:extLst>
            </p:cNvPr>
            <p:cNvSpPr/>
            <p:nvPr/>
          </p:nvSpPr>
          <p:spPr>
            <a:xfrm>
              <a:off x="9031787" y="1487875"/>
              <a:ext cx="300000" cy="21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3" name="Полилиния 782">
              <a:extLst>
                <a:ext uri="{FF2B5EF4-FFF2-40B4-BE49-F238E27FC236}">
                  <a16:creationId xmlns:a16="http://schemas.microsoft.com/office/drawing/2014/main" id="{8E795FE6-C46C-B649-BEA6-29EB229899E5}"/>
                </a:ext>
              </a:extLst>
            </p:cNvPr>
            <p:cNvSpPr/>
            <p:nvPr/>
          </p:nvSpPr>
          <p:spPr>
            <a:xfrm>
              <a:off x="9031787" y="1532875"/>
              <a:ext cx="300000" cy="45000"/>
            </a:xfrm>
            <a:custGeom>
              <a:avLst/>
              <a:gdLst>
                <a:gd name="connsiteX0" fmla="*/ 0 w 300000"/>
                <a:gd name="connsiteY0" fmla="*/ 0 h 45000"/>
                <a:gd name="connsiteX1" fmla="*/ 300000 w 300000"/>
                <a:gd name="connsiteY1" fmla="*/ 0 h 45000"/>
                <a:gd name="connsiteX2" fmla="*/ 300000 w 300000"/>
                <a:gd name="connsiteY2" fmla="*/ 45000 h 45000"/>
                <a:gd name="connsiteX3" fmla="*/ 0 w 300000"/>
                <a:gd name="connsiteY3" fmla="*/ 4500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000" h="45000">
                  <a:moveTo>
                    <a:pt x="0" y="0"/>
                  </a:moveTo>
                  <a:lnTo>
                    <a:pt x="300000" y="0"/>
                  </a:lnTo>
                  <a:lnTo>
                    <a:pt x="300000" y="45000"/>
                  </a:lnTo>
                  <a:lnTo>
                    <a:pt x="0" y="4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84" name="Скругленный прямоугольник 783">
              <a:extLst>
                <a:ext uri="{FF2B5EF4-FFF2-40B4-BE49-F238E27FC236}">
                  <a16:creationId xmlns:a16="http://schemas.microsoft.com/office/drawing/2014/main" id="{36A083CB-90DB-4F4D-B35E-0BBFF1A825F2}"/>
                </a:ext>
              </a:extLst>
            </p:cNvPr>
            <p:cNvSpPr/>
            <p:nvPr/>
          </p:nvSpPr>
          <p:spPr>
            <a:xfrm>
              <a:off x="9241787" y="1622875"/>
              <a:ext cx="6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85" name="Рисунок 170">
            <a:extLst>
              <a:ext uri="{FF2B5EF4-FFF2-40B4-BE49-F238E27FC236}">
                <a16:creationId xmlns:a16="http://schemas.microsoft.com/office/drawing/2014/main" id="{B3095E9E-5598-924F-8D38-698B7F387B42}"/>
              </a:ext>
            </a:extLst>
          </p:cNvPr>
          <p:cNvGrpSpPr/>
          <p:nvPr/>
        </p:nvGrpSpPr>
        <p:grpSpPr>
          <a:xfrm>
            <a:off x="8224352" y="1096153"/>
            <a:ext cx="360000" cy="360000"/>
            <a:chOff x="8246654" y="1412875"/>
            <a:chExt cx="360000" cy="360000"/>
          </a:xfrm>
        </p:grpSpPr>
        <p:sp>
          <p:nvSpPr>
            <p:cNvPr id="786" name="Полилиния 785">
              <a:extLst>
                <a:ext uri="{FF2B5EF4-FFF2-40B4-BE49-F238E27FC236}">
                  <a16:creationId xmlns:a16="http://schemas.microsoft.com/office/drawing/2014/main" id="{257E55A7-F0D3-414B-B695-49BB739BA6E9}"/>
                </a:ext>
              </a:extLst>
            </p:cNvPr>
            <p:cNvSpPr/>
            <p:nvPr/>
          </p:nvSpPr>
          <p:spPr>
            <a:xfrm>
              <a:off x="824665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7" name="Полилиния 786">
              <a:extLst>
                <a:ext uri="{FF2B5EF4-FFF2-40B4-BE49-F238E27FC236}">
                  <a16:creationId xmlns:a16="http://schemas.microsoft.com/office/drawing/2014/main" id="{55604EC6-F351-EB4D-B7D8-68CCF5D8A25B}"/>
                </a:ext>
              </a:extLst>
            </p:cNvPr>
            <p:cNvSpPr/>
            <p:nvPr/>
          </p:nvSpPr>
          <p:spPr>
            <a:xfrm>
              <a:off x="8291654" y="1502875"/>
              <a:ext cx="225000" cy="225000"/>
            </a:xfrm>
            <a:custGeom>
              <a:avLst/>
              <a:gdLst>
                <a:gd name="connsiteX0" fmla="*/ 105000 w 225000"/>
                <a:gd name="connsiteY0" fmla="*/ 0 h 225000"/>
                <a:gd name="connsiteX1" fmla="*/ 172500 w 225000"/>
                <a:gd name="connsiteY1" fmla="*/ 0 h 225000"/>
                <a:gd name="connsiteX2" fmla="*/ 225000 w 225000"/>
                <a:gd name="connsiteY2" fmla="*/ 52500 h 225000"/>
                <a:gd name="connsiteX3" fmla="*/ 225000 w 225000"/>
                <a:gd name="connsiteY3" fmla="*/ 120000 h 225000"/>
                <a:gd name="connsiteX4" fmla="*/ 195000 w 225000"/>
                <a:gd name="connsiteY4" fmla="*/ 120000 h 225000"/>
                <a:gd name="connsiteX5" fmla="*/ 195000 w 225000"/>
                <a:gd name="connsiteY5" fmla="*/ 52500 h 225000"/>
                <a:gd name="connsiteX6" fmla="*/ 172500 w 225000"/>
                <a:gd name="connsiteY6" fmla="*/ 30000 h 225000"/>
                <a:gd name="connsiteX7" fmla="*/ 105000 w 225000"/>
                <a:gd name="connsiteY7" fmla="*/ 30000 h 225000"/>
                <a:gd name="connsiteX8" fmla="*/ 105000 w 225000"/>
                <a:gd name="connsiteY8" fmla="*/ 0 h 225000"/>
                <a:gd name="connsiteX9" fmla="*/ 75000 w 225000"/>
                <a:gd name="connsiteY9" fmla="*/ 0 h 225000"/>
                <a:gd name="connsiteX10" fmla="*/ 75000 w 225000"/>
                <a:gd name="connsiteY10" fmla="*/ 30000 h 225000"/>
                <a:gd name="connsiteX11" fmla="*/ 15000 w 225000"/>
                <a:gd name="connsiteY11" fmla="*/ 30000 h 225000"/>
                <a:gd name="connsiteX12" fmla="*/ 0 w 225000"/>
                <a:gd name="connsiteY12" fmla="*/ 15000 h 225000"/>
                <a:gd name="connsiteX13" fmla="*/ 15000 w 225000"/>
                <a:gd name="connsiteY13" fmla="*/ 0 h 225000"/>
                <a:gd name="connsiteX14" fmla="*/ 75000 w 225000"/>
                <a:gd name="connsiteY14" fmla="*/ 0 h 225000"/>
                <a:gd name="connsiteX15" fmla="*/ 225000 w 225000"/>
                <a:gd name="connsiteY15" fmla="*/ 150000 h 225000"/>
                <a:gd name="connsiteX16" fmla="*/ 225000 w 225000"/>
                <a:gd name="connsiteY16" fmla="*/ 210000 h 225000"/>
                <a:gd name="connsiteX17" fmla="*/ 210000 w 225000"/>
                <a:gd name="connsiteY17" fmla="*/ 225000 h 225000"/>
                <a:gd name="connsiteX18" fmla="*/ 195000 w 225000"/>
                <a:gd name="connsiteY18" fmla="*/ 210000 h 225000"/>
                <a:gd name="connsiteX19" fmla="*/ 195000 w 225000"/>
                <a:gd name="connsiteY19" fmla="*/ 150000 h 225000"/>
                <a:gd name="connsiteX20" fmla="*/ 225000 w 225000"/>
                <a:gd name="connsiteY20" fmla="*/ 150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5000" h="225000">
                  <a:moveTo>
                    <a:pt x="105000" y="0"/>
                  </a:moveTo>
                  <a:lnTo>
                    <a:pt x="172500" y="0"/>
                  </a:lnTo>
                  <a:cubicBezTo>
                    <a:pt x="205637" y="0"/>
                    <a:pt x="225000" y="19363"/>
                    <a:pt x="225000" y="52500"/>
                  </a:cubicBezTo>
                  <a:lnTo>
                    <a:pt x="225000" y="120000"/>
                  </a:lnTo>
                  <a:lnTo>
                    <a:pt x="195000" y="120000"/>
                  </a:lnTo>
                  <a:lnTo>
                    <a:pt x="195000" y="52500"/>
                  </a:lnTo>
                  <a:cubicBezTo>
                    <a:pt x="195000" y="35931"/>
                    <a:pt x="189069" y="30000"/>
                    <a:pt x="172500" y="30000"/>
                  </a:cubicBezTo>
                  <a:lnTo>
                    <a:pt x="105000" y="30000"/>
                  </a:lnTo>
                  <a:lnTo>
                    <a:pt x="105000" y="0"/>
                  </a:lnTo>
                  <a:close/>
                  <a:moveTo>
                    <a:pt x="75000" y="0"/>
                  </a:moveTo>
                  <a:lnTo>
                    <a:pt x="75000" y="30000"/>
                  </a:ln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lnTo>
                    <a:pt x="75000" y="0"/>
                  </a:lnTo>
                  <a:close/>
                  <a:moveTo>
                    <a:pt x="225000" y="150000"/>
                  </a:moveTo>
                  <a:lnTo>
                    <a:pt x="225000" y="210000"/>
                  </a:lnTo>
                  <a:cubicBezTo>
                    <a:pt x="225000" y="218285"/>
                    <a:pt x="218285" y="225000"/>
                    <a:pt x="210000" y="225000"/>
                  </a:cubicBezTo>
                  <a:cubicBezTo>
                    <a:pt x="201716" y="225000"/>
                    <a:pt x="195000" y="218285"/>
                    <a:pt x="195000" y="210000"/>
                  </a:cubicBezTo>
                  <a:lnTo>
                    <a:pt x="195000" y="150000"/>
                  </a:lnTo>
                  <a:lnTo>
                    <a:pt x="225000" y="15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8" name="Полилиния 787">
              <a:extLst>
                <a:ext uri="{FF2B5EF4-FFF2-40B4-BE49-F238E27FC236}">
                  <a16:creationId xmlns:a16="http://schemas.microsoft.com/office/drawing/2014/main" id="{358E04A4-A2B0-1346-A366-9023AF7CACB8}"/>
                </a:ext>
              </a:extLst>
            </p:cNvPr>
            <p:cNvSpPr/>
            <p:nvPr/>
          </p:nvSpPr>
          <p:spPr>
            <a:xfrm rot="-10800000">
              <a:off x="8336654" y="1457875"/>
              <a:ext cx="224999" cy="225000"/>
            </a:xfrm>
            <a:custGeom>
              <a:avLst/>
              <a:gdLst>
                <a:gd name="connsiteX0" fmla="*/ 15000 w 224999"/>
                <a:gd name="connsiteY0" fmla="*/ 30000 h 225000"/>
                <a:gd name="connsiteX1" fmla="*/ 0 w 224999"/>
                <a:gd name="connsiteY1" fmla="*/ 15000 h 225000"/>
                <a:gd name="connsiteX2" fmla="*/ 15000 w 224999"/>
                <a:gd name="connsiteY2" fmla="*/ 0 h 225000"/>
                <a:gd name="connsiteX3" fmla="*/ 172500 w 224999"/>
                <a:gd name="connsiteY3" fmla="*/ 0 h 225000"/>
                <a:gd name="connsiteX4" fmla="*/ 225000 w 224999"/>
                <a:gd name="connsiteY4" fmla="*/ 52500 h 225000"/>
                <a:gd name="connsiteX5" fmla="*/ 225000 w 224999"/>
                <a:gd name="connsiteY5" fmla="*/ 210000 h 225000"/>
                <a:gd name="connsiteX6" fmla="*/ 210000 w 224999"/>
                <a:gd name="connsiteY6" fmla="*/ 225000 h 225000"/>
                <a:gd name="connsiteX7" fmla="*/ 195000 w 224999"/>
                <a:gd name="connsiteY7" fmla="*/ 210000 h 225000"/>
                <a:gd name="connsiteX8" fmla="*/ 195000 w 224999"/>
                <a:gd name="connsiteY8" fmla="*/ 52500 h 225000"/>
                <a:gd name="connsiteX9" fmla="*/ 172500 w 224999"/>
                <a:gd name="connsiteY9" fmla="*/ 30000 h 225000"/>
                <a:gd name="connsiteX10" fmla="*/ 15000 w 224999"/>
                <a:gd name="connsiteY10" fmla="*/ 30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999" h="225000">
                  <a:moveTo>
                    <a:pt x="15000" y="30000"/>
                  </a:move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lnTo>
                    <a:pt x="172500" y="0"/>
                  </a:lnTo>
                  <a:cubicBezTo>
                    <a:pt x="205637" y="0"/>
                    <a:pt x="225000" y="19363"/>
                    <a:pt x="225000" y="52500"/>
                  </a:cubicBezTo>
                  <a:lnTo>
                    <a:pt x="225000" y="210000"/>
                  </a:lnTo>
                  <a:cubicBezTo>
                    <a:pt x="225000" y="218285"/>
                    <a:pt x="218285" y="225000"/>
                    <a:pt x="210000" y="225000"/>
                  </a:cubicBezTo>
                  <a:cubicBezTo>
                    <a:pt x="201716" y="225000"/>
                    <a:pt x="195000" y="218285"/>
                    <a:pt x="195000" y="210000"/>
                  </a:cubicBezTo>
                  <a:lnTo>
                    <a:pt x="195000" y="52500"/>
                  </a:lnTo>
                  <a:cubicBezTo>
                    <a:pt x="195000" y="35931"/>
                    <a:pt x="189069" y="30000"/>
                    <a:pt x="172500" y="30000"/>
                  </a:cubicBezTo>
                  <a:lnTo>
                    <a:pt x="15000" y="3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89" name="Рисунок 171">
            <a:extLst>
              <a:ext uri="{FF2B5EF4-FFF2-40B4-BE49-F238E27FC236}">
                <a16:creationId xmlns:a16="http://schemas.microsoft.com/office/drawing/2014/main" id="{6B02F6F0-9C9B-D94B-BAC5-E19E0CDC284C}"/>
              </a:ext>
            </a:extLst>
          </p:cNvPr>
          <p:cNvGrpSpPr/>
          <p:nvPr/>
        </p:nvGrpSpPr>
        <p:grpSpPr>
          <a:xfrm>
            <a:off x="5958953" y="1096153"/>
            <a:ext cx="360000" cy="360000"/>
            <a:chOff x="5981255" y="1412875"/>
            <a:chExt cx="360000" cy="360000"/>
          </a:xfrm>
        </p:grpSpPr>
        <p:sp>
          <p:nvSpPr>
            <p:cNvPr id="790" name="Полилиния 789">
              <a:extLst>
                <a:ext uri="{FF2B5EF4-FFF2-40B4-BE49-F238E27FC236}">
                  <a16:creationId xmlns:a16="http://schemas.microsoft.com/office/drawing/2014/main" id="{3ECF0F4F-E48C-CA47-8369-AAE0B67569CC}"/>
                </a:ext>
              </a:extLst>
            </p:cNvPr>
            <p:cNvSpPr/>
            <p:nvPr/>
          </p:nvSpPr>
          <p:spPr>
            <a:xfrm>
              <a:off x="5981255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1" name="Полилиния 790">
              <a:extLst>
                <a:ext uri="{FF2B5EF4-FFF2-40B4-BE49-F238E27FC236}">
                  <a16:creationId xmlns:a16="http://schemas.microsoft.com/office/drawing/2014/main" id="{F7947AF6-7B50-8D49-8EC7-56E82FE823C7}"/>
                </a:ext>
              </a:extLst>
            </p:cNvPr>
            <p:cNvSpPr/>
            <p:nvPr/>
          </p:nvSpPr>
          <p:spPr>
            <a:xfrm>
              <a:off x="6011255" y="1495174"/>
              <a:ext cx="300000" cy="157700"/>
            </a:xfrm>
            <a:custGeom>
              <a:avLst/>
              <a:gdLst>
                <a:gd name="connsiteX0" fmla="*/ 138902 w 300000"/>
                <a:gd name="connsiteY0" fmla="*/ 4910 h 157700"/>
                <a:gd name="connsiteX1" fmla="*/ 0 w 300000"/>
                <a:gd name="connsiteY1" fmla="*/ 157701 h 157700"/>
                <a:gd name="connsiteX2" fmla="*/ 300000 w 300000"/>
                <a:gd name="connsiteY2" fmla="*/ 157701 h 157700"/>
                <a:gd name="connsiteX3" fmla="*/ 161099 w 300000"/>
                <a:gd name="connsiteY3" fmla="*/ 4910 h 157700"/>
                <a:gd name="connsiteX4" fmla="*/ 139910 w 300000"/>
                <a:gd name="connsiteY4" fmla="*/ 3901 h 157700"/>
                <a:gd name="connsiteX5" fmla="*/ 138902 w 300000"/>
                <a:gd name="connsiteY5" fmla="*/ 4910 h 15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000" h="157700">
                  <a:moveTo>
                    <a:pt x="138902" y="4910"/>
                  </a:moveTo>
                  <a:lnTo>
                    <a:pt x="0" y="157701"/>
                  </a:lnTo>
                  <a:lnTo>
                    <a:pt x="300000" y="157701"/>
                  </a:lnTo>
                  <a:lnTo>
                    <a:pt x="161099" y="4910"/>
                  </a:lnTo>
                  <a:cubicBezTo>
                    <a:pt x="155526" y="-1220"/>
                    <a:pt x="146040" y="-1672"/>
                    <a:pt x="139910" y="3901"/>
                  </a:cubicBezTo>
                  <a:cubicBezTo>
                    <a:pt x="139559" y="4221"/>
                    <a:pt x="139221" y="4558"/>
                    <a:pt x="138902" y="491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2" name="Полилиния 791">
              <a:extLst>
                <a:ext uri="{FF2B5EF4-FFF2-40B4-BE49-F238E27FC236}">
                  <a16:creationId xmlns:a16="http://schemas.microsoft.com/office/drawing/2014/main" id="{4A580193-6E94-5D4C-8941-35689EA3B18D}"/>
                </a:ext>
              </a:extLst>
            </p:cNvPr>
            <p:cNvSpPr/>
            <p:nvPr/>
          </p:nvSpPr>
          <p:spPr>
            <a:xfrm>
              <a:off x="6011255" y="1510907"/>
              <a:ext cx="300171" cy="201967"/>
            </a:xfrm>
            <a:custGeom>
              <a:avLst/>
              <a:gdLst>
                <a:gd name="connsiteX0" fmla="*/ 150086 w 300171"/>
                <a:gd name="connsiteY0" fmla="*/ 137643 h 201967"/>
                <a:gd name="connsiteX1" fmla="*/ 274209 w 300171"/>
                <a:gd name="connsiteY1" fmla="*/ 4761 h 201967"/>
                <a:gd name="connsiteX2" fmla="*/ 295410 w 300171"/>
                <a:gd name="connsiteY2" fmla="*/ 4038 h 201967"/>
                <a:gd name="connsiteX3" fmla="*/ 300171 w 300171"/>
                <a:gd name="connsiteY3" fmla="*/ 15000 h 201967"/>
                <a:gd name="connsiteX4" fmla="*/ 300171 w 300171"/>
                <a:gd name="connsiteY4" fmla="*/ 201967 h 201967"/>
                <a:gd name="connsiteX5" fmla="*/ 210171 w 300171"/>
                <a:gd name="connsiteY5" fmla="*/ 201967 h 201967"/>
                <a:gd name="connsiteX6" fmla="*/ 0 w 300171"/>
                <a:gd name="connsiteY6" fmla="*/ 201967 h 201967"/>
                <a:gd name="connsiteX7" fmla="*/ 0 w 300171"/>
                <a:gd name="connsiteY7" fmla="*/ 15000 h 201967"/>
                <a:gd name="connsiteX8" fmla="*/ 4761 w 300171"/>
                <a:gd name="connsiteY8" fmla="*/ 4038 h 201967"/>
                <a:gd name="connsiteX9" fmla="*/ 25962 w 300171"/>
                <a:gd name="connsiteY9" fmla="*/ 4761 h 201967"/>
                <a:gd name="connsiteX10" fmla="*/ 150086 w 300171"/>
                <a:gd name="connsiteY10" fmla="*/ 137643 h 201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0171" h="201967">
                  <a:moveTo>
                    <a:pt x="150086" y="137643"/>
                  </a:moveTo>
                  <a:lnTo>
                    <a:pt x="274209" y="4761"/>
                  </a:lnTo>
                  <a:cubicBezTo>
                    <a:pt x="279864" y="-1293"/>
                    <a:pt x="289356" y="-1617"/>
                    <a:pt x="295410" y="4038"/>
                  </a:cubicBezTo>
                  <a:cubicBezTo>
                    <a:pt x="298446" y="6875"/>
                    <a:pt x="300171" y="10844"/>
                    <a:pt x="300171" y="15000"/>
                  </a:cubicBezTo>
                  <a:lnTo>
                    <a:pt x="300171" y="201967"/>
                  </a:lnTo>
                  <a:lnTo>
                    <a:pt x="210171" y="201967"/>
                  </a:lnTo>
                  <a:lnTo>
                    <a:pt x="0" y="201967"/>
                  </a:lnTo>
                  <a:lnTo>
                    <a:pt x="0" y="15000"/>
                  </a:lnTo>
                  <a:cubicBezTo>
                    <a:pt x="0" y="10844"/>
                    <a:pt x="1724" y="6875"/>
                    <a:pt x="4761" y="4038"/>
                  </a:cubicBezTo>
                  <a:cubicBezTo>
                    <a:pt x="10815" y="-1617"/>
                    <a:pt x="20307" y="-1293"/>
                    <a:pt x="25962" y="4761"/>
                  </a:cubicBezTo>
                  <a:lnTo>
                    <a:pt x="150086" y="13764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93" name="Рисунок 172">
            <a:extLst>
              <a:ext uri="{FF2B5EF4-FFF2-40B4-BE49-F238E27FC236}">
                <a16:creationId xmlns:a16="http://schemas.microsoft.com/office/drawing/2014/main" id="{F9D33B66-52BA-434F-BCAE-7A626E675DBD}"/>
              </a:ext>
            </a:extLst>
          </p:cNvPr>
          <p:cNvGrpSpPr/>
          <p:nvPr/>
        </p:nvGrpSpPr>
        <p:grpSpPr>
          <a:xfrm>
            <a:off x="4448687" y="1096153"/>
            <a:ext cx="360000" cy="360000"/>
            <a:chOff x="4470989" y="1412875"/>
            <a:chExt cx="360000" cy="360000"/>
          </a:xfrm>
        </p:grpSpPr>
        <p:sp>
          <p:nvSpPr>
            <p:cNvPr id="794" name="Полилиния 793">
              <a:extLst>
                <a:ext uri="{FF2B5EF4-FFF2-40B4-BE49-F238E27FC236}">
                  <a16:creationId xmlns:a16="http://schemas.microsoft.com/office/drawing/2014/main" id="{54060FC6-58CF-F840-8616-10591E94FCB8}"/>
                </a:ext>
              </a:extLst>
            </p:cNvPr>
            <p:cNvSpPr/>
            <p:nvPr/>
          </p:nvSpPr>
          <p:spPr>
            <a:xfrm>
              <a:off x="4470989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5" name="Полилиния 794">
              <a:extLst>
                <a:ext uri="{FF2B5EF4-FFF2-40B4-BE49-F238E27FC236}">
                  <a16:creationId xmlns:a16="http://schemas.microsoft.com/office/drawing/2014/main" id="{05A1E4C3-4B6A-7D4D-B93B-2CE99216BEE1}"/>
                </a:ext>
              </a:extLst>
            </p:cNvPr>
            <p:cNvSpPr/>
            <p:nvPr/>
          </p:nvSpPr>
          <p:spPr>
            <a:xfrm>
              <a:off x="4590989" y="1482329"/>
              <a:ext cx="154591" cy="236245"/>
            </a:xfrm>
            <a:custGeom>
              <a:avLst/>
              <a:gdLst>
                <a:gd name="connsiteX0" fmla="*/ 93495 w 154591"/>
                <a:gd name="connsiteY0" fmla="*/ 146046 h 236245"/>
                <a:gd name="connsiteX1" fmla="*/ 124668 w 154591"/>
                <a:gd name="connsiteY1" fmla="*/ 212895 h 236245"/>
                <a:gd name="connsiteX2" fmla="*/ 121039 w 154591"/>
                <a:gd name="connsiteY2" fmla="*/ 222863 h 236245"/>
                <a:gd name="connsiteX3" fmla="*/ 93850 w 154591"/>
                <a:gd name="connsiteY3" fmla="*/ 235541 h 236245"/>
                <a:gd name="connsiteX4" fmla="*/ 83885 w 154591"/>
                <a:gd name="connsiteY4" fmla="*/ 231914 h 236245"/>
                <a:gd name="connsiteX5" fmla="*/ 52002 w 154591"/>
                <a:gd name="connsiteY5" fmla="*/ 163544 h 236245"/>
                <a:gd name="connsiteX6" fmla="*/ 12803 w 154591"/>
                <a:gd name="connsiteY6" fmla="*/ 202742 h 236245"/>
                <a:gd name="connsiteX7" fmla="*/ 7500 w 154591"/>
                <a:gd name="connsiteY7" fmla="*/ 204939 h 236245"/>
                <a:gd name="connsiteX8" fmla="*/ 0 w 154591"/>
                <a:gd name="connsiteY8" fmla="*/ 197439 h 236245"/>
                <a:gd name="connsiteX9" fmla="*/ 0 w 154591"/>
                <a:gd name="connsiteY9" fmla="*/ 7500 h 236245"/>
                <a:gd name="connsiteX10" fmla="*/ 1950 w 154591"/>
                <a:gd name="connsiteY10" fmla="*/ 2455 h 236245"/>
                <a:gd name="connsiteX11" fmla="*/ 12545 w 154591"/>
                <a:gd name="connsiteY11" fmla="*/ 1951 h 236245"/>
                <a:gd name="connsiteX12" fmla="*/ 152136 w 154591"/>
                <a:gd name="connsiteY12" fmla="*/ 128852 h 236245"/>
                <a:gd name="connsiteX13" fmla="*/ 154569 w 154591"/>
                <a:gd name="connsiteY13" fmla="*/ 133826 h 236245"/>
                <a:gd name="connsiteX14" fmla="*/ 147666 w 154591"/>
                <a:gd name="connsiteY14" fmla="*/ 141879 h 236245"/>
                <a:gd name="connsiteX15" fmla="*/ 93495 w 154591"/>
                <a:gd name="connsiteY15" fmla="*/ 146046 h 236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4591" h="236245">
                  <a:moveTo>
                    <a:pt x="93495" y="146046"/>
                  </a:moveTo>
                  <a:lnTo>
                    <a:pt x="124668" y="212895"/>
                  </a:lnTo>
                  <a:cubicBezTo>
                    <a:pt x="126419" y="216650"/>
                    <a:pt x="124794" y="221112"/>
                    <a:pt x="121039" y="222863"/>
                  </a:cubicBezTo>
                  <a:lnTo>
                    <a:pt x="93850" y="235541"/>
                  </a:lnTo>
                  <a:cubicBezTo>
                    <a:pt x="90096" y="237291"/>
                    <a:pt x="85635" y="235667"/>
                    <a:pt x="83885" y="231914"/>
                  </a:cubicBezTo>
                  <a:lnTo>
                    <a:pt x="52002" y="163544"/>
                  </a:lnTo>
                  <a:lnTo>
                    <a:pt x="12803" y="202742"/>
                  </a:lnTo>
                  <a:cubicBezTo>
                    <a:pt x="11397" y="204149"/>
                    <a:pt x="9489" y="204939"/>
                    <a:pt x="7500" y="204939"/>
                  </a:cubicBezTo>
                  <a:cubicBezTo>
                    <a:pt x="3358" y="204939"/>
                    <a:pt x="0" y="201581"/>
                    <a:pt x="0" y="197439"/>
                  </a:cubicBezTo>
                  <a:lnTo>
                    <a:pt x="0" y="7500"/>
                  </a:lnTo>
                  <a:cubicBezTo>
                    <a:pt x="0" y="5634"/>
                    <a:pt x="695" y="3836"/>
                    <a:pt x="1950" y="2455"/>
                  </a:cubicBezTo>
                  <a:cubicBezTo>
                    <a:pt x="4737" y="-610"/>
                    <a:pt x="9480" y="-836"/>
                    <a:pt x="12545" y="1951"/>
                  </a:cubicBezTo>
                  <a:lnTo>
                    <a:pt x="152136" y="128852"/>
                  </a:lnTo>
                  <a:cubicBezTo>
                    <a:pt x="153552" y="130139"/>
                    <a:pt x="154422" y="131918"/>
                    <a:pt x="154569" y="133826"/>
                  </a:cubicBezTo>
                  <a:cubicBezTo>
                    <a:pt x="154887" y="137955"/>
                    <a:pt x="151797" y="141561"/>
                    <a:pt x="147666" y="141879"/>
                  </a:cubicBezTo>
                  <a:lnTo>
                    <a:pt x="93495" y="146046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796" name="Рисунок 173">
            <a:extLst>
              <a:ext uri="{FF2B5EF4-FFF2-40B4-BE49-F238E27FC236}">
                <a16:creationId xmlns:a16="http://schemas.microsoft.com/office/drawing/2014/main" id="{ECD449AF-FA6B-4348-B62F-1617EECA1AC5}"/>
              </a:ext>
            </a:extLst>
          </p:cNvPr>
          <p:cNvGrpSpPr/>
          <p:nvPr/>
        </p:nvGrpSpPr>
        <p:grpSpPr>
          <a:xfrm>
            <a:off x="6714086" y="1096153"/>
            <a:ext cx="360000" cy="360000"/>
            <a:chOff x="6736388" y="1412875"/>
            <a:chExt cx="360000" cy="360000"/>
          </a:xfrm>
        </p:grpSpPr>
        <p:sp>
          <p:nvSpPr>
            <p:cNvPr id="797" name="Полилиния 796">
              <a:extLst>
                <a:ext uri="{FF2B5EF4-FFF2-40B4-BE49-F238E27FC236}">
                  <a16:creationId xmlns:a16="http://schemas.microsoft.com/office/drawing/2014/main" id="{D973A868-EA7E-DD48-8C78-7C12828D895B}"/>
                </a:ext>
              </a:extLst>
            </p:cNvPr>
            <p:cNvSpPr/>
            <p:nvPr/>
          </p:nvSpPr>
          <p:spPr>
            <a:xfrm>
              <a:off x="6736388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8" name="Полилиния 797">
              <a:extLst>
                <a:ext uri="{FF2B5EF4-FFF2-40B4-BE49-F238E27FC236}">
                  <a16:creationId xmlns:a16="http://schemas.microsoft.com/office/drawing/2014/main" id="{34D68B7C-EF80-EE40-94F5-7BEA8F8C22EB}"/>
                </a:ext>
              </a:extLst>
            </p:cNvPr>
            <p:cNvSpPr/>
            <p:nvPr/>
          </p:nvSpPr>
          <p:spPr>
            <a:xfrm>
              <a:off x="6766231" y="1628711"/>
              <a:ext cx="106819" cy="106820"/>
            </a:xfrm>
            <a:custGeom>
              <a:avLst/>
              <a:gdLst>
                <a:gd name="connsiteX0" fmla="*/ 95836 w 106819"/>
                <a:gd name="connsiteY0" fmla="*/ 10983 h 106820"/>
                <a:gd name="connsiteX1" fmla="*/ 95836 w 106819"/>
                <a:gd name="connsiteY1" fmla="*/ 64017 h 106820"/>
                <a:gd name="connsiteX2" fmla="*/ 64017 w 106819"/>
                <a:gd name="connsiteY2" fmla="*/ 95837 h 106820"/>
                <a:gd name="connsiteX3" fmla="*/ 10984 w 106819"/>
                <a:gd name="connsiteY3" fmla="*/ 95837 h 106820"/>
                <a:gd name="connsiteX4" fmla="*/ 10984 w 106819"/>
                <a:gd name="connsiteY4" fmla="*/ 42803 h 106820"/>
                <a:gd name="connsiteX5" fmla="*/ 42803 w 106819"/>
                <a:gd name="connsiteY5" fmla="*/ 10983 h 106820"/>
                <a:gd name="connsiteX6" fmla="*/ 95836 w 106819"/>
                <a:gd name="connsiteY6" fmla="*/ 10983 h 106820"/>
                <a:gd name="connsiteX7" fmla="*/ 27424 w 106819"/>
                <a:gd name="connsiteY7" fmla="*/ 80457 h 106820"/>
                <a:gd name="connsiteX8" fmla="*/ 53940 w 106819"/>
                <a:gd name="connsiteY8" fmla="*/ 80457 h 106820"/>
                <a:gd name="connsiteX9" fmla="*/ 53940 w 106819"/>
                <a:gd name="connsiteY9" fmla="*/ 53940 h 106820"/>
                <a:gd name="connsiteX10" fmla="*/ 27424 w 106819"/>
                <a:gd name="connsiteY10" fmla="*/ 53940 h 106820"/>
                <a:gd name="connsiteX11" fmla="*/ 27424 w 106819"/>
                <a:gd name="connsiteY11" fmla="*/ 80457 h 106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819" h="106820">
                  <a:moveTo>
                    <a:pt x="95836" y="10983"/>
                  </a:moveTo>
                  <a:cubicBezTo>
                    <a:pt x="110481" y="25628"/>
                    <a:pt x="110481" y="49371"/>
                    <a:pt x="95836" y="64017"/>
                  </a:cubicBezTo>
                  <a:lnTo>
                    <a:pt x="64017" y="95837"/>
                  </a:lnTo>
                  <a:cubicBezTo>
                    <a:pt x="49372" y="110481"/>
                    <a:pt x="25628" y="110481"/>
                    <a:pt x="10984" y="95837"/>
                  </a:cubicBezTo>
                  <a:cubicBezTo>
                    <a:pt x="-3661" y="81192"/>
                    <a:pt x="-3661" y="57449"/>
                    <a:pt x="10984" y="42803"/>
                  </a:cubicBezTo>
                  <a:lnTo>
                    <a:pt x="42803" y="10983"/>
                  </a:lnTo>
                  <a:cubicBezTo>
                    <a:pt x="57448" y="-3661"/>
                    <a:pt x="81192" y="-3661"/>
                    <a:pt x="95836" y="10983"/>
                  </a:cubicBezTo>
                  <a:close/>
                  <a:moveTo>
                    <a:pt x="27424" y="80457"/>
                  </a:moveTo>
                  <a:cubicBezTo>
                    <a:pt x="34746" y="87779"/>
                    <a:pt x="46618" y="87779"/>
                    <a:pt x="53940" y="80457"/>
                  </a:cubicBezTo>
                  <a:cubicBezTo>
                    <a:pt x="61263" y="73134"/>
                    <a:pt x="61263" y="61263"/>
                    <a:pt x="53940" y="53940"/>
                  </a:cubicBezTo>
                  <a:cubicBezTo>
                    <a:pt x="46618" y="46617"/>
                    <a:pt x="34746" y="46617"/>
                    <a:pt x="27424" y="53940"/>
                  </a:cubicBezTo>
                  <a:cubicBezTo>
                    <a:pt x="20102" y="61263"/>
                    <a:pt x="20102" y="73134"/>
                    <a:pt x="27424" y="80457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9" name="Полилиния 798">
              <a:extLst>
                <a:ext uri="{FF2B5EF4-FFF2-40B4-BE49-F238E27FC236}">
                  <a16:creationId xmlns:a16="http://schemas.microsoft.com/office/drawing/2014/main" id="{65BF3EEB-1D00-4441-BA20-78E1423CCC4C}"/>
                </a:ext>
              </a:extLst>
            </p:cNvPr>
            <p:cNvSpPr/>
            <p:nvPr/>
          </p:nvSpPr>
          <p:spPr>
            <a:xfrm>
              <a:off x="6763125" y="1424079"/>
              <a:ext cx="314558" cy="314558"/>
            </a:xfrm>
            <a:custGeom>
              <a:avLst/>
              <a:gdLst>
                <a:gd name="connsiteX0" fmla="*/ 189099 w 314558"/>
                <a:gd name="connsiteY0" fmla="*/ 8787 h 314558"/>
                <a:gd name="connsiteX1" fmla="*/ 305772 w 314558"/>
                <a:gd name="connsiteY1" fmla="*/ 125459 h 314558"/>
                <a:gd name="connsiteX2" fmla="*/ 305772 w 314558"/>
                <a:gd name="connsiteY2" fmla="*/ 167885 h 314558"/>
                <a:gd name="connsiteX3" fmla="*/ 167886 w 314558"/>
                <a:gd name="connsiteY3" fmla="*/ 305771 h 314558"/>
                <a:gd name="connsiteX4" fmla="*/ 125459 w 314558"/>
                <a:gd name="connsiteY4" fmla="*/ 305771 h 314558"/>
                <a:gd name="connsiteX5" fmla="*/ 8787 w 314558"/>
                <a:gd name="connsiteY5" fmla="*/ 189100 h 314558"/>
                <a:gd name="connsiteX6" fmla="*/ 8787 w 314558"/>
                <a:gd name="connsiteY6" fmla="*/ 146672 h 314558"/>
                <a:gd name="connsiteX7" fmla="*/ 146673 w 314558"/>
                <a:gd name="connsiteY7" fmla="*/ 8787 h 314558"/>
                <a:gd name="connsiteX8" fmla="*/ 189099 w 314558"/>
                <a:gd name="connsiteY8" fmla="*/ 8787 h 314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558" h="314558">
                  <a:moveTo>
                    <a:pt x="189099" y="8787"/>
                  </a:moveTo>
                  <a:lnTo>
                    <a:pt x="305772" y="125459"/>
                  </a:lnTo>
                  <a:cubicBezTo>
                    <a:pt x="317487" y="137175"/>
                    <a:pt x="317487" y="156170"/>
                    <a:pt x="305772" y="167885"/>
                  </a:cubicBezTo>
                  <a:lnTo>
                    <a:pt x="167886" y="305771"/>
                  </a:lnTo>
                  <a:cubicBezTo>
                    <a:pt x="156170" y="317488"/>
                    <a:pt x="137175" y="317488"/>
                    <a:pt x="125459" y="305771"/>
                  </a:cubicBezTo>
                  <a:lnTo>
                    <a:pt x="8787" y="189100"/>
                  </a:lnTo>
                  <a:cubicBezTo>
                    <a:pt x="-2929" y="177383"/>
                    <a:pt x="-2929" y="158389"/>
                    <a:pt x="8787" y="146672"/>
                  </a:cubicBezTo>
                  <a:lnTo>
                    <a:pt x="146673" y="8787"/>
                  </a:lnTo>
                  <a:cubicBezTo>
                    <a:pt x="158388" y="-2929"/>
                    <a:pt x="177383" y="-2929"/>
                    <a:pt x="189099" y="8787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00" name="Рисунок 174">
            <a:extLst>
              <a:ext uri="{FF2B5EF4-FFF2-40B4-BE49-F238E27FC236}">
                <a16:creationId xmlns:a16="http://schemas.microsoft.com/office/drawing/2014/main" id="{E3CF1426-FCA8-7344-8390-05A01AB1F128}"/>
              </a:ext>
            </a:extLst>
          </p:cNvPr>
          <p:cNvGrpSpPr/>
          <p:nvPr/>
        </p:nvGrpSpPr>
        <p:grpSpPr>
          <a:xfrm>
            <a:off x="2938421" y="1096153"/>
            <a:ext cx="360000" cy="360000"/>
            <a:chOff x="2960723" y="1412875"/>
            <a:chExt cx="360000" cy="360000"/>
          </a:xfrm>
        </p:grpSpPr>
        <p:sp>
          <p:nvSpPr>
            <p:cNvPr id="801" name="Полилиния 800">
              <a:extLst>
                <a:ext uri="{FF2B5EF4-FFF2-40B4-BE49-F238E27FC236}">
                  <a16:creationId xmlns:a16="http://schemas.microsoft.com/office/drawing/2014/main" id="{7DE4D577-6E55-7E41-AB1F-D1C157478BBC}"/>
                </a:ext>
              </a:extLst>
            </p:cNvPr>
            <p:cNvSpPr/>
            <p:nvPr/>
          </p:nvSpPr>
          <p:spPr>
            <a:xfrm>
              <a:off x="2960723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2" name="Полилиния 801">
              <a:extLst>
                <a:ext uri="{FF2B5EF4-FFF2-40B4-BE49-F238E27FC236}">
                  <a16:creationId xmlns:a16="http://schemas.microsoft.com/office/drawing/2014/main" id="{D6819755-B77C-614C-83EF-7C29E55E1532}"/>
                </a:ext>
              </a:extLst>
            </p:cNvPr>
            <p:cNvSpPr/>
            <p:nvPr/>
          </p:nvSpPr>
          <p:spPr>
            <a:xfrm>
              <a:off x="3035723" y="1427875"/>
              <a:ext cx="260505" cy="345000"/>
            </a:xfrm>
            <a:custGeom>
              <a:avLst/>
              <a:gdLst>
                <a:gd name="connsiteX0" fmla="*/ 22500 w 260505"/>
                <a:gd name="connsiteY0" fmla="*/ 345000 h 345000"/>
                <a:gd name="connsiteX1" fmla="*/ 0 w 260505"/>
                <a:gd name="connsiteY1" fmla="*/ 322500 h 345000"/>
                <a:gd name="connsiteX2" fmla="*/ 22500 w 260505"/>
                <a:gd name="connsiteY2" fmla="*/ 285000 h 345000"/>
                <a:gd name="connsiteX3" fmla="*/ 45000 w 260505"/>
                <a:gd name="connsiteY3" fmla="*/ 322500 h 345000"/>
                <a:gd name="connsiteX4" fmla="*/ 22500 w 260505"/>
                <a:gd name="connsiteY4" fmla="*/ 345000 h 345000"/>
                <a:gd name="connsiteX5" fmla="*/ 97500 w 260505"/>
                <a:gd name="connsiteY5" fmla="*/ 345000 h 345000"/>
                <a:gd name="connsiteX6" fmla="*/ 75000 w 260505"/>
                <a:gd name="connsiteY6" fmla="*/ 322500 h 345000"/>
                <a:gd name="connsiteX7" fmla="*/ 97500 w 260505"/>
                <a:gd name="connsiteY7" fmla="*/ 285000 h 345000"/>
                <a:gd name="connsiteX8" fmla="*/ 120000 w 260505"/>
                <a:gd name="connsiteY8" fmla="*/ 322500 h 345000"/>
                <a:gd name="connsiteX9" fmla="*/ 97500 w 260505"/>
                <a:gd name="connsiteY9" fmla="*/ 345000 h 345000"/>
                <a:gd name="connsiteX10" fmla="*/ 172500 w 260505"/>
                <a:gd name="connsiteY10" fmla="*/ 345000 h 345000"/>
                <a:gd name="connsiteX11" fmla="*/ 150000 w 260505"/>
                <a:gd name="connsiteY11" fmla="*/ 322500 h 345000"/>
                <a:gd name="connsiteX12" fmla="*/ 172500 w 260505"/>
                <a:gd name="connsiteY12" fmla="*/ 285000 h 345000"/>
                <a:gd name="connsiteX13" fmla="*/ 195000 w 260505"/>
                <a:gd name="connsiteY13" fmla="*/ 322500 h 345000"/>
                <a:gd name="connsiteX14" fmla="*/ 172500 w 260505"/>
                <a:gd name="connsiteY14" fmla="*/ 345000 h 345000"/>
                <a:gd name="connsiteX15" fmla="*/ 127500 w 260505"/>
                <a:gd name="connsiteY15" fmla="*/ 180000 h 345000"/>
                <a:gd name="connsiteX16" fmla="*/ 75000 w 260505"/>
                <a:gd name="connsiteY16" fmla="*/ 127500 h 345000"/>
                <a:gd name="connsiteX17" fmla="*/ 127500 w 260505"/>
                <a:gd name="connsiteY17" fmla="*/ 75000 h 345000"/>
                <a:gd name="connsiteX18" fmla="*/ 180000 w 260505"/>
                <a:gd name="connsiteY18" fmla="*/ 127500 h 345000"/>
                <a:gd name="connsiteX19" fmla="*/ 127500 w 260505"/>
                <a:gd name="connsiteY19" fmla="*/ 180000 h 345000"/>
                <a:gd name="connsiteX20" fmla="*/ 221130 w 260505"/>
                <a:gd name="connsiteY20" fmla="*/ 118125 h 345000"/>
                <a:gd name="connsiteX21" fmla="*/ 240818 w 260505"/>
                <a:gd name="connsiteY21" fmla="*/ 118125 h 345000"/>
                <a:gd name="connsiteX22" fmla="*/ 260505 w 260505"/>
                <a:gd name="connsiteY22" fmla="*/ 137813 h 345000"/>
                <a:gd name="connsiteX23" fmla="*/ 240818 w 260505"/>
                <a:gd name="connsiteY23" fmla="*/ 157500 h 345000"/>
                <a:gd name="connsiteX24" fmla="*/ 221130 w 260505"/>
                <a:gd name="connsiteY24" fmla="*/ 157500 h 345000"/>
                <a:gd name="connsiteX25" fmla="*/ 201443 w 260505"/>
                <a:gd name="connsiteY25" fmla="*/ 137813 h 345000"/>
                <a:gd name="connsiteX26" fmla="*/ 221130 w 260505"/>
                <a:gd name="connsiteY26" fmla="*/ 118125 h 345000"/>
                <a:gd name="connsiteX27" fmla="*/ 175988 w 260505"/>
                <a:gd name="connsiteY27" fmla="*/ 57374 h 345000"/>
                <a:gd name="connsiteX28" fmla="*/ 189909 w 260505"/>
                <a:gd name="connsiteY28" fmla="*/ 43452 h 345000"/>
                <a:gd name="connsiteX29" fmla="*/ 217752 w 260505"/>
                <a:gd name="connsiteY29" fmla="*/ 43452 h 345000"/>
                <a:gd name="connsiteX30" fmla="*/ 217752 w 260505"/>
                <a:gd name="connsiteY30" fmla="*/ 71295 h 345000"/>
                <a:gd name="connsiteX31" fmla="*/ 203830 w 260505"/>
                <a:gd name="connsiteY31" fmla="*/ 85216 h 345000"/>
                <a:gd name="connsiteX32" fmla="*/ 175988 w 260505"/>
                <a:gd name="connsiteY32" fmla="*/ 85216 h 345000"/>
                <a:gd name="connsiteX33" fmla="*/ 175988 w 260505"/>
                <a:gd name="connsiteY33" fmla="*/ 57374 h 345000"/>
                <a:gd name="connsiteX34" fmla="*/ 122692 w 260505"/>
                <a:gd name="connsiteY34" fmla="*/ 0 h 345000"/>
                <a:gd name="connsiteX35" fmla="*/ 142380 w 260505"/>
                <a:gd name="connsiteY35" fmla="*/ 19688 h 345000"/>
                <a:gd name="connsiteX36" fmla="*/ 142380 w 260505"/>
                <a:gd name="connsiteY36" fmla="*/ 39375 h 345000"/>
                <a:gd name="connsiteX37" fmla="*/ 122692 w 260505"/>
                <a:gd name="connsiteY37" fmla="*/ 59063 h 345000"/>
                <a:gd name="connsiteX38" fmla="*/ 103005 w 260505"/>
                <a:gd name="connsiteY38" fmla="*/ 39375 h 345000"/>
                <a:gd name="connsiteX39" fmla="*/ 103005 w 260505"/>
                <a:gd name="connsiteY39" fmla="*/ 19688 h 345000"/>
                <a:gd name="connsiteX40" fmla="*/ 122692 w 260505"/>
                <a:gd name="connsiteY40" fmla="*/ 0 h 345000"/>
                <a:gd name="connsiteX41" fmla="*/ 28332 w 260505"/>
                <a:gd name="connsiteY41" fmla="*/ 43452 h 345000"/>
                <a:gd name="connsiteX42" fmla="*/ 56174 w 260505"/>
                <a:gd name="connsiteY42" fmla="*/ 43452 h 345000"/>
                <a:gd name="connsiteX43" fmla="*/ 70095 w 260505"/>
                <a:gd name="connsiteY43" fmla="*/ 57374 h 345000"/>
                <a:gd name="connsiteX44" fmla="*/ 70095 w 260505"/>
                <a:gd name="connsiteY44" fmla="*/ 85216 h 345000"/>
                <a:gd name="connsiteX45" fmla="*/ 42253 w 260505"/>
                <a:gd name="connsiteY45" fmla="*/ 85216 h 345000"/>
                <a:gd name="connsiteX46" fmla="*/ 28332 w 260505"/>
                <a:gd name="connsiteY46" fmla="*/ 71295 h 345000"/>
                <a:gd name="connsiteX47" fmla="*/ 28332 w 260505"/>
                <a:gd name="connsiteY47" fmla="*/ 43452 h 3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60505" h="345000">
                  <a:moveTo>
                    <a:pt x="22500" y="345000"/>
                  </a:moveTo>
                  <a:cubicBezTo>
                    <a:pt x="10074" y="345000"/>
                    <a:pt x="0" y="334926"/>
                    <a:pt x="0" y="322500"/>
                  </a:cubicBezTo>
                  <a:cubicBezTo>
                    <a:pt x="0" y="314216"/>
                    <a:pt x="7500" y="301716"/>
                    <a:pt x="22500" y="285000"/>
                  </a:cubicBezTo>
                  <a:cubicBezTo>
                    <a:pt x="37500" y="301716"/>
                    <a:pt x="45000" y="314216"/>
                    <a:pt x="45000" y="322500"/>
                  </a:cubicBezTo>
                  <a:cubicBezTo>
                    <a:pt x="45000" y="334926"/>
                    <a:pt x="34926" y="345000"/>
                    <a:pt x="22500" y="345000"/>
                  </a:cubicBezTo>
                  <a:close/>
                  <a:moveTo>
                    <a:pt x="97500" y="345000"/>
                  </a:moveTo>
                  <a:cubicBezTo>
                    <a:pt x="85074" y="345000"/>
                    <a:pt x="75000" y="334926"/>
                    <a:pt x="75000" y="322500"/>
                  </a:cubicBezTo>
                  <a:cubicBezTo>
                    <a:pt x="75000" y="314216"/>
                    <a:pt x="82500" y="301716"/>
                    <a:pt x="97500" y="285000"/>
                  </a:cubicBezTo>
                  <a:cubicBezTo>
                    <a:pt x="112500" y="301716"/>
                    <a:pt x="120000" y="314216"/>
                    <a:pt x="120000" y="322500"/>
                  </a:cubicBezTo>
                  <a:cubicBezTo>
                    <a:pt x="120000" y="334926"/>
                    <a:pt x="109926" y="345000"/>
                    <a:pt x="97500" y="345000"/>
                  </a:cubicBezTo>
                  <a:close/>
                  <a:moveTo>
                    <a:pt x="172500" y="345000"/>
                  </a:moveTo>
                  <a:cubicBezTo>
                    <a:pt x="160074" y="345000"/>
                    <a:pt x="150000" y="334926"/>
                    <a:pt x="150000" y="322500"/>
                  </a:cubicBezTo>
                  <a:cubicBezTo>
                    <a:pt x="150000" y="314216"/>
                    <a:pt x="157500" y="301716"/>
                    <a:pt x="172500" y="285000"/>
                  </a:cubicBezTo>
                  <a:cubicBezTo>
                    <a:pt x="187500" y="301716"/>
                    <a:pt x="195000" y="314216"/>
                    <a:pt x="195000" y="322500"/>
                  </a:cubicBezTo>
                  <a:cubicBezTo>
                    <a:pt x="195000" y="334926"/>
                    <a:pt x="184926" y="345000"/>
                    <a:pt x="172500" y="345000"/>
                  </a:cubicBezTo>
                  <a:close/>
                  <a:moveTo>
                    <a:pt x="127500" y="180000"/>
                  </a:moveTo>
                  <a:cubicBezTo>
                    <a:pt x="98505" y="180000"/>
                    <a:pt x="75000" y="156495"/>
                    <a:pt x="75000" y="127500"/>
                  </a:cubicBezTo>
                  <a:cubicBezTo>
                    <a:pt x="75000" y="98505"/>
                    <a:pt x="98505" y="75000"/>
                    <a:pt x="127500" y="75000"/>
                  </a:cubicBezTo>
                  <a:cubicBezTo>
                    <a:pt x="156495" y="75000"/>
                    <a:pt x="180000" y="98505"/>
                    <a:pt x="180000" y="127500"/>
                  </a:cubicBezTo>
                  <a:cubicBezTo>
                    <a:pt x="180000" y="156495"/>
                    <a:pt x="156495" y="180000"/>
                    <a:pt x="127500" y="180000"/>
                  </a:cubicBezTo>
                  <a:close/>
                  <a:moveTo>
                    <a:pt x="221130" y="118125"/>
                  </a:moveTo>
                  <a:lnTo>
                    <a:pt x="240818" y="118125"/>
                  </a:lnTo>
                  <a:cubicBezTo>
                    <a:pt x="251690" y="118125"/>
                    <a:pt x="260505" y="126939"/>
                    <a:pt x="260505" y="137813"/>
                  </a:cubicBezTo>
                  <a:cubicBezTo>
                    <a:pt x="260505" y="148686"/>
                    <a:pt x="251690" y="157500"/>
                    <a:pt x="240818" y="157500"/>
                  </a:cubicBezTo>
                  <a:lnTo>
                    <a:pt x="221130" y="157500"/>
                  </a:lnTo>
                  <a:cubicBezTo>
                    <a:pt x="210256" y="157500"/>
                    <a:pt x="201443" y="148686"/>
                    <a:pt x="201443" y="137813"/>
                  </a:cubicBezTo>
                  <a:cubicBezTo>
                    <a:pt x="201443" y="126939"/>
                    <a:pt x="210256" y="118125"/>
                    <a:pt x="221130" y="118125"/>
                  </a:cubicBezTo>
                  <a:close/>
                  <a:moveTo>
                    <a:pt x="175988" y="57374"/>
                  </a:moveTo>
                  <a:lnTo>
                    <a:pt x="189909" y="43452"/>
                  </a:lnTo>
                  <a:cubicBezTo>
                    <a:pt x="197598" y="35764"/>
                    <a:pt x="210063" y="35764"/>
                    <a:pt x="217752" y="43452"/>
                  </a:cubicBezTo>
                  <a:cubicBezTo>
                    <a:pt x="225440" y="51141"/>
                    <a:pt x="225440" y="63606"/>
                    <a:pt x="217752" y="71295"/>
                  </a:cubicBezTo>
                  <a:lnTo>
                    <a:pt x="203830" y="85216"/>
                  </a:lnTo>
                  <a:cubicBezTo>
                    <a:pt x="196141" y="92904"/>
                    <a:pt x="183677" y="92904"/>
                    <a:pt x="175988" y="85216"/>
                  </a:cubicBezTo>
                  <a:cubicBezTo>
                    <a:pt x="168300" y="77528"/>
                    <a:pt x="168300" y="65062"/>
                    <a:pt x="175988" y="57374"/>
                  </a:cubicBezTo>
                  <a:close/>
                  <a:moveTo>
                    <a:pt x="122692" y="0"/>
                  </a:moveTo>
                  <a:cubicBezTo>
                    <a:pt x="133565" y="0"/>
                    <a:pt x="142380" y="8814"/>
                    <a:pt x="142380" y="19688"/>
                  </a:cubicBezTo>
                  <a:lnTo>
                    <a:pt x="142380" y="39375"/>
                  </a:lnTo>
                  <a:cubicBezTo>
                    <a:pt x="142380" y="50248"/>
                    <a:pt x="133565" y="59063"/>
                    <a:pt x="122692" y="59063"/>
                  </a:cubicBezTo>
                  <a:cubicBezTo>
                    <a:pt x="111819" y="59063"/>
                    <a:pt x="103005" y="50248"/>
                    <a:pt x="103005" y="39375"/>
                  </a:cubicBezTo>
                  <a:lnTo>
                    <a:pt x="103005" y="19688"/>
                  </a:lnTo>
                  <a:cubicBezTo>
                    <a:pt x="103005" y="8814"/>
                    <a:pt x="111819" y="0"/>
                    <a:pt x="122692" y="0"/>
                  </a:cubicBezTo>
                  <a:close/>
                  <a:moveTo>
                    <a:pt x="28332" y="43452"/>
                  </a:moveTo>
                  <a:cubicBezTo>
                    <a:pt x="36020" y="35764"/>
                    <a:pt x="48486" y="35764"/>
                    <a:pt x="56174" y="43452"/>
                  </a:cubicBezTo>
                  <a:lnTo>
                    <a:pt x="70095" y="57374"/>
                  </a:lnTo>
                  <a:cubicBezTo>
                    <a:pt x="77784" y="65062"/>
                    <a:pt x="77784" y="77528"/>
                    <a:pt x="70095" y="85216"/>
                  </a:cubicBezTo>
                  <a:cubicBezTo>
                    <a:pt x="62407" y="92904"/>
                    <a:pt x="49941" y="92904"/>
                    <a:pt x="42253" y="85216"/>
                  </a:cubicBezTo>
                  <a:lnTo>
                    <a:pt x="28332" y="71295"/>
                  </a:lnTo>
                  <a:cubicBezTo>
                    <a:pt x="20643" y="63606"/>
                    <a:pt x="20643" y="51141"/>
                    <a:pt x="28332" y="43452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3" name="Полилиния 802">
              <a:extLst>
                <a:ext uri="{FF2B5EF4-FFF2-40B4-BE49-F238E27FC236}">
                  <a16:creationId xmlns:a16="http://schemas.microsoft.com/office/drawing/2014/main" id="{591A50B3-E1B2-0C42-AA3B-1D52AE28CC22}"/>
                </a:ext>
              </a:extLst>
            </p:cNvPr>
            <p:cNvSpPr/>
            <p:nvPr/>
          </p:nvSpPr>
          <p:spPr>
            <a:xfrm>
              <a:off x="2990723" y="1517875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8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04" name="Рисунок 175">
            <a:extLst>
              <a:ext uri="{FF2B5EF4-FFF2-40B4-BE49-F238E27FC236}">
                <a16:creationId xmlns:a16="http://schemas.microsoft.com/office/drawing/2014/main" id="{B07565C8-B6A7-2A4D-A6FD-D4139498B8D3}"/>
              </a:ext>
            </a:extLst>
          </p:cNvPr>
          <p:cNvGrpSpPr/>
          <p:nvPr/>
        </p:nvGrpSpPr>
        <p:grpSpPr>
          <a:xfrm>
            <a:off x="9734618" y="1096153"/>
            <a:ext cx="360000" cy="360000"/>
            <a:chOff x="9756920" y="1412875"/>
            <a:chExt cx="360000" cy="360000"/>
          </a:xfrm>
        </p:grpSpPr>
        <p:sp>
          <p:nvSpPr>
            <p:cNvPr id="805" name="Полилиния 804">
              <a:extLst>
                <a:ext uri="{FF2B5EF4-FFF2-40B4-BE49-F238E27FC236}">
                  <a16:creationId xmlns:a16="http://schemas.microsoft.com/office/drawing/2014/main" id="{F07ACDF1-5FB2-F34C-AA88-4969F5E47230}"/>
                </a:ext>
              </a:extLst>
            </p:cNvPr>
            <p:cNvSpPr/>
            <p:nvPr/>
          </p:nvSpPr>
          <p:spPr>
            <a:xfrm>
              <a:off x="975692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6" name="Полилиния 805">
              <a:extLst>
                <a:ext uri="{FF2B5EF4-FFF2-40B4-BE49-F238E27FC236}">
                  <a16:creationId xmlns:a16="http://schemas.microsoft.com/office/drawing/2014/main" id="{72BDE1B5-00A5-4544-B99E-554F705513AF}"/>
                </a:ext>
              </a:extLst>
            </p:cNvPr>
            <p:cNvSpPr/>
            <p:nvPr/>
          </p:nvSpPr>
          <p:spPr>
            <a:xfrm>
              <a:off x="9771917" y="1442872"/>
              <a:ext cx="330006" cy="150002"/>
            </a:xfrm>
            <a:custGeom>
              <a:avLst/>
              <a:gdLst>
                <a:gd name="connsiteX0" fmla="*/ 314733 w 330006"/>
                <a:gd name="connsiteY0" fmla="*/ 92839 h 150002"/>
                <a:gd name="connsiteX1" fmla="*/ 307720 w 330006"/>
                <a:gd name="connsiteY1" fmla="*/ 102865 h 150002"/>
                <a:gd name="connsiteX2" fmla="*/ 232720 w 330006"/>
                <a:gd name="connsiteY2" fmla="*/ 147865 h 150002"/>
                <a:gd name="connsiteX3" fmla="*/ 225003 w 330006"/>
                <a:gd name="connsiteY3" fmla="*/ 150003 h 150002"/>
                <a:gd name="connsiteX4" fmla="*/ 105003 w 330006"/>
                <a:gd name="connsiteY4" fmla="*/ 150003 h 150002"/>
                <a:gd name="connsiteX5" fmla="*/ 97285 w 330006"/>
                <a:gd name="connsiteY5" fmla="*/ 147865 h 150002"/>
                <a:gd name="connsiteX6" fmla="*/ 22285 w 330006"/>
                <a:gd name="connsiteY6" fmla="*/ 102865 h 150002"/>
                <a:gd name="connsiteX7" fmla="*/ 15273 w 330006"/>
                <a:gd name="connsiteY7" fmla="*/ 92839 h 150002"/>
                <a:gd name="connsiteX8" fmla="*/ 294 w 330006"/>
                <a:gd name="connsiteY8" fmla="*/ 17945 h 150002"/>
                <a:gd name="connsiteX9" fmla="*/ 12061 w 330006"/>
                <a:gd name="connsiteY9" fmla="*/ 294 h 150002"/>
                <a:gd name="connsiteX10" fmla="*/ 29712 w 330006"/>
                <a:gd name="connsiteY10" fmla="*/ 12061 h 150002"/>
                <a:gd name="connsiteX11" fmla="*/ 39215 w 330006"/>
                <a:gd name="connsiteY11" fmla="*/ 59578 h 150002"/>
                <a:gd name="connsiteX12" fmla="*/ 79396 w 330006"/>
                <a:gd name="connsiteY12" fmla="*/ 19396 h 150002"/>
                <a:gd name="connsiteX13" fmla="*/ 100610 w 330006"/>
                <a:gd name="connsiteY13" fmla="*/ 19396 h 150002"/>
                <a:gd name="connsiteX14" fmla="*/ 100610 w 330006"/>
                <a:gd name="connsiteY14" fmla="*/ 40610 h 150002"/>
                <a:gd name="connsiteX15" fmla="*/ 54194 w 330006"/>
                <a:gd name="connsiteY15" fmla="*/ 87025 h 150002"/>
                <a:gd name="connsiteX16" fmla="*/ 109158 w 330006"/>
                <a:gd name="connsiteY16" fmla="*/ 120003 h 150002"/>
                <a:gd name="connsiteX17" fmla="*/ 220848 w 330006"/>
                <a:gd name="connsiteY17" fmla="*/ 120003 h 150002"/>
                <a:gd name="connsiteX18" fmla="*/ 275811 w 330006"/>
                <a:gd name="connsiteY18" fmla="*/ 87025 h 150002"/>
                <a:gd name="connsiteX19" fmla="*/ 229396 w 330006"/>
                <a:gd name="connsiteY19" fmla="*/ 40610 h 150002"/>
                <a:gd name="connsiteX20" fmla="*/ 229396 w 330006"/>
                <a:gd name="connsiteY20" fmla="*/ 19396 h 150002"/>
                <a:gd name="connsiteX21" fmla="*/ 250609 w 330006"/>
                <a:gd name="connsiteY21" fmla="*/ 19396 h 150002"/>
                <a:gd name="connsiteX22" fmla="*/ 290791 w 330006"/>
                <a:gd name="connsiteY22" fmla="*/ 59578 h 150002"/>
                <a:gd name="connsiteX23" fmla="*/ 300294 w 330006"/>
                <a:gd name="connsiteY23" fmla="*/ 12061 h 150002"/>
                <a:gd name="connsiteX24" fmla="*/ 317944 w 330006"/>
                <a:gd name="connsiteY24" fmla="*/ 294 h 150002"/>
                <a:gd name="connsiteX25" fmla="*/ 329712 w 330006"/>
                <a:gd name="connsiteY25" fmla="*/ 17945 h 150002"/>
                <a:gd name="connsiteX26" fmla="*/ 314733 w 330006"/>
                <a:gd name="connsiteY26" fmla="*/ 92839 h 150002"/>
                <a:gd name="connsiteX27" fmla="*/ 210795 w 330006"/>
                <a:gd name="connsiteY27" fmla="*/ 103419 h 150002"/>
                <a:gd name="connsiteX28" fmla="*/ 204087 w 330006"/>
                <a:gd name="connsiteY28" fmla="*/ 83295 h 150002"/>
                <a:gd name="connsiteX29" fmla="*/ 224211 w 330006"/>
                <a:gd name="connsiteY29" fmla="*/ 76586 h 150002"/>
                <a:gd name="connsiteX30" fmla="*/ 269211 w 330006"/>
                <a:gd name="connsiteY30" fmla="*/ 99086 h 150002"/>
                <a:gd name="connsiteX31" fmla="*/ 270220 w 330006"/>
                <a:gd name="connsiteY31" fmla="*/ 125365 h 150002"/>
                <a:gd name="connsiteX32" fmla="*/ 232720 w 330006"/>
                <a:gd name="connsiteY32" fmla="*/ 147865 h 150002"/>
                <a:gd name="connsiteX33" fmla="*/ 225003 w 330006"/>
                <a:gd name="connsiteY33" fmla="*/ 150003 h 150002"/>
                <a:gd name="connsiteX34" fmla="*/ 105003 w 330006"/>
                <a:gd name="connsiteY34" fmla="*/ 150003 h 150002"/>
                <a:gd name="connsiteX35" fmla="*/ 97285 w 330006"/>
                <a:gd name="connsiteY35" fmla="*/ 147865 h 150002"/>
                <a:gd name="connsiteX36" fmla="*/ 59785 w 330006"/>
                <a:gd name="connsiteY36" fmla="*/ 125365 h 150002"/>
                <a:gd name="connsiteX37" fmla="*/ 59785 w 330006"/>
                <a:gd name="connsiteY37" fmla="*/ 99641 h 150002"/>
                <a:gd name="connsiteX38" fmla="*/ 97285 w 330006"/>
                <a:gd name="connsiteY38" fmla="*/ 77141 h 150002"/>
                <a:gd name="connsiteX39" fmla="*/ 117865 w 330006"/>
                <a:gd name="connsiteY39" fmla="*/ 82285 h 150002"/>
                <a:gd name="connsiteX40" fmla="*/ 112720 w 330006"/>
                <a:gd name="connsiteY40" fmla="*/ 102865 h 150002"/>
                <a:gd name="connsiteX41" fmla="*/ 96658 w 330006"/>
                <a:gd name="connsiteY41" fmla="*/ 112503 h 150002"/>
                <a:gd name="connsiteX42" fmla="*/ 109158 w 330006"/>
                <a:gd name="connsiteY42" fmla="*/ 120003 h 150002"/>
                <a:gd name="connsiteX43" fmla="*/ 220848 w 330006"/>
                <a:gd name="connsiteY43" fmla="*/ 120003 h 150002"/>
                <a:gd name="connsiteX44" fmla="*/ 231354 w 330006"/>
                <a:gd name="connsiteY44" fmla="*/ 113699 h 150002"/>
                <a:gd name="connsiteX45" fmla="*/ 210795 w 330006"/>
                <a:gd name="connsiteY45" fmla="*/ 103419 h 150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30006" h="150002">
                  <a:moveTo>
                    <a:pt x="314733" y="92839"/>
                  </a:moveTo>
                  <a:cubicBezTo>
                    <a:pt x="313965" y="96839"/>
                    <a:pt x="311583" y="100548"/>
                    <a:pt x="307720" y="102865"/>
                  </a:cubicBezTo>
                  <a:lnTo>
                    <a:pt x="232720" y="147865"/>
                  </a:lnTo>
                  <a:cubicBezTo>
                    <a:pt x="230389" y="149263"/>
                    <a:pt x="227721" y="150003"/>
                    <a:pt x="225003" y="150003"/>
                  </a:cubicBezTo>
                  <a:lnTo>
                    <a:pt x="105003" y="150003"/>
                  </a:lnTo>
                  <a:cubicBezTo>
                    <a:pt x="102284" y="150003"/>
                    <a:pt x="99617" y="149263"/>
                    <a:pt x="97285" y="147865"/>
                  </a:cubicBezTo>
                  <a:lnTo>
                    <a:pt x="22285" y="102865"/>
                  </a:lnTo>
                  <a:cubicBezTo>
                    <a:pt x="18423" y="100548"/>
                    <a:pt x="16040" y="96839"/>
                    <a:pt x="15273" y="92839"/>
                  </a:cubicBezTo>
                  <a:lnTo>
                    <a:pt x="294" y="17945"/>
                  </a:lnTo>
                  <a:cubicBezTo>
                    <a:pt x="-1331" y="9821"/>
                    <a:pt x="3938" y="1919"/>
                    <a:pt x="12061" y="294"/>
                  </a:cubicBezTo>
                  <a:cubicBezTo>
                    <a:pt x="20184" y="-1330"/>
                    <a:pt x="28087" y="3938"/>
                    <a:pt x="29712" y="12061"/>
                  </a:cubicBezTo>
                  <a:lnTo>
                    <a:pt x="39215" y="59578"/>
                  </a:lnTo>
                  <a:lnTo>
                    <a:pt x="79396" y="19396"/>
                  </a:lnTo>
                  <a:cubicBezTo>
                    <a:pt x="85254" y="13538"/>
                    <a:pt x="94752" y="13538"/>
                    <a:pt x="100610" y="19396"/>
                  </a:cubicBezTo>
                  <a:cubicBezTo>
                    <a:pt x="106467" y="25254"/>
                    <a:pt x="106467" y="34752"/>
                    <a:pt x="100610" y="40610"/>
                  </a:cubicBezTo>
                  <a:lnTo>
                    <a:pt x="54194" y="87025"/>
                  </a:lnTo>
                  <a:lnTo>
                    <a:pt x="109158" y="120003"/>
                  </a:lnTo>
                  <a:lnTo>
                    <a:pt x="220848" y="120003"/>
                  </a:lnTo>
                  <a:lnTo>
                    <a:pt x="275811" y="87025"/>
                  </a:lnTo>
                  <a:lnTo>
                    <a:pt x="229396" y="40610"/>
                  </a:lnTo>
                  <a:cubicBezTo>
                    <a:pt x="223539" y="34752"/>
                    <a:pt x="223539" y="25254"/>
                    <a:pt x="229396" y="19396"/>
                  </a:cubicBezTo>
                  <a:cubicBezTo>
                    <a:pt x="235254" y="13538"/>
                    <a:pt x="244752" y="13538"/>
                    <a:pt x="250609" y="19396"/>
                  </a:cubicBezTo>
                  <a:lnTo>
                    <a:pt x="290791" y="59578"/>
                  </a:lnTo>
                  <a:lnTo>
                    <a:pt x="300294" y="12061"/>
                  </a:lnTo>
                  <a:cubicBezTo>
                    <a:pt x="301918" y="3938"/>
                    <a:pt x="309822" y="-1330"/>
                    <a:pt x="317944" y="294"/>
                  </a:cubicBezTo>
                  <a:cubicBezTo>
                    <a:pt x="326068" y="1919"/>
                    <a:pt x="331336" y="9821"/>
                    <a:pt x="329712" y="17945"/>
                  </a:cubicBezTo>
                  <a:lnTo>
                    <a:pt x="314733" y="92839"/>
                  </a:lnTo>
                  <a:close/>
                  <a:moveTo>
                    <a:pt x="210795" y="103419"/>
                  </a:moveTo>
                  <a:cubicBezTo>
                    <a:pt x="203385" y="99714"/>
                    <a:pt x="200382" y="90704"/>
                    <a:pt x="204087" y="83295"/>
                  </a:cubicBezTo>
                  <a:cubicBezTo>
                    <a:pt x="207792" y="75885"/>
                    <a:pt x="216801" y="72882"/>
                    <a:pt x="224211" y="76586"/>
                  </a:cubicBezTo>
                  <a:lnTo>
                    <a:pt x="269211" y="99086"/>
                  </a:lnTo>
                  <a:cubicBezTo>
                    <a:pt x="279798" y="104380"/>
                    <a:pt x="280369" y="119276"/>
                    <a:pt x="270220" y="125365"/>
                  </a:cubicBezTo>
                  <a:lnTo>
                    <a:pt x="232720" y="147865"/>
                  </a:lnTo>
                  <a:cubicBezTo>
                    <a:pt x="230389" y="149263"/>
                    <a:pt x="227721" y="150003"/>
                    <a:pt x="225003" y="150003"/>
                  </a:cubicBezTo>
                  <a:lnTo>
                    <a:pt x="105003" y="150003"/>
                  </a:lnTo>
                  <a:cubicBezTo>
                    <a:pt x="102284" y="150003"/>
                    <a:pt x="99617" y="149263"/>
                    <a:pt x="97285" y="147865"/>
                  </a:cubicBezTo>
                  <a:lnTo>
                    <a:pt x="59785" y="125365"/>
                  </a:lnTo>
                  <a:cubicBezTo>
                    <a:pt x="50075" y="119539"/>
                    <a:pt x="50075" y="105467"/>
                    <a:pt x="59785" y="99641"/>
                  </a:cubicBezTo>
                  <a:lnTo>
                    <a:pt x="97285" y="77141"/>
                  </a:lnTo>
                  <a:cubicBezTo>
                    <a:pt x="104389" y="72878"/>
                    <a:pt x="113603" y="75182"/>
                    <a:pt x="117865" y="82285"/>
                  </a:cubicBezTo>
                  <a:cubicBezTo>
                    <a:pt x="122127" y="89389"/>
                    <a:pt x="119824" y="98603"/>
                    <a:pt x="112720" y="102865"/>
                  </a:cubicBezTo>
                  <a:lnTo>
                    <a:pt x="96658" y="112503"/>
                  </a:lnTo>
                  <a:lnTo>
                    <a:pt x="109158" y="120003"/>
                  </a:lnTo>
                  <a:lnTo>
                    <a:pt x="220848" y="120003"/>
                  </a:lnTo>
                  <a:lnTo>
                    <a:pt x="231354" y="113699"/>
                  </a:lnTo>
                  <a:lnTo>
                    <a:pt x="210795" y="103419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7" name="Полилиния 806">
              <a:extLst>
                <a:ext uri="{FF2B5EF4-FFF2-40B4-BE49-F238E27FC236}">
                  <a16:creationId xmlns:a16="http://schemas.microsoft.com/office/drawing/2014/main" id="{E727157B-AF81-7D41-A1B3-902A45CA5656}"/>
                </a:ext>
              </a:extLst>
            </p:cNvPr>
            <p:cNvSpPr/>
            <p:nvPr/>
          </p:nvSpPr>
          <p:spPr>
            <a:xfrm>
              <a:off x="9874742" y="1562875"/>
              <a:ext cx="124346" cy="165000"/>
            </a:xfrm>
            <a:custGeom>
              <a:avLst/>
              <a:gdLst>
                <a:gd name="connsiteX0" fmla="*/ 30008 w 124346"/>
                <a:gd name="connsiteY0" fmla="*/ 0 h 165000"/>
                <a:gd name="connsiteX1" fmla="*/ 94346 w 124346"/>
                <a:gd name="connsiteY1" fmla="*/ 0 h 165000"/>
                <a:gd name="connsiteX2" fmla="*/ 124346 w 124346"/>
                <a:gd name="connsiteY2" fmla="*/ 30000 h 165000"/>
                <a:gd name="connsiteX3" fmla="*/ 122540 w 124346"/>
                <a:gd name="connsiteY3" fmla="*/ 40253 h 165000"/>
                <a:gd name="connsiteX4" fmla="*/ 82303 w 124346"/>
                <a:gd name="connsiteY4" fmla="*/ 150903 h 165000"/>
                <a:gd name="connsiteX5" fmla="*/ 62177 w 124346"/>
                <a:gd name="connsiteY5" fmla="*/ 165000 h 165000"/>
                <a:gd name="connsiteX6" fmla="*/ 62177 w 124346"/>
                <a:gd name="connsiteY6" fmla="*/ 165000 h 165000"/>
                <a:gd name="connsiteX7" fmla="*/ 42052 w 124346"/>
                <a:gd name="connsiteY7" fmla="*/ 150903 h 165000"/>
                <a:gd name="connsiteX8" fmla="*/ 1814 w 124346"/>
                <a:gd name="connsiteY8" fmla="*/ 40253 h 165000"/>
                <a:gd name="connsiteX9" fmla="*/ 19756 w 124346"/>
                <a:gd name="connsiteY9" fmla="*/ 1806 h 165000"/>
                <a:gd name="connsiteX10" fmla="*/ 30008 w 124346"/>
                <a:gd name="connsiteY10" fmla="*/ 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346" h="165000">
                  <a:moveTo>
                    <a:pt x="30008" y="0"/>
                  </a:moveTo>
                  <a:lnTo>
                    <a:pt x="94346" y="0"/>
                  </a:lnTo>
                  <a:cubicBezTo>
                    <a:pt x="110915" y="0"/>
                    <a:pt x="124346" y="13431"/>
                    <a:pt x="124346" y="30000"/>
                  </a:cubicBezTo>
                  <a:cubicBezTo>
                    <a:pt x="124346" y="33497"/>
                    <a:pt x="123734" y="36966"/>
                    <a:pt x="122540" y="40253"/>
                  </a:cubicBezTo>
                  <a:lnTo>
                    <a:pt x="82303" y="150903"/>
                  </a:lnTo>
                  <a:cubicBezTo>
                    <a:pt x="79226" y="159366"/>
                    <a:pt x="71183" y="165000"/>
                    <a:pt x="62177" y="165000"/>
                  </a:cubicBezTo>
                  <a:lnTo>
                    <a:pt x="62177" y="165000"/>
                  </a:lnTo>
                  <a:cubicBezTo>
                    <a:pt x="53171" y="165000"/>
                    <a:pt x="45128" y="159366"/>
                    <a:pt x="42052" y="150903"/>
                  </a:cubicBezTo>
                  <a:lnTo>
                    <a:pt x="1814" y="40253"/>
                  </a:lnTo>
                  <a:cubicBezTo>
                    <a:pt x="-3848" y="24681"/>
                    <a:pt x="4185" y="7469"/>
                    <a:pt x="19756" y="1806"/>
                  </a:cubicBezTo>
                  <a:cubicBezTo>
                    <a:pt x="23042" y="612"/>
                    <a:pt x="26512" y="0"/>
                    <a:pt x="30008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08" name="Рисунок 176">
            <a:extLst>
              <a:ext uri="{FF2B5EF4-FFF2-40B4-BE49-F238E27FC236}">
                <a16:creationId xmlns:a16="http://schemas.microsoft.com/office/drawing/2014/main" id="{C5C9CC97-3944-274D-A97D-F8B944281B60}"/>
              </a:ext>
            </a:extLst>
          </p:cNvPr>
          <p:cNvGrpSpPr/>
          <p:nvPr/>
        </p:nvGrpSpPr>
        <p:grpSpPr>
          <a:xfrm>
            <a:off x="10489751" y="1096153"/>
            <a:ext cx="360000" cy="360000"/>
            <a:chOff x="10512053" y="1412875"/>
            <a:chExt cx="360000" cy="360000"/>
          </a:xfrm>
        </p:grpSpPr>
        <p:sp>
          <p:nvSpPr>
            <p:cNvPr id="809" name="Полилиния 808">
              <a:extLst>
                <a:ext uri="{FF2B5EF4-FFF2-40B4-BE49-F238E27FC236}">
                  <a16:creationId xmlns:a16="http://schemas.microsoft.com/office/drawing/2014/main" id="{7F701A9B-B7C6-204F-90A9-464D09CA05D0}"/>
                </a:ext>
              </a:extLst>
            </p:cNvPr>
            <p:cNvSpPr/>
            <p:nvPr/>
          </p:nvSpPr>
          <p:spPr>
            <a:xfrm>
              <a:off x="10512053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0" name="Полилиния 809">
              <a:extLst>
                <a:ext uri="{FF2B5EF4-FFF2-40B4-BE49-F238E27FC236}">
                  <a16:creationId xmlns:a16="http://schemas.microsoft.com/office/drawing/2014/main" id="{29FF91F9-59AB-C045-8B12-91052616FC72}"/>
                </a:ext>
              </a:extLst>
            </p:cNvPr>
            <p:cNvSpPr/>
            <p:nvPr/>
          </p:nvSpPr>
          <p:spPr>
            <a:xfrm>
              <a:off x="10572053" y="1442875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1" name="Полилиния 810">
              <a:extLst>
                <a:ext uri="{FF2B5EF4-FFF2-40B4-BE49-F238E27FC236}">
                  <a16:creationId xmlns:a16="http://schemas.microsoft.com/office/drawing/2014/main" id="{E1A7FDE6-38DE-D64C-A8AF-4D64E9256C3E}"/>
                </a:ext>
              </a:extLst>
            </p:cNvPr>
            <p:cNvSpPr/>
            <p:nvPr/>
          </p:nvSpPr>
          <p:spPr>
            <a:xfrm>
              <a:off x="10645233" y="1561055"/>
              <a:ext cx="93640" cy="93639"/>
            </a:xfrm>
            <a:custGeom>
              <a:avLst/>
              <a:gdLst>
                <a:gd name="connsiteX0" fmla="*/ 25607 w 93640"/>
                <a:gd name="connsiteY0" fmla="*/ 46820 h 93639"/>
                <a:gd name="connsiteX1" fmla="*/ 4393 w 93640"/>
                <a:gd name="connsiteY1" fmla="*/ 25607 h 93639"/>
                <a:gd name="connsiteX2" fmla="*/ 4393 w 93640"/>
                <a:gd name="connsiteY2" fmla="*/ 4394 h 93639"/>
                <a:gd name="connsiteX3" fmla="*/ 25607 w 93640"/>
                <a:gd name="connsiteY3" fmla="*/ 4394 h 93639"/>
                <a:gd name="connsiteX4" fmla="*/ 46820 w 93640"/>
                <a:gd name="connsiteY4" fmla="*/ 25607 h 93639"/>
                <a:gd name="connsiteX5" fmla="*/ 68033 w 93640"/>
                <a:gd name="connsiteY5" fmla="*/ 4394 h 93639"/>
                <a:gd name="connsiteX6" fmla="*/ 89246 w 93640"/>
                <a:gd name="connsiteY6" fmla="*/ 4394 h 93639"/>
                <a:gd name="connsiteX7" fmla="*/ 89246 w 93640"/>
                <a:gd name="connsiteY7" fmla="*/ 25607 h 93639"/>
                <a:gd name="connsiteX8" fmla="*/ 68033 w 93640"/>
                <a:gd name="connsiteY8" fmla="*/ 46820 h 93639"/>
                <a:gd name="connsiteX9" fmla="*/ 89246 w 93640"/>
                <a:gd name="connsiteY9" fmla="*/ 68033 h 93639"/>
                <a:gd name="connsiteX10" fmla="*/ 89246 w 93640"/>
                <a:gd name="connsiteY10" fmla="*/ 89246 h 93639"/>
                <a:gd name="connsiteX11" fmla="*/ 68033 w 93640"/>
                <a:gd name="connsiteY11" fmla="*/ 89246 h 93639"/>
                <a:gd name="connsiteX12" fmla="*/ 46820 w 93640"/>
                <a:gd name="connsiteY12" fmla="*/ 68033 h 93639"/>
                <a:gd name="connsiteX13" fmla="*/ 25607 w 93640"/>
                <a:gd name="connsiteY13" fmla="*/ 89246 h 93639"/>
                <a:gd name="connsiteX14" fmla="*/ 4393 w 93640"/>
                <a:gd name="connsiteY14" fmla="*/ 89246 h 93639"/>
                <a:gd name="connsiteX15" fmla="*/ 4393 w 93640"/>
                <a:gd name="connsiteY15" fmla="*/ 68033 h 93639"/>
                <a:gd name="connsiteX16" fmla="*/ 25607 w 93640"/>
                <a:gd name="connsiteY16" fmla="*/ 46820 h 9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3640" h="93639">
                  <a:moveTo>
                    <a:pt x="25607" y="46820"/>
                  </a:moveTo>
                  <a:lnTo>
                    <a:pt x="4393" y="25607"/>
                  </a:lnTo>
                  <a:cubicBezTo>
                    <a:pt x="-1464" y="19749"/>
                    <a:pt x="-1464" y="10251"/>
                    <a:pt x="4393" y="4394"/>
                  </a:cubicBezTo>
                  <a:cubicBezTo>
                    <a:pt x="10251" y="-1465"/>
                    <a:pt x="19749" y="-1465"/>
                    <a:pt x="25607" y="4394"/>
                  </a:cubicBezTo>
                  <a:lnTo>
                    <a:pt x="46820" y="25607"/>
                  </a:lnTo>
                  <a:lnTo>
                    <a:pt x="68033" y="4394"/>
                  </a:lnTo>
                  <a:cubicBezTo>
                    <a:pt x="73890" y="-1465"/>
                    <a:pt x="83388" y="-1465"/>
                    <a:pt x="89246" y="4394"/>
                  </a:cubicBezTo>
                  <a:cubicBezTo>
                    <a:pt x="95105" y="10251"/>
                    <a:pt x="95105" y="19749"/>
                    <a:pt x="89246" y="25607"/>
                  </a:cubicBezTo>
                  <a:lnTo>
                    <a:pt x="68033" y="46820"/>
                  </a:lnTo>
                  <a:lnTo>
                    <a:pt x="89246" y="68033"/>
                  </a:lnTo>
                  <a:cubicBezTo>
                    <a:pt x="95105" y="73890"/>
                    <a:pt x="95105" y="83388"/>
                    <a:pt x="89246" y="89246"/>
                  </a:cubicBezTo>
                  <a:cubicBezTo>
                    <a:pt x="83388" y="95105"/>
                    <a:pt x="73890" y="95105"/>
                    <a:pt x="68033" y="89246"/>
                  </a:cubicBezTo>
                  <a:lnTo>
                    <a:pt x="46820" y="68033"/>
                  </a:lnTo>
                  <a:lnTo>
                    <a:pt x="25607" y="89246"/>
                  </a:lnTo>
                  <a:cubicBezTo>
                    <a:pt x="19749" y="95105"/>
                    <a:pt x="10251" y="95105"/>
                    <a:pt x="4393" y="89246"/>
                  </a:cubicBezTo>
                  <a:cubicBezTo>
                    <a:pt x="-1464" y="83388"/>
                    <a:pt x="-1464" y="73890"/>
                    <a:pt x="4393" y="68033"/>
                  </a:cubicBezTo>
                  <a:lnTo>
                    <a:pt x="25607" y="4682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12" name="Рисунок 177">
            <a:extLst>
              <a:ext uri="{FF2B5EF4-FFF2-40B4-BE49-F238E27FC236}">
                <a16:creationId xmlns:a16="http://schemas.microsoft.com/office/drawing/2014/main" id="{DB775656-D349-1140-8CA9-07949CB2041E}"/>
              </a:ext>
            </a:extLst>
          </p:cNvPr>
          <p:cNvGrpSpPr/>
          <p:nvPr/>
        </p:nvGrpSpPr>
        <p:grpSpPr>
          <a:xfrm>
            <a:off x="7469219" y="1096153"/>
            <a:ext cx="360000" cy="360000"/>
            <a:chOff x="7491521" y="1412875"/>
            <a:chExt cx="360000" cy="360000"/>
          </a:xfrm>
        </p:grpSpPr>
        <p:sp>
          <p:nvSpPr>
            <p:cNvPr id="813" name="Полилиния 812">
              <a:extLst>
                <a:ext uri="{FF2B5EF4-FFF2-40B4-BE49-F238E27FC236}">
                  <a16:creationId xmlns:a16="http://schemas.microsoft.com/office/drawing/2014/main" id="{548FD384-6A45-3F4D-8F23-534F66FB7CEA}"/>
                </a:ext>
              </a:extLst>
            </p:cNvPr>
            <p:cNvSpPr/>
            <p:nvPr/>
          </p:nvSpPr>
          <p:spPr>
            <a:xfrm>
              <a:off x="7491521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4" name="Полилиния 813">
              <a:extLst>
                <a:ext uri="{FF2B5EF4-FFF2-40B4-BE49-F238E27FC236}">
                  <a16:creationId xmlns:a16="http://schemas.microsoft.com/office/drawing/2014/main" id="{485B1FE6-5832-7E47-AA29-10A6BCEC00F8}"/>
                </a:ext>
              </a:extLst>
            </p:cNvPr>
            <p:cNvSpPr/>
            <p:nvPr/>
          </p:nvSpPr>
          <p:spPr>
            <a:xfrm>
              <a:off x="7521521" y="1472875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5" name="Полилиния 814">
              <a:extLst>
                <a:ext uri="{FF2B5EF4-FFF2-40B4-BE49-F238E27FC236}">
                  <a16:creationId xmlns:a16="http://schemas.microsoft.com/office/drawing/2014/main" id="{B8AD0243-5C6D-644C-AA74-F1338DCAE370}"/>
                </a:ext>
              </a:extLst>
            </p:cNvPr>
            <p:cNvSpPr/>
            <p:nvPr/>
          </p:nvSpPr>
          <p:spPr>
            <a:xfrm>
              <a:off x="7624701" y="1576054"/>
              <a:ext cx="93640" cy="93640"/>
            </a:xfrm>
            <a:custGeom>
              <a:avLst/>
              <a:gdLst>
                <a:gd name="connsiteX0" fmla="*/ 25607 w 93640"/>
                <a:gd name="connsiteY0" fmla="*/ 46820 h 93640"/>
                <a:gd name="connsiteX1" fmla="*/ 4393 w 93640"/>
                <a:gd name="connsiteY1" fmla="*/ 25607 h 93640"/>
                <a:gd name="connsiteX2" fmla="*/ 4393 w 93640"/>
                <a:gd name="connsiteY2" fmla="*/ 4394 h 93640"/>
                <a:gd name="connsiteX3" fmla="*/ 25607 w 93640"/>
                <a:gd name="connsiteY3" fmla="*/ 4394 h 93640"/>
                <a:gd name="connsiteX4" fmla="*/ 46820 w 93640"/>
                <a:gd name="connsiteY4" fmla="*/ 25607 h 93640"/>
                <a:gd name="connsiteX5" fmla="*/ 68033 w 93640"/>
                <a:gd name="connsiteY5" fmla="*/ 4394 h 93640"/>
                <a:gd name="connsiteX6" fmla="*/ 89246 w 93640"/>
                <a:gd name="connsiteY6" fmla="*/ 4394 h 93640"/>
                <a:gd name="connsiteX7" fmla="*/ 89246 w 93640"/>
                <a:gd name="connsiteY7" fmla="*/ 25607 h 93640"/>
                <a:gd name="connsiteX8" fmla="*/ 68033 w 93640"/>
                <a:gd name="connsiteY8" fmla="*/ 46820 h 93640"/>
                <a:gd name="connsiteX9" fmla="*/ 89246 w 93640"/>
                <a:gd name="connsiteY9" fmla="*/ 68033 h 93640"/>
                <a:gd name="connsiteX10" fmla="*/ 89246 w 93640"/>
                <a:gd name="connsiteY10" fmla="*/ 89246 h 93640"/>
                <a:gd name="connsiteX11" fmla="*/ 68033 w 93640"/>
                <a:gd name="connsiteY11" fmla="*/ 89246 h 93640"/>
                <a:gd name="connsiteX12" fmla="*/ 46820 w 93640"/>
                <a:gd name="connsiteY12" fmla="*/ 68033 h 93640"/>
                <a:gd name="connsiteX13" fmla="*/ 25607 w 93640"/>
                <a:gd name="connsiteY13" fmla="*/ 89246 h 93640"/>
                <a:gd name="connsiteX14" fmla="*/ 4393 w 93640"/>
                <a:gd name="connsiteY14" fmla="*/ 89246 h 93640"/>
                <a:gd name="connsiteX15" fmla="*/ 4393 w 93640"/>
                <a:gd name="connsiteY15" fmla="*/ 68033 h 93640"/>
                <a:gd name="connsiteX16" fmla="*/ 25607 w 93640"/>
                <a:gd name="connsiteY16" fmla="*/ 46820 h 93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3640" h="93640">
                  <a:moveTo>
                    <a:pt x="25607" y="46820"/>
                  </a:moveTo>
                  <a:lnTo>
                    <a:pt x="4393" y="25607"/>
                  </a:lnTo>
                  <a:cubicBezTo>
                    <a:pt x="-1464" y="19750"/>
                    <a:pt x="-1464" y="10252"/>
                    <a:pt x="4393" y="4394"/>
                  </a:cubicBezTo>
                  <a:cubicBezTo>
                    <a:pt x="10251" y="-1465"/>
                    <a:pt x="19749" y="-1465"/>
                    <a:pt x="25607" y="4394"/>
                  </a:cubicBezTo>
                  <a:lnTo>
                    <a:pt x="46820" y="25607"/>
                  </a:lnTo>
                  <a:lnTo>
                    <a:pt x="68033" y="4394"/>
                  </a:lnTo>
                  <a:cubicBezTo>
                    <a:pt x="73890" y="-1465"/>
                    <a:pt x="83388" y="-1465"/>
                    <a:pt x="89246" y="4394"/>
                  </a:cubicBezTo>
                  <a:cubicBezTo>
                    <a:pt x="95105" y="10252"/>
                    <a:pt x="95105" y="19750"/>
                    <a:pt x="89246" y="25607"/>
                  </a:cubicBezTo>
                  <a:lnTo>
                    <a:pt x="68033" y="46820"/>
                  </a:lnTo>
                  <a:lnTo>
                    <a:pt x="89246" y="68033"/>
                  </a:lnTo>
                  <a:cubicBezTo>
                    <a:pt x="95105" y="73891"/>
                    <a:pt x="95105" y="83389"/>
                    <a:pt x="89246" y="89246"/>
                  </a:cubicBezTo>
                  <a:cubicBezTo>
                    <a:pt x="83388" y="95105"/>
                    <a:pt x="73890" y="95105"/>
                    <a:pt x="68033" y="89246"/>
                  </a:cubicBezTo>
                  <a:lnTo>
                    <a:pt x="46820" y="68033"/>
                  </a:lnTo>
                  <a:lnTo>
                    <a:pt x="25607" y="89246"/>
                  </a:lnTo>
                  <a:cubicBezTo>
                    <a:pt x="19749" y="95105"/>
                    <a:pt x="10251" y="95105"/>
                    <a:pt x="4393" y="89246"/>
                  </a:cubicBezTo>
                  <a:cubicBezTo>
                    <a:pt x="-1464" y="83389"/>
                    <a:pt x="-1464" y="73891"/>
                    <a:pt x="4393" y="68033"/>
                  </a:cubicBezTo>
                  <a:lnTo>
                    <a:pt x="25607" y="4682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16" name="Рисунок 178">
            <a:extLst>
              <a:ext uri="{FF2B5EF4-FFF2-40B4-BE49-F238E27FC236}">
                <a16:creationId xmlns:a16="http://schemas.microsoft.com/office/drawing/2014/main" id="{70C246A0-FEF4-7743-BBDC-7ED6B6502F94}"/>
              </a:ext>
            </a:extLst>
          </p:cNvPr>
          <p:cNvGrpSpPr/>
          <p:nvPr/>
        </p:nvGrpSpPr>
        <p:grpSpPr>
          <a:xfrm>
            <a:off x="2183287" y="1096153"/>
            <a:ext cx="360000" cy="360000"/>
            <a:chOff x="2205589" y="1412875"/>
            <a:chExt cx="360000" cy="360000"/>
          </a:xfrm>
        </p:grpSpPr>
        <p:sp>
          <p:nvSpPr>
            <p:cNvPr id="817" name="Полилиния 816">
              <a:extLst>
                <a:ext uri="{FF2B5EF4-FFF2-40B4-BE49-F238E27FC236}">
                  <a16:creationId xmlns:a16="http://schemas.microsoft.com/office/drawing/2014/main" id="{816B202E-44F9-B842-AB21-61A08EA771F6}"/>
                </a:ext>
              </a:extLst>
            </p:cNvPr>
            <p:cNvSpPr/>
            <p:nvPr/>
          </p:nvSpPr>
          <p:spPr>
            <a:xfrm>
              <a:off x="220559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8" name="Полилиния 817">
              <a:extLst>
                <a:ext uri="{FF2B5EF4-FFF2-40B4-BE49-F238E27FC236}">
                  <a16:creationId xmlns:a16="http://schemas.microsoft.com/office/drawing/2014/main" id="{1DF8F446-3A74-2242-9AD2-FFBF1EF2EC0F}"/>
                </a:ext>
              </a:extLst>
            </p:cNvPr>
            <p:cNvSpPr/>
            <p:nvPr/>
          </p:nvSpPr>
          <p:spPr>
            <a:xfrm>
              <a:off x="2280590" y="1457875"/>
              <a:ext cx="255000" cy="120000"/>
            </a:xfrm>
            <a:custGeom>
              <a:avLst/>
              <a:gdLst>
                <a:gd name="connsiteX0" fmla="*/ 60000 w 255000"/>
                <a:gd name="connsiteY0" fmla="*/ 120000 h 120000"/>
                <a:gd name="connsiteX1" fmla="*/ 0 w 255000"/>
                <a:gd name="connsiteY1" fmla="*/ 60000 h 120000"/>
                <a:gd name="connsiteX2" fmla="*/ 60000 w 255000"/>
                <a:gd name="connsiteY2" fmla="*/ 0 h 120000"/>
                <a:gd name="connsiteX3" fmla="*/ 120000 w 255000"/>
                <a:gd name="connsiteY3" fmla="*/ 60000 h 120000"/>
                <a:gd name="connsiteX4" fmla="*/ 60000 w 255000"/>
                <a:gd name="connsiteY4" fmla="*/ 120000 h 120000"/>
                <a:gd name="connsiteX5" fmla="*/ 240000 w 255000"/>
                <a:gd name="connsiteY5" fmla="*/ 75000 h 120000"/>
                <a:gd name="connsiteX6" fmla="*/ 180000 w 255000"/>
                <a:gd name="connsiteY6" fmla="*/ 75000 h 120000"/>
                <a:gd name="connsiteX7" fmla="*/ 165000 w 255000"/>
                <a:gd name="connsiteY7" fmla="*/ 60000 h 120000"/>
                <a:gd name="connsiteX8" fmla="*/ 180000 w 255000"/>
                <a:gd name="connsiteY8" fmla="*/ 45000 h 120000"/>
                <a:gd name="connsiteX9" fmla="*/ 240000 w 255000"/>
                <a:gd name="connsiteY9" fmla="*/ 45000 h 120000"/>
                <a:gd name="connsiteX10" fmla="*/ 255000 w 255000"/>
                <a:gd name="connsiteY10" fmla="*/ 60000 h 120000"/>
                <a:gd name="connsiteX11" fmla="*/ 240000 w 255000"/>
                <a:gd name="connsiteY11" fmla="*/ 7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5000" h="120000"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  <a:moveTo>
                    <a:pt x="240000" y="75000"/>
                  </a:moveTo>
                  <a:lnTo>
                    <a:pt x="180000" y="75000"/>
                  </a:lnTo>
                  <a:cubicBezTo>
                    <a:pt x="171716" y="75000"/>
                    <a:pt x="165000" y="68284"/>
                    <a:pt x="165000" y="60000"/>
                  </a:cubicBezTo>
                  <a:cubicBezTo>
                    <a:pt x="165000" y="51716"/>
                    <a:pt x="171716" y="45000"/>
                    <a:pt x="180000" y="45000"/>
                  </a:cubicBezTo>
                  <a:lnTo>
                    <a:pt x="240000" y="45000"/>
                  </a:lnTo>
                  <a:cubicBezTo>
                    <a:pt x="248285" y="45000"/>
                    <a:pt x="255000" y="51716"/>
                    <a:pt x="255000" y="60000"/>
                  </a:cubicBezTo>
                  <a:cubicBezTo>
                    <a:pt x="255000" y="68284"/>
                    <a:pt x="248285" y="75000"/>
                    <a:pt x="240000" y="7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9" name="Полилиния 818">
              <a:extLst>
                <a:ext uri="{FF2B5EF4-FFF2-40B4-BE49-F238E27FC236}">
                  <a16:creationId xmlns:a16="http://schemas.microsoft.com/office/drawing/2014/main" id="{B7F03D57-DD3C-9642-948B-546340DAEF58}"/>
                </a:ext>
              </a:extLst>
            </p:cNvPr>
            <p:cNvSpPr/>
            <p:nvPr/>
          </p:nvSpPr>
          <p:spPr>
            <a:xfrm>
              <a:off x="2205589" y="1607875"/>
              <a:ext cx="269999" cy="120000"/>
            </a:xfrm>
            <a:custGeom>
              <a:avLst/>
              <a:gdLst>
                <a:gd name="connsiteX0" fmla="*/ 10 w 269999"/>
                <a:gd name="connsiteY0" fmla="*/ 107988 h 120000"/>
                <a:gd name="connsiteX1" fmla="*/ 134750 w 269999"/>
                <a:gd name="connsiteY1" fmla="*/ 0 h 120000"/>
                <a:gd name="connsiteX2" fmla="*/ 269969 w 269999"/>
                <a:gd name="connsiteY2" fmla="*/ 108000 h 120000"/>
                <a:gd name="connsiteX3" fmla="*/ 258701 w 269999"/>
                <a:gd name="connsiteY3" fmla="*/ 120000 h 120000"/>
                <a:gd name="connsiteX4" fmla="*/ 10913 w 269999"/>
                <a:gd name="connsiteY4" fmla="*/ 120000 h 120000"/>
                <a:gd name="connsiteX5" fmla="*/ 10 w 269999"/>
                <a:gd name="connsiteY5" fmla="*/ 107988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999" h="120000">
                  <a:moveTo>
                    <a:pt x="10" y="107988"/>
                  </a:moveTo>
                  <a:cubicBezTo>
                    <a:pt x="5824" y="36398"/>
                    <a:pt x="63929" y="0"/>
                    <a:pt x="134750" y="0"/>
                  </a:cubicBezTo>
                  <a:cubicBezTo>
                    <a:pt x="206568" y="0"/>
                    <a:pt x="265574" y="34398"/>
                    <a:pt x="269969" y="108000"/>
                  </a:cubicBezTo>
                  <a:cubicBezTo>
                    <a:pt x="270144" y="110933"/>
                    <a:pt x="269969" y="120000"/>
                    <a:pt x="258701" y="120000"/>
                  </a:cubicBezTo>
                  <a:cubicBezTo>
                    <a:pt x="203117" y="120000"/>
                    <a:pt x="120521" y="120000"/>
                    <a:pt x="10913" y="120000"/>
                  </a:cubicBezTo>
                  <a:cubicBezTo>
                    <a:pt x="7151" y="120000"/>
                    <a:pt x="-307" y="111888"/>
                    <a:pt x="10" y="107988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820" name="Рисунок 179">
            <a:extLst>
              <a:ext uri="{FF2B5EF4-FFF2-40B4-BE49-F238E27FC236}">
                <a16:creationId xmlns:a16="http://schemas.microsoft.com/office/drawing/2014/main" id="{C339DD55-79E3-8941-BB26-6606402746CE}"/>
              </a:ext>
            </a:extLst>
          </p:cNvPr>
          <p:cNvGrpSpPr/>
          <p:nvPr/>
        </p:nvGrpSpPr>
        <p:grpSpPr>
          <a:xfrm>
            <a:off x="1428155" y="1096153"/>
            <a:ext cx="360000" cy="360000"/>
            <a:chOff x="1450457" y="1412875"/>
            <a:chExt cx="360000" cy="360000"/>
          </a:xfrm>
        </p:grpSpPr>
        <p:sp>
          <p:nvSpPr>
            <p:cNvPr id="821" name="Полилиния 820">
              <a:extLst>
                <a:ext uri="{FF2B5EF4-FFF2-40B4-BE49-F238E27FC236}">
                  <a16:creationId xmlns:a16="http://schemas.microsoft.com/office/drawing/2014/main" id="{BC9C7286-ACCE-964F-9193-8B6908C8A598}"/>
                </a:ext>
              </a:extLst>
            </p:cNvPr>
            <p:cNvSpPr/>
            <p:nvPr/>
          </p:nvSpPr>
          <p:spPr>
            <a:xfrm>
              <a:off x="1450457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2" name="Скругленный прямоугольник 821">
              <a:extLst>
                <a:ext uri="{FF2B5EF4-FFF2-40B4-BE49-F238E27FC236}">
                  <a16:creationId xmlns:a16="http://schemas.microsoft.com/office/drawing/2014/main" id="{54DB06F1-A110-C543-B6CB-010F10F8E30D}"/>
                </a:ext>
              </a:extLst>
            </p:cNvPr>
            <p:cNvSpPr/>
            <p:nvPr/>
          </p:nvSpPr>
          <p:spPr>
            <a:xfrm>
              <a:off x="1480457" y="1457875"/>
              <a:ext cx="300000" cy="270000"/>
            </a:xfrm>
            <a:prstGeom prst="roundRect">
              <a:avLst>
                <a:gd name="adj" fmla="val 23911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3" name="Полилиния 822">
              <a:extLst>
                <a:ext uri="{FF2B5EF4-FFF2-40B4-BE49-F238E27FC236}">
                  <a16:creationId xmlns:a16="http://schemas.microsoft.com/office/drawing/2014/main" id="{48CABC38-DCA6-CF49-BA0A-AAD94B310174}"/>
                </a:ext>
              </a:extLst>
            </p:cNvPr>
            <p:cNvSpPr/>
            <p:nvPr/>
          </p:nvSpPr>
          <p:spPr>
            <a:xfrm>
              <a:off x="1510457" y="1502874"/>
              <a:ext cx="240000" cy="180003"/>
            </a:xfrm>
            <a:custGeom>
              <a:avLst/>
              <a:gdLst>
                <a:gd name="connsiteX0" fmla="*/ 89230 w 240000"/>
                <a:gd name="connsiteY0" fmla="*/ 109744 h 180003"/>
                <a:gd name="connsiteX1" fmla="*/ 75000 w 240000"/>
                <a:gd name="connsiteY1" fmla="*/ 120001 h 180003"/>
                <a:gd name="connsiteX2" fmla="*/ 15000 w 240000"/>
                <a:gd name="connsiteY2" fmla="*/ 120001 h 180003"/>
                <a:gd name="connsiteX3" fmla="*/ 0 w 240000"/>
                <a:gd name="connsiteY3" fmla="*/ 105001 h 180003"/>
                <a:gd name="connsiteX4" fmla="*/ 15000 w 240000"/>
                <a:gd name="connsiteY4" fmla="*/ 90001 h 180003"/>
                <a:gd name="connsiteX5" fmla="*/ 64189 w 240000"/>
                <a:gd name="connsiteY5" fmla="*/ 90001 h 180003"/>
                <a:gd name="connsiteX6" fmla="*/ 90770 w 240000"/>
                <a:gd name="connsiteY6" fmla="*/ 10257 h 180003"/>
                <a:gd name="connsiteX7" fmla="*/ 119552 w 240000"/>
                <a:gd name="connsiteY7" fmla="*/ 11362 h 180003"/>
                <a:gd name="connsiteX8" fmla="*/ 147218 w 240000"/>
                <a:gd name="connsiteY8" fmla="*/ 122024 h 180003"/>
                <a:gd name="connsiteX9" fmla="*/ 159084 w 240000"/>
                <a:gd name="connsiteY9" fmla="*/ 98293 h 180003"/>
                <a:gd name="connsiteX10" fmla="*/ 172500 w 240000"/>
                <a:gd name="connsiteY10" fmla="*/ 90001 h 180003"/>
                <a:gd name="connsiteX11" fmla="*/ 225000 w 240000"/>
                <a:gd name="connsiteY11" fmla="*/ 90001 h 180003"/>
                <a:gd name="connsiteX12" fmla="*/ 240000 w 240000"/>
                <a:gd name="connsiteY12" fmla="*/ 105001 h 180003"/>
                <a:gd name="connsiteX13" fmla="*/ 225000 w 240000"/>
                <a:gd name="connsiteY13" fmla="*/ 120001 h 180003"/>
                <a:gd name="connsiteX14" fmla="*/ 181770 w 240000"/>
                <a:gd name="connsiteY14" fmla="*/ 120001 h 180003"/>
                <a:gd name="connsiteX15" fmla="*/ 155916 w 240000"/>
                <a:gd name="connsiteY15" fmla="*/ 171709 h 180003"/>
                <a:gd name="connsiteX16" fmla="*/ 127948 w 240000"/>
                <a:gd name="connsiteY16" fmla="*/ 168638 h 180003"/>
                <a:gd name="connsiteX17" fmla="*/ 102941 w 240000"/>
                <a:gd name="connsiteY17" fmla="*/ 68612 h 180003"/>
                <a:gd name="connsiteX18" fmla="*/ 89230 w 240000"/>
                <a:gd name="connsiteY18" fmla="*/ 109744 h 1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0000" h="180003">
                  <a:moveTo>
                    <a:pt x="89230" y="109744"/>
                  </a:moveTo>
                  <a:cubicBezTo>
                    <a:pt x="87189" y="115870"/>
                    <a:pt x="81456" y="120001"/>
                    <a:pt x="75000" y="120001"/>
                  </a:cubicBezTo>
                  <a:lnTo>
                    <a:pt x="15000" y="120001"/>
                  </a:lnTo>
                  <a:cubicBezTo>
                    <a:pt x="6716" y="120001"/>
                    <a:pt x="0" y="113285"/>
                    <a:pt x="0" y="105001"/>
                  </a:cubicBezTo>
                  <a:cubicBezTo>
                    <a:pt x="0" y="96716"/>
                    <a:pt x="6716" y="90001"/>
                    <a:pt x="15000" y="90001"/>
                  </a:cubicBezTo>
                  <a:lnTo>
                    <a:pt x="64189" y="90001"/>
                  </a:lnTo>
                  <a:lnTo>
                    <a:pt x="90770" y="10257"/>
                  </a:lnTo>
                  <a:cubicBezTo>
                    <a:pt x="95515" y="-3980"/>
                    <a:pt x="115913" y="-3196"/>
                    <a:pt x="119552" y="11362"/>
                  </a:cubicBezTo>
                  <a:lnTo>
                    <a:pt x="147218" y="122024"/>
                  </a:lnTo>
                  <a:lnTo>
                    <a:pt x="159084" y="98293"/>
                  </a:lnTo>
                  <a:cubicBezTo>
                    <a:pt x="161625" y="93211"/>
                    <a:pt x="166818" y="90001"/>
                    <a:pt x="172500" y="90001"/>
                  </a:cubicBezTo>
                  <a:lnTo>
                    <a:pt x="225000" y="90001"/>
                  </a:lnTo>
                  <a:cubicBezTo>
                    <a:pt x="233285" y="90001"/>
                    <a:pt x="240000" y="96716"/>
                    <a:pt x="240000" y="105001"/>
                  </a:cubicBezTo>
                  <a:cubicBezTo>
                    <a:pt x="240000" y="113285"/>
                    <a:pt x="233285" y="120001"/>
                    <a:pt x="225000" y="120001"/>
                  </a:cubicBezTo>
                  <a:lnTo>
                    <a:pt x="181770" y="120001"/>
                  </a:lnTo>
                  <a:lnTo>
                    <a:pt x="155916" y="171709"/>
                  </a:lnTo>
                  <a:cubicBezTo>
                    <a:pt x="149688" y="184165"/>
                    <a:pt x="131325" y="182149"/>
                    <a:pt x="127948" y="168638"/>
                  </a:cubicBezTo>
                  <a:lnTo>
                    <a:pt x="102941" y="68612"/>
                  </a:lnTo>
                  <a:lnTo>
                    <a:pt x="89230" y="10974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4" name="Полилиния 823">
              <a:extLst>
                <a:ext uri="{FF2B5EF4-FFF2-40B4-BE49-F238E27FC236}">
                  <a16:creationId xmlns:a16="http://schemas.microsoft.com/office/drawing/2014/main" id="{41592F39-7430-0C49-B6A8-01D98C9B2299}"/>
                </a:ext>
              </a:extLst>
            </p:cNvPr>
            <p:cNvSpPr/>
            <p:nvPr/>
          </p:nvSpPr>
          <p:spPr>
            <a:xfrm>
              <a:off x="1720457" y="1487875"/>
              <a:ext cx="30000" cy="30000"/>
            </a:xfrm>
            <a:custGeom>
              <a:avLst/>
              <a:gdLst>
                <a:gd name="connsiteX0" fmla="*/ 30000 w 30000"/>
                <a:gd name="connsiteY0" fmla="*/ 15000 h 30000"/>
                <a:gd name="connsiteX1" fmla="*/ 15000 w 30000"/>
                <a:gd name="connsiteY1" fmla="*/ 30000 h 30000"/>
                <a:gd name="connsiteX2" fmla="*/ 0 w 30000"/>
                <a:gd name="connsiteY2" fmla="*/ 15000 h 30000"/>
                <a:gd name="connsiteX3" fmla="*/ 15000 w 30000"/>
                <a:gd name="connsiteY3" fmla="*/ 0 h 30000"/>
                <a:gd name="connsiteX4" fmla="*/ 30000 w 30000"/>
                <a:gd name="connsiteY4" fmla="*/ 1500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" h="30000">
                  <a:moveTo>
                    <a:pt x="30000" y="15000"/>
                  </a:moveTo>
                  <a:cubicBezTo>
                    <a:pt x="30000" y="23284"/>
                    <a:pt x="23284" y="30000"/>
                    <a:pt x="15000" y="30000"/>
                  </a:cubicBez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ubicBezTo>
                    <a:pt x="23284" y="0"/>
                    <a:pt x="30000" y="6716"/>
                    <a:pt x="30000" y="1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25" name="Рисунок 180">
            <a:extLst>
              <a:ext uri="{FF2B5EF4-FFF2-40B4-BE49-F238E27FC236}">
                <a16:creationId xmlns:a16="http://schemas.microsoft.com/office/drawing/2014/main" id="{D0F8E7F9-BF31-1D41-B464-8329095967AA}"/>
              </a:ext>
            </a:extLst>
          </p:cNvPr>
          <p:cNvGrpSpPr/>
          <p:nvPr/>
        </p:nvGrpSpPr>
        <p:grpSpPr>
          <a:xfrm>
            <a:off x="673022" y="1096153"/>
            <a:ext cx="360000" cy="360000"/>
            <a:chOff x="695324" y="1412875"/>
            <a:chExt cx="360000" cy="360000"/>
          </a:xfrm>
        </p:grpSpPr>
        <p:sp>
          <p:nvSpPr>
            <p:cNvPr id="826" name="Полилиния 825">
              <a:extLst>
                <a:ext uri="{FF2B5EF4-FFF2-40B4-BE49-F238E27FC236}">
                  <a16:creationId xmlns:a16="http://schemas.microsoft.com/office/drawing/2014/main" id="{69588148-F254-654D-A107-227AE5D21995}"/>
                </a:ext>
              </a:extLst>
            </p:cNvPr>
            <p:cNvSpPr/>
            <p:nvPr/>
          </p:nvSpPr>
          <p:spPr>
            <a:xfrm>
              <a:off x="69532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7" name="Полилиния 826">
              <a:extLst>
                <a:ext uri="{FF2B5EF4-FFF2-40B4-BE49-F238E27FC236}">
                  <a16:creationId xmlns:a16="http://schemas.microsoft.com/office/drawing/2014/main" id="{549B2BD9-0876-3F4F-8D3F-FAACDE84D7A1}"/>
                </a:ext>
              </a:extLst>
            </p:cNvPr>
            <p:cNvSpPr/>
            <p:nvPr/>
          </p:nvSpPr>
          <p:spPr>
            <a:xfrm>
              <a:off x="740324" y="1472875"/>
              <a:ext cx="255000" cy="255000"/>
            </a:xfrm>
            <a:custGeom>
              <a:avLst/>
              <a:gdLst>
                <a:gd name="connsiteX0" fmla="*/ 45000 w 255000"/>
                <a:gd name="connsiteY0" fmla="*/ 75000 h 255000"/>
                <a:gd name="connsiteX1" fmla="*/ 45000 w 255000"/>
                <a:gd name="connsiteY1" fmla="*/ 165000 h 255000"/>
                <a:gd name="connsiteX2" fmla="*/ 90000 w 255000"/>
                <a:gd name="connsiteY2" fmla="*/ 210000 h 255000"/>
                <a:gd name="connsiteX3" fmla="*/ 180000 w 255000"/>
                <a:gd name="connsiteY3" fmla="*/ 210000 h 255000"/>
                <a:gd name="connsiteX4" fmla="*/ 180000 w 255000"/>
                <a:gd name="connsiteY4" fmla="*/ 222273 h 255000"/>
                <a:gd name="connsiteX5" fmla="*/ 147273 w 255000"/>
                <a:gd name="connsiteY5" fmla="*/ 255000 h 255000"/>
                <a:gd name="connsiteX6" fmla="*/ 32727 w 255000"/>
                <a:gd name="connsiteY6" fmla="*/ 255000 h 255000"/>
                <a:gd name="connsiteX7" fmla="*/ 0 w 255000"/>
                <a:gd name="connsiteY7" fmla="*/ 222273 h 255000"/>
                <a:gd name="connsiteX8" fmla="*/ 0 w 255000"/>
                <a:gd name="connsiteY8" fmla="*/ 107727 h 255000"/>
                <a:gd name="connsiteX9" fmla="*/ 32727 w 255000"/>
                <a:gd name="connsiteY9" fmla="*/ 75000 h 255000"/>
                <a:gd name="connsiteX10" fmla="*/ 45000 w 255000"/>
                <a:gd name="connsiteY10" fmla="*/ 75000 h 255000"/>
                <a:gd name="connsiteX11" fmla="*/ 210000 w 255000"/>
                <a:gd name="connsiteY11" fmla="*/ 180000 h 255000"/>
                <a:gd name="connsiteX12" fmla="*/ 210000 w 255000"/>
                <a:gd name="connsiteY12" fmla="*/ 90000 h 255000"/>
                <a:gd name="connsiteX13" fmla="*/ 165000 w 255000"/>
                <a:gd name="connsiteY13" fmla="*/ 45000 h 255000"/>
                <a:gd name="connsiteX14" fmla="*/ 75000 w 255000"/>
                <a:gd name="connsiteY14" fmla="*/ 45000 h 255000"/>
                <a:gd name="connsiteX15" fmla="*/ 75000 w 255000"/>
                <a:gd name="connsiteY15" fmla="*/ 32727 h 255000"/>
                <a:gd name="connsiteX16" fmla="*/ 107727 w 255000"/>
                <a:gd name="connsiteY16" fmla="*/ 0 h 255000"/>
                <a:gd name="connsiteX17" fmla="*/ 222273 w 255000"/>
                <a:gd name="connsiteY17" fmla="*/ 0 h 255000"/>
                <a:gd name="connsiteX18" fmla="*/ 255000 w 255000"/>
                <a:gd name="connsiteY18" fmla="*/ 32727 h 255000"/>
                <a:gd name="connsiteX19" fmla="*/ 255000 w 255000"/>
                <a:gd name="connsiteY19" fmla="*/ 147273 h 255000"/>
                <a:gd name="connsiteX20" fmla="*/ 222273 w 255000"/>
                <a:gd name="connsiteY20" fmla="*/ 180000 h 255000"/>
                <a:gd name="connsiteX21" fmla="*/ 210000 w 255000"/>
                <a:gd name="connsiteY21" fmla="*/ 180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5000" h="255000">
                  <a:moveTo>
                    <a:pt x="45000" y="75000"/>
                  </a:moveTo>
                  <a:lnTo>
                    <a:pt x="45000" y="165000"/>
                  </a:lnTo>
                  <a:cubicBezTo>
                    <a:pt x="45000" y="189854"/>
                    <a:pt x="65147" y="210000"/>
                    <a:pt x="90000" y="210000"/>
                  </a:cubicBezTo>
                  <a:lnTo>
                    <a:pt x="180000" y="210000"/>
                  </a:lnTo>
                  <a:lnTo>
                    <a:pt x="180000" y="222273"/>
                  </a:lnTo>
                  <a:cubicBezTo>
                    <a:pt x="180000" y="243488"/>
                    <a:pt x="168488" y="255000"/>
                    <a:pt x="147273" y="255000"/>
                  </a:cubicBezTo>
                  <a:lnTo>
                    <a:pt x="32727" y="255000"/>
                  </a:lnTo>
                  <a:cubicBezTo>
                    <a:pt x="11513" y="255000"/>
                    <a:pt x="0" y="243488"/>
                    <a:pt x="0" y="222273"/>
                  </a:cubicBezTo>
                  <a:lnTo>
                    <a:pt x="0" y="107727"/>
                  </a:lnTo>
                  <a:cubicBezTo>
                    <a:pt x="0" y="86513"/>
                    <a:pt x="11513" y="75000"/>
                    <a:pt x="32727" y="75000"/>
                  </a:cubicBezTo>
                  <a:lnTo>
                    <a:pt x="45000" y="75000"/>
                  </a:lnTo>
                  <a:close/>
                  <a:moveTo>
                    <a:pt x="210000" y="180000"/>
                  </a:moveTo>
                  <a:lnTo>
                    <a:pt x="210000" y="90000"/>
                  </a:lnTo>
                  <a:cubicBezTo>
                    <a:pt x="210000" y="65147"/>
                    <a:pt x="189854" y="45000"/>
                    <a:pt x="165000" y="45000"/>
                  </a:cubicBezTo>
                  <a:lnTo>
                    <a:pt x="75000" y="45000"/>
                  </a:lnTo>
                  <a:lnTo>
                    <a:pt x="75000" y="32727"/>
                  </a:lnTo>
                  <a:cubicBezTo>
                    <a:pt x="75000" y="11513"/>
                    <a:pt x="86513" y="0"/>
                    <a:pt x="107727" y="0"/>
                  </a:cubicBezTo>
                  <a:lnTo>
                    <a:pt x="222273" y="0"/>
                  </a:lnTo>
                  <a:cubicBezTo>
                    <a:pt x="243488" y="0"/>
                    <a:pt x="255000" y="11513"/>
                    <a:pt x="255000" y="32727"/>
                  </a:cubicBezTo>
                  <a:lnTo>
                    <a:pt x="255000" y="147273"/>
                  </a:lnTo>
                  <a:cubicBezTo>
                    <a:pt x="255000" y="168488"/>
                    <a:pt x="243488" y="180000"/>
                    <a:pt x="222273" y="180000"/>
                  </a:cubicBezTo>
                  <a:lnTo>
                    <a:pt x="210000" y="18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8" name="Полилиния 827">
              <a:extLst>
                <a:ext uri="{FF2B5EF4-FFF2-40B4-BE49-F238E27FC236}">
                  <a16:creationId xmlns:a16="http://schemas.microsoft.com/office/drawing/2014/main" id="{16A4B196-6D38-8D4F-9A17-B41326617F3E}"/>
                </a:ext>
              </a:extLst>
            </p:cNvPr>
            <p:cNvSpPr/>
            <p:nvPr/>
          </p:nvSpPr>
          <p:spPr>
            <a:xfrm>
              <a:off x="815324" y="1547875"/>
              <a:ext cx="105000" cy="105000"/>
            </a:xfrm>
            <a:custGeom>
              <a:avLst/>
              <a:gdLst>
                <a:gd name="connsiteX0" fmla="*/ 19091 w 105000"/>
                <a:gd name="connsiteY0" fmla="*/ 0 h 105000"/>
                <a:gd name="connsiteX1" fmla="*/ 85909 w 105000"/>
                <a:gd name="connsiteY1" fmla="*/ 0 h 105000"/>
                <a:gd name="connsiteX2" fmla="*/ 105000 w 105000"/>
                <a:gd name="connsiteY2" fmla="*/ 19091 h 105000"/>
                <a:gd name="connsiteX3" fmla="*/ 105000 w 105000"/>
                <a:gd name="connsiteY3" fmla="*/ 85909 h 105000"/>
                <a:gd name="connsiteX4" fmla="*/ 85909 w 105000"/>
                <a:gd name="connsiteY4" fmla="*/ 105000 h 105000"/>
                <a:gd name="connsiteX5" fmla="*/ 19091 w 105000"/>
                <a:gd name="connsiteY5" fmla="*/ 105000 h 105000"/>
                <a:gd name="connsiteX6" fmla="*/ 0 w 105000"/>
                <a:gd name="connsiteY6" fmla="*/ 85909 h 105000"/>
                <a:gd name="connsiteX7" fmla="*/ 0 w 105000"/>
                <a:gd name="connsiteY7" fmla="*/ 19091 h 105000"/>
                <a:gd name="connsiteX8" fmla="*/ 19091 w 105000"/>
                <a:gd name="connsiteY8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000" h="105000">
                  <a:moveTo>
                    <a:pt x="19091" y="0"/>
                  </a:moveTo>
                  <a:lnTo>
                    <a:pt x="85909" y="0"/>
                  </a:lnTo>
                  <a:cubicBezTo>
                    <a:pt x="98285" y="0"/>
                    <a:pt x="105000" y="6716"/>
                    <a:pt x="105000" y="19091"/>
                  </a:cubicBezTo>
                  <a:lnTo>
                    <a:pt x="105000" y="85909"/>
                  </a:lnTo>
                  <a:cubicBezTo>
                    <a:pt x="105000" y="98285"/>
                    <a:pt x="98285" y="105000"/>
                    <a:pt x="85909" y="105000"/>
                  </a:cubicBezTo>
                  <a:lnTo>
                    <a:pt x="19091" y="105000"/>
                  </a:lnTo>
                  <a:cubicBezTo>
                    <a:pt x="6716" y="105000"/>
                    <a:pt x="0" y="98285"/>
                    <a:pt x="0" y="85909"/>
                  </a:cubicBezTo>
                  <a:lnTo>
                    <a:pt x="0" y="19091"/>
                  </a:lnTo>
                  <a:cubicBezTo>
                    <a:pt x="0" y="6716"/>
                    <a:pt x="6716" y="0"/>
                    <a:pt x="19091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29" name="Рисунок 181">
            <a:extLst>
              <a:ext uri="{FF2B5EF4-FFF2-40B4-BE49-F238E27FC236}">
                <a16:creationId xmlns:a16="http://schemas.microsoft.com/office/drawing/2014/main" id="{9FB6AAAA-EBE0-1747-9CEB-96CD4DF788FB}"/>
              </a:ext>
            </a:extLst>
          </p:cNvPr>
          <p:cNvGrpSpPr/>
          <p:nvPr/>
        </p:nvGrpSpPr>
        <p:grpSpPr>
          <a:xfrm>
            <a:off x="11244886" y="1096153"/>
            <a:ext cx="360000" cy="360000"/>
            <a:chOff x="11267188" y="1412875"/>
            <a:chExt cx="360000" cy="360000"/>
          </a:xfrm>
        </p:grpSpPr>
        <p:sp>
          <p:nvSpPr>
            <p:cNvPr id="830" name="Полилиния 829">
              <a:extLst>
                <a:ext uri="{FF2B5EF4-FFF2-40B4-BE49-F238E27FC236}">
                  <a16:creationId xmlns:a16="http://schemas.microsoft.com/office/drawing/2014/main" id="{96864A79-F41F-7C44-89FD-149B519CAC57}"/>
                </a:ext>
              </a:extLst>
            </p:cNvPr>
            <p:cNvSpPr/>
            <p:nvPr/>
          </p:nvSpPr>
          <p:spPr>
            <a:xfrm>
              <a:off x="11267188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1" name="Скругленный прямоугольник 830">
              <a:extLst>
                <a:ext uri="{FF2B5EF4-FFF2-40B4-BE49-F238E27FC236}">
                  <a16:creationId xmlns:a16="http://schemas.microsoft.com/office/drawing/2014/main" id="{296BDD82-D124-D44A-9241-F6C97965BAAF}"/>
                </a:ext>
              </a:extLst>
            </p:cNvPr>
            <p:cNvSpPr/>
            <p:nvPr/>
          </p:nvSpPr>
          <p:spPr>
            <a:xfrm>
              <a:off x="11327188" y="1472875"/>
              <a:ext cx="60000" cy="6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2" name="Скругленный прямоугольник 831">
              <a:extLst>
                <a:ext uri="{FF2B5EF4-FFF2-40B4-BE49-F238E27FC236}">
                  <a16:creationId xmlns:a16="http://schemas.microsoft.com/office/drawing/2014/main" id="{0A50D94A-FE24-6C4B-8122-E406F31C2B18}"/>
                </a:ext>
              </a:extLst>
            </p:cNvPr>
            <p:cNvSpPr/>
            <p:nvPr/>
          </p:nvSpPr>
          <p:spPr>
            <a:xfrm>
              <a:off x="11327188" y="1562875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3" name="Скругленный прямоугольник 832">
              <a:extLst>
                <a:ext uri="{FF2B5EF4-FFF2-40B4-BE49-F238E27FC236}">
                  <a16:creationId xmlns:a16="http://schemas.microsoft.com/office/drawing/2014/main" id="{BF43EE32-CF6C-D44E-A509-1EAA76E7227A}"/>
                </a:ext>
              </a:extLst>
            </p:cNvPr>
            <p:cNvSpPr/>
            <p:nvPr/>
          </p:nvSpPr>
          <p:spPr>
            <a:xfrm>
              <a:off x="11417188" y="1472875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4" name="Скругленный прямоугольник 833">
              <a:extLst>
                <a:ext uri="{FF2B5EF4-FFF2-40B4-BE49-F238E27FC236}">
                  <a16:creationId xmlns:a16="http://schemas.microsoft.com/office/drawing/2014/main" id="{7A9F9D97-2801-2647-AF75-476EEC9A85AA}"/>
                </a:ext>
              </a:extLst>
            </p:cNvPr>
            <p:cNvSpPr/>
            <p:nvPr/>
          </p:nvSpPr>
          <p:spPr>
            <a:xfrm>
              <a:off x="11417188" y="1562875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5" name="Скругленный прямоугольник 834">
              <a:extLst>
                <a:ext uri="{FF2B5EF4-FFF2-40B4-BE49-F238E27FC236}">
                  <a16:creationId xmlns:a16="http://schemas.microsoft.com/office/drawing/2014/main" id="{92FB3525-28AE-4146-B7D1-C702CBDD79A0}"/>
                </a:ext>
              </a:extLst>
            </p:cNvPr>
            <p:cNvSpPr/>
            <p:nvPr/>
          </p:nvSpPr>
          <p:spPr>
            <a:xfrm>
              <a:off x="11507188" y="1472875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6" name="Скругленный прямоугольник 835">
              <a:extLst>
                <a:ext uri="{FF2B5EF4-FFF2-40B4-BE49-F238E27FC236}">
                  <a16:creationId xmlns:a16="http://schemas.microsoft.com/office/drawing/2014/main" id="{0ED88ACB-56EB-3A4A-BE69-335B0DB1E658}"/>
                </a:ext>
              </a:extLst>
            </p:cNvPr>
            <p:cNvSpPr/>
            <p:nvPr/>
          </p:nvSpPr>
          <p:spPr>
            <a:xfrm>
              <a:off x="11507188" y="1562875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7" name="Скругленный прямоугольник 836">
              <a:extLst>
                <a:ext uri="{FF2B5EF4-FFF2-40B4-BE49-F238E27FC236}">
                  <a16:creationId xmlns:a16="http://schemas.microsoft.com/office/drawing/2014/main" id="{77748C0D-3518-C84A-8E34-575824A80019}"/>
                </a:ext>
              </a:extLst>
            </p:cNvPr>
            <p:cNvSpPr/>
            <p:nvPr/>
          </p:nvSpPr>
          <p:spPr>
            <a:xfrm>
              <a:off x="11327188" y="1652875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8" name="Скругленный прямоугольник 837">
              <a:extLst>
                <a:ext uri="{FF2B5EF4-FFF2-40B4-BE49-F238E27FC236}">
                  <a16:creationId xmlns:a16="http://schemas.microsoft.com/office/drawing/2014/main" id="{58B7B550-AEA7-CF4F-B665-897558CC9B55}"/>
                </a:ext>
              </a:extLst>
            </p:cNvPr>
            <p:cNvSpPr/>
            <p:nvPr/>
          </p:nvSpPr>
          <p:spPr>
            <a:xfrm>
              <a:off x="11417188" y="1652875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9" name="Скругленный прямоугольник 838">
              <a:extLst>
                <a:ext uri="{FF2B5EF4-FFF2-40B4-BE49-F238E27FC236}">
                  <a16:creationId xmlns:a16="http://schemas.microsoft.com/office/drawing/2014/main" id="{5C8EA95B-8B65-A549-A0BE-0A73769657A0}"/>
                </a:ext>
              </a:extLst>
            </p:cNvPr>
            <p:cNvSpPr/>
            <p:nvPr/>
          </p:nvSpPr>
          <p:spPr>
            <a:xfrm>
              <a:off x="11507188" y="1652875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40" name="Рисунок 182">
            <a:extLst>
              <a:ext uri="{FF2B5EF4-FFF2-40B4-BE49-F238E27FC236}">
                <a16:creationId xmlns:a16="http://schemas.microsoft.com/office/drawing/2014/main" id="{CC9DF395-05D5-3A4B-A318-DEC1ED931DB9}"/>
              </a:ext>
            </a:extLst>
          </p:cNvPr>
          <p:cNvGrpSpPr/>
          <p:nvPr/>
        </p:nvGrpSpPr>
        <p:grpSpPr>
          <a:xfrm>
            <a:off x="1453909" y="5807534"/>
            <a:ext cx="360000" cy="360000"/>
            <a:chOff x="1476211" y="6124256"/>
            <a:chExt cx="360000" cy="360000"/>
          </a:xfrm>
        </p:grpSpPr>
        <p:sp>
          <p:nvSpPr>
            <p:cNvPr id="841" name="Полилиния 840">
              <a:extLst>
                <a:ext uri="{FF2B5EF4-FFF2-40B4-BE49-F238E27FC236}">
                  <a16:creationId xmlns:a16="http://schemas.microsoft.com/office/drawing/2014/main" id="{88589B2D-4E86-4545-97BE-28E72F9F0193}"/>
                </a:ext>
              </a:extLst>
            </p:cNvPr>
            <p:cNvSpPr/>
            <p:nvPr/>
          </p:nvSpPr>
          <p:spPr>
            <a:xfrm>
              <a:off x="147621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2" name="Полилиния 841">
              <a:extLst>
                <a:ext uri="{FF2B5EF4-FFF2-40B4-BE49-F238E27FC236}">
                  <a16:creationId xmlns:a16="http://schemas.microsoft.com/office/drawing/2014/main" id="{C75CC7CC-9F6F-7A4E-B9B4-292A7AA7F7FF}"/>
                </a:ext>
              </a:extLst>
            </p:cNvPr>
            <p:cNvSpPr/>
            <p:nvPr/>
          </p:nvSpPr>
          <p:spPr>
            <a:xfrm>
              <a:off x="1518178" y="6169086"/>
              <a:ext cx="276067" cy="276070"/>
            </a:xfrm>
            <a:custGeom>
              <a:avLst/>
              <a:gdLst>
                <a:gd name="connsiteX0" fmla="*/ 138032 w 276067"/>
                <a:gd name="connsiteY0" fmla="*/ 200885 h 276070"/>
                <a:gd name="connsiteX1" fmla="*/ 138032 w 276067"/>
                <a:gd name="connsiteY1" fmla="*/ 52252 h 276070"/>
                <a:gd name="connsiteX2" fmla="*/ 47951 w 276067"/>
                <a:gd name="connsiteY2" fmla="*/ 232413 h 276070"/>
                <a:gd name="connsiteX3" fmla="*/ 138032 w 276067"/>
                <a:gd name="connsiteY3" fmla="*/ 200885 h 276070"/>
                <a:gd name="connsiteX4" fmla="*/ 1267 w 276067"/>
                <a:gd name="connsiteY4" fmla="*/ 258701 h 276070"/>
                <a:gd name="connsiteX5" fmla="*/ 127300 w 276067"/>
                <a:gd name="connsiteY5" fmla="*/ 6636 h 276070"/>
                <a:gd name="connsiteX6" fmla="*/ 143399 w 276067"/>
                <a:gd name="connsiteY6" fmla="*/ 1269 h 276070"/>
                <a:gd name="connsiteX7" fmla="*/ 148765 w 276067"/>
                <a:gd name="connsiteY7" fmla="*/ 6636 h 276070"/>
                <a:gd name="connsiteX8" fmla="*/ 274798 w 276067"/>
                <a:gd name="connsiteY8" fmla="*/ 258701 h 276070"/>
                <a:gd name="connsiteX9" fmla="*/ 269431 w 276067"/>
                <a:gd name="connsiteY9" fmla="*/ 274800 h 276070"/>
                <a:gd name="connsiteX10" fmla="*/ 260101 w 276067"/>
                <a:gd name="connsiteY10" fmla="*/ 275394 h 276070"/>
                <a:gd name="connsiteX11" fmla="*/ 138032 w 276067"/>
                <a:gd name="connsiteY11" fmla="*/ 232670 h 276070"/>
                <a:gd name="connsiteX12" fmla="*/ 15964 w 276067"/>
                <a:gd name="connsiteY12" fmla="*/ 275394 h 276070"/>
                <a:gd name="connsiteX13" fmla="*/ 674 w 276067"/>
                <a:gd name="connsiteY13" fmla="*/ 268032 h 276070"/>
                <a:gd name="connsiteX14" fmla="*/ 1267 w 276067"/>
                <a:gd name="connsiteY14" fmla="*/ 258701 h 276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6067" h="276070">
                  <a:moveTo>
                    <a:pt x="138032" y="200885"/>
                  </a:moveTo>
                  <a:lnTo>
                    <a:pt x="138032" y="52252"/>
                  </a:lnTo>
                  <a:lnTo>
                    <a:pt x="47951" y="232413"/>
                  </a:lnTo>
                  <a:lnTo>
                    <a:pt x="138032" y="200885"/>
                  </a:lnTo>
                  <a:close/>
                  <a:moveTo>
                    <a:pt x="1267" y="258701"/>
                  </a:moveTo>
                  <a:lnTo>
                    <a:pt x="127300" y="6636"/>
                  </a:lnTo>
                  <a:cubicBezTo>
                    <a:pt x="130262" y="708"/>
                    <a:pt x="137471" y="-1694"/>
                    <a:pt x="143399" y="1269"/>
                  </a:cubicBezTo>
                  <a:cubicBezTo>
                    <a:pt x="145721" y="2431"/>
                    <a:pt x="147604" y="4314"/>
                    <a:pt x="148765" y="6636"/>
                  </a:cubicBezTo>
                  <a:lnTo>
                    <a:pt x="274798" y="258701"/>
                  </a:lnTo>
                  <a:cubicBezTo>
                    <a:pt x="277762" y="264629"/>
                    <a:pt x="275359" y="271836"/>
                    <a:pt x="269431" y="274800"/>
                  </a:cubicBezTo>
                  <a:cubicBezTo>
                    <a:pt x="266530" y="276252"/>
                    <a:pt x="263162" y="276465"/>
                    <a:pt x="260101" y="275394"/>
                  </a:cubicBezTo>
                  <a:lnTo>
                    <a:pt x="138032" y="232670"/>
                  </a:lnTo>
                  <a:lnTo>
                    <a:pt x="15964" y="275394"/>
                  </a:lnTo>
                  <a:cubicBezTo>
                    <a:pt x="9709" y="277583"/>
                    <a:pt x="2863" y="274287"/>
                    <a:pt x="674" y="268032"/>
                  </a:cubicBezTo>
                  <a:cubicBezTo>
                    <a:pt x="-398" y="264969"/>
                    <a:pt x="-184" y="261603"/>
                    <a:pt x="1267" y="258701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43" name="Рисунок 183">
            <a:extLst>
              <a:ext uri="{FF2B5EF4-FFF2-40B4-BE49-F238E27FC236}">
                <a16:creationId xmlns:a16="http://schemas.microsoft.com/office/drawing/2014/main" id="{15284107-90D2-3043-82C8-262D8CD3B1C6}"/>
              </a:ext>
            </a:extLst>
          </p:cNvPr>
          <p:cNvGrpSpPr/>
          <p:nvPr/>
        </p:nvGrpSpPr>
        <p:grpSpPr>
          <a:xfrm>
            <a:off x="2207061" y="5750189"/>
            <a:ext cx="405212" cy="417344"/>
            <a:chOff x="2229363" y="6066911"/>
            <a:chExt cx="405212" cy="417344"/>
          </a:xfrm>
        </p:grpSpPr>
        <p:sp>
          <p:nvSpPr>
            <p:cNvPr id="844" name="Полилиния 843">
              <a:extLst>
                <a:ext uri="{FF2B5EF4-FFF2-40B4-BE49-F238E27FC236}">
                  <a16:creationId xmlns:a16="http://schemas.microsoft.com/office/drawing/2014/main" id="{C7326BDD-D6C8-1947-8B6F-E9755A5B0485}"/>
                </a:ext>
              </a:extLst>
            </p:cNvPr>
            <p:cNvSpPr/>
            <p:nvPr/>
          </p:nvSpPr>
          <p:spPr>
            <a:xfrm>
              <a:off x="222936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5" name="Полилиния 844">
              <a:extLst>
                <a:ext uri="{FF2B5EF4-FFF2-40B4-BE49-F238E27FC236}">
                  <a16:creationId xmlns:a16="http://schemas.microsoft.com/office/drawing/2014/main" id="{54E4B36D-D0CB-1741-8A44-F4F308C2C4BB}"/>
                </a:ext>
              </a:extLst>
            </p:cNvPr>
            <p:cNvSpPr/>
            <p:nvPr/>
          </p:nvSpPr>
          <p:spPr>
            <a:xfrm rot="2700000">
              <a:off x="2301330" y="6124086"/>
              <a:ext cx="276067" cy="276071"/>
            </a:xfrm>
            <a:custGeom>
              <a:avLst/>
              <a:gdLst>
                <a:gd name="connsiteX0" fmla="*/ 138032 w 276067"/>
                <a:gd name="connsiteY0" fmla="*/ 200885 h 276071"/>
                <a:gd name="connsiteX1" fmla="*/ 138032 w 276067"/>
                <a:gd name="connsiteY1" fmla="*/ 52252 h 276071"/>
                <a:gd name="connsiteX2" fmla="*/ 47952 w 276067"/>
                <a:gd name="connsiteY2" fmla="*/ 232413 h 276071"/>
                <a:gd name="connsiteX3" fmla="*/ 138032 w 276067"/>
                <a:gd name="connsiteY3" fmla="*/ 200885 h 276071"/>
                <a:gd name="connsiteX4" fmla="*/ 1267 w 276067"/>
                <a:gd name="connsiteY4" fmla="*/ 258701 h 276071"/>
                <a:gd name="connsiteX5" fmla="*/ 127300 w 276067"/>
                <a:gd name="connsiteY5" fmla="*/ 6636 h 276071"/>
                <a:gd name="connsiteX6" fmla="*/ 143399 w 276067"/>
                <a:gd name="connsiteY6" fmla="*/ 1270 h 276071"/>
                <a:gd name="connsiteX7" fmla="*/ 148765 w 276067"/>
                <a:gd name="connsiteY7" fmla="*/ 6636 h 276071"/>
                <a:gd name="connsiteX8" fmla="*/ 274798 w 276067"/>
                <a:gd name="connsiteY8" fmla="*/ 258701 h 276071"/>
                <a:gd name="connsiteX9" fmla="*/ 269431 w 276067"/>
                <a:gd name="connsiteY9" fmla="*/ 274800 h 276071"/>
                <a:gd name="connsiteX10" fmla="*/ 260101 w 276067"/>
                <a:gd name="connsiteY10" fmla="*/ 275394 h 276071"/>
                <a:gd name="connsiteX11" fmla="*/ 138032 w 276067"/>
                <a:gd name="connsiteY11" fmla="*/ 232670 h 276071"/>
                <a:gd name="connsiteX12" fmla="*/ 15964 w 276067"/>
                <a:gd name="connsiteY12" fmla="*/ 275394 h 276071"/>
                <a:gd name="connsiteX13" fmla="*/ 674 w 276067"/>
                <a:gd name="connsiteY13" fmla="*/ 268032 h 276071"/>
                <a:gd name="connsiteX14" fmla="*/ 1267 w 276067"/>
                <a:gd name="connsiteY14" fmla="*/ 258701 h 27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6067" h="276071">
                  <a:moveTo>
                    <a:pt x="138032" y="200885"/>
                  </a:moveTo>
                  <a:lnTo>
                    <a:pt x="138032" y="52252"/>
                  </a:lnTo>
                  <a:lnTo>
                    <a:pt x="47952" y="232413"/>
                  </a:lnTo>
                  <a:lnTo>
                    <a:pt x="138032" y="200885"/>
                  </a:lnTo>
                  <a:close/>
                  <a:moveTo>
                    <a:pt x="1267" y="258701"/>
                  </a:moveTo>
                  <a:lnTo>
                    <a:pt x="127300" y="6636"/>
                  </a:lnTo>
                  <a:cubicBezTo>
                    <a:pt x="130262" y="708"/>
                    <a:pt x="137471" y="-1694"/>
                    <a:pt x="143399" y="1270"/>
                  </a:cubicBezTo>
                  <a:cubicBezTo>
                    <a:pt x="145721" y="2431"/>
                    <a:pt x="147604" y="4314"/>
                    <a:pt x="148765" y="6636"/>
                  </a:cubicBezTo>
                  <a:lnTo>
                    <a:pt x="274798" y="258701"/>
                  </a:lnTo>
                  <a:cubicBezTo>
                    <a:pt x="277762" y="264629"/>
                    <a:pt x="275359" y="271836"/>
                    <a:pt x="269431" y="274800"/>
                  </a:cubicBezTo>
                  <a:cubicBezTo>
                    <a:pt x="266530" y="276252"/>
                    <a:pt x="263162" y="276465"/>
                    <a:pt x="260101" y="275394"/>
                  </a:cubicBezTo>
                  <a:lnTo>
                    <a:pt x="138032" y="232670"/>
                  </a:lnTo>
                  <a:lnTo>
                    <a:pt x="15964" y="275394"/>
                  </a:lnTo>
                  <a:cubicBezTo>
                    <a:pt x="9709" y="277583"/>
                    <a:pt x="2863" y="274287"/>
                    <a:pt x="674" y="268032"/>
                  </a:cubicBezTo>
                  <a:cubicBezTo>
                    <a:pt x="-398" y="264969"/>
                    <a:pt x="-184" y="261603"/>
                    <a:pt x="1267" y="258701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46" name="Рисунок 184">
            <a:extLst>
              <a:ext uri="{FF2B5EF4-FFF2-40B4-BE49-F238E27FC236}">
                <a16:creationId xmlns:a16="http://schemas.microsoft.com/office/drawing/2014/main" id="{7193B459-9990-404C-9FD2-AE58D449F95F}"/>
              </a:ext>
            </a:extLst>
          </p:cNvPr>
          <p:cNvGrpSpPr/>
          <p:nvPr/>
        </p:nvGrpSpPr>
        <p:grpSpPr>
          <a:xfrm>
            <a:off x="2960213" y="5807534"/>
            <a:ext cx="360000" cy="360000"/>
            <a:chOff x="2982515" y="6124256"/>
            <a:chExt cx="360000" cy="360000"/>
          </a:xfrm>
        </p:grpSpPr>
        <p:sp>
          <p:nvSpPr>
            <p:cNvPr id="847" name="Полилиния 846">
              <a:extLst>
                <a:ext uri="{FF2B5EF4-FFF2-40B4-BE49-F238E27FC236}">
                  <a16:creationId xmlns:a16="http://schemas.microsoft.com/office/drawing/2014/main" id="{1B99C21F-9BFB-384A-BC29-C9E903120361}"/>
                </a:ext>
              </a:extLst>
            </p:cNvPr>
            <p:cNvSpPr/>
            <p:nvPr/>
          </p:nvSpPr>
          <p:spPr>
            <a:xfrm>
              <a:off x="298251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8" name="Полилиния 847">
              <a:extLst>
                <a:ext uri="{FF2B5EF4-FFF2-40B4-BE49-F238E27FC236}">
                  <a16:creationId xmlns:a16="http://schemas.microsoft.com/office/drawing/2014/main" id="{B32BBFBA-AD17-F746-B42F-BAC504C7E8D1}"/>
                </a:ext>
              </a:extLst>
            </p:cNvPr>
            <p:cNvSpPr/>
            <p:nvPr/>
          </p:nvSpPr>
          <p:spPr>
            <a:xfrm>
              <a:off x="3027515" y="6169256"/>
              <a:ext cx="270000" cy="270000"/>
            </a:xfrm>
            <a:custGeom>
              <a:avLst/>
              <a:gdLst>
                <a:gd name="connsiteX0" fmla="*/ 135000 w 270000"/>
                <a:gd name="connsiteY0" fmla="*/ 270000 h 270000"/>
                <a:gd name="connsiteX1" fmla="*/ 0 w 270000"/>
                <a:gd name="connsiteY1" fmla="*/ 135000 h 270000"/>
                <a:gd name="connsiteX2" fmla="*/ 135000 w 270000"/>
                <a:gd name="connsiteY2" fmla="*/ 0 h 270000"/>
                <a:gd name="connsiteX3" fmla="*/ 270000 w 270000"/>
                <a:gd name="connsiteY3" fmla="*/ 135000 h 270000"/>
                <a:gd name="connsiteX4" fmla="*/ 135000 w 270000"/>
                <a:gd name="connsiteY4" fmla="*/ 270000 h 270000"/>
                <a:gd name="connsiteX5" fmla="*/ 135000 w 270000"/>
                <a:gd name="connsiteY5" fmla="*/ 225000 h 270000"/>
                <a:gd name="connsiteX6" fmla="*/ 225000 w 270000"/>
                <a:gd name="connsiteY6" fmla="*/ 135000 h 270000"/>
                <a:gd name="connsiteX7" fmla="*/ 135000 w 270000"/>
                <a:gd name="connsiteY7" fmla="*/ 45000 h 270000"/>
                <a:gd name="connsiteX8" fmla="*/ 45000 w 270000"/>
                <a:gd name="connsiteY8" fmla="*/ 135000 h 270000"/>
                <a:gd name="connsiteX9" fmla="*/ 135000 w 270000"/>
                <a:gd name="connsiteY9" fmla="*/ 225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00" h="270000">
                  <a:moveTo>
                    <a:pt x="135000" y="270000"/>
                  </a:moveTo>
                  <a:cubicBezTo>
                    <a:pt x="60442" y="270000"/>
                    <a:pt x="0" y="209559"/>
                    <a:pt x="0" y="135000"/>
                  </a:cubicBezTo>
                  <a:cubicBezTo>
                    <a:pt x="0" y="60442"/>
                    <a:pt x="60442" y="0"/>
                    <a:pt x="135000" y="0"/>
                  </a:cubicBezTo>
                  <a:cubicBezTo>
                    <a:pt x="209559" y="0"/>
                    <a:pt x="270000" y="60442"/>
                    <a:pt x="270000" y="135000"/>
                  </a:cubicBezTo>
                  <a:cubicBezTo>
                    <a:pt x="270000" y="209559"/>
                    <a:pt x="209559" y="270000"/>
                    <a:pt x="135000" y="270000"/>
                  </a:cubicBezTo>
                  <a:close/>
                  <a:moveTo>
                    <a:pt x="135000" y="225000"/>
                  </a:moveTo>
                  <a:cubicBezTo>
                    <a:pt x="184706" y="225000"/>
                    <a:pt x="225000" y="184706"/>
                    <a:pt x="225000" y="135000"/>
                  </a:cubicBezTo>
                  <a:cubicBezTo>
                    <a:pt x="225000" y="85294"/>
                    <a:pt x="184706" y="45000"/>
                    <a:pt x="135000" y="45000"/>
                  </a:cubicBezTo>
                  <a:cubicBezTo>
                    <a:pt x="85294" y="45000"/>
                    <a:pt x="45000" y="85294"/>
                    <a:pt x="45000" y="135000"/>
                  </a:cubicBezTo>
                  <a:cubicBezTo>
                    <a:pt x="45000" y="184706"/>
                    <a:pt x="85294" y="225000"/>
                    <a:pt x="135000" y="22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9" name="Полилиния 848">
              <a:extLst>
                <a:ext uri="{FF2B5EF4-FFF2-40B4-BE49-F238E27FC236}">
                  <a16:creationId xmlns:a16="http://schemas.microsoft.com/office/drawing/2014/main" id="{0FBE4892-C791-4D48-9EA1-1E2F9E7E1D3F}"/>
                </a:ext>
              </a:extLst>
            </p:cNvPr>
            <p:cNvSpPr/>
            <p:nvPr/>
          </p:nvSpPr>
          <p:spPr>
            <a:xfrm>
              <a:off x="3102515" y="6244256"/>
              <a:ext cx="120000" cy="120000"/>
            </a:xfrm>
            <a:custGeom>
              <a:avLst/>
              <a:gdLst>
                <a:gd name="connsiteX0" fmla="*/ 60000 w 120000"/>
                <a:gd name="connsiteY0" fmla="*/ 120000 h 120000"/>
                <a:gd name="connsiteX1" fmla="*/ 120000 w 120000"/>
                <a:gd name="connsiteY1" fmla="*/ 60000 h 120000"/>
                <a:gd name="connsiteX2" fmla="*/ 60000 w 120000"/>
                <a:gd name="connsiteY2" fmla="*/ 0 h 120000"/>
                <a:gd name="connsiteX3" fmla="*/ 0 w 120000"/>
                <a:gd name="connsiteY3" fmla="*/ 60000 h 120000"/>
                <a:gd name="connsiteX4" fmla="*/ 60000 w 120000"/>
                <a:gd name="connsiteY4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00" h="120000">
                  <a:moveTo>
                    <a:pt x="60000" y="120000"/>
                  </a:moveTo>
                  <a:cubicBezTo>
                    <a:pt x="93137" y="120000"/>
                    <a:pt x="120000" y="93137"/>
                    <a:pt x="120000" y="60000"/>
                  </a:cubicBezTo>
                  <a:cubicBezTo>
                    <a:pt x="120000" y="26863"/>
                    <a:pt x="93137" y="0"/>
                    <a:pt x="60000" y="0"/>
                  </a:cubicBezTo>
                  <a:cubicBezTo>
                    <a:pt x="26863" y="0"/>
                    <a:pt x="0" y="26863"/>
                    <a:pt x="0" y="60000"/>
                  </a:cubicBezTo>
                  <a:cubicBezTo>
                    <a:pt x="0" y="93137"/>
                    <a:pt x="26863" y="120000"/>
                    <a:pt x="60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50" name="Рисунок 185">
            <a:extLst>
              <a:ext uri="{FF2B5EF4-FFF2-40B4-BE49-F238E27FC236}">
                <a16:creationId xmlns:a16="http://schemas.microsoft.com/office/drawing/2014/main" id="{F1FFEF61-0205-4647-BA2B-4ABB38571722}"/>
              </a:ext>
            </a:extLst>
          </p:cNvPr>
          <p:cNvGrpSpPr/>
          <p:nvPr/>
        </p:nvGrpSpPr>
        <p:grpSpPr>
          <a:xfrm>
            <a:off x="3713365" y="5807534"/>
            <a:ext cx="360000" cy="360000"/>
            <a:chOff x="3735667" y="6124256"/>
            <a:chExt cx="360000" cy="360000"/>
          </a:xfrm>
        </p:grpSpPr>
        <p:sp>
          <p:nvSpPr>
            <p:cNvPr id="851" name="Полилиния 850">
              <a:extLst>
                <a:ext uri="{FF2B5EF4-FFF2-40B4-BE49-F238E27FC236}">
                  <a16:creationId xmlns:a16="http://schemas.microsoft.com/office/drawing/2014/main" id="{817BFB97-A9D8-9A41-A4BD-DFE04FC69D49}"/>
                </a:ext>
              </a:extLst>
            </p:cNvPr>
            <p:cNvSpPr/>
            <p:nvPr/>
          </p:nvSpPr>
          <p:spPr>
            <a:xfrm>
              <a:off x="3735667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2" name="Полилиния 851">
              <a:extLst>
                <a:ext uri="{FF2B5EF4-FFF2-40B4-BE49-F238E27FC236}">
                  <a16:creationId xmlns:a16="http://schemas.microsoft.com/office/drawing/2014/main" id="{61FAF54B-6834-9C4A-A6E0-9F3EADAEA822}"/>
                </a:ext>
              </a:extLst>
            </p:cNvPr>
            <p:cNvSpPr/>
            <p:nvPr/>
          </p:nvSpPr>
          <p:spPr>
            <a:xfrm>
              <a:off x="3780667" y="6289256"/>
              <a:ext cx="270000" cy="135000"/>
            </a:xfrm>
            <a:custGeom>
              <a:avLst/>
              <a:gdLst>
                <a:gd name="connsiteX0" fmla="*/ 0 w 270000"/>
                <a:gd name="connsiteY0" fmla="*/ 75000 h 135000"/>
                <a:gd name="connsiteX1" fmla="*/ 270000 w 270000"/>
                <a:gd name="connsiteY1" fmla="*/ 75000 h 135000"/>
                <a:gd name="connsiteX2" fmla="*/ 210000 w 270000"/>
                <a:gd name="connsiteY2" fmla="*/ 135000 h 135000"/>
                <a:gd name="connsiteX3" fmla="*/ 60000 w 270000"/>
                <a:gd name="connsiteY3" fmla="*/ 135000 h 135000"/>
                <a:gd name="connsiteX4" fmla="*/ 0 w 270000"/>
                <a:gd name="connsiteY4" fmla="*/ 75000 h 135000"/>
                <a:gd name="connsiteX5" fmla="*/ 0 w 270000"/>
                <a:gd name="connsiteY5" fmla="*/ 0 h 135000"/>
                <a:gd name="connsiteX6" fmla="*/ 270000 w 270000"/>
                <a:gd name="connsiteY6" fmla="*/ 0 h 135000"/>
                <a:gd name="connsiteX7" fmla="*/ 270000 w 270000"/>
                <a:gd name="connsiteY7" fmla="*/ 15000 h 135000"/>
                <a:gd name="connsiteX8" fmla="*/ 240000 w 270000"/>
                <a:gd name="connsiteY8" fmla="*/ 45000 h 135000"/>
                <a:gd name="connsiteX9" fmla="*/ 30000 w 270000"/>
                <a:gd name="connsiteY9" fmla="*/ 45000 h 135000"/>
                <a:gd name="connsiteX10" fmla="*/ 0 w 270000"/>
                <a:gd name="connsiteY10" fmla="*/ 15000 h 135000"/>
                <a:gd name="connsiteX11" fmla="*/ 0 w 270000"/>
                <a:gd name="connsiteY11" fmla="*/ 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0000" h="135000">
                  <a:moveTo>
                    <a:pt x="0" y="75000"/>
                  </a:moveTo>
                  <a:lnTo>
                    <a:pt x="270000" y="75000"/>
                  </a:lnTo>
                  <a:cubicBezTo>
                    <a:pt x="270000" y="108137"/>
                    <a:pt x="243137" y="135000"/>
                    <a:pt x="210000" y="135000"/>
                  </a:cubicBezTo>
                  <a:lnTo>
                    <a:pt x="60000" y="135000"/>
                  </a:lnTo>
                  <a:cubicBezTo>
                    <a:pt x="26863" y="135000"/>
                    <a:pt x="0" y="108137"/>
                    <a:pt x="0" y="75000"/>
                  </a:cubicBezTo>
                  <a:close/>
                  <a:moveTo>
                    <a:pt x="0" y="0"/>
                  </a:moveTo>
                  <a:lnTo>
                    <a:pt x="270000" y="0"/>
                  </a:lnTo>
                  <a:lnTo>
                    <a:pt x="270000" y="15000"/>
                  </a:lnTo>
                  <a:cubicBezTo>
                    <a:pt x="270000" y="31569"/>
                    <a:pt x="256569" y="45000"/>
                    <a:pt x="240000" y="45000"/>
                  </a:cubicBezTo>
                  <a:lnTo>
                    <a:pt x="30000" y="45000"/>
                  </a:lnTo>
                  <a:cubicBezTo>
                    <a:pt x="13431" y="45000"/>
                    <a:pt x="0" y="31569"/>
                    <a:pt x="0" y="150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3" name="Полилиния 852">
              <a:extLst>
                <a:ext uri="{FF2B5EF4-FFF2-40B4-BE49-F238E27FC236}">
                  <a16:creationId xmlns:a16="http://schemas.microsoft.com/office/drawing/2014/main" id="{7A1935B7-714A-4D41-8EA4-96D75A58FA0E}"/>
                </a:ext>
              </a:extLst>
            </p:cNvPr>
            <p:cNvSpPr/>
            <p:nvPr/>
          </p:nvSpPr>
          <p:spPr>
            <a:xfrm>
              <a:off x="3780667" y="6199256"/>
              <a:ext cx="270000" cy="60000"/>
            </a:xfrm>
            <a:custGeom>
              <a:avLst/>
              <a:gdLst>
                <a:gd name="connsiteX0" fmla="*/ 0 w 270000"/>
                <a:gd name="connsiteY0" fmla="*/ 0 h 60000"/>
                <a:gd name="connsiteX1" fmla="*/ 270000 w 270000"/>
                <a:gd name="connsiteY1" fmla="*/ 0 h 60000"/>
                <a:gd name="connsiteX2" fmla="*/ 270000 w 270000"/>
                <a:gd name="connsiteY2" fmla="*/ 30000 h 60000"/>
                <a:gd name="connsiteX3" fmla="*/ 240000 w 270000"/>
                <a:gd name="connsiteY3" fmla="*/ 60000 h 60000"/>
                <a:gd name="connsiteX4" fmla="*/ 30000 w 270000"/>
                <a:gd name="connsiteY4" fmla="*/ 60000 h 60000"/>
                <a:gd name="connsiteX5" fmla="*/ 0 w 270000"/>
                <a:gd name="connsiteY5" fmla="*/ 30000 h 60000"/>
                <a:gd name="connsiteX6" fmla="*/ 0 w 270000"/>
                <a:gd name="connsiteY6" fmla="*/ 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000" h="60000">
                  <a:moveTo>
                    <a:pt x="0" y="0"/>
                  </a:moveTo>
                  <a:lnTo>
                    <a:pt x="270000" y="0"/>
                  </a:lnTo>
                  <a:lnTo>
                    <a:pt x="270000" y="30000"/>
                  </a:lnTo>
                  <a:cubicBezTo>
                    <a:pt x="270000" y="46569"/>
                    <a:pt x="256569" y="60000"/>
                    <a:pt x="240000" y="60000"/>
                  </a:cubicBezTo>
                  <a:lnTo>
                    <a:pt x="30000" y="60000"/>
                  </a:lnTo>
                  <a:cubicBezTo>
                    <a:pt x="13431" y="60000"/>
                    <a:pt x="0" y="46569"/>
                    <a:pt x="0" y="300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54" name="Рисунок 186">
            <a:extLst>
              <a:ext uri="{FF2B5EF4-FFF2-40B4-BE49-F238E27FC236}">
                <a16:creationId xmlns:a16="http://schemas.microsoft.com/office/drawing/2014/main" id="{87CFCBC3-1CA0-FC45-B880-EA75847C9A92}"/>
              </a:ext>
            </a:extLst>
          </p:cNvPr>
          <p:cNvGrpSpPr/>
          <p:nvPr/>
        </p:nvGrpSpPr>
        <p:grpSpPr>
          <a:xfrm>
            <a:off x="4466517" y="5807534"/>
            <a:ext cx="360000" cy="360000"/>
            <a:chOff x="4488819" y="6124256"/>
            <a:chExt cx="360000" cy="360000"/>
          </a:xfrm>
        </p:grpSpPr>
        <p:sp>
          <p:nvSpPr>
            <p:cNvPr id="855" name="Полилиния 854">
              <a:extLst>
                <a:ext uri="{FF2B5EF4-FFF2-40B4-BE49-F238E27FC236}">
                  <a16:creationId xmlns:a16="http://schemas.microsoft.com/office/drawing/2014/main" id="{F40F4E11-0D78-4441-98A1-24BF983CEA07}"/>
                </a:ext>
              </a:extLst>
            </p:cNvPr>
            <p:cNvSpPr/>
            <p:nvPr/>
          </p:nvSpPr>
          <p:spPr>
            <a:xfrm>
              <a:off x="448881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6" name="Полилиния 855">
              <a:extLst>
                <a:ext uri="{FF2B5EF4-FFF2-40B4-BE49-F238E27FC236}">
                  <a16:creationId xmlns:a16="http://schemas.microsoft.com/office/drawing/2014/main" id="{5A86F070-F3B5-A14C-9923-096093267686}"/>
                </a:ext>
              </a:extLst>
            </p:cNvPr>
            <p:cNvSpPr/>
            <p:nvPr/>
          </p:nvSpPr>
          <p:spPr>
            <a:xfrm rot="10800000" flipV="1">
              <a:off x="4529462" y="6199256"/>
              <a:ext cx="184355" cy="225000"/>
            </a:xfrm>
            <a:custGeom>
              <a:avLst/>
              <a:gdLst>
                <a:gd name="connsiteX0" fmla="*/ 0 w 184355"/>
                <a:gd name="connsiteY0" fmla="*/ 75000 h 225000"/>
                <a:gd name="connsiteX1" fmla="*/ 0 w 184355"/>
                <a:gd name="connsiteY1" fmla="*/ 210000 h 225000"/>
                <a:gd name="connsiteX2" fmla="*/ 17289 w 184355"/>
                <a:gd name="connsiteY2" fmla="*/ 215763 h 225000"/>
                <a:gd name="connsiteX3" fmla="*/ 74210 w 184355"/>
                <a:gd name="connsiteY3" fmla="*/ 225000 h 225000"/>
                <a:gd name="connsiteX4" fmla="*/ 128109 w 184355"/>
                <a:gd name="connsiteY4" fmla="*/ 225000 h 225000"/>
                <a:gd name="connsiteX5" fmla="*/ 172236 w 184355"/>
                <a:gd name="connsiteY5" fmla="*/ 188825 h 225000"/>
                <a:gd name="connsiteX6" fmla="*/ 183474 w 184355"/>
                <a:gd name="connsiteY6" fmla="*/ 132636 h 225000"/>
                <a:gd name="connsiteX7" fmla="*/ 148173 w 184355"/>
                <a:gd name="connsiteY7" fmla="*/ 79684 h 225000"/>
                <a:gd name="connsiteX8" fmla="*/ 136354 w 184355"/>
                <a:gd name="connsiteY8" fmla="*/ 78911 h 225000"/>
                <a:gd name="connsiteX9" fmla="*/ 82500 w 184355"/>
                <a:gd name="connsiteY9" fmla="*/ 82500 h 225000"/>
                <a:gd name="connsiteX10" fmla="*/ 87963 w 184355"/>
                <a:gd name="connsiteY10" fmla="*/ 22408 h 225000"/>
                <a:gd name="connsiteX11" fmla="*/ 69360 w 184355"/>
                <a:gd name="connsiteY11" fmla="*/ 84 h 225000"/>
                <a:gd name="connsiteX12" fmla="*/ 67500 w 184355"/>
                <a:gd name="connsiteY12" fmla="*/ 0 h 225000"/>
                <a:gd name="connsiteX13" fmla="*/ 67500 w 184355"/>
                <a:gd name="connsiteY13" fmla="*/ 0 h 225000"/>
                <a:gd name="connsiteX14" fmla="*/ 33424 w 184355"/>
                <a:gd name="connsiteY14" fmla="*/ 19294 h 225000"/>
                <a:gd name="connsiteX15" fmla="*/ 0 w 184355"/>
                <a:gd name="connsiteY15" fmla="*/ 75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4355" h="225000">
                  <a:moveTo>
                    <a:pt x="0" y="75000"/>
                  </a:moveTo>
                  <a:lnTo>
                    <a:pt x="0" y="210000"/>
                  </a:lnTo>
                  <a:lnTo>
                    <a:pt x="17289" y="215763"/>
                  </a:lnTo>
                  <a:cubicBezTo>
                    <a:pt x="35643" y="221882"/>
                    <a:pt x="54863" y="225000"/>
                    <a:pt x="74210" y="225000"/>
                  </a:cubicBezTo>
                  <a:lnTo>
                    <a:pt x="128109" y="225000"/>
                  </a:lnTo>
                  <a:cubicBezTo>
                    <a:pt x="149560" y="225000"/>
                    <a:pt x="168028" y="209859"/>
                    <a:pt x="172236" y="188825"/>
                  </a:cubicBezTo>
                  <a:lnTo>
                    <a:pt x="183474" y="132636"/>
                  </a:lnTo>
                  <a:cubicBezTo>
                    <a:pt x="188347" y="108266"/>
                    <a:pt x="172542" y="84558"/>
                    <a:pt x="148173" y="79684"/>
                  </a:cubicBezTo>
                  <a:cubicBezTo>
                    <a:pt x="144285" y="78906"/>
                    <a:pt x="140310" y="78647"/>
                    <a:pt x="136354" y="78911"/>
                  </a:cubicBezTo>
                  <a:lnTo>
                    <a:pt x="82500" y="82500"/>
                  </a:lnTo>
                  <a:lnTo>
                    <a:pt x="87963" y="22408"/>
                  </a:lnTo>
                  <a:cubicBezTo>
                    <a:pt x="88990" y="11106"/>
                    <a:pt x="80662" y="1112"/>
                    <a:pt x="69360" y="84"/>
                  </a:cubicBezTo>
                  <a:cubicBezTo>
                    <a:pt x="68742" y="28"/>
                    <a:pt x="68121" y="0"/>
                    <a:pt x="67500" y="0"/>
                  </a:cubicBezTo>
                  <a:lnTo>
                    <a:pt x="67500" y="0"/>
                  </a:lnTo>
                  <a:cubicBezTo>
                    <a:pt x="53541" y="0"/>
                    <a:pt x="40606" y="7324"/>
                    <a:pt x="33424" y="19294"/>
                  </a:cubicBezTo>
                  <a:lnTo>
                    <a:pt x="0" y="7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7" name="Скругленный прямоугольник 856">
              <a:extLst>
                <a:ext uri="{FF2B5EF4-FFF2-40B4-BE49-F238E27FC236}">
                  <a16:creationId xmlns:a16="http://schemas.microsoft.com/office/drawing/2014/main" id="{20B62687-CA06-7B48-810C-3C4E8A327795}"/>
                </a:ext>
              </a:extLst>
            </p:cNvPr>
            <p:cNvSpPr/>
            <p:nvPr/>
          </p:nvSpPr>
          <p:spPr>
            <a:xfrm rot="10800000" flipV="1">
              <a:off x="4743819" y="6259256"/>
              <a:ext cx="75000" cy="165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58" name="Рисунок 187">
            <a:extLst>
              <a:ext uri="{FF2B5EF4-FFF2-40B4-BE49-F238E27FC236}">
                <a16:creationId xmlns:a16="http://schemas.microsoft.com/office/drawing/2014/main" id="{0ACA1258-15F0-A245-B20A-35950EACAA4C}"/>
              </a:ext>
            </a:extLst>
          </p:cNvPr>
          <p:cNvGrpSpPr/>
          <p:nvPr/>
        </p:nvGrpSpPr>
        <p:grpSpPr>
          <a:xfrm>
            <a:off x="5219669" y="5807534"/>
            <a:ext cx="360000" cy="360000"/>
            <a:chOff x="5241971" y="6124256"/>
            <a:chExt cx="360000" cy="360000"/>
          </a:xfrm>
        </p:grpSpPr>
        <p:sp>
          <p:nvSpPr>
            <p:cNvPr id="859" name="Полилиния 858">
              <a:extLst>
                <a:ext uri="{FF2B5EF4-FFF2-40B4-BE49-F238E27FC236}">
                  <a16:creationId xmlns:a16="http://schemas.microsoft.com/office/drawing/2014/main" id="{16255FFE-3082-D64F-B833-A610961838A5}"/>
                </a:ext>
              </a:extLst>
            </p:cNvPr>
            <p:cNvSpPr/>
            <p:nvPr/>
          </p:nvSpPr>
          <p:spPr>
            <a:xfrm>
              <a:off x="524197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0" name="Полилиния 859">
              <a:extLst>
                <a:ext uri="{FF2B5EF4-FFF2-40B4-BE49-F238E27FC236}">
                  <a16:creationId xmlns:a16="http://schemas.microsoft.com/office/drawing/2014/main" id="{93554294-CB88-954D-8EF5-9488973BA109}"/>
                </a:ext>
              </a:extLst>
            </p:cNvPr>
            <p:cNvSpPr/>
            <p:nvPr/>
          </p:nvSpPr>
          <p:spPr>
            <a:xfrm>
              <a:off x="5361971" y="6364256"/>
              <a:ext cx="120000" cy="75000"/>
            </a:xfrm>
            <a:custGeom>
              <a:avLst/>
              <a:gdLst>
                <a:gd name="connsiteX0" fmla="*/ 45000 w 120000"/>
                <a:gd name="connsiteY0" fmla="*/ 60000 h 75000"/>
                <a:gd name="connsiteX1" fmla="*/ 45000 w 120000"/>
                <a:gd name="connsiteY1" fmla="*/ 15000 h 75000"/>
                <a:gd name="connsiteX2" fmla="*/ 60000 w 120000"/>
                <a:gd name="connsiteY2" fmla="*/ 0 h 75000"/>
                <a:gd name="connsiteX3" fmla="*/ 75000 w 120000"/>
                <a:gd name="connsiteY3" fmla="*/ 15000 h 75000"/>
                <a:gd name="connsiteX4" fmla="*/ 75000 w 120000"/>
                <a:gd name="connsiteY4" fmla="*/ 60000 h 75000"/>
                <a:gd name="connsiteX5" fmla="*/ 112500 w 120000"/>
                <a:gd name="connsiteY5" fmla="*/ 60000 h 75000"/>
                <a:gd name="connsiteX6" fmla="*/ 120000 w 120000"/>
                <a:gd name="connsiteY6" fmla="*/ 67500 h 75000"/>
                <a:gd name="connsiteX7" fmla="*/ 112500 w 120000"/>
                <a:gd name="connsiteY7" fmla="*/ 75000 h 75000"/>
                <a:gd name="connsiteX8" fmla="*/ 7500 w 120000"/>
                <a:gd name="connsiteY8" fmla="*/ 75000 h 75000"/>
                <a:gd name="connsiteX9" fmla="*/ 0 w 120000"/>
                <a:gd name="connsiteY9" fmla="*/ 67500 h 75000"/>
                <a:gd name="connsiteX10" fmla="*/ 7500 w 120000"/>
                <a:gd name="connsiteY10" fmla="*/ 60000 h 75000"/>
                <a:gd name="connsiteX11" fmla="*/ 45000 w 120000"/>
                <a:gd name="connsiteY11" fmla="*/ 600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0000" h="75000">
                  <a:moveTo>
                    <a:pt x="45000" y="60000"/>
                  </a:moveTo>
                  <a:lnTo>
                    <a:pt x="45000" y="15000"/>
                  </a:lnTo>
                  <a:cubicBezTo>
                    <a:pt x="45000" y="6716"/>
                    <a:pt x="51715" y="0"/>
                    <a:pt x="60000" y="0"/>
                  </a:cubicBezTo>
                  <a:cubicBezTo>
                    <a:pt x="68285" y="0"/>
                    <a:pt x="75000" y="6716"/>
                    <a:pt x="75000" y="15000"/>
                  </a:cubicBezTo>
                  <a:lnTo>
                    <a:pt x="75000" y="60000"/>
                  </a:lnTo>
                  <a:lnTo>
                    <a:pt x="112500" y="60000"/>
                  </a:lnTo>
                  <a:cubicBezTo>
                    <a:pt x="116642" y="60000"/>
                    <a:pt x="120000" y="63358"/>
                    <a:pt x="120000" y="67500"/>
                  </a:cubicBezTo>
                  <a:cubicBezTo>
                    <a:pt x="120000" y="71642"/>
                    <a:pt x="116642" y="75000"/>
                    <a:pt x="112500" y="75000"/>
                  </a:cubicBezTo>
                  <a:lnTo>
                    <a:pt x="7500" y="75000"/>
                  </a:lnTo>
                  <a:cubicBezTo>
                    <a:pt x="3358" y="75000"/>
                    <a:pt x="0" y="71642"/>
                    <a:pt x="0" y="67500"/>
                  </a:cubicBezTo>
                  <a:cubicBezTo>
                    <a:pt x="0" y="63358"/>
                    <a:pt x="3358" y="60000"/>
                    <a:pt x="7500" y="60000"/>
                  </a:cubicBezTo>
                  <a:lnTo>
                    <a:pt x="45000" y="6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1" name="Полилиния 860">
              <a:extLst>
                <a:ext uri="{FF2B5EF4-FFF2-40B4-BE49-F238E27FC236}">
                  <a16:creationId xmlns:a16="http://schemas.microsoft.com/office/drawing/2014/main" id="{9B874159-CC7D-9844-85B1-B89E505B549C}"/>
                </a:ext>
              </a:extLst>
            </p:cNvPr>
            <p:cNvSpPr/>
            <p:nvPr/>
          </p:nvSpPr>
          <p:spPr>
            <a:xfrm>
              <a:off x="5271971" y="6199256"/>
              <a:ext cx="300000" cy="180000"/>
            </a:xfrm>
            <a:custGeom>
              <a:avLst/>
              <a:gdLst>
                <a:gd name="connsiteX0" fmla="*/ 15000 w 300000"/>
                <a:gd name="connsiteY0" fmla="*/ 0 h 180000"/>
                <a:gd name="connsiteX1" fmla="*/ 285000 w 300000"/>
                <a:gd name="connsiteY1" fmla="*/ 0 h 180000"/>
                <a:gd name="connsiteX2" fmla="*/ 300000 w 300000"/>
                <a:gd name="connsiteY2" fmla="*/ 15000 h 180000"/>
                <a:gd name="connsiteX3" fmla="*/ 300000 w 300000"/>
                <a:gd name="connsiteY3" fmla="*/ 165000 h 180000"/>
                <a:gd name="connsiteX4" fmla="*/ 285000 w 300000"/>
                <a:gd name="connsiteY4" fmla="*/ 180000 h 180000"/>
                <a:gd name="connsiteX5" fmla="*/ 15000 w 300000"/>
                <a:gd name="connsiteY5" fmla="*/ 180000 h 180000"/>
                <a:gd name="connsiteX6" fmla="*/ 0 w 300000"/>
                <a:gd name="connsiteY6" fmla="*/ 165000 h 180000"/>
                <a:gd name="connsiteX7" fmla="*/ 0 w 300000"/>
                <a:gd name="connsiteY7" fmla="*/ 15000 h 180000"/>
                <a:gd name="connsiteX8" fmla="*/ 15000 w 300000"/>
                <a:gd name="connsiteY8" fmla="*/ 0 h 180000"/>
                <a:gd name="connsiteX9" fmla="*/ 37500 w 300000"/>
                <a:gd name="connsiteY9" fmla="*/ 45000 h 180000"/>
                <a:gd name="connsiteX10" fmla="*/ 30000 w 300000"/>
                <a:gd name="connsiteY10" fmla="*/ 52500 h 180000"/>
                <a:gd name="connsiteX11" fmla="*/ 37500 w 300000"/>
                <a:gd name="connsiteY11" fmla="*/ 60000 h 180000"/>
                <a:gd name="connsiteX12" fmla="*/ 172500 w 300000"/>
                <a:gd name="connsiteY12" fmla="*/ 60000 h 180000"/>
                <a:gd name="connsiteX13" fmla="*/ 180000 w 300000"/>
                <a:gd name="connsiteY13" fmla="*/ 52500 h 180000"/>
                <a:gd name="connsiteX14" fmla="*/ 172500 w 300000"/>
                <a:gd name="connsiteY14" fmla="*/ 45000 h 180000"/>
                <a:gd name="connsiteX15" fmla="*/ 37500 w 300000"/>
                <a:gd name="connsiteY15" fmla="*/ 45000 h 180000"/>
                <a:gd name="connsiteX16" fmla="*/ 37500 w 300000"/>
                <a:gd name="connsiteY16" fmla="*/ 75000 h 180000"/>
                <a:gd name="connsiteX17" fmla="*/ 30000 w 300000"/>
                <a:gd name="connsiteY17" fmla="*/ 82500 h 180000"/>
                <a:gd name="connsiteX18" fmla="*/ 37500 w 300000"/>
                <a:gd name="connsiteY18" fmla="*/ 90000 h 180000"/>
                <a:gd name="connsiteX19" fmla="*/ 82500 w 300000"/>
                <a:gd name="connsiteY19" fmla="*/ 90000 h 180000"/>
                <a:gd name="connsiteX20" fmla="*/ 90000 w 300000"/>
                <a:gd name="connsiteY20" fmla="*/ 82500 h 180000"/>
                <a:gd name="connsiteX21" fmla="*/ 82500 w 300000"/>
                <a:gd name="connsiteY21" fmla="*/ 75000 h 180000"/>
                <a:gd name="connsiteX22" fmla="*/ 37500 w 300000"/>
                <a:gd name="connsiteY22" fmla="*/ 75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0000" h="180000">
                  <a:moveTo>
                    <a:pt x="15000" y="0"/>
                  </a:moveTo>
                  <a:lnTo>
                    <a:pt x="285000" y="0"/>
                  </a:lnTo>
                  <a:cubicBezTo>
                    <a:pt x="293285" y="0"/>
                    <a:pt x="300000" y="6716"/>
                    <a:pt x="300000" y="15000"/>
                  </a:cubicBezTo>
                  <a:lnTo>
                    <a:pt x="300000" y="165000"/>
                  </a:lnTo>
                  <a:cubicBezTo>
                    <a:pt x="300000" y="173285"/>
                    <a:pt x="293285" y="180000"/>
                    <a:pt x="285000" y="180000"/>
                  </a:cubicBezTo>
                  <a:lnTo>
                    <a:pt x="15000" y="180000"/>
                  </a:lnTo>
                  <a:cubicBezTo>
                    <a:pt x="6716" y="180000"/>
                    <a:pt x="0" y="173285"/>
                    <a:pt x="0" y="16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37500" y="45000"/>
                  </a:moveTo>
                  <a:cubicBezTo>
                    <a:pt x="33358" y="45000"/>
                    <a:pt x="30000" y="48358"/>
                    <a:pt x="30000" y="52500"/>
                  </a:cubicBezTo>
                  <a:cubicBezTo>
                    <a:pt x="30000" y="56642"/>
                    <a:pt x="33358" y="60000"/>
                    <a:pt x="37500" y="60000"/>
                  </a:cubicBezTo>
                  <a:lnTo>
                    <a:pt x="172500" y="60000"/>
                  </a:lnTo>
                  <a:cubicBezTo>
                    <a:pt x="176642" y="60000"/>
                    <a:pt x="180000" y="56642"/>
                    <a:pt x="180000" y="52500"/>
                  </a:cubicBezTo>
                  <a:cubicBezTo>
                    <a:pt x="180000" y="48358"/>
                    <a:pt x="176642" y="45000"/>
                    <a:pt x="172500" y="45000"/>
                  </a:cubicBezTo>
                  <a:lnTo>
                    <a:pt x="37500" y="45000"/>
                  </a:lnTo>
                  <a:close/>
                  <a:moveTo>
                    <a:pt x="37500" y="75000"/>
                  </a:moveTo>
                  <a:cubicBezTo>
                    <a:pt x="33358" y="75000"/>
                    <a:pt x="30000" y="78359"/>
                    <a:pt x="30000" y="82500"/>
                  </a:cubicBezTo>
                  <a:cubicBezTo>
                    <a:pt x="30000" y="86642"/>
                    <a:pt x="33358" y="90000"/>
                    <a:pt x="37500" y="90000"/>
                  </a:cubicBezTo>
                  <a:lnTo>
                    <a:pt x="82500" y="90000"/>
                  </a:lnTo>
                  <a:cubicBezTo>
                    <a:pt x="86642" y="90000"/>
                    <a:pt x="90000" y="86642"/>
                    <a:pt x="90000" y="82500"/>
                  </a:cubicBezTo>
                  <a:cubicBezTo>
                    <a:pt x="90000" y="78359"/>
                    <a:pt x="86642" y="75000"/>
                    <a:pt x="82500" y="75000"/>
                  </a:cubicBezTo>
                  <a:lnTo>
                    <a:pt x="37500" y="7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62" name="Рисунок 188">
            <a:extLst>
              <a:ext uri="{FF2B5EF4-FFF2-40B4-BE49-F238E27FC236}">
                <a16:creationId xmlns:a16="http://schemas.microsoft.com/office/drawing/2014/main" id="{83786DA2-BB03-FC41-B842-A6BE779F34A9}"/>
              </a:ext>
            </a:extLst>
          </p:cNvPr>
          <p:cNvGrpSpPr/>
          <p:nvPr/>
        </p:nvGrpSpPr>
        <p:grpSpPr>
          <a:xfrm>
            <a:off x="5972821" y="5807534"/>
            <a:ext cx="360000" cy="360000"/>
            <a:chOff x="5995123" y="6124256"/>
            <a:chExt cx="360000" cy="360000"/>
          </a:xfrm>
        </p:grpSpPr>
        <p:sp>
          <p:nvSpPr>
            <p:cNvPr id="863" name="Полилиния 862">
              <a:extLst>
                <a:ext uri="{FF2B5EF4-FFF2-40B4-BE49-F238E27FC236}">
                  <a16:creationId xmlns:a16="http://schemas.microsoft.com/office/drawing/2014/main" id="{B16AD315-103C-4348-9434-1953CEFB5BEC}"/>
                </a:ext>
              </a:extLst>
            </p:cNvPr>
            <p:cNvSpPr/>
            <p:nvPr/>
          </p:nvSpPr>
          <p:spPr>
            <a:xfrm>
              <a:off x="599512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4" name="Полилиния 863">
              <a:extLst>
                <a:ext uri="{FF2B5EF4-FFF2-40B4-BE49-F238E27FC236}">
                  <a16:creationId xmlns:a16="http://schemas.microsoft.com/office/drawing/2014/main" id="{9368C813-4D3D-B147-9591-1B8C3100B070}"/>
                </a:ext>
              </a:extLst>
            </p:cNvPr>
            <p:cNvSpPr/>
            <p:nvPr/>
          </p:nvSpPr>
          <p:spPr>
            <a:xfrm>
              <a:off x="6085123" y="6229256"/>
              <a:ext cx="180000" cy="120000"/>
            </a:xfrm>
            <a:custGeom>
              <a:avLst/>
              <a:gdLst>
                <a:gd name="connsiteX0" fmla="*/ 0 w 180000"/>
                <a:gd name="connsiteY0" fmla="*/ 0 h 120000"/>
                <a:gd name="connsiteX1" fmla="*/ 0 w 180000"/>
                <a:gd name="connsiteY1" fmla="*/ 120000 h 120000"/>
                <a:gd name="connsiteX2" fmla="*/ 180000 w 180000"/>
                <a:gd name="connsiteY2" fmla="*/ 120000 h 120000"/>
                <a:gd name="connsiteX3" fmla="*/ 180000 w 180000"/>
                <a:gd name="connsiteY3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00" h="120000">
                  <a:moveTo>
                    <a:pt x="0" y="0"/>
                  </a:moveTo>
                  <a:lnTo>
                    <a:pt x="0" y="120000"/>
                  </a:lnTo>
                  <a:lnTo>
                    <a:pt x="180000" y="120000"/>
                  </a:lnTo>
                  <a:lnTo>
                    <a:pt x="18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5" name="Полилиния 864">
              <a:extLst>
                <a:ext uri="{FF2B5EF4-FFF2-40B4-BE49-F238E27FC236}">
                  <a16:creationId xmlns:a16="http://schemas.microsoft.com/office/drawing/2014/main" id="{A984DC7A-8836-E64F-9153-659687E2CF69}"/>
                </a:ext>
              </a:extLst>
            </p:cNvPr>
            <p:cNvSpPr/>
            <p:nvPr/>
          </p:nvSpPr>
          <p:spPr>
            <a:xfrm>
              <a:off x="6130123" y="6349256"/>
              <a:ext cx="90000" cy="75000"/>
            </a:xfrm>
            <a:custGeom>
              <a:avLst/>
              <a:gdLst>
                <a:gd name="connsiteX0" fmla="*/ 30000 w 90000"/>
                <a:gd name="connsiteY0" fmla="*/ 60000 h 75000"/>
                <a:gd name="connsiteX1" fmla="*/ 30000 w 90000"/>
                <a:gd name="connsiteY1" fmla="*/ 15000 h 75000"/>
                <a:gd name="connsiteX2" fmla="*/ 45000 w 90000"/>
                <a:gd name="connsiteY2" fmla="*/ 0 h 75000"/>
                <a:gd name="connsiteX3" fmla="*/ 60000 w 90000"/>
                <a:gd name="connsiteY3" fmla="*/ 15000 h 75000"/>
                <a:gd name="connsiteX4" fmla="*/ 60000 w 90000"/>
                <a:gd name="connsiteY4" fmla="*/ 60000 h 75000"/>
                <a:gd name="connsiteX5" fmla="*/ 82500 w 90000"/>
                <a:gd name="connsiteY5" fmla="*/ 60000 h 75000"/>
                <a:gd name="connsiteX6" fmla="*/ 90000 w 90000"/>
                <a:gd name="connsiteY6" fmla="*/ 67500 h 75000"/>
                <a:gd name="connsiteX7" fmla="*/ 82500 w 90000"/>
                <a:gd name="connsiteY7" fmla="*/ 75000 h 75000"/>
                <a:gd name="connsiteX8" fmla="*/ 7500 w 90000"/>
                <a:gd name="connsiteY8" fmla="*/ 75000 h 75000"/>
                <a:gd name="connsiteX9" fmla="*/ 0 w 90000"/>
                <a:gd name="connsiteY9" fmla="*/ 67500 h 75000"/>
                <a:gd name="connsiteX10" fmla="*/ 7500 w 90000"/>
                <a:gd name="connsiteY10" fmla="*/ 60000 h 75000"/>
                <a:gd name="connsiteX11" fmla="*/ 30000 w 90000"/>
                <a:gd name="connsiteY11" fmla="*/ 600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000" h="75000">
                  <a:moveTo>
                    <a:pt x="30000" y="60000"/>
                  </a:moveTo>
                  <a:lnTo>
                    <a:pt x="30000" y="15000"/>
                  </a:lnTo>
                  <a:cubicBezTo>
                    <a:pt x="30000" y="6715"/>
                    <a:pt x="36715" y="0"/>
                    <a:pt x="45000" y="0"/>
                  </a:cubicBezTo>
                  <a:cubicBezTo>
                    <a:pt x="53285" y="0"/>
                    <a:pt x="60000" y="6715"/>
                    <a:pt x="60000" y="15000"/>
                  </a:cubicBezTo>
                  <a:lnTo>
                    <a:pt x="60000" y="60000"/>
                  </a:lnTo>
                  <a:lnTo>
                    <a:pt x="82500" y="60000"/>
                  </a:lnTo>
                  <a:cubicBezTo>
                    <a:pt x="86642" y="60000"/>
                    <a:pt x="90000" y="63358"/>
                    <a:pt x="90000" y="67500"/>
                  </a:cubicBezTo>
                  <a:cubicBezTo>
                    <a:pt x="90000" y="71642"/>
                    <a:pt x="86642" y="75000"/>
                    <a:pt x="82500" y="75000"/>
                  </a:cubicBezTo>
                  <a:lnTo>
                    <a:pt x="7500" y="75000"/>
                  </a:lnTo>
                  <a:cubicBezTo>
                    <a:pt x="3358" y="75000"/>
                    <a:pt x="0" y="71642"/>
                    <a:pt x="0" y="67500"/>
                  </a:cubicBezTo>
                  <a:cubicBezTo>
                    <a:pt x="0" y="63358"/>
                    <a:pt x="3358" y="60000"/>
                    <a:pt x="7500" y="60000"/>
                  </a:cubicBezTo>
                  <a:lnTo>
                    <a:pt x="30000" y="6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6" name="Полилиния 865">
              <a:extLst>
                <a:ext uri="{FF2B5EF4-FFF2-40B4-BE49-F238E27FC236}">
                  <a16:creationId xmlns:a16="http://schemas.microsoft.com/office/drawing/2014/main" id="{AB354E1E-DF5C-1C48-9A10-43EB88ED684E}"/>
                </a:ext>
              </a:extLst>
            </p:cNvPr>
            <p:cNvSpPr/>
            <p:nvPr/>
          </p:nvSpPr>
          <p:spPr>
            <a:xfrm>
              <a:off x="6055123" y="6199256"/>
              <a:ext cx="240000" cy="180000"/>
            </a:xfrm>
            <a:custGeom>
              <a:avLst/>
              <a:gdLst>
                <a:gd name="connsiteX0" fmla="*/ 30000 w 240000"/>
                <a:gd name="connsiteY0" fmla="*/ 30000 h 180000"/>
                <a:gd name="connsiteX1" fmla="*/ 30000 w 240000"/>
                <a:gd name="connsiteY1" fmla="*/ 150000 h 180000"/>
                <a:gd name="connsiteX2" fmla="*/ 210000 w 240000"/>
                <a:gd name="connsiteY2" fmla="*/ 150000 h 180000"/>
                <a:gd name="connsiteX3" fmla="*/ 210000 w 240000"/>
                <a:gd name="connsiteY3" fmla="*/ 30000 h 180000"/>
                <a:gd name="connsiteX4" fmla="*/ 30000 w 240000"/>
                <a:gd name="connsiteY4" fmla="*/ 30000 h 180000"/>
                <a:gd name="connsiteX5" fmla="*/ 30000 w 240000"/>
                <a:gd name="connsiteY5" fmla="*/ 0 h 180000"/>
                <a:gd name="connsiteX6" fmla="*/ 210000 w 240000"/>
                <a:gd name="connsiteY6" fmla="*/ 0 h 180000"/>
                <a:gd name="connsiteX7" fmla="*/ 240000 w 240000"/>
                <a:gd name="connsiteY7" fmla="*/ 30000 h 180000"/>
                <a:gd name="connsiteX8" fmla="*/ 240000 w 240000"/>
                <a:gd name="connsiteY8" fmla="*/ 150000 h 180000"/>
                <a:gd name="connsiteX9" fmla="*/ 210000 w 240000"/>
                <a:gd name="connsiteY9" fmla="*/ 180000 h 180000"/>
                <a:gd name="connsiteX10" fmla="*/ 30000 w 240000"/>
                <a:gd name="connsiteY10" fmla="*/ 180000 h 180000"/>
                <a:gd name="connsiteX11" fmla="*/ 0 w 240000"/>
                <a:gd name="connsiteY11" fmla="*/ 150000 h 180000"/>
                <a:gd name="connsiteX12" fmla="*/ 0 w 240000"/>
                <a:gd name="connsiteY12" fmla="*/ 30000 h 180000"/>
                <a:gd name="connsiteX13" fmla="*/ 30000 w 240000"/>
                <a:gd name="connsiteY13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180000">
                  <a:moveTo>
                    <a:pt x="30000" y="30000"/>
                  </a:moveTo>
                  <a:lnTo>
                    <a:pt x="30000" y="150000"/>
                  </a:lnTo>
                  <a:lnTo>
                    <a:pt x="210000" y="150000"/>
                  </a:lnTo>
                  <a:lnTo>
                    <a:pt x="210000" y="30000"/>
                  </a:lnTo>
                  <a:lnTo>
                    <a:pt x="30000" y="30000"/>
                  </a:lnTo>
                  <a:close/>
                  <a:moveTo>
                    <a:pt x="30000" y="0"/>
                  </a:moveTo>
                  <a:lnTo>
                    <a:pt x="210000" y="0"/>
                  </a:lnTo>
                  <a:cubicBezTo>
                    <a:pt x="226569" y="0"/>
                    <a:pt x="240000" y="13431"/>
                    <a:pt x="240000" y="30000"/>
                  </a:cubicBezTo>
                  <a:lnTo>
                    <a:pt x="240000" y="150000"/>
                  </a:lnTo>
                  <a:cubicBezTo>
                    <a:pt x="240000" y="166569"/>
                    <a:pt x="226569" y="180000"/>
                    <a:pt x="210000" y="180000"/>
                  </a:cubicBezTo>
                  <a:lnTo>
                    <a:pt x="30000" y="180000"/>
                  </a:lnTo>
                  <a:cubicBezTo>
                    <a:pt x="13431" y="180000"/>
                    <a:pt x="0" y="166569"/>
                    <a:pt x="0" y="15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67" name="Рисунок 189">
            <a:extLst>
              <a:ext uri="{FF2B5EF4-FFF2-40B4-BE49-F238E27FC236}">
                <a16:creationId xmlns:a16="http://schemas.microsoft.com/office/drawing/2014/main" id="{62E4C226-9965-C54A-8196-FACDC8CAA85A}"/>
              </a:ext>
            </a:extLst>
          </p:cNvPr>
          <p:cNvGrpSpPr/>
          <p:nvPr/>
        </p:nvGrpSpPr>
        <p:grpSpPr>
          <a:xfrm>
            <a:off x="6725973" y="5807534"/>
            <a:ext cx="360000" cy="360000"/>
            <a:chOff x="6748275" y="6124256"/>
            <a:chExt cx="360000" cy="360000"/>
          </a:xfrm>
        </p:grpSpPr>
        <p:sp>
          <p:nvSpPr>
            <p:cNvPr id="868" name="Полилиния 867">
              <a:extLst>
                <a:ext uri="{FF2B5EF4-FFF2-40B4-BE49-F238E27FC236}">
                  <a16:creationId xmlns:a16="http://schemas.microsoft.com/office/drawing/2014/main" id="{0B2930D8-2D2E-BF40-AB8A-DC6E82721B52}"/>
                </a:ext>
              </a:extLst>
            </p:cNvPr>
            <p:cNvSpPr/>
            <p:nvPr/>
          </p:nvSpPr>
          <p:spPr>
            <a:xfrm>
              <a:off x="674827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9" name="Полилиния 868">
              <a:extLst>
                <a:ext uri="{FF2B5EF4-FFF2-40B4-BE49-F238E27FC236}">
                  <a16:creationId xmlns:a16="http://schemas.microsoft.com/office/drawing/2014/main" id="{CB1B0489-F901-5540-9282-A60254F7BEC4}"/>
                </a:ext>
              </a:extLst>
            </p:cNvPr>
            <p:cNvSpPr/>
            <p:nvPr/>
          </p:nvSpPr>
          <p:spPr>
            <a:xfrm>
              <a:off x="6823275" y="6229256"/>
              <a:ext cx="210000" cy="120000"/>
            </a:xfrm>
            <a:custGeom>
              <a:avLst/>
              <a:gdLst>
                <a:gd name="connsiteX0" fmla="*/ 0 w 210000"/>
                <a:gd name="connsiteY0" fmla="*/ 0 h 120000"/>
                <a:gd name="connsiteX1" fmla="*/ 0 w 210000"/>
                <a:gd name="connsiteY1" fmla="*/ 120000 h 120000"/>
                <a:gd name="connsiteX2" fmla="*/ 210000 w 210000"/>
                <a:gd name="connsiteY2" fmla="*/ 120000 h 120000"/>
                <a:gd name="connsiteX3" fmla="*/ 210000 w 210000"/>
                <a:gd name="connsiteY3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00" h="120000">
                  <a:moveTo>
                    <a:pt x="0" y="0"/>
                  </a:moveTo>
                  <a:lnTo>
                    <a:pt x="0" y="120000"/>
                  </a:lnTo>
                  <a:lnTo>
                    <a:pt x="210000" y="120000"/>
                  </a:lnTo>
                  <a:lnTo>
                    <a:pt x="21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0" name="Полилиния 869">
              <a:extLst>
                <a:ext uri="{FF2B5EF4-FFF2-40B4-BE49-F238E27FC236}">
                  <a16:creationId xmlns:a16="http://schemas.microsoft.com/office/drawing/2014/main" id="{2965BE3D-25FF-894E-BDC1-944A6B4C75BC}"/>
                </a:ext>
              </a:extLst>
            </p:cNvPr>
            <p:cNvSpPr/>
            <p:nvPr/>
          </p:nvSpPr>
          <p:spPr>
            <a:xfrm>
              <a:off x="6883275" y="6349256"/>
              <a:ext cx="90000" cy="75000"/>
            </a:xfrm>
            <a:custGeom>
              <a:avLst/>
              <a:gdLst>
                <a:gd name="connsiteX0" fmla="*/ 30000 w 90000"/>
                <a:gd name="connsiteY0" fmla="*/ 60000 h 75000"/>
                <a:gd name="connsiteX1" fmla="*/ 30000 w 90000"/>
                <a:gd name="connsiteY1" fmla="*/ 15000 h 75000"/>
                <a:gd name="connsiteX2" fmla="*/ 45000 w 90000"/>
                <a:gd name="connsiteY2" fmla="*/ 0 h 75000"/>
                <a:gd name="connsiteX3" fmla="*/ 60000 w 90000"/>
                <a:gd name="connsiteY3" fmla="*/ 15000 h 75000"/>
                <a:gd name="connsiteX4" fmla="*/ 60000 w 90000"/>
                <a:gd name="connsiteY4" fmla="*/ 60000 h 75000"/>
                <a:gd name="connsiteX5" fmla="*/ 82500 w 90000"/>
                <a:gd name="connsiteY5" fmla="*/ 60000 h 75000"/>
                <a:gd name="connsiteX6" fmla="*/ 90000 w 90000"/>
                <a:gd name="connsiteY6" fmla="*/ 67500 h 75000"/>
                <a:gd name="connsiteX7" fmla="*/ 82500 w 90000"/>
                <a:gd name="connsiteY7" fmla="*/ 75000 h 75000"/>
                <a:gd name="connsiteX8" fmla="*/ 7500 w 90000"/>
                <a:gd name="connsiteY8" fmla="*/ 75000 h 75000"/>
                <a:gd name="connsiteX9" fmla="*/ 0 w 90000"/>
                <a:gd name="connsiteY9" fmla="*/ 67500 h 75000"/>
                <a:gd name="connsiteX10" fmla="*/ 7500 w 90000"/>
                <a:gd name="connsiteY10" fmla="*/ 60000 h 75000"/>
                <a:gd name="connsiteX11" fmla="*/ 30000 w 90000"/>
                <a:gd name="connsiteY11" fmla="*/ 600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000" h="75000">
                  <a:moveTo>
                    <a:pt x="30000" y="60000"/>
                  </a:moveTo>
                  <a:lnTo>
                    <a:pt x="30000" y="15000"/>
                  </a:lnTo>
                  <a:cubicBezTo>
                    <a:pt x="30000" y="6715"/>
                    <a:pt x="36715" y="0"/>
                    <a:pt x="45000" y="0"/>
                  </a:cubicBezTo>
                  <a:cubicBezTo>
                    <a:pt x="53285" y="0"/>
                    <a:pt x="60000" y="6715"/>
                    <a:pt x="60000" y="15000"/>
                  </a:cubicBezTo>
                  <a:lnTo>
                    <a:pt x="60000" y="60000"/>
                  </a:lnTo>
                  <a:lnTo>
                    <a:pt x="82500" y="60000"/>
                  </a:lnTo>
                  <a:cubicBezTo>
                    <a:pt x="86642" y="60000"/>
                    <a:pt x="90000" y="63358"/>
                    <a:pt x="90000" y="67500"/>
                  </a:cubicBezTo>
                  <a:cubicBezTo>
                    <a:pt x="90000" y="71642"/>
                    <a:pt x="86642" y="75000"/>
                    <a:pt x="82500" y="75000"/>
                  </a:cubicBezTo>
                  <a:lnTo>
                    <a:pt x="7500" y="75000"/>
                  </a:lnTo>
                  <a:cubicBezTo>
                    <a:pt x="3358" y="75000"/>
                    <a:pt x="0" y="71642"/>
                    <a:pt x="0" y="67500"/>
                  </a:cubicBezTo>
                  <a:cubicBezTo>
                    <a:pt x="0" y="63358"/>
                    <a:pt x="3358" y="60000"/>
                    <a:pt x="7500" y="60000"/>
                  </a:cubicBezTo>
                  <a:lnTo>
                    <a:pt x="30000" y="6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1" name="Полилиния 870">
              <a:extLst>
                <a:ext uri="{FF2B5EF4-FFF2-40B4-BE49-F238E27FC236}">
                  <a16:creationId xmlns:a16="http://schemas.microsoft.com/office/drawing/2014/main" id="{DCAAFF9B-1468-E149-AA15-9C28B7C04690}"/>
                </a:ext>
              </a:extLst>
            </p:cNvPr>
            <p:cNvSpPr/>
            <p:nvPr/>
          </p:nvSpPr>
          <p:spPr>
            <a:xfrm>
              <a:off x="6793275" y="6199256"/>
              <a:ext cx="270000" cy="180000"/>
            </a:xfrm>
            <a:custGeom>
              <a:avLst/>
              <a:gdLst>
                <a:gd name="connsiteX0" fmla="*/ 30000 w 270000"/>
                <a:gd name="connsiteY0" fmla="*/ 30000 h 180000"/>
                <a:gd name="connsiteX1" fmla="*/ 30000 w 270000"/>
                <a:gd name="connsiteY1" fmla="*/ 150000 h 180000"/>
                <a:gd name="connsiteX2" fmla="*/ 240000 w 270000"/>
                <a:gd name="connsiteY2" fmla="*/ 150000 h 180000"/>
                <a:gd name="connsiteX3" fmla="*/ 240000 w 270000"/>
                <a:gd name="connsiteY3" fmla="*/ 30000 h 180000"/>
                <a:gd name="connsiteX4" fmla="*/ 30000 w 270000"/>
                <a:gd name="connsiteY4" fmla="*/ 30000 h 180000"/>
                <a:gd name="connsiteX5" fmla="*/ 33750 w 270000"/>
                <a:gd name="connsiteY5" fmla="*/ 0 h 180000"/>
                <a:gd name="connsiteX6" fmla="*/ 236250 w 270000"/>
                <a:gd name="connsiteY6" fmla="*/ 0 h 180000"/>
                <a:gd name="connsiteX7" fmla="*/ 270000 w 270000"/>
                <a:gd name="connsiteY7" fmla="*/ 30000 h 180000"/>
                <a:gd name="connsiteX8" fmla="*/ 270000 w 270000"/>
                <a:gd name="connsiteY8" fmla="*/ 150000 h 180000"/>
                <a:gd name="connsiteX9" fmla="*/ 236250 w 270000"/>
                <a:gd name="connsiteY9" fmla="*/ 180000 h 180000"/>
                <a:gd name="connsiteX10" fmla="*/ 33750 w 270000"/>
                <a:gd name="connsiteY10" fmla="*/ 180000 h 180000"/>
                <a:gd name="connsiteX11" fmla="*/ 0 w 270000"/>
                <a:gd name="connsiteY11" fmla="*/ 150000 h 180000"/>
                <a:gd name="connsiteX12" fmla="*/ 0 w 270000"/>
                <a:gd name="connsiteY12" fmla="*/ 30000 h 180000"/>
                <a:gd name="connsiteX13" fmla="*/ 33750 w 270000"/>
                <a:gd name="connsiteY13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0000" h="180000">
                  <a:moveTo>
                    <a:pt x="30000" y="30000"/>
                  </a:moveTo>
                  <a:lnTo>
                    <a:pt x="30000" y="150000"/>
                  </a:lnTo>
                  <a:lnTo>
                    <a:pt x="240000" y="150000"/>
                  </a:lnTo>
                  <a:lnTo>
                    <a:pt x="240000" y="30000"/>
                  </a:lnTo>
                  <a:lnTo>
                    <a:pt x="30000" y="30000"/>
                  </a:lnTo>
                  <a:close/>
                  <a:moveTo>
                    <a:pt x="33750" y="0"/>
                  </a:moveTo>
                  <a:lnTo>
                    <a:pt x="236250" y="0"/>
                  </a:lnTo>
                  <a:cubicBezTo>
                    <a:pt x="254889" y="0"/>
                    <a:pt x="270000" y="13431"/>
                    <a:pt x="270000" y="30000"/>
                  </a:cubicBezTo>
                  <a:lnTo>
                    <a:pt x="270000" y="150000"/>
                  </a:lnTo>
                  <a:cubicBezTo>
                    <a:pt x="270000" y="166569"/>
                    <a:pt x="254889" y="180000"/>
                    <a:pt x="236250" y="180000"/>
                  </a:cubicBezTo>
                  <a:lnTo>
                    <a:pt x="33750" y="180000"/>
                  </a:lnTo>
                  <a:cubicBezTo>
                    <a:pt x="15110" y="180000"/>
                    <a:pt x="0" y="166569"/>
                    <a:pt x="0" y="150000"/>
                  </a:cubicBezTo>
                  <a:lnTo>
                    <a:pt x="0" y="30000"/>
                  </a:lnTo>
                  <a:cubicBezTo>
                    <a:pt x="0" y="13431"/>
                    <a:pt x="15110" y="0"/>
                    <a:pt x="3375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72" name="Рисунок 190">
            <a:extLst>
              <a:ext uri="{FF2B5EF4-FFF2-40B4-BE49-F238E27FC236}">
                <a16:creationId xmlns:a16="http://schemas.microsoft.com/office/drawing/2014/main" id="{BA6CA70E-A11C-9A48-8983-906C0F7BFD67}"/>
              </a:ext>
            </a:extLst>
          </p:cNvPr>
          <p:cNvGrpSpPr/>
          <p:nvPr/>
        </p:nvGrpSpPr>
        <p:grpSpPr>
          <a:xfrm>
            <a:off x="7479125" y="5807534"/>
            <a:ext cx="360000" cy="360000"/>
            <a:chOff x="7501427" y="6124256"/>
            <a:chExt cx="360000" cy="360000"/>
          </a:xfrm>
        </p:grpSpPr>
        <p:sp>
          <p:nvSpPr>
            <p:cNvPr id="873" name="Полилиния 872">
              <a:extLst>
                <a:ext uri="{FF2B5EF4-FFF2-40B4-BE49-F238E27FC236}">
                  <a16:creationId xmlns:a16="http://schemas.microsoft.com/office/drawing/2014/main" id="{1971A7F8-A316-5C42-97B6-87196C98519C}"/>
                </a:ext>
              </a:extLst>
            </p:cNvPr>
            <p:cNvSpPr/>
            <p:nvPr/>
          </p:nvSpPr>
          <p:spPr>
            <a:xfrm>
              <a:off x="7501427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4" name="Скругленный прямоугольник 873">
              <a:extLst>
                <a:ext uri="{FF2B5EF4-FFF2-40B4-BE49-F238E27FC236}">
                  <a16:creationId xmlns:a16="http://schemas.microsoft.com/office/drawing/2014/main" id="{F67EF23A-ACDE-2342-8A21-744614F4AD8F}"/>
                </a:ext>
              </a:extLst>
            </p:cNvPr>
            <p:cNvSpPr/>
            <p:nvPr/>
          </p:nvSpPr>
          <p:spPr>
            <a:xfrm>
              <a:off x="7673927" y="6154256"/>
              <a:ext cx="30000" cy="6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5" name="Скругленный прямоугольник 874">
              <a:extLst>
                <a:ext uri="{FF2B5EF4-FFF2-40B4-BE49-F238E27FC236}">
                  <a16:creationId xmlns:a16="http://schemas.microsoft.com/office/drawing/2014/main" id="{E6D61553-37CE-2F4A-91A7-05A75D5F5C45}"/>
                </a:ext>
              </a:extLst>
            </p:cNvPr>
            <p:cNvSpPr/>
            <p:nvPr/>
          </p:nvSpPr>
          <p:spPr>
            <a:xfrm>
              <a:off x="7673927" y="6364256"/>
              <a:ext cx="30000" cy="75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6" name="Полилиния 875">
              <a:extLst>
                <a:ext uri="{FF2B5EF4-FFF2-40B4-BE49-F238E27FC236}">
                  <a16:creationId xmlns:a16="http://schemas.microsoft.com/office/drawing/2014/main" id="{C9DA7D35-EB93-B64A-9116-21856E7B5F34}"/>
                </a:ext>
              </a:extLst>
            </p:cNvPr>
            <p:cNvSpPr/>
            <p:nvPr/>
          </p:nvSpPr>
          <p:spPr>
            <a:xfrm>
              <a:off x="7610701" y="6187345"/>
              <a:ext cx="154184" cy="212039"/>
            </a:xfrm>
            <a:custGeom>
              <a:avLst/>
              <a:gdLst>
                <a:gd name="connsiteX0" fmla="*/ 123120 w 154184"/>
                <a:gd name="connsiteY0" fmla="*/ 57570 h 212039"/>
                <a:gd name="connsiteX1" fmla="*/ 106733 w 154184"/>
                <a:gd name="connsiteY1" fmla="*/ 44888 h 212039"/>
                <a:gd name="connsiteX2" fmla="*/ 87210 w 154184"/>
                <a:gd name="connsiteY2" fmla="*/ 40185 h 212039"/>
                <a:gd name="connsiteX3" fmla="*/ 77377 w 154184"/>
                <a:gd name="connsiteY3" fmla="*/ 41040 h 212039"/>
                <a:gd name="connsiteX4" fmla="*/ 68400 w 154184"/>
                <a:gd name="connsiteY4" fmla="*/ 44318 h 212039"/>
                <a:gd name="connsiteX5" fmla="*/ 61703 w 154184"/>
                <a:gd name="connsiteY5" fmla="*/ 50588 h 212039"/>
                <a:gd name="connsiteX6" fmla="*/ 58995 w 154184"/>
                <a:gd name="connsiteY6" fmla="*/ 60420 h 212039"/>
                <a:gd name="connsiteX7" fmla="*/ 61133 w 154184"/>
                <a:gd name="connsiteY7" fmla="*/ 68970 h 212039"/>
                <a:gd name="connsiteX8" fmla="*/ 67403 w 154184"/>
                <a:gd name="connsiteY8" fmla="*/ 74955 h 212039"/>
                <a:gd name="connsiteX9" fmla="*/ 77235 w 154184"/>
                <a:gd name="connsiteY9" fmla="*/ 79658 h 212039"/>
                <a:gd name="connsiteX10" fmla="*/ 90060 w 154184"/>
                <a:gd name="connsiteY10" fmla="*/ 84075 h 212039"/>
                <a:gd name="connsiteX11" fmla="*/ 111435 w 154184"/>
                <a:gd name="connsiteY11" fmla="*/ 91628 h 212039"/>
                <a:gd name="connsiteX12" fmla="*/ 131670 w 154184"/>
                <a:gd name="connsiteY12" fmla="*/ 102600 h 212039"/>
                <a:gd name="connsiteX13" fmla="*/ 146775 w 154184"/>
                <a:gd name="connsiteY13" fmla="*/ 119558 h 212039"/>
                <a:gd name="connsiteX14" fmla="*/ 152760 w 154184"/>
                <a:gd name="connsiteY14" fmla="*/ 144780 h 212039"/>
                <a:gd name="connsiteX15" fmla="*/ 146348 w 154184"/>
                <a:gd name="connsiteY15" fmla="*/ 174848 h 212039"/>
                <a:gd name="connsiteX16" fmla="*/ 129105 w 154184"/>
                <a:gd name="connsiteY16" fmla="*/ 195795 h 212039"/>
                <a:gd name="connsiteX17" fmla="*/ 104310 w 154184"/>
                <a:gd name="connsiteY17" fmla="*/ 208050 h 212039"/>
                <a:gd name="connsiteX18" fmla="*/ 75525 w 154184"/>
                <a:gd name="connsiteY18" fmla="*/ 212040 h 212039"/>
                <a:gd name="connsiteX19" fmla="*/ 33630 w 154184"/>
                <a:gd name="connsiteY19" fmla="*/ 204487 h 212039"/>
                <a:gd name="connsiteX20" fmla="*/ 0 w 154184"/>
                <a:gd name="connsiteY20" fmla="*/ 182970 h 212039"/>
                <a:gd name="connsiteX21" fmla="*/ 31920 w 154184"/>
                <a:gd name="connsiteY21" fmla="*/ 150480 h 212039"/>
                <a:gd name="connsiteX22" fmla="*/ 51443 w 154184"/>
                <a:gd name="connsiteY22" fmla="*/ 165728 h 212039"/>
                <a:gd name="connsiteX23" fmla="*/ 75525 w 154184"/>
                <a:gd name="connsiteY23" fmla="*/ 171855 h 212039"/>
                <a:gd name="connsiteX24" fmla="*/ 86070 w 154184"/>
                <a:gd name="connsiteY24" fmla="*/ 170715 h 212039"/>
                <a:gd name="connsiteX25" fmla="*/ 95048 w 154184"/>
                <a:gd name="connsiteY25" fmla="*/ 167010 h 212039"/>
                <a:gd name="connsiteX26" fmla="*/ 101175 w 154184"/>
                <a:gd name="connsiteY26" fmla="*/ 160170 h 212039"/>
                <a:gd name="connsiteX27" fmla="*/ 103455 w 154184"/>
                <a:gd name="connsiteY27" fmla="*/ 149910 h 212039"/>
                <a:gd name="connsiteX28" fmla="*/ 100605 w 154184"/>
                <a:gd name="connsiteY28" fmla="*/ 140220 h 212039"/>
                <a:gd name="connsiteX29" fmla="*/ 92482 w 154184"/>
                <a:gd name="connsiteY29" fmla="*/ 132953 h 212039"/>
                <a:gd name="connsiteX30" fmla="*/ 79373 w 154184"/>
                <a:gd name="connsiteY30" fmla="*/ 126968 h 212039"/>
                <a:gd name="connsiteX31" fmla="*/ 61560 w 154184"/>
                <a:gd name="connsiteY31" fmla="*/ 121125 h 212039"/>
                <a:gd name="connsiteX32" fmla="*/ 42608 w 154184"/>
                <a:gd name="connsiteY32" fmla="*/ 113715 h 212039"/>
                <a:gd name="connsiteX33" fmla="*/ 26078 w 154184"/>
                <a:gd name="connsiteY33" fmla="*/ 102743 h 212039"/>
                <a:gd name="connsiteX34" fmla="*/ 14393 w 154184"/>
                <a:gd name="connsiteY34" fmla="*/ 86498 h 212039"/>
                <a:gd name="connsiteX35" fmla="*/ 9975 w 154184"/>
                <a:gd name="connsiteY35" fmla="*/ 63270 h 212039"/>
                <a:gd name="connsiteX36" fmla="*/ 16815 w 154184"/>
                <a:gd name="connsiteY36" fmla="*/ 34485 h 212039"/>
                <a:gd name="connsiteX37" fmla="*/ 34770 w 154184"/>
                <a:gd name="connsiteY37" fmla="*/ 14820 h 212039"/>
                <a:gd name="connsiteX38" fmla="*/ 59850 w 154184"/>
                <a:gd name="connsiteY38" fmla="*/ 3563 h 212039"/>
                <a:gd name="connsiteX39" fmla="*/ 88065 w 154184"/>
                <a:gd name="connsiteY39" fmla="*/ 0 h 212039"/>
                <a:gd name="connsiteX40" fmla="*/ 122977 w 154184"/>
                <a:gd name="connsiteY40" fmla="*/ 6270 h 212039"/>
                <a:gd name="connsiteX41" fmla="*/ 154185 w 154184"/>
                <a:gd name="connsiteY41" fmla="*/ 24795 h 212039"/>
                <a:gd name="connsiteX42" fmla="*/ 123120 w 154184"/>
                <a:gd name="connsiteY42" fmla="*/ 57570 h 2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54184" h="212039">
                  <a:moveTo>
                    <a:pt x="123120" y="57570"/>
                  </a:moveTo>
                  <a:cubicBezTo>
                    <a:pt x="118940" y="52250"/>
                    <a:pt x="113478" y="48023"/>
                    <a:pt x="106733" y="44888"/>
                  </a:cubicBezTo>
                  <a:cubicBezTo>
                    <a:pt x="99987" y="41753"/>
                    <a:pt x="93480" y="40185"/>
                    <a:pt x="87210" y="40185"/>
                  </a:cubicBezTo>
                  <a:cubicBezTo>
                    <a:pt x="83981" y="40185"/>
                    <a:pt x="80703" y="40470"/>
                    <a:pt x="77377" y="41040"/>
                  </a:cubicBezTo>
                  <a:cubicBezTo>
                    <a:pt x="74052" y="41610"/>
                    <a:pt x="71060" y="42702"/>
                    <a:pt x="68400" y="44318"/>
                  </a:cubicBezTo>
                  <a:cubicBezTo>
                    <a:pt x="65741" y="45933"/>
                    <a:pt x="63507" y="48023"/>
                    <a:pt x="61703" y="50588"/>
                  </a:cubicBezTo>
                  <a:cubicBezTo>
                    <a:pt x="59898" y="53153"/>
                    <a:pt x="58995" y="56430"/>
                    <a:pt x="58995" y="60420"/>
                  </a:cubicBezTo>
                  <a:cubicBezTo>
                    <a:pt x="58995" y="63840"/>
                    <a:pt x="59708" y="66690"/>
                    <a:pt x="61133" y="68970"/>
                  </a:cubicBezTo>
                  <a:cubicBezTo>
                    <a:pt x="62557" y="71250"/>
                    <a:pt x="64647" y="73245"/>
                    <a:pt x="67403" y="74955"/>
                  </a:cubicBezTo>
                  <a:cubicBezTo>
                    <a:pt x="70158" y="76665"/>
                    <a:pt x="73436" y="78233"/>
                    <a:pt x="77235" y="79658"/>
                  </a:cubicBezTo>
                  <a:cubicBezTo>
                    <a:pt x="81035" y="81083"/>
                    <a:pt x="85309" y="82555"/>
                    <a:pt x="90060" y="84075"/>
                  </a:cubicBezTo>
                  <a:cubicBezTo>
                    <a:pt x="96900" y="86355"/>
                    <a:pt x="104025" y="88872"/>
                    <a:pt x="111435" y="91628"/>
                  </a:cubicBezTo>
                  <a:cubicBezTo>
                    <a:pt x="118845" y="94383"/>
                    <a:pt x="125590" y="98040"/>
                    <a:pt x="131670" y="102600"/>
                  </a:cubicBezTo>
                  <a:cubicBezTo>
                    <a:pt x="137750" y="107160"/>
                    <a:pt x="142785" y="112812"/>
                    <a:pt x="146775" y="119558"/>
                  </a:cubicBezTo>
                  <a:cubicBezTo>
                    <a:pt x="150765" y="126303"/>
                    <a:pt x="152760" y="134711"/>
                    <a:pt x="152760" y="144780"/>
                  </a:cubicBezTo>
                  <a:cubicBezTo>
                    <a:pt x="152760" y="156371"/>
                    <a:pt x="150623" y="166392"/>
                    <a:pt x="146348" y="174848"/>
                  </a:cubicBezTo>
                  <a:cubicBezTo>
                    <a:pt x="142073" y="183303"/>
                    <a:pt x="136325" y="190286"/>
                    <a:pt x="129105" y="195795"/>
                  </a:cubicBezTo>
                  <a:cubicBezTo>
                    <a:pt x="121886" y="201305"/>
                    <a:pt x="113621" y="205391"/>
                    <a:pt x="104310" y="208050"/>
                  </a:cubicBezTo>
                  <a:cubicBezTo>
                    <a:pt x="95000" y="210710"/>
                    <a:pt x="85406" y="212040"/>
                    <a:pt x="75525" y="212040"/>
                  </a:cubicBezTo>
                  <a:cubicBezTo>
                    <a:pt x="61085" y="212040"/>
                    <a:pt x="47120" y="209523"/>
                    <a:pt x="33630" y="204487"/>
                  </a:cubicBezTo>
                  <a:cubicBezTo>
                    <a:pt x="20140" y="199452"/>
                    <a:pt x="8930" y="192281"/>
                    <a:pt x="0" y="182970"/>
                  </a:cubicBezTo>
                  <a:lnTo>
                    <a:pt x="31920" y="150480"/>
                  </a:lnTo>
                  <a:cubicBezTo>
                    <a:pt x="36860" y="156560"/>
                    <a:pt x="43368" y="161643"/>
                    <a:pt x="51443" y="165728"/>
                  </a:cubicBezTo>
                  <a:cubicBezTo>
                    <a:pt x="59517" y="169812"/>
                    <a:pt x="67545" y="171855"/>
                    <a:pt x="75525" y="171855"/>
                  </a:cubicBezTo>
                  <a:cubicBezTo>
                    <a:pt x="79136" y="171855"/>
                    <a:pt x="82650" y="171476"/>
                    <a:pt x="86070" y="170715"/>
                  </a:cubicBezTo>
                  <a:cubicBezTo>
                    <a:pt x="89490" y="169955"/>
                    <a:pt x="92482" y="168720"/>
                    <a:pt x="95048" y="167010"/>
                  </a:cubicBezTo>
                  <a:cubicBezTo>
                    <a:pt x="97612" y="165300"/>
                    <a:pt x="99656" y="163020"/>
                    <a:pt x="101175" y="160170"/>
                  </a:cubicBezTo>
                  <a:cubicBezTo>
                    <a:pt x="102695" y="157320"/>
                    <a:pt x="103455" y="153900"/>
                    <a:pt x="103455" y="149910"/>
                  </a:cubicBezTo>
                  <a:cubicBezTo>
                    <a:pt x="103455" y="146111"/>
                    <a:pt x="102506" y="142880"/>
                    <a:pt x="100605" y="140220"/>
                  </a:cubicBezTo>
                  <a:cubicBezTo>
                    <a:pt x="98705" y="137561"/>
                    <a:pt x="95997" y="135138"/>
                    <a:pt x="92482" y="132953"/>
                  </a:cubicBezTo>
                  <a:cubicBezTo>
                    <a:pt x="88968" y="130767"/>
                    <a:pt x="84597" y="128772"/>
                    <a:pt x="79373" y="126968"/>
                  </a:cubicBezTo>
                  <a:cubicBezTo>
                    <a:pt x="74148" y="125163"/>
                    <a:pt x="68210" y="123214"/>
                    <a:pt x="61560" y="121125"/>
                  </a:cubicBezTo>
                  <a:cubicBezTo>
                    <a:pt x="55099" y="119036"/>
                    <a:pt x="48783" y="116565"/>
                    <a:pt x="42608" y="113715"/>
                  </a:cubicBezTo>
                  <a:cubicBezTo>
                    <a:pt x="36432" y="110865"/>
                    <a:pt x="30923" y="107208"/>
                    <a:pt x="26078" y="102743"/>
                  </a:cubicBezTo>
                  <a:cubicBezTo>
                    <a:pt x="21232" y="98277"/>
                    <a:pt x="17337" y="92862"/>
                    <a:pt x="14393" y="86498"/>
                  </a:cubicBezTo>
                  <a:cubicBezTo>
                    <a:pt x="11448" y="80132"/>
                    <a:pt x="9975" y="72390"/>
                    <a:pt x="9975" y="63270"/>
                  </a:cubicBezTo>
                  <a:cubicBezTo>
                    <a:pt x="9975" y="52060"/>
                    <a:pt x="12255" y="42465"/>
                    <a:pt x="16815" y="34485"/>
                  </a:cubicBezTo>
                  <a:cubicBezTo>
                    <a:pt x="21375" y="26505"/>
                    <a:pt x="27360" y="19950"/>
                    <a:pt x="34770" y="14820"/>
                  </a:cubicBezTo>
                  <a:cubicBezTo>
                    <a:pt x="42180" y="9690"/>
                    <a:pt x="50540" y="5937"/>
                    <a:pt x="59850" y="3563"/>
                  </a:cubicBezTo>
                  <a:cubicBezTo>
                    <a:pt x="69161" y="1188"/>
                    <a:pt x="78566" y="0"/>
                    <a:pt x="88065" y="0"/>
                  </a:cubicBezTo>
                  <a:cubicBezTo>
                    <a:pt x="99465" y="0"/>
                    <a:pt x="111102" y="2090"/>
                    <a:pt x="122977" y="6270"/>
                  </a:cubicBezTo>
                  <a:cubicBezTo>
                    <a:pt x="134853" y="10450"/>
                    <a:pt x="145256" y="16625"/>
                    <a:pt x="154185" y="24795"/>
                  </a:cubicBezTo>
                  <a:lnTo>
                    <a:pt x="123120" y="5757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77" name="Рисунок 191">
            <a:extLst>
              <a:ext uri="{FF2B5EF4-FFF2-40B4-BE49-F238E27FC236}">
                <a16:creationId xmlns:a16="http://schemas.microsoft.com/office/drawing/2014/main" id="{876B70BB-085A-5245-B6A1-97008364253D}"/>
              </a:ext>
            </a:extLst>
          </p:cNvPr>
          <p:cNvGrpSpPr/>
          <p:nvPr/>
        </p:nvGrpSpPr>
        <p:grpSpPr>
          <a:xfrm>
            <a:off x="8232277" y="5807534"/>
            <a:ext cx="360000" cy="360000"/>
            <a:chOff x="8254579" y="6124256"/>
            <a:chExt cx="360000" cy="360000"/>
          </a:xfrm>
        </p:grpSpPr>
        <p:sp>
          <p:nvSpPr>
            <p:cNvPr id="878" name="Полилиния 877">
              <a:extLst>
                <a:ext uri="{FF2B5EF4-FFF2-40B4-BE49-F238E27FC236}">
                  <a16:creationId xmlns:a16="http://schemas.microsoft.com/office/drawing/2014/main" id="{4E555AFD-EA05-CD45-9C8E-F6196B8AD70C}"/>
                </a:ext>
              </a:extLst>
            </p:cNvPr>
            <p:cNvSpPr/>
            <p:nvPr/>
          </p:nvSpPr>
          <p:spPr>
            <a:xfrm>
              <a:off x="825457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9" name="Полилиния 878">
              <a:extLst>
                <a:ext uri="{FF2B5EF4-FFF2-40B4-BE49-F238E27FC236}">
                  <a16:creationId xmlns:a16="http://schemas.microsoft.com/office/drawing/2014/main" id="{8FCBE9AC-258B-9247-88EA-DA826443145B}"/>
                </a:ext>
              </a:extLst>
            </p:cNvPr>
            <p:cNvSpPr/>
            <p:nvPr/>
          </p:nvSpPr>
          <p:spPr>
            <a:xfrm>
              <a:off x="8284579" y="6154256"/>
              <a:ext cx="300000" cy="300000"/>
            </a:xfrm>
            <a:custGeom>
              <a:avLst/>
              <a:gdLst>
                <a:gd name="connsiteX0" fmla="*/ 300000 w 300000"/>
                <a:gd name="connsiteY0" fmla="*/ 150000 h 300000"/>
                <a:gd name="connsiteX1" fmla="*/ 150000 w 300000"/>
                <a:gd name="connsiteY1" fmla="*/ 300000 h 300000"/>
                <a:gd name="connsiteX2" fmla="*/ 0 w 300000"/>
                <a:gd name="connsiteY2" fmla="*/ 150000 h 300000"/>
                <a:gd name="connsiteX3" fmla="*/ 150000 w 300000"/>
                <a:gd name="connsiteY3" fmla="*/ 0 h 300000"/>
                <a:gd name="connsiteX4" fmla="*/ 300000 w 300000"/>
                <a:gd name="connsiteY4" fmla="*/ 15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0" h="300000">
                  <a:moveTo>
                    <a:pt x="300000" y="150000"/>
                  </a:moveTo>
                  <a:cubicBezTo>
                    <a:pt x="300000" y="232843"/>
                    <a:pt x="232843" y="300000"/>
                    <a:pt x="150000" y="300000"/>
                  </a:cubicBezTo>
                  <a:cubicBezTo>
                    <a:pt x="67157" y="300000"/>
                    <a:pt x="0" y="232843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3" y="0"/>
                    <a:pt x="300000" y="67157"/>
                    <a:pt x="300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0" name="Полилиния 879">
              <a:extLst>
                <a:ext uri="{FF2B5EF4-FFF2-40B4-BE49-F238E27FC236}">
                  <a16:creationId xmlns:a16="http://schemas.microsoft.com/office/drawing/2014/main" id="{1561297F-CF0B-FD49-B69B-B3C9A71C7D11}"/>
                </a:ext>
              </a:extLst>
            </p:cNvPr>
            <p:cNvSpPr/>
            <p:nvPr/>
          </p:nvSpPr>
          <p:spPr>
            <a:xfrm>
              <a:off x="8344578" y="6236755"/>
              <a:ext cx="187500" cy="142500"/>
            </a:xfrm>
            <a:custGeom>
              <a:avLst/>
              <a:gdLst>
                <a:gd name="connsiteX0" fmla="*/ 161534 w 187500"/>
                <a:gd name="connsiteY0" fmla="*/ 4765 h 142500"/>
                <a:gd name="connsiteX1" fmla="*/ 182735 w 187500"/>
                <a:gd name="connsiteY1" fmla="*/ 4034 h 142500"/>
                <a:gd name="connsiteX2" fmla="*/ 183467 w 187500"/>
                <a:gd name="connsiteY2" fmla="*/ 25235 h 142500"/>
                <a:gd name="connsiteX3" fmla="*/ 78467 w 187500"/>
                <a:gd name="connsiteY3" fmla="*/ 137735 h 142500"/>
                <a:gd name="connsiteX4" fmla="*/ 57738 w 187500"/>
                <a:gd name="connsiteY4" fmla="*/ 138890 h 142500"/>
                <a:gd name="connsiteX5" fmla="*/ 5238 w 187500"/>
                <a:gd name="connsiteY5" fmla="*/ 93890 h 142500"/>
                <a:gd name="connsiteX6" fmla="*/ 3611 w 187500"/>
                <a:gd name="connsiteY6" fmla="*/ 72738 h 142500"/>
                <a:gd name="connsiteX7" fmla="*/ 24762 w 187500"/>
                <a:gd name="connsiteY7" fmla="*/ 71111 h 142500"/>
                <a:gd name="connsiteX8" fmla="*/ 66345 w 187500"/>
                <a:gd name="connsiteY8" fmla="*/ 106754 h 142500"/>
                <a:gd name="connsiteX9" fmla="*/ 161534 w 187500"/>
                <a:gd name="connsiteY9" fmla="*/ 4765 h 14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500" h="142500">
                  <a:moveTo>
                    <a:pt x="161534" y="4765"/>
                  </a:moveTo>
                  <a:cubicBezTo>
                    <a:pt x="167187" y="-1291"/>
                    <a:pt x="176679" y="-1618"/>
                    <a:pt x="182735" y="4034"/>
                  </a:cubicBezTo>
                  <a:cubicBezTo>
                    <a:pt x="188792" y="9687"/>
                    <a:pt x="189119" y="19179"/>
                    <a:pt x="183467" y="25235"/>
                  </a:cubicBezTo>
                  <a:lnTo>
                    <a:pt x="78467" y="137735"/>
                  </a:lnTo>
                  <a:cubicBezTo>
                    <a:pt x="72981" y="143610"/>
                    <a:pt x="63840" y="144120"/>
                    <a:pt x="57738" y="138890"/>
                  </a:cubicBezTo>
                  <a:lnTo>
                    <a:pt x="5238" y="93890"/>
                  </a:lnTo>
                  <a:cubicBezTo>
                    <a:pt x="-1051" y="88497"/>
                    <a:pt x="-1780" y="79028"/>
                    <a:pt x="3611" y="72738"/>
                  </a:cubicBezTo>
                  <a:cubicBezTo>
                    <a:pt x="9003" y="66449"/>
                    <a:pt x="18472" y="65720"/>
                    <a:pt x="24762" y="71111"/>
                  </a:cubicBezTo>
                  <a:lnTo>
                    <a:pt x="66345" y="106754"/>
                  </a:lnTo>
                  <a:lnTo>
                    <a:pt x="161534" y="4765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1" name="Рисунок 192">
            <a:extLst>
              <a:ext uri="{FF2B5EF4-FFF2-40B4-BE49-F238E27FC236}">
                <a16:creationId xmlns:a16="http://schemas.microsoft.com/office/drawing/2014/main" id="{0FF79CD4-AF25-074E-9D87-B02DF2421168}"/>
              </a:ext>
            </a:extLst>
          </p:cNvPr>
          <p:cNvGrpSpPr/>
          <p:nvPr/>
        </p:nvGrpSpPr>
        <p:grpSpPr>
          <a:xfrm>
            <a:off x="8985429" y="5807534"/>
            <a:ext cx="360000" cy="360000"/>
            <a:chOff x="9007731" y="6124256"/>
            <a:chExt cx="360000" cy="360000"/>
          </a:xfrm>
        </p:grpSpPr>
        <p:sp>
          <p:nvSpPr>
            <p:cNvPr id="882" name="Полилиния 881">
              <a:extLst>
                <a:ext uri="{FF2B5EF4-FFF2-40B4-BE49-F238E27FC236}">
                  <a16:creationId xmlns:a16="http://schemas.microsoft.com/office/drawing/2014/main" id="{0151F76D-CFFC-F34D-94AA-5B5F2693B800}"/>
                </a:ext>
              </a:extLst>
            </p:cNvPr>
            <p:cNvSpPr/>
            <p:nvPr/>
          </p:nvSpPr>
          <p:spPr>
            <a:xfrm>
              <a:off x="900773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3" name="Полилиния 882">
              <a:extLst>
                <a:ext uri="{FF2B5EF4-FFF2-40B4-BE49-F238E27FC236}">
                  <a16:creationId xmlns:a16="http://schemas.microsoft.com/office/drawing/2014/main" id="{F9606574-CD66-BA4A-8D57-FA6D88035CD7}"/>
                </a:ext>
              </a:extLst>
            </p:cNvPr>
            <p:cNvSpPr/>
            <p:nvPr/>
          </p:nvSpPr>
          <p:spPr>
            <a:xfrm>
              <a:off x="9082731" y="6169256"/>
              <a:ext cx="90000" cy="270000"/>
            </a:xfrm>
            <a:custGeom>
              <a:avLst/>
              <a:gdLst>
                <a:gd name="connsiteX0" fmla="*/ 30000 w 90000"/>
                <a:gd name="connsiteY0" fmla="*/ 28421 h 270000"/>
                <a:gd name="connsiteX1" fmla="*/ 30000 w 90000"/>
                <a:gd name="connsiteY1" fmla="*/ 270000 h 270000"/>
                <a:gd name="connsiteX2" fmla="*/ 0 w 90000"/>
                <a:gd name="connsiteY2" fmla="*/ 270000 h 270000"/>
                <a:gd name="connsiteX3" fmla="*/ 0 w 90000"/>
                <a:gd name="connsiteY3" fmla="*/ 0 h 270000"/>
                <a:gd name="connsiteX4" fmla="*/ 90000 w 90000"/>
                <a:gd name="connsiteY4" fmla="*/ 0 h 270000"/>
                <a:gd name="connsiteX5" fmla="*/ 90000 w 90000"/>
                <a:gd name="connsiteY5" fmla="*/ 28421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000" h="270000">
                  <a:moveTo>
                    <a:pt x="30000" y="28421"/>
                  </a:moveTo>
                  <a:lnTo>
                    <a:pt x="30000" y="270000"/>
                  </a:lnTo>
                  <a:lnTo>
                    <a:pt x="0" y="270000"/>
                  </a:lnTo>
                  <a:lnTo>
                    <a:pt x="0" y="0"/>
                  </a:lnTo>
                  <a:lnTo>
                    <a:pt x="90000" y="0"/>
                  </a:lnTo>
                  <a:lnTo>
                    <a:pt x="90000" y="2842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4" name="Полилиния 883">
              <a:extLst>
                <a:ext uri="{FF2B5EF4-FFF2-40B4-BE49-F238E27FC236}">
                  <a16:creationId xmlns:a16="http://schemas.microsoft.com/office/drawing/2014/main" id="{10D1707F-4493-C74D-A354-8DF2A492D243}"/>
                </a:ext>
              </a:extLst>
            </p:cNvPr>
            <p:cNvSpPr/>
            <p:nvPr/>
          </p:nvSpPr>
          <p:spPr>
            <a:xfrm>
              <a:off x="9142731" y="6157727"/>
              <a:ext cx="150000" cy="293060"/>
            </a:xfrm>
            <a:custGeom>
              <a:avLst/>
              <a:gdLst>
                <a:gd name="connsiteX0" fmla="*/ 17674 w 150000"/>
                <a:gd name="connsiteY0" fmla="*/ 240 h 293060"/>
                <a:gd name="connsiteX1" fmla="*/ 137675 w 150000"/>
                <a:gd name="connsiteY1" fmla="*/ 21985 h 293060"/>
                <a:gd name="connsiteX2" fmla="*/ 150000 w 150000"/>
                <a:gd name="connsiteY2" fmla="*/ 36744 h 293060"/>
                <a:gd name="connsiteX3" fmla="*/ 150000 w 150000"/>
                <a:gd name="connsiteY3" fmla="*/ 256314 h 293060"/>
                <a:gd name="connsiteX4" fmla="*/ 137675 w 150000"/>
                <a:gd name="connsiteY4" fmla="*/ 271074 h 293060"/>
                <a:gd name="connsiteX5" fmla="*/ 17674 w 150000"/>
                <a:gd name="connsiteY5" fmla="*/ 292818 h 293060"/>
                <a:gd name="connsiteX6" fmla="*/ 240 w 150000"/>
                <a:gd name="connsiteY6" fmla="*/ 280732 h 293060"/>
                <a:gd name="connsiteX7" fmla="*/ 0 w 150000"/>
                <a:gd name="connsiteY7" fmla="*/ 278058 h 293060"/>
                <a:gd name="connsiteX8" fmla="*/ 0 w 150000"/>
                <a:gd name="connsiteY8" fmla="*/ 15000 h 293060"/>
                <a:gd name="connsiteX9" fmla="*/ 15000 w 150000"/>
                <a:gd name="connsiteY9" fmla="*/ 0 h 293060"/>
                <a:gd name="connsiteX10" fmla="*/ 17674 w 150000"/>
                <a:gd name="connsiteY10" fmla="*/ 240 h 293060"/>
                <a:gd name="connsiteX11" fmla="*/ 43751 w 150000"/>
                <a:gd name="connsiteY11" fmla="*/ 160119 h 293060"/>
                <a:gd name="connsiteX12" fmla="*/ 62501 w 150000"/>
                <a:gd name="connsiteY12" fmla="*/ 139734 h 293060"/>
                <a:gd name="connsiteX13" fmla="*/ 43751 w 150000"/>
                <a:gd name="connsiteY13" fmla="*/ 119349 h 293060"/>
                <a:gd name="connsiteX14" fmla="*/ 25001 w 150000"/>
                <a:gd name="connsiteY14" fmla="*/ 139734 h 293060"/>
                <a:gd name="connsiteX15" fmla="*/ 43751 w 150000"/>
                <a:gd name="connsiteY15" fmla="*/ 160119 h 29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0000" h="293060">
                  <a:moveTo>
                    <a:pt x="17674" y="240"/>
                  </a:moveTo>
                  <a:lnTo>
                    <a:pt x="137675" y="21985"/>
                  </a:lnTo>
                  <a:cubicBezTo>
                    <a:pt x="144812" y="23278"/>
                    <a:pt x="150000" y="29491"/>
                    <a:pt x="150000" y="36744"/>
                  </a:cubicBezTo>
                  <a:lnTo>
                    <a:pt x="150000" y="256314"/>
                  </a:lnTo>
                  <a:cubicBezTo>
                    <a:pt x="150000" y="263566"/>
                    <a:pt x="144812" y="269781"/>
                    <a:pt x="137675" y="271074"/>
                  </a:cubicBezTo>
                  <a:lnTo>
                    <a:pt x="17674" y="292818"/>
                  </a:lnTo>
                  <a:cubicBezTo>
                    <a:pt x="9523" y="294295"/>
                    <a:pt x="1718" y="288885"/>
                    <a:pt x="240" y="280732"/>
                  </a:cubicBezTo>
                  <a:cubicBezTo>
                    <a:pt x="80" y="279850"/>
                    <a:pt x="0" y="278955"/>
                    <a:pt x="0" y="278058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ubicBezTo>
                    <a:pt x="15897" y="0"/>
                    <a:pt x="16793" y="80"/>
                    <a:pt x="17674" y="240"/>
                  </a:cubicBezTo>
                  <a:close/>
                  <a:moveTo>
                    <a:pt x="43751" y="160119"/>
                  </a:moveTo>
                  <a:cubicBezTo>
                    <a:pt x="54105" y="160119"/>
                    <a:pt x="62501" y="150993"/>
                    <a:pt x="62501" y="139734"/>
                  </a:cubicBezTo>
                  <a:cubicBezTo>
                    <a:pt x="62501" y="128475"/>
                    <a:pt x="54105" y="119349"/>
                    <a:pt x="43751" y="119349"/>
                  </a:cubicBezTo>
                  <a:cubicBezTo>
                    <a:pt x="33395" y="119349"/>
                    <a:pt x="25001" y="128475"/>
                    <a:pt x="25001" y="139734"/>
                  </a:cubicBezTo>
                  <a:cubicBezTo>
                    <a:pt x="25001" y="150993"/>
                    <a:pt x="33395" y="160119"/>
                    <a:pt x="43751" y="16011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5" name="Рисунок 193">
            <a:extLst>
              <a:ext uri="{FF2B5EF4-FFF2-40B4-BE49-F238E27FC236}">
                <a16:creationId xmlns:a16="http://schemas.microsoft.com/office/drawing/2014/main" id="{21C23336-E869-0A4E-B26E-1881CA35E31E}"/>
              </a:ext>
            </a:extLst>
          </p:cNvPr>
          <p:cNvGrpSpPr/>
          <p:nvPr/>
        </p:nvGrpSpPr>
        <p:grpSpPr>
          <a:xfrm>
            <a:off x="9738581" y="5807534"/>
            <a:ext cx="360000" cy="360000"/>
            <a:chOff x="9760883" y="6124256"/>
            <a:chExt cx="360000" cy="360000"/>
          </a:xfrm>
        </p:grpSpPr>
        <p:sp>
          <p:nvSpPr>
            <p:cNvPr id="886" name="Полилиния 885">
              <a:extLst>
                <a:ext uri="{FF2B5EF4-FFF2-40B4-BE49-F238E27FC236}">
                  <a16:creationId xmlns:a16="http://schemas.microsoft.com/office/drawing/2014/main" id="{A7CC6C74-200D-1A41-8644-EDBEA8B0A14E}"/>
                </a:ext>
              </a:extLst>
            </p:cNvPr>
            <p:cNvSpPr/>
            <p:nvPr/>
          </p:nvSpPr>
          <p:spPr>
            <a:xfrm>
              <a:off x="976088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7" name="Полилиния 886">
              <a:extLst>
                <a:ext uri="{FF2B5EF4-FFF2-40B4-BE49-F238E27FC236}">
                  <a16:creationId xmlns:a16="http://schemas.microsoft.com/office/drawing/2014/main" id="{50BA255D-A11B-8447-BFC1-DDF98E658E68}"/>
                </a:ext>
              </a:extLst>
            </p:cNvPr>
            <p:cNvSpPr/>
            <p:nvPr/>
          </p:nvSpPr>
          <p:spPr>
            <a:xfrm rot="-10800000">
              <a:off x="9873383" y="6199255"/>
              <a:ext cx="225000" cy="180000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8" name="Полилиния 887">
              <a:extLst>
                <a:ext uri="{FF2B5EF4-FFF2-40B4-BE49-F238E27FC236}">
                  <a16:creationId xmlns:a16="http://schemas.microsoft.com/office/drawing/2014/main" id="{09AA822F-31D7-3648-83C8-F608DEA536F4}"/>
                </a:ext>
              </a:extLst>
            </p:cNvPr>
            <p:cNvSpPr/>
            <p:nvPr/>
          </p:nvSpPr>
          <p:spPr>
            <a:xfrm rot="-10800000">
              <a:off x="9798383" y="6214255"/>
              <a:ext cx="225000" cy="180000"/>
            </a:xfrm>
            <a:custGeom>
              <a:avLst/>
              <a:gdLst>
                <a:gd name="connsiteX0" fmla="*/ 26429 w 225000"/>
                <a:gd name="connsiteY0" fmla="*/ 174714 h 180000"/>
                <a:gd name="connsiteX1" fmla="*/ 5286 w 225000"/>
                <a:gd name="connsiteY1" fmla="*/ 176429 h 180000"/>
                <a:gd name="connsiteX2" fmla="*/ 3571 w 225000"/>
                <a:gd name="connsiteY2" fmla="*/ 155286 h 180000"/>
                <a:gd name="connsiteX3" fmla="*/ 131072 w 225000"/>
                <a:gd name="connsiteY3" fmla="*/ 5286 h 180000"/>
                <a:gd name="connsiteX4" fmla="*/ 152466 w 225000"/>
                <a:gd name="connsiteY4" fmla="*/ 3789 h 180000"/>
                <a:gd name="connsiteX5" fmla="*/ 219966 w 225000"/>
                <a:gd name="connsiteY5" fmla="*/ 63789 h 180000"/>
                <a:gd name="connsiteX6" fmla="*/ 221211 w 225000"/>
                <a:gd name="connsiteY6" fmla="*/ 84966 h 180000"/>
                <a:gd name="connsiteX7" fmla="*/ 200034 w 225000"/>
                <a:gd name="connsiteY7" fmla="*/ 86211 h 180000"/>
                <a:gd name="connsiteX8" fmla="*/ 143997 w 225000"/>
                <a:gd name="connsiteY8" fmla="*/ 36400 h 180000"/>
                <a:gd name="connsiteX9" fmla="*/ 26429 w 225000"/>
                <a:gd name="connsiteY9" fmla="*/ 174714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00" h="180000">
                  <a:moveTo>
                    <a:pt x="26429" y="174714"/>
                  </a:moveTo>
                  <a:cubicBezTo>
                    <a:pt x="21064" y="181028"/>
                    <a:pt x="11598" y="181794"/>
                    <a:pt x="5286" y="176429"/>
                  </a:cubicBezTo>
                  <a:cubicBezTo>
                    <a:pt x="-1027" y="171065"/>
                    <a:pt x="-1794" y="161598"/>
                    <a:pt x="3571" y="155286"/>
                  </a:cubicBezTo>
                  <a:lnTo>
                    <a:pt x="131072" y="5286"/>
                  </a:lnTo>
                  <a:cubicBezTo>
                    <a:pt x="136521" y="-1126"/>
                    <a:pt x="146177" y="-1801"/>
                    <a:pt x="152466" y="3789"/>
                  </a:cubicBezTo>
                  <a:lnTo>
                    <a:pt x="219966" y="63789"/>
                  </a:lnTo>
                  <a:cubicBezTo>
                    <a:pt x="226157" y="69293"/>
                    <a:pt x="226715" y="78774"/>
                    <a:pt x="221211" y="84966"/>
                  </a:cubicBezTo>
                  <a:cubicBezTo>
                    <a:pt x="215708" y="91157"/>
                    <a:pt x="206226" y="91715"/>
                    <a:pt x="200034" y="86211"/>
                  </a:cubicBezTo>
                  <a:lnTo>
                    <a:pt x="143997" y="36400"/>
                  </a:lnTo>
                  <a:lnTo>
                    <a:pt x="26429" y="17471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9" name="Рисунок 194">
            <a:extLst>
              <a:ext uri="{FF2B5EF4-FFF2-40B4-BE49-F238E27FC236}">
                <a16:creationId xmlns:a16="http://schemas.microsoft.com/office/drawing/2014/main" id="{443218BB-0705-5C40-8CB2-CCADAE6688D8}"/>
              </a:ext>
            </a:extLst>
          </p:cNvPr>
          <p:cNvGrpSpPr/>
          <p:nvPr/>
        </p:nvGrpSpPr>
        <p:grpSpPr>
          <a:xfrm>
            <a:off x="10491733" y="5807534"/>
            <a:ext cx="360000" cy="360000"/>
            <a:chOff x="10514035" y="6124256"/>
            <a:chExt cx="360000" cy="360000"/>
          </a:xfrm>
        </p:grpSpPr>
        <p:sp>
          <p:nvSpPr>
            <p:cNvPr id="890" name="Полилиния 889">
              <a:extLst>
                <a:ext uri="{FF2B5EF4-FFF2-40B4-BE49-F238E27FC236}">
                  <a16:creationId xmlns:a16="http://schemas.microsoft.com/office/drawing/2014/main" id="{B7CB1774-72CA-E44F-AF6B-1DB043B93899}"/>
                </a:ext>
              </a:extLst>
            </p:cNvPr>
            <p:cNvSpPr/>
            <p:nvPr/>
          </p:nvSpPr>
          <p:spPr>
            <a:xfrm>
              <a:off x="1051403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1" name="Скругленный прямоугольник 890">
              <a:extLst>
                <a:ext uri="{FF2B5EF4-FFF2-40B4-BE49-F238E27FC236}">
                  <a16:creationId xmlns:a16="http://schemas.microsoft.com/office/drawing/2014/main" id="{A5663DF4-D793-5346-A567-51DD55E5DC3E}"/>
                </a:ext>
              </a:extLst>
            </p:cNvPr>
            <p:cNvSpPr/>
            <p:nvPr/>
          </p:nvSpPr>
          <p:spPr>
            <a:xfrm>
              <a:off x="10679035" y="6184256"/>
              <a:ext cx="30000" cy="15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2" name="Полилиния 891">
              <a:extLst>
                <a:ext uri="{FF2B5EF4-FFF2-40B4-BE49-F238E27FC236}">
                  <a16:creationId xmlns:a16="http://schemas.microsoft.com/office/drawing/2014/main" id="{CB027907-6673-6143-8532-B6886CB2B530}"/>
                </a:ext>
              </a:extLst>
            </p:cNvPr>
            <p:cNvSpPr/>
            <p:nvPr/>
          </p:nvSpPr>
          <p:spPr>
            <a:xfrm flipV="1">
              <a:off x="10589035" y="6304256"/>
              <a:ext cx="209999" cy="119999"/>
            </a:xfrm>
            <a:custGeom>
              <a:avLst/>
              <a:gdLst>
                <a:gd name="connsiteX0" fmla="*/ 25607 w 209999"/>
                <a:gd name="connsiteY0" fmla="*/ 115606 h 119999"/>
                <a:gd name="connsiteX1" fmla="*/ 4393 w 209999"/>
                <a:gd name="connsiteY1" fmla="*/ 115606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2 h 119999"/>
                <a:gd name="connsiteX5" fmla="*/ 205135 w 209999"/>
                <a:gd name="connsiteY5" fmla="*/ 86442 h 119999"/>
                <a:gd name="connsiteX6" fmla="*/ 206058 w 209999"/>
                <a:gd name="connsiteY6" fmla="*/ 107635 h 119999"/>
                <a:gd name="connsiteX7" fmla="*/ 184865 w 209999"/>
                <a:gd name="connsiteY7" fmla="*/ 108558 h 119999"/>
                <a:gd name="connsiteX8" fmla="*/ 105452 w 209999"/>
                <a:gd name="connsiteY8" fmla="*/ 35761 h 119999"/>
                <a:gd name="connsiteX9" fmla="*/ 25607 w 209999"/>
                <a:gd name="connsiteY9" fmla="*/ 115606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6"/>
                  </a:moveTo>
                  <a:cubicBezTo>
                    <a:pt x="19749" y="121464"/>
                    <a:pt x="10251" y="121464"/>
                    <a:pt x="4393" y="115606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6"/>
                    <a:pt x="109217" y="-1484"/>
                    <a:pt x="115136" y="3942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5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1"/>
                  </a:lnTo>
                  <a:lnTo>
                    <a:pt x="25607" y="115606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93" name="Рисунок 195">
            <a:extLst>
              <a:ext uri="{FF2B5EF4-FFF2-40B4-BE49-F238E27FC236}">
                <a16:creationId xmlns:a16="http://schemas.microsoft.com/office/drawing/2014/main" id="{AB9D4C31-B431-A54E-BED4-343AB4E92FE6}"/>
              </a:ext>
            </a:extLst>
          </p:cNvPr>
          <p:cNvGrpSpPr/>
          <p:nvPr/>
        </p:nvGrpSpPr>
        <p:grpSpPr>
          <a:xfrm>
            <a:off x="11244886" y="5134477"/>
            <a:ext cx="360000" cy="360000"/>
            <a:chOff x="11267188" y="5451199"/>
            <a:chExt cx="360000" cy="360000"/>
          </a:xfrm>
        </p:grpSpPr>
        <p:sp>
          <p:nvSpPr>
            <p:cNvPr id="894" name="Полилиния 893">
              <a:extLst>
                <a:ext uri="{FF2B5EF4-FFF2-40B4-BE49-F238E27FC236}">
                  <a16:creationId xmlns:a16="http://schemas.microsoft.com/office/drawing/2014/main" id="{3DACEDE8-8EBF-B647-B6D3-5FB1E33FD113}"/>
                </a:ext>
              </a:extLst>
            </p:cNvPr>
            <p:cNvSpPr/>
            <p:nvPr/>
          </p:nvSpPr>
          <p:spPr>
            <a:xfrm>
              <a:off x="11267188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5" name="Полилиния 894">
              <a:extLst>
                <a:ext uri="{FF2B5EF4-FFF2-40B4-BE49-F238E27FC236}">
                  <a16:creationId xmlns:a16="http://schemas.microsoft.com/office/drawing/2014/main" id="{C37FD21C-D7FB-704F-A794-A26B79D70C3A}"/>
                </a:ext>
              </a:extLst>
            </p:cNvPr>
            <p:cNvSpPr/>
            <p:nvPr/>
          </p:nvSpPr>
          <p:spPr>
            <a:xfrm>
              <a:off x="11297188" y="5631199"/>
              <a:ext cx="300000" cy="150000"/>
            </a:xfrm>
            <a:custGeom>
              <a:avLst/>
              <a:gdLst>
                <a:gd name="connsiteX0" fmla="*/ 0 w 300000"/>
                <a:gd name="connsiteY0" fmla="*/ 15000 h 150000"/>
                <a:gd name="connsiteX1" fmla="*/ 15000 w 300000"/>
                <a:gd name="connsiteY1" fmla="*/ 0 h 150000"/>
                <a:gd name="connsiteX2" fmla="*/ 30000 w 300000"/>
                <a:gd name="connsiteY2" fmla="*/ 15000 h 150000"/>
                <a:gd name="connsiteX3" fmla="*/ 30000 w 300000"/>
                <a:gd name="connsiteY3" fmla="*/ 90000 h 150000"/>
                <a:gd name="connsiteX4" fmla="*/ 60000 w 300000"/>
                <a:gd name="connsiteY4" fmla="*/ 120000 h 150000"/>
                <a:gd name="connsiteX5" fmla="*/ 240000 w 300000"/>
                <a:gd name="connsiteY5" fmla="*/ 120000 h 150000"/>
                <a:gd name="connsiteX6" fmla="*/ 270000 w 300000"/>
                <a:gd name="connsiteY6" fmla="*/ 90000 h 150000"/>
                <a:gd name="connsiteX7" fmla="*/ 270000 w 300000"/>
                <a:gd name="connsiteY7" fmla="*/ 15000 h 150000"/>
                <a:gd name="connsiteX8" fmla="*/ 285000 w 300000"/>
                <a:gd name="connsiteY8" fmla="*/ 0 h 150000"/>
                <a:gd name="connsiteX9" fmla="*/ 300000 w 300000"/>
                <a:gd name="connsiteY9" fmla="*/ 15000 h 150000"/>
                <a:gd name="connsiteX10" fmla="*/ 300000 w 300000"/>
                <a:gd name="connsiteY10" fmla="*/ 90000 h 150000"/>
                <a:gd name="connsiteX11" fmla="*/ 240000 w 300000"/>
                <a:gd name="connsiteY11" fmla="*/ 150000 h 150000"/>
                <a:gd name="connsiteX12" fmla="*/ 60000 w 300000"/>
                <a:gd name="connsiteY12" fmla="*/ 150000 h 150000"/>
                <a:gd name="connsiteX13" fmla="*/ 0 w 300000"/>
                <a:gd name="connsiteY13" fmla="*/ 90000 h 150000"/>
                <a:gd name="connsiteX14" fmla="*/ 0 w 300000"/>
                <a:gd name="connsiteY14" fmla="*/ 1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0000" h="150000">
                  <a:moveTo>
                    <a:pt x="0" y="15000"/>
                  </a:moveTo>
                  <a:cubicBezTo>
                    <a:pt x="0" y="7500"/>
                    <a:pt x="7500" y="0"/>
                    <a:pt x="15000" y="0"/>
                  </a:cubicBezTo>
                  <a:cubicBezTo>
                    <a:pt x="22500" y="0"/>
                    <a:pt x="30000" y="7500"/>
                    <a:pt x="30000" y="15000"/>
                  </a:cubicBezTo>
                  <a:cubicBezTo>
                    <a:pt x="30000" y="19999"/>
                    <a:pt x="30000" y="45000"/>
                    <a:pt x="30000" y="90000"/>
                  </a:cubicBezTo>
                  <a:cubicBezTo>
                    <a:pt x="30000" y="106569"/>
                    <a:pt x="43431" y="120000"/>
                    <a:pt x="60000" y="120000"/>
                  </a:cubicBezTo>
                  <a:lnTo>
                    <a:pt x="240000" y="120000"/>
                  </a:lnTo>
                  <a:cubicBezTo>
                    <a:pt x="256569" y="120000"/>
                    <a:pt x="270000" y="106569"/>
                    <a:pt x="270000" y="90000"/>
                  </a:cubicBezTo>
                  <a:lnTo>
                    <a:pt x="270000" y="15000"/>
                  </a:lnTo>
                  <a:cubicBezTo>
                    <a:pt x="270000" y="6715"/>
                    <a:pt x="276716" y="0"/>
                    <a:pt x="285000" y="0"/>
                  </a:cubicBezTo>
                  <a:cubicBezTo>
                    <a:pt x="293285" y="0"/>
                    <a:pt x="300000" y="6715"/>
                    <a:pt x="300000" y="15000"/>
                  </a:cubicBezTo>
                  <a:lnTo>
                    <a:pt x="300000" y="90000"/>
                  </a:lnTo>
                  <a:cubicBezTo>
                    <a:pt x="300000" y="123137"/>
                    <a:pt x="273137" y="150000"/>
                    <a:pt x="240000" y="150000"/>
                  </a:cubicBezTo>
                  <a:lnTo>
                    <a:pt x="60000" y="150000"/>
                  </a:lnTo>
                  <a:cubicBezTo>
                    <a:pt x="26863" y="150000"/>
                    <a:pt x="0" y="123137"/>
                    <a:pt x="0" y="90000"/>
                  </a:cubicBezTo>
                  <a:cubicBezTo>
                    <a:pt x="0" y="45000"/>
                    <a:pt x="0" y="19999"/>
                    <a:pt x="0" y="1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6" name="Скругленный прямоугольник 895">
              <a:extLst>
                <a:ext uri="{FF2B5EF4-FFF2-40B4-BE49-F238E27FC236}">
                  <a16:creationId xmlns:a16="http://schemas.microsoft.com/office/drawing/2014/main" id="{301227EE-4BA2-EF40-BB5C-70A5530F2509}"/>
                </a:ext>
              </a:extLst>
            </p:cNvPr>
            <p:cNvSpPr/>
            <p:nvPr/>
          </p:nvSpPr>
          <p:spPr>
            <a:xfrm rot="-10800000">
              <a:off x="11432188" y="5466199"/>
              <a:ext cx="30000" cy="21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7" name="Полилиния 896">
              <a:extLst>
                <a:ext uri="{FF2B5EF4-FFF2-40B4-BE49-F238E27FC236}">
                  <a16:creationId xmlns:a16="http://schemas.microsoft.com/office/drawing/2014/main" id="{5E446918-E4CE-4C40-BCD6-76E6DAE55DEC}"/>
                </a:ext>
              </a:extLst>
            </p:cNvPr>
            <p:cNvSpPr/>
            <p:nvPr/>
          </p:nvSpPr>
          <p:spPr>
            <a:xfrm rot="-10800000">
              <a:off x="11357187" y="5586199"/>
              <a:ext cx="180000" cy="104999"/>
            </a:xfrm>
            <a:custGeom>
              <a:avLst/>
              <a:gdLst>
                <a:gd name="connsiteX0" fmla="*/ 25607 w 180000"/>
                <a:gd name="connsiteY0" fmla="*/ 100607 h 104999"/>
                <a:gd name="connsiteX1" fmla="*/ 4393 w 180000"/>
                <a:gd name="connsiteY1" fmla="*/ 100607 h 104999"/>
                <a:gd name="connsiteX2" fmla="*/ 4393 w 180000"/>
                <a:gd name="connsiteY2" fmla="*/ 79394 h 104999"/>
                <a:gd name="connsiteX3" fmla="*/ 79394 w 180000"/>
                <a:gd name="connsiteY3" fmla="*/ 4393 h 104999"/>
                <a:gd name="connsiteX4" fmla="*/ 100035 w 180000"/>
                <a:gd name="connsiteY4" fmla="*/ 3851 h 104999"/>
                <a:gd name="connsiteX5" fmla="*/ 175035 w 180000"/>
                <a:gd name="connsiteY5" fmla="*/ 71351 h 104999"/>
                <a:gd name="connsiteX6" fmla="*/ 176150 w 180000"/>
                <a:gd name="connsiteY6" fmla="*/ 92535 h 104999"/>
                <a:gd name="connsiteX7" fmla="*/ 154965 w 180000"/>
                <a:gd name="connsiteY7" fmla="*/ 93650 h 104999"/>
                <a:gd name="connsiteX8" fmla="*/ 90543 w 180000"/>
                <a:gd name="connsiteY8" fmla="*/ 35670 h 104999"/>
                <a:gd name="connsiteX9" fmla="*/ 25607 w 180000"/>
                <a:gd name="connsiteY9" fmla="*/ 100607 h 10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000" h="104999">
                  <a:moveTo>
                    <a:pt x="25607" y="100607"/>
                  </a:moveTo>
                  <a:cubicBezTo>
                    <a:pt x="19749" y="106464"/>
                    <a:pt x="10251" y="106464"/>
                    <a:pt x="4393" y="100607"/>
                  </a:cubicBezTo>
                  <a:cubicBezTo>
                    <a:pt x="-1464" y="94749"/>
                    <a:pt x="-1464" y="85251"/>
                    <a:pt x="4393" y="79394"/>
                  </a:cubicBezTo>
                  <a:lnTo>
                    <a:pt x="79394" y="4393"/>
                  </a:lnTo>
                  <a:cubicBezTo>
                    <a:pt x="85035" y="-1248"/>
                    <a:pt x="94104" y="-1486"/>
                    <a:pt x="100035" y="3851"/>
                  </a:cubicBezTo>
                  <a:lnTo>
                    <a:pt x="175035" y="71351"/>
                  </a:lnTo>
                  <a:cubicBezTo>
                    <a:pt x="181193" y="76893"/>
                    <a:pt x="181692" y="86378"/>
                    <a:pt x="176150" y="92535"/>
                  </a:cubicBezTo>
                  <a:cubicBezTo>
                    <a:pt x="170607" y="98693"/>
                    <a:pt x="161123" y="99192"/>
                    <a:pt x="154965" y="93650"/>
                  </a:cubicBezTo>
                  <a:lnTo>
                    <a:pt x="90543" y="35670"/>
                  </a:lnTo>
                  <a:lnTo>
                    <a:pt x="25607" y="100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98" name="Рисунок 196">
            <a:extLst>
              <a:ext uri="{FF2B5EF4-FFF2-40B4-BE49-F238E27FC236}">
                <a16:creationId xmlns:a16="http://schemas.microsoft.com/office/drawing/2014/main" id="{5EE51F88-A5B9-A241-9CC3-BC5FE9F9EA35}"/>
              </a:ext>
            </a:extLst>
          </p:cNvPr>
          <p:cNvGrpSpPr/>
          <p:nvPr/>
        </p:nvGrpSpPr>
        <p:grpSpPr>
          <a:xfrm>
            <a:off x="7469219" y="5134477"/>
            <a:ext cx="360000" cy="360000"/>
            <a:chOff x="7491521" y="5451199"/>
            <a:chExt cx="360000" cy="360000"/>
          </a:xfrm>
        </p:grpSpPr>
        <p:sp>
          <p:nvSpPr>
            <p:cNvPr id="899" name="Полилиния 898">
              <a:extLst>
                <a:ext uri="{FF2B5EF4-FFF2-40B4-BE49-F238E27FC236}">
                  <a16:creationId xmlns:a16="http://schemas.microsoft.com/office/drawing/2014/main" id="{15053D03-0BA0-1740-8458-37E98DE7A8EB}"/>
                </a:ext>
              </a:extLst>
            </p:cNvPr>
            <p:cNvSpPr/>
            <p:nvPr/>
          </p:nvSpPr>
          <p:spPr>
            <a:xfrm>
              <a:off x="7491521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0" name="Полилиния 899">
              <a:extLst>
                <a:ext uri="{FF2B5EF4-FFF2-40B4-BE49-F238E27FC236}">
                  <a16:creationId xmlns:a16="http://schemas.microsoft.com/office/drawing/2014/main" id="{A581DD50-BBA4-9B43-92B3-6DF5DB83903B}"/>
                </a:ext>
              </a:extLst>
            </p:cNvPr>
            <p:cNvSpPr/>
            <p:nvPr/>
          </p:nvSpPr>
          <p:spPr>
            <a:xfrm>
              <a:off x="7551521" y="5481199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1" name="Полилиния 900">
              <a:extLst>
                <a:ext uri="{FF2B5EF4-FFF2-40B4-BE49-F238E27FC236}">
                  <a16:creationId xmlns:a16="http://schemas.microsoft.com/office/drawing/2014/main" id="{9FB8D6D3-1C35-5A4F-BD2D-37EE3897AABF}"/>
                </a:ext>
              </a:extLst>
            </p:cNvPr>
            <p:cNvSpPr/>
            <p:nvPr/>
          </p:nvSpPr>
          <p:spPr>
            <a:xfrm>
              <a:off x="7618289" y="5591044"/>
              <a:ext cx="104043" cy="105200"/>
            </a:xfrm>
            <a:custGeom>
              <a:avLst/>
              <a:gdLst>
                <a:gd name="connsiteX0" fmla="*/ 96544 w 104043"/>
                <a:gd name="connsiteY0" fmla="*/ 37615 h 105200"/>
                <a:gd name="connsiteX1" fmla="*/ 67196 w 104043"/>
                <a:gd name="connsiteY1" fmla="*/ 37615 h 105200"/>
                <a:gd name="connsiteX2" fmla="*/ 67196 w 104043"/>
                <a:gd name="connsiteY2" fmla="*/ 7500 h 105200"/>
                <a:gd name="connsiteX3" fmla="*/ 59696 w 104043"/>
                <a:gd name="connsiteY3" fmla="*/ 0 h 105200"/>
                <a:gd name="connsiteX4" fmla="*/ 44347 w 104043"/>
                <a:gd name="connsiteY4" fmla="*/ 0 h 105200"/>
                <a:gd name="connsiteX5" fmla="*/ 36847 w 104043"/>
                <a:gd name="connsiteY5" fmla="*/ 7500 h 105200"/>
                <a:gd name="connsiteX6" fmla="*/ 36847 w 104043"/>
                <a:gd name="connsiteY6" fmla="*/ 37615 h 105200"/>
                <a:gd name="connsiteX7" fmla="*/ 7500 w 104043"/>
                <a:gd name="connsiteY7" fmla="*/ 37615 h 105200"/>
                <a:gd name="connsiteX8" fmla="*/ 0 w 104043"/>
                <a:gd name="connsiteY8" fmla="*/ 45115 h 105200"/>
                <a:gd name="connsiteX9" fmla="*/ 1776 w 104043"/>
                <a:gd name="connsiteY9" fmla="*/ 49962 h 105200"/>
                <a:gd name="connsiteX10" fmla="*/ 46298 w 104043"/>
                <a:gd name="connsiteY10" fmla="*/ 102546 h 105200"/>
                <a:gd name="connsiteX11" fmla="*/ 56869 w 104043"/>
                <a:gd name="connsiteY11" fmla="*/ 103423 h 105200"/>
                <a:gd name="connsiteX12" fmla="*/ 57746 w 104043"/>
                <a:gd name="connsiteY12" fmla="*/ 102546 h 105200"/>
                <a:gd name="connsiteX13" fmla="*/ 102268 w 104043"/>
                <a:gd name="connsiteY13" fmla="*/ 49962 h 105200"/>
                <a:gd name="connsiteX14" fmla="*/ 101390 w 104043"/>
                <a:gd name="connsiteY14" fmla="*/ 39391 h 105200"/>
                <a:gd name="connsiteX15" fmla="*/ 96544 w 104043"/>
                <a:gd name="connsiteY15" fmla="*/ 37615 h 10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4043" h="105200">
                  <a:moveTo>
                    <a:pt x="96544" y="37615"/>
                  </a:moveTo>
                  <a:lnTo>
                    <a:pt x="67196" y="37615"/>
                  </a:lnTo>
                  <a:lnTo>
                    <a:pt x="67196" y="7500"/>
                  </a:lnTo>
                  <a:cubicBezTo>
                    <a:pt x="67196" y="3358"/>
                    <a:pt x="63839" y="0"/>
                    <a:pt x="59696" y="0"/>
                  </a:cubicBezTo>
                  <a:lnTo>
                    <a:pt x="44347" y="0"/>
                  </a:lnTo>
                  <a:cubicBezTo>
                    <a:pt x="40205" y="0"/>
                    <a:pt x="36847" y="3358"/>
                    <a:pt x="36847" y="7500"/>
                  </a:cubicBezTo>
                  <a:lnTo>
                    <a:pt x="36847" y="37615"/>
                  </a:lnTo>
                  <a:lnTo>
                    <a:pt x="7500" y="37615"/>
                  </a:lnTo>
                  <a:cubicBezTo>
                    <a:pt x="3358" y="37615"/>
                    <a:pt x="0" y="40972"/>
                    <a:pt x="0" y="45115"/>
                  </a:cubicBezTo>
                  <a:cubicBezTo>
                    <a:pt x="0" y="46890"/>
                    <a:pt x="629" y="48607"/>
                    <a:pt x="1776" y="49962"/>
                  </a:cubicBezTo>
                  <a:lnTo>
                    <a:pt x="46298" y="102546"/>
                  </a:lnTo>
                  <a:cubicBezTo>
                    <a:pt x="48974" y="105708"/>
                    <a:pt x="53707" y="106101"/>
                    <a:pt x="56869" y="103423"/>
                  </a:cubicBezTo>
                  <a:cubicBezTo>
                    <a:pt x="57185" y="103156"/>
                    <a:pt x="57478" y="102862"/>
                    <a:pt x="57746" y="102546"/>
                  </a:cubicBezTo>
                  <a:lnTo>
                    <a:pt x="102268" y="49962"/>
                  </a:lnTo>
                  <a:cubicBezTo>
                    <a:pt x="104944" y="46800"/>
                    <a:pt x="104551" y="42067"/>
                    <a:pt x="101390" y="39391"/>
                  </a:cubicBezTo>
                  <a:cubicBezTo>
                    <a:pt x="100036" y="38244"/>
                    <a:pt x="98318" y="37615"/>
                    <a:pt x="96544" y="3761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02" name="Рисунок 197">
            <a:extLst>
              <a:ext uri="{FF2B5EF4-FFF2-40B4-BE49-F238E27FC236}">
                <a16:creationId xmlns:a16="http://schemas.microsoft.com/office/drawing/2014/main" id="{9F85BA18-9845-584C-9211-99958A8C724C}"/>
              </a:ext>
            </a:extLst>
          </p:cNvPr>
          <p:cNvGrpSpPr/>
          <p:nvPr/>
        </p:nvGrpSpPr>
        <p:grpSpPr>
          <a:xfrm>
            <a:off x="8224352" y="5134477"/>
            <a:ext cx="360000" cy="360000"/>
            <a:chOff x="8246654" y="5451199"/>
            <a:chExt cx="360000" cy="360000"/>
          </a:xfrm>
        </p:grpSpPr>
        <p:sp>
          <p:nvSpPr>
            <p:cNvPr id="903" name="Полилиния 902">
              <a:extLst>
                <a:ext uri="{FF2B5EF4-FFF2-40B4-BE49-F238E27FC236}">
                  <a16:creationId xmlns:a16="http://schemas.microsoft.com/office/drawing/2014/main" id="{84D5DC29-2F83-A640-8E3D-B20A4503EF3B}"/>
                </a:ext>
              </a:extLst>
            </p:cNvPr>
            <p:cNvSpPr/>
            <p:nvPr/>
          </p:nvSpPr>
          <p:spPr>
            <a:xfrm>
              <a:off x="8246654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4" name="Полилиния 903">
              <a:extLst>
                <a:ext uri="{FF2B5EF4-FFF2-40B4-BE49-F238E27FC236}">
                  <a16:creationId xmlns:a16="http://schemas.microsoft.com/office/drawing/2014/main" id="{709531CD-890C-324D-9A36-3ECDA1C2B61E}"/>
                </a:ext>
              </a:extLst>
            </p:cNvPr>
            <p:cNvSpPr/>
            <p:nvPr/>
          </p:nvSpPr>
          <p:spPr>
            <a:xfrm>
              <a:off x="8276654" y="5511199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5" name="Полилиния 904">
              <a:extLst>
                <a:ext uri="{FF2B5EF4-FFF2-40B4-BE49-F238E27FC236}">
                  <a16:creationId xmlns:a16="http://schemas.microsoft.com/office/drawing/2014/main" id="{DCAA506E-311E-8947-8B68-9EEEBB1E74E7}"/>
                </a:ext>
              </a:extLst>
            </p:cNvPr>
            <p:cNvSpPr/>
            <p:nvPr/>
          </p:nvSpPr>
          <p:spPr>
            <a:xfrm>
              <a:off x="8373422" y="5606043"/>
              <a:ext cx="104043" cy="105200"/>
            </a:xfrm>
            <a:custGeom>
              <a:avLst/>
              <a:gdLst>
                <a:gd name="connsiteX0" fmla="*/ 96544 w 104043"/>
                <a:gd name="connsiteY0" fmla="*/ 37616 h 105200"/>
                <a:gd name="connsiteX1" fmla="*/ 67196 w 104043"/>
                <a:gd name="connsiteY1" fmla="*/ 37616 h 105200"/>
                <a:gd name="connsiteX2" fmla="*/ 67196 w 104043"/>
                <a:gd name="connsiteY2" fmla="*/ 7500 h 105200"/>
                <a:gd name="connsiteX3" fmla="*/ 59696 w 104043"/>
                <a:gd name="connsiteY3" fmla="*/ 0 h 105200"/>
                <a:gd name="connsiteX4" fmla="*/ 44347 w 104043"/>
                <a:gd name="connsiteY4" fmla="*/ 0 h 105200"/>
                <a:gd name="connsiteX5" fmla="*/ 36847 w 104043"/>
                <a:gd name="connsiteY5" fmla="*/ 7500 h 105200"/>
                <a:gd name="connsiteX6" fmla="*/ 36847 w 104043"/>
                <a:gd name="connsiteY6" fmla="*/ 37616 h 105200"/>
                <a:gd name="connsiteX7" fmla="*/ 7500 w 104043"/>
                <a:gd name="connsiteY7" fmla="*/ 37616 h 105200"/>
                <a:gd name="connsiteX8" fmla="*/ 0 w 104043"/>
                <a:gd name="connsiteY8" fmla="*/ 45116 h 105200"/>
                <a:gd name="connsiteX9" fmla="*/ 1776 w 104043"/>
                <a:gd name="connsiteY9" fmla="*/ 49962 h 105200"/>
                <a:gd name="connsiteX10" fmla="*/ 46298 w 104043"/>
                <a:gd name="connsiteY10" fmla="*/ 102546 h 105200"/>
                <a:gd name="connsiteX11" fmla="*/ 56869 w 104043"/>
                <a:gd name="connsiteY11" fmla="*/ 103423 h 105200"/>
                <a:gd name="connsiteX12" fmla="*/ 57746 w 104043"/>
                <a:gd name="connsiteY12" fmla="*/ 102546 h 105200"/>
                <a:gd name="connsiteX13" fmla="*/ 102268 w 104043"/>
                <a:gd name="connsiteY13" fmla="*/ 49962 h 105200"/>
                <a:gd name="connsiteX14" fmla="*/ 101390 w 104043"/>
                <a:gd name="connsiteY14" fmla="*/ 39391 h 105200"/>
                <a:gd name="connsiteX15" fmla="*/ 96544 w 104043"/>
                <a:gd name="connsiteY15" fmla="*/ 37616 h 10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4043" h="105200">
                  <a:moveTo>
                    <a:pt x="96544" y="37616"/>
                  </a:moveTo>
                  <a:lnTo>
                    <a:pt x="67196" y="37616"/>
                  </a:lnTo>
                  <a:lnTo>
                    <a:pt x="67196" y="7500"/>
                  </a:lnTo>
                  <a:cubicBezTo>
                    <a:pt x="67196" y="3358"/>
                    <a:pt x="63839" y="0"/>
                    <a:pt x="59696" y="0"/>
                  </a:cubicBezTo>
                  <a:lnTo>
                    <a:pt x="44347" y="0"/>
                  </a:lnTo>
                  <a:cubicBezTo>
                    <a:pt x="40205" y="0"/>
                    <a:pt x="36847" y="3358"/>
                    <a:pt x="36847" y="7500"/>
                  </a:cubicBezTo>
                  <a:lnTo>
                    <a:pt x="36847" y="37616"/>
                  </a:lnTo>
                  <a:lnTo>
                    <a:pt x="7500" y="37616"/>
                  </a:lnTo>
                  <a:cubicBezTo>
                    <a:pt x="3358" y="37616"/>
                    <a:pt x="0" y="40972"/>
                    <a:pt x="0" y="45116"/>
                  </a:cubicBezTo>
                  <a:cubicBezTo>
                    <a:pt x="0" y="46890"/>
                    <a:pt x="629" y="48608"/>
                    <a:pt x="1776" y="49962"/>
                  </a:cubicBezTo>
                  <a:lnTo>
                    <a:pt x="46298" y="102546"/>
                  </a:lnTo>
                  <a:cubicBezTo>
                    <a:pt x="48974" y="105708"/>
                    <a:pt x="53707" y="106101"/>
                    <a:pt x="56869" y="103423"/>
                  </a:cubicBezTo>
                  <a:cubicBezTo>
                    <a:pt x="57185" y="103157"/>
                    <a:pt x="57478" y="102863"/>
                    <a:pt x="57746" y="102546"/>
                  </a:cubicBezTo>
                  <a:lnTo>
                    <a:pt x="102268" y="49962"/>
                  </a:lnTo>
                  <a:cubicBezTo>
                    <a:pt x="104944" y="46800"/>
                    <a:pt x="104551" y="42067"/>
                    <a:pt x="101390" y="39391"/>
                  </a:cubicBezTo>
                  <a:cubicBezTo>
                    <a:pt x="100036" y="38244"/>
                    <a:pt x="98318" y="37616"/>
                    <a:pt x="96544" y="37616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06" name="Рисунок 198">
            <a:extLst>
              <a:ext uri="{FF2B5EF4-FFF2-40B4-BE49-F238E27FC236}">
                <a16:creationId xmlns:a16="http://schemas.microsoft.com/office/drawing/2014/main" id="{A000F10F-0987-4D46-A449-38DD21BACF16}"/>
              </a:ext>
            </a:extLst>
          </p:cNvPr>
          <p:cNvGrpSpPr/>
          <p:nvPr/>
        </p:nvGrpSpPr>
        <p:grpSpPr>
          <a:xfrm>
            <a:off x="6714086" y="5134477"/>
            <a:ext cx="360000" cy="360000"/>
            <a:chOff x="6736388" y="5451199"/>
            <a:chExt cx="360000" cy="360000"/>
          </a:xfrm>
        </p:grpSpPr>
        <p:sp>
          <p:nvSpPr>
            <p:cNvPr id="907" name="Полилиния 906">
              <a:extLst>
                <a:ext uri="{FF2B5EF4-FFF2-40B4-BE49-F238E27FC236}">
                  <a16:creationId xmlns:a16="http://schemas.microsoft.com/office/drawing/2014/main" id="{916C749E-C3F9-1142-8923-06A4C1B35722}"/>
                </a:ext>
              </a:extLst>
            </p:cNvPr>
            <p:cNvSpPr/>
            <p:nvPr/>
          </p:nvSpPr>
          <p:spPr>
            <a:xfrm>
              <a:off x="6736388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8" name="Скругленный прямоугольник 907">
              <a:extLst>
                <a:ext uri="{FF2B5EF4-FFF2-40B4-BE49-F238E27FC236}">
                  <a16:creationId xmlns:a16="http://schemas.microsoft.com/office/drawing/2014/main" id="{3B5522D4-6F0F-0B4B-B22C-E37D8035741A}"/>
                </a:ext>
              </a:extLst>
            </p:cNvPr>
            <p:cNvSpPr/>
            <p:nvPr/>
          </p:nvSpPr>
          <p:spPr>
            <a:xfrm rot="8100000">
              <a:off x="6896085" y="5528395"/>
              <a:ext cx="30000" cy="21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9" name="Полилиния 908">
              <a:extLst>
                <a:ext uri="{FF2B5EF4-FFF2-40B4-BE49-F238E27FC236}">
                  <a16:creationId xmlns:a16="http://schemas.microsoft.com/office/drawing/2014/main" id="{BD54AB22-A872-F844-AD50-4D02C872D32D}"/>
                </a:ext>
              </a:extLst>
            </p:cNvPr>
            <p:cNvSpPr/>
            <p:nvPr/>
          </p:nvSpPr>
          <p:spPr>
            <a:xfrm>
              <a:off x="6848354" y="5565362"/>
              <a:ext cx="151976" cy="162582"/>
            </a:xfrm>
            <a:custGeom>
              <a:avLst/>
              <a:gdLst>
                <a:gd name="connsiteX0" fmla="*/ 121976 w 151976"/>
                <a:gd name="connsiteY0" fmla="*/ 15000 h 162582"/>
                <a:gd name="connsiteX1" fmla="*/ 136976 w 151976"/>
                <a:gd name="connsiteY1" fmla="*/ 0 h 162582"/>
                <a:gd name="connsiteX2" fmla="*/ 151976 w 151976"/>
                <a:gd name="connsiteY2" fmla="*/ 15000 h 162582"/>
                <a:gd name="connsiteX3" fmla="*/ 151976 w 151976"/>
                <a:gd name="connsiteY3" fmla="*/ 142279 h 162582"/>
                <a:gd name="connsiteX4" fmla="*/ 137627 w 151976"/>
                <a:gd name="connsiteY4" fmla="*/ 157266 h 162582"/>
                <a:gd name="connsiteX5" fmla="*/ 15652 w 151976"/>
                <a:gd name="connsiteY5" fmla="*/ 162568 h 162582"/>
                <a:gd name="connsiteX6" fmla="*/ 14 w 151976"/>
                <a:gd name="connsiteY6" fmla="*/ 148234 h 162582"/>
                <a:gd name="connsiteX7" fmla="*/ 14349 w 151976"/>
                <a:gd name="connsiteY7" fmla="*/ 132597 h 162582"/>
                <a:gd name="connsiteX8" fmla="*/ 121976 w 151976"/>
                <a:gd name="connsiteY8" fmla="*/ 127917 h 162582"/>
                <a:gd name="connsiteX9" fmla="*/ 121976 w 151976"/>
                <a:gd name="connsiteY9" fmla="*/ 15000 h 162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976" h="162582">
                  <a:moveTo>
                    <a:pt x="121976" y="15000"/>
                  </a:moveTo>
                  <a:cubicBezTo>
                    <a:pt x="121976" y="6716"/>
                    <a:pt x="128692" y="0"/>
                    <a:pt x="136976" y="0"/>
                  </a:cubicBezTo>
                  <a:cubicBezTo>
                    <a:pt x="145261" y="0"/>
                    <a:pt x="151976" y="6716"/>
                    <a:pt x="151976" y="15000"/>
                  </a:cubicBezTo>
                  <a:lnTo>
                    <a:pt x="151976" y="142279"/>
                  </a:lnTo>
                  <a:cubicBezTo>
                    <a:pt x="151976" y="150310"/>
                    <a:pt x="145651" y="156916"/>
                    <a:pt x="137627" y="157266"/>
                  </a:cubicBezTo>
                  <a:lnTo>
                    <a:pt x="15652" y="162568"/>
                  </a:lnTo>
                  <a:cubicBezTo>
                    <a:pt x="7375" y="162928"/>
                    <a:pt x="374" y="156510"/>
                    <a:pt x="14" y="148234"/>
                  </a:cubicBezTo>
                  <a:cubicBezTo>
                    <a:pt x="-345" y="139957"/>
                    <a:pt x="6072" y="132957"/>
                    <a:pt x="14349" y="132597"/>
                  </a:cubicBezTo>
                  <a:lnTo>
                    <a:pt x="121976" y="127917"/>
                  </a:lnTo>
                  <a:lnTo>
                    <a:pt x="121976" y="1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10" name="Рисунок 199">
            <a:extLst>
              <a:ext uri="{FF2B5EF4-FFF2-40B4-BE49-F238E27FC236}">
                <a16:creationId xmlns:a16="http://schemas.microsoft.com/office/drawing/2014/main" id="{C979A948-0ED6-C145-9BA6-2BB283118EE7}"/>
              </a:ext>
            </a:extLst>
          </p:cNvPr>
          <p:cNvGrpSpPr/>
          <p:nvPr/>
        </p:nvGrpSpPr>
        <p:grpSpPr>
          <a:xfrm>
            <a:off x="5958953" y="5134477"/>
            <a:ext cx="360000" cy="360000"/>
            <a:chOff x="5981255" y="5451199"/>
            <a:chExt cx="360000" cy="360000"/>
          </a:xfrm>
        </p:grpSpPr>
        <p:sp>
          <p:nvSpPr>
            <p:cNvPr id="911" name="Полилиния 910">
              <a:extLst>
                <a:ext uri="{FF2B5EF4-FFF2-40B4-BE49-F238E27FC236}">
                  <a16:creationId xmlns:a16="http://schemas.microsoft.com/office/drawing/2014/main" id="{10C42914-A4D3-E249-8DBA-49CBEC06DDFD}"/>
                </a:ext>
              </a:extLst>
            </p:cNvPr>
            <p:cNvSpPr/>
            <p:nvPr/>
          </p:nvSpPr>
          <p:spPr>
            <a:xfrm>
              <a:off x="5981255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2" name="Полилиния 911">
              <a:extLst>
                <a:ext uri="{FF2B5EF4-FFF2-40B4-BE49-F238E27FC236}">
                  <a16:creationId xmlns:a16="http://schemas.microsoft.com/office/drawing/2014/main" id="{B7627985-2C25-0A4D-A237-D95F490CCC78}"/>
                </a:ext>
              </a:extLst>
            </p:cNvPr>
            <p:cNvSpPr/>
            <p:nvPr/>
          </p:nvSpPr>
          <p:spPr>
            <a:xfrm>
              <a:off x="6050522" y="5496199"/>
              <a:ext cx="221462" cy="120000"/>
            </a:xfrm>
            <a:custGeom>
              <a:avLst/>
              <a:gdLst>
                <a:gd name="connsiteX0" fmla="*/ 51340 w 221462"/>
                <a:gd name="connsiteY0" fmla="*/ 0 h 120000"/>
                <a:gd name="connsiteX1" fmla="*/ 110733 w 221462"/>
                <a:gd name="connsiteY1" fmla="*/ 40000 h 120000"/>
                <a:gd name="connsiteX2" fmla="*/ 170125 w 221462"/>
                <a:gd name="connsiteY2" fmla="*/ 0 h 120000"/>
                <a:gd name="connsiteX3" fmla="*/ 206463 w 221462"/>
                <a:gd name="connsiteY3" fmla="*/ 0 h 120000"/>
                <a:gd name="connsiteX4" fmla="*/ 221463 w 221462"/>
                <a:gd name="connsiteY4" fmla="*/ 15000 h 120000"/>
                <a:gd name="connsiteX5" fmla="*/ 219879 w 221462"/>
                <a:gd name="connsiteY5" fmla="*/ 21708 h 120000"/>
                <a:gd name="connsiteX6" fmla="*/ 174879 w 221462"/>
                <a:gd name="connsiteY6" fmla="*/ 111708 h 120000"/>
                <a:gd name="connsiteX7" fmla="*/ 161463 w 221462"/>
                <a:gd name="connsiteY7" fmla="*/ 120000 h 120000"/>
                <a:gd name="connsiteX8" fmla="*/ 60003 w 221462"/>
                <a:gd name="connsiteY8" fmla="*/ 120000 h 120000"/>
                <a:gd name="connsiteX9" fmla="*/ 46587 w 221462"/>
                <a:gd name="connsiteY9" fmla="*/ 111708 h 120000"/>
                <a:gd name="connsiteX10" fmla="*/ 1587 w 221462"/>
                <a:gd name="connsiteY10" fmla="*/ 21708 h 120000"/>
                <a:gd name="connsiteX11" fmla="*/ 8295 w 221462"/>
                <a:gd name="connsiteY11" fmla="*/ 1584 h 120000"/>
                <a:gd name="connsiteX12" fmla="*/ 15003 w 221462"/>
                <a:gd name="connsiteY12" fmla="*/ 0 h 120000"/>
                <a:gd name="connsiteX13" fmla="*/ 51340 w 221462"/>
                <a:gd name="connsiteY13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1462" h="120000">
                  <a:moveTo>
                    <a:pt x="51340" y="0"/>
                  </a:moveTo>
                  <a:cubicBezTo>
                    <a:pt x="55499" y="22615"/>
                    <a:pt x="80506" y="40000"/>
                    <a:pt x="110733" y="40000"/>
                  </a:cubicBezTo>
                  <a:cubicBezTo>
                    <a:pt x="140959" y="40000"/>
                    <a:pt x="165966" y="22615"/>
                    <a:pt x="170125" y="0"/>
                  </a:cubicBezTo>
                  <a:lnTo>
                    <a:pt x="206463" y="0"/>
                  </a:lnTo>
                  <a:cubicBezTo>
                    <a:pt x="214746" y="0"/>
                    <a:pt x="221463" y="6716"/>
                    <a:pt x="221463" y="15000"/>
                  </a:cubicBezTo>
                  <a:cubicBezTo>
                    <a:pt x="221463" y="17329"/>
                    <a:pt x="220920" y="19625"/>
                    <a:pt x="219879" y="21708"/>
                  </a:cubicBezTo>
                  <a:lnTo>
                    <a:pt x="174879" y="111708"/>
                  </a:lnTo>
                  <a:cubicBezTo>
                    <a:pt x="172338" y="116790"/>
                    <a:pt x="167143" y="120000"/>
                    <a:pt x="161463" y="120000"/>
                  </a:cubicBezTo>
                  <a:lnTo>
                    <a:pt x="60003" y="120000"/>
                  </a:lnTo>
                  <a:cubicBezTo>
                    <a:pt x="54322" y="120000"/>
                    <a:pt x="49128" y="116790"/>
                    <a:pt x="46587" y="111708"/>
                  </a:cubicBezTo>
                  <a:lnTo>
                    <a:pt x="1587" y="21708"/>
                  </a:lnTo>
                  <a:cubicBezTo>
                    <a:pt x="-2118" y="14299"/>
                    <a:pt x="885" y="5288"/>
                    <a:pt x="8295" y="1584"/>
                  </a:cubicBezTo>
                  <a:cubicBezTo>
                    <a:pt x="10378" y="542"/>
                    <a:pt x="12675" y="0"/>
                    <a:pt x="15003" y="0"/>
                  </a:cubicBezTo>
                  <a:lnTo>
                    <a:pt x="5134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3" name="Полилиния 912">
              <a:extLst>
                <a:ext uri="{FF2B5EF4-FFF2-40B4-BE49-F238E27FC236}">
                  <a16:creationId xmlns:a16="http://schemas.microsoft.com/office/drawing/2014/main" id="{3B85E693-FA63-D947-B579-6B327D89FDDB}"/>
                </a:ext>
              </a:extLst>
            </p:cNvPr>
            <p:cNvSpPr/>
            <p:nvPr/>
          </p:nvSpPr>
          <p:spPr>
            <a:xfrm>
              <a:off x="6048410" y="5631199"/>
              <a:ext cx="225692" cy="150000"/>
            </a:xfrm>
            <a:custGeom>
              <a:avLst/>
              <a:gdLst>
                <a:gd name="connsiteX0" fmla="*/ 73156 w 225692"/>
                <a:gd name="connsiteY0" fmla="*/ 0 h 150000"/>
                <a:gd name="connsiteX1" fmla="*/ 152533 w 225692"/>
                <a:gd name="connsiteY1" fmla="*/ 0 h 150000"/>
                <a:gd name="connsiteX2" fmla="*/ 180388 w 225692"/>
                <a:gd name="connsiteY2" fmla="*/ 18858 h 150000"/>
                <a:gd name="connsiteX3" fmla="*/ 224616 w 225692"/>
                <a:gd name="connsiteY3" fmla="*/ 129429 h 150000"/>
                <a:gd name="connsiteX4" fmla="*/ 216261 w 225692"/>
                <a:gd name="connsiteY4" fmla="*/ 148927 h 150000"/>
                <a:gd name="connsiteX5" fmla="*/ 210690 w 225692"/>
                <a:gd name="connsiteY5" fmla="*/ 150000 h 150000"/>
                <a:gd name="connsiteX6" fmla="*/ 15000 w 225692"/>
                <a:gd name="connsiteY6" fmla="*/ 150000 h 150000"/>
                <a:gd name="connsiteX7" fmla="*/ 0 w 225692"/>
                <a:gd name="connsiteY7" fmla="*/ 135000 h 150000"/>
                <a:gd name="connsiteX8" fmla="*/ 1073 w 225692"/>
                <a:gd name="connsiteY8" fmla="*/ 129429 h 150000"/>
                <a:gd name="connsiteX9" fmla="*/ 45301 w 225692"/>
                <a:gd name="connsiteY9" fmla="*/ 18858 h 150000"/>
                <a:gd name="connsiteX10" fmla="*/ 73156 w 225692"/>
                <a:gd name="connsiteY10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5692" h="150000">
                  <a:moveTo>
                    <a:pt x="73156" y="0"/>
                  </a:moveTo>
                  <a:lnTo>
                    <a:pt x="152533" y="0"/>
                  </a:lnTo>
                  <a:cubicBezTo>
                    <a:pt x="164800" y="0"/>
                    <a:pt x="175833" y="7469"/>
                    <a:pt x="180388" y="18858"/>
                  </a:cubicBezTo>
                  <a:lnTo>
                    <a:pt x="224616" y="129429"/>
                  </a:lnTo>
                  <a:cubicBezTo>
                    <a:pt x="227694" y="137121"/>
                    <a:pt x="223951" y="145851"/>
                    <a:pt x="216261" y="148927"/>
                  </a:cubicBezTo>
                  <a:cubicBezTo>
                    <a:pt x="214488" y="149636"/>
                    <a:pt x="212598" y="150000"/>
                    <a:pt x="210690" y="150000"/>
                  </a:cubicBez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cubicBezTo>
                    <a:pt x="0" y="133092"/>
                    <a:pt x="364" y="131201"/>
                    <a:pt x="1073" y="129429"/>
                  </a:cubicBezTo>
                  <a:lnTo>
                    <a:pt x="45301" y="18858"/>
                  </a:lnTo>
                  <a:cubicBezTo>
                    <a:pt x="49857" y="7469"/>
                    <a:pt x="60888" y="0"/>
                    <a:pt x="73156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14" name="Рисунок 200">
            <a:extLst>
              <a:ext uri="{FF2B5EF4-FFF2-40B4-BE49-F238E27FC236}">
                <a16:creationId xmlns:a16="http://schemas.microsoft.com/office/drawing/2014/main" id="{3002F4B1-A009-7F4D-8906-4F20085B1443}"/>
              </a:ext>
            </a:extLst>
          </p:cNvPr>
          <p:cNvGrpSpPr/>
          <p:nvPr/>
        </p:nvGrpSpPr>
        <p:grpSpPr>
          <a:xfrm>
            <a:off x="8979485" y="5134477"/>
            <a:ext cx="360000" cy="360000"/>
            <a:chOff x="9001787" y="5451199"/>
            <a:chExt cx="360000" cy="360000"/>
          </a:xfrm>
        </p:grpSpPr>
        <p:sp>
          <p:nvSpPr>
            <p:cNvPr id="915" name="Полилиния 914">
              <a:extLst>
                <a:ext uri="{FF2B5EF4-FFF2-40B4-BE49-F238E27FC236}">
                  <a16:creationId xmlns:a16="http://schemas.microsoft.com/office/drawing/2014/main" id="{2A4CB030-F4C5-244A-9D47-D31861E802AD}"/>
                </a:ext>
              </a:extLst>
            </p:cNvPr>
            <p:cNvSpPr/>
            <p:nvPr/>
          </p:nvSpPr>
          <p:spPr>
            <a:xfrm>
              <a:off x="9001787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6" name="Полилиния 915">
              <a:extLst>
                <a:ext uri="{FF2B5EF4-FFF2-40B4-BE49-F238E27FC236}">
                  <a16:creationId xmlns:a16="http://schemas.microsoft.com/office/drawing/2014/main" id="{1781AE7E-9EEA-7D47-946A-5CE3E1DB58B2}"/>
                </a:ext>
              </a:extLst>
            </p:cNvPr>
            <p:cNvSpPr/>
            <p:nvPr/>
          </p:nvSpPr>
          <p:spPr>
            <a:xfrm>
              <a:off x="9061787" y="5511199"/>
              <a:ext cx="179933" cy="179933"/>
            </a:xfrm>
            <a:custGeom>
              <a:avLst/>
              <a:gdLst>
                <a:gd name="connsiteX0" fmla="*/ 179934 w 179933"/>
                <a:gd name="connsiteY0" fmla="*/ 30000 h 179933"/>
                <a:gd name="connsiteX1" fmla="*/ 75000 w 179933"/>
                <a:gd name="connsiteY1" fmla="*/ 30000 h 179933"/>
                <a:gd name="connsiteX2" fmla="*/ 30000 w 179933"/>
                <a:gd name="connsiteY2" fmla="*/ 75000 h 179933"/>
                <a:gd name="connsiteX3" fmla="*/ 30000 w 179933"/>
                <a:gd name="connsiteY3" fmla="*/ 179934 h 179933"/>
                <a:gd name="connsiteX4" fmla="*/ 0 w 179933"/>
                <a:gd name="connsiteY4" fmla="*/ 147273 h 179933"/>
                <a:gd name="connsiteX5" fmla="*/ 0 w 179933"/>
                <a:gd name="connsiteY5" fmla="*/ 32727 h 179933"/>
                <a:gd name="connsiteX6" fmla="*/ 32727 w 179933"/>
                <a:gd name="connsiteY6" fmla="*/ 0 h 179933"/>
                <a:gd name="connsiteX7" fmla="*/ 147273 w 179933"/>
                <a:gd name="connsiteY7" fmla="*/ 0 h 179933"/>
                <a:gd name="connsiteX8" fmla="*/ 179934 w 179933"/>
                <a:gd name="connsiteY8" fmla="*/ 30000 h 179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9933" h="179933">
                  <a:moveTo>
                    <a:pt x="179934" y="30000"/>
                  </a:moveTo>
                  <a:lnTo>
                    <a:pt x="75000" y="30000"/>
                  </a:lnTo>
                  <a:cubicBezTo>
                    <a:pt x="50147" y="30000"/>
                    <a:pt x="30000" y="50147"/>
                    <a:pt x="30000" y="75000"/>
                  </a:cubicBezTo>
                  <a:lnTo>
                    <a:pt x="30000" y="179934"/>
                  </a:lnTo>
                  <a:cubicBezTo>
                    <a:pt x="10528" y="178974"/>
                    <a:pt x="0" y="167559"/>
                    <a:pt x="0" y="147273"/>
                  </a:cubicBezTo>
                  <a:lnTo>
                    <a:pt x="0" y="32727"/>
                  </a:lnTo>
                  <a:cubicBezTo>
                    <a:pt x="0" y="11513"/>
                    <a:pt x="11513" y="0"/>
                    <a:pt x="32727" y="0"/>
                  </a:cubicBezTo>
                  <a:lnTo>
                    <a:pt x="147273" y="0"/>
                  </a:lnTo>
                  <a:cubicBezTo>
                    <a:pt x="167559" y="0"/>
                    <a:pt x="178974" y="10528"/>
                    <a:pt x="179934" y="3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7" name="Полилиния 916">
              <a:extLst>
                <a:ext uri="{FF2B5EF4-FFF2-40B4-BE49-F238E27FC236}">
                  <a16:creationId xmlns:a16="http://schemas.microsoft.com/office/drawing/2014/main" id="{93E9947E-784A-184B-B8F9-2D7CA1719ACF}"/>
                </a:ext>
              </a:extLst>
            </p:cNvPr>
            <p:cNvSpPr/>
            <p:nvPr/>
          </p:nvSpPr>
          <p:spPr>
            <a:xfrm>
              <a:off x="9121787" y="5571199"/>
              <a:ext cx="180000" cy="180000"/>
            </a:xfrm>
            <a:custGeom>
              <a:avLst/>
              <a:gdLst>
                <a:gd name="connsiteX0" fmla="*/ 32727 w 180000"/>
                <a:gd name="connsiteY0" fmla="*/ 0 h 180000"/>
                <a:gd name="connsiteX1" fmla="*/ 147273 w 180000"/>
                <a:gd name="connsiteY1" fmla="*/ 0 h 180000"/>
                <a:gd name="connsiteX2" fmla="*/ 180000 w 180000"/>
                <a:gd name="connsiteY2" fmla="*/ 32727 h 180000"/>
                <a:gd name="connsiteX3" fmla="*/ 180000 w 180000"/>
                <a:gd name="connsiteY3" fmla="*/ 147273 h 180000"/>
                <a:gd name="connsiteX4" fmla="*/ 147273 w 180000"/>
                <a:gd name="connsiteY4" fmla="*/ 180000 h 180000"/>
                <a:gd name="connsiteX5" fmla="*/ 32727 w 180000"/>
                <a:gd name="connsiteY5" fmla="*/ 180000 h 180000"/>
                <a:gd name="connsiteX6" fmla="*/ 0 w 180000"/>
                <a:gd name="connsiteY6" fmla="*/ 147273 h 180000"/>
                <a:gd name="connsiteX7" fmla="*/ 0 w 180000"/>
                <a:gd name="connsiteY7" fmla="*/ 32727 h 180000"/>
                <a:gd name="connsiteX8" fmla="*/ 32727 w 180000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000" h="180000">
                  <a:moveTo>
                    <a:pt x="32727" y="0"/>
                  </a:moveTo>
                  <a:lnTo>
                    <a:pt x="147273" y="0"/>
                  </a:lnTo>
                  <a:cubicBezTo>
                    <a:pt x="168488" y="0"/>
                    <a:pt x="180000" y="11513"/>
                    <a:pt x="180000" y="32727"/>
                  </a:cubicBezTo>
                  <a:lnTo>
                    <a:pt x="180000" y="147273"/>
                  </a:lnTo>
                  <a:cubicBezTo>
                    <a:pt x="180000" y="168488"/>
                    <a:pt x="168488" y="180000"/>
                    <a:pt x="147273" y="180000"/>
                  </a:cubicBezTo>
                  <a:lnTo>
                    <a:pt x="32727" y="180000"/>
                  </a:lnTo>
                  <a:cubicBezTo>
                    <a:pt x="11513" y="180000"/>
                    <a:pt x="0" y="168488"/>
                    <a:pt x="0" y="147273"/>
                  </a:cubicBezTo>
                  <a:lnTo>
                    <a:pt x="0" y="32727"/>
                  </a:lnTo>
                  <a:cubicBezTo>
                    <a:pt x="0" y="11513"/>
                    <a:pt x="11513" y="0"/>
                    <a:pt x="32727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18" name="Рисунок 201">
            <a:extLst>
              <a:ext uri="{FF2B5EF4-FFF2-40B4-BE49-F238E27FC236}">
                <a16:creationId xmlns:a16="http://schemas.microsoft.com/office/drawing/2014/main" id="{74C12539-3FC2-DB4E-97C6-CA43231A13B4}"/>
              </a:ext>
            </a:extLst>
          </p:cNvPr>
          <p:cNvGrpSpPr/>
          <p:nvPr/>
        </p:nvGrpSpPr>
        <p:grpSpPr>
          <a:xfrm>
            <a:off x="10489751" y="5134477"/>
            <a:ext cx="360000" cy="360000"/>
            <a:chOff x="10512053" y="5451199"/>
            <a:chExt cx="360000" cy="360000"/>
          </a:xfrm>
        </p:grpSpPr>
        <p:sp>
          <p:nvSpPr>
            <p:cNvPr id="919" name="Полилиния 918">
              <a:extLst>
                <a:ext uri="{FF2B5EF4-FFF2-40B4-BE49-F238E27FC236}">
                  <a16:creationId xmlns:a16="http://schemas.microsoft.com/office/drawing/2014/main" id="{3B70A522-F88A-6347-8263-AF8C7B150504}"/>
                </a:ext>
              </a:extLst>
            </p:cNvPr>
            <p:cNvSpPr/>
            <p:nvPr/>
          </p:nvSpPr>
          <p:spPr>
            <a:xfrm>
              <a:off x="10512053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0" name="Полилиния 919">
              <a:extLst>
                <a:ext uri="{FF2B5EF4-FFF2-40B4-BE49-F238E27FC236}">
                  <a16:creationId xmlns:a16="http://schemas.microsoft.com/office/drawing/2014/main" id="{1262BA8F-9DE4-444E-88C2-47010F39F165}"/>
                </a:ext>
              </a:extLst>
            </p:cNvPr>
            <p:cNvSpPr/>
            <p:nvPr/>
          </p:nvSpPr>
          <p:spPr>
            <a:xfrm>
              <a:off x="10557053" y="5496199"/>
              <a:ext cx="270000" cy="270000"/>
            </a:xfrm>
            <a:custGeom>
              <a:avLst/>
              <a:gdLst>
                <a:gd name="connsiteX0" fmla="*/ 270000 w 270000"/>
                <a:gd name="connsiteY0" fmla="*/ 135000 h 270000"/>
                <a:gd name="connsiteX1" fmla="*/ 135000 w 270000"/>
                <a:gd name="connsiteY1" fmla="*/ 270000 h 270000"/>
                <a:gd name="connsiteX2" fmla="*/ 0 w 270000"/>
                <a:gd name="connsiteY2" fmla="*/ 135000 h 270000"/>
                <a:gd name="connsiteX3" fmla="*/ 135000 w 270000"/>
                <a:gd name="connsiteY3" fmla="*/ 0 h 270000"/>
                <a:gd name="connsiteX4" fmla="*/ 270000 w 270000"/>
                <a:gd name="connsiteY4" fmla="*/ 135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000" h="270000">
                  <a:moveTo>
                    <a:pt x="270000" y="135000"/>
                  </a:moveTo>
                  <a:cubicBezTo>
                    <a:pt x="270000" y="209558"/>
                    <a:pt x="209558" y="270000"/>
                    <a:pt x="135000" y="270000"/>
                  </a:cubicBezTo>
                  <a:cubicBezTo>
                    <a:pt x="60442" y="270000"/>
                    <a:pt x="0" y="209558"/>
                    <a:pt x="0" y="135000"/>
                  </a:cubicBezTo>
                  <a:cubicBezTo>
                    <a:pt x="0" y="60442"/>
                    <a:pt x="60442" y="0"/>
                    <a:pt x="135000" y="0"/>
                  </a:cubicBezTo>
                  <a:cubicBezTo>
                    <a:pt x="209558" y="0"/>
                    <a:pt x="270000" y="60442"/>
                    <a:pt x="270000" y="13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1" name="Полилиния 920">
              <a:extLst>
                <a:ext uri="{FF2B5EF4-FFF2-40B4-BE49-F238E27FC236}">
                  <a16:creationId xmlns:a16="http://schemas.microsoft.com/office/drawing/2014/main" id="{663EA2B2-1E49-2840-B278-6940CF40A71A}"/>
                </a:ext>
              </a:extLst>
            </p:cNvPr>
            <p:cNvSpPr/>
            <p:nvPr/>
          </p:nvSpPr>
          <p:spPr>
            <a:xfrm>
              <a:off x="10666997" y="5571343"/>
              <a:ext cx="74887" cy="119803"/>
            </a:xfrm>
            <a:custGeom>
              <a:avLst/>
              <a:gdLst>
                <a:gd name="connsiteX0" fmla="*/ 12429 w 74887"/>
                <a:gd name="connsiteY0" fmla="*/ 117955 h 119803"/>
                <a:gd name="connsiteX1" fmla="*/ 72316 w 74887"/>
                <a:gd name="connsiteY1" fmla="*/ 65718 h 119803"/>
                <a:gd name="connsiteX2" fmla="*/ 73040 w 74887"/>
                <a:gd name="connsiteY2" fmla="*/ 55137 h 119803"/>
                <a:gd name="connsiteX3" fmla="*/ 72335 w 74887"/>
                <a:gd name="connsiteY3" fmla="*/ 54430 h 119803"/>
                <a:gd name="connsiteX4" fmla="*/ 12447 w 74887"/>
                <a:gd name="connsiteY4" fmla="*/ 1863 h 119803"/>
                <a:gd name="connsiteX5" fmla="*/ 1863 w 74887"/>
                <a:gd name="connsiteY5" fmla="*/ 2552 h 119803"/>
                <a:gd name="connsiteX6" fmla="*/ 0 w 74887"/>
                <a:gd name="connsiteY6" fmla="*/ 7500 h 119803"/>
                <a:gd name="connsiteX7" fmla="*/ 0 w 74887"/>
                <a:gd name="connsiteY7" fmla="*/ 112303 h 119803"/>
                <a:gd name="connsiteX8" fmla="*/ 7500 w 74887"/>
                <a:gd name="connsiteY8" fmla="*/ 119803 h 119803"/>
                <a:gd name="connsiteX9" fmla="*/ 12429 w 74887"/>
                <a:gd name="connsiteY9" fmla="*/ 117955 h 11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887" h="119803">
                  <a:moveTo>
                    <a:pt x="12429" y="117955"/>
                  </a:moveTo>
                  <a:lnTo>
                    <a:pt x="72316" y="65718"/>
                  </a:lnTo>
                  <a:cubicBezTo>
                    <a:pt x="75438" y="62995"/>
                    <a:pt x="75762" y="58258"/>
                    <a:pt x="73040" y="55137"/>
                  </a:cubicBezTo>
                  <a:cubicBezTo>
                    <a:pt x="72821" y="54885"/>
                    <a:pt x="72585" y="54649"/>
                    <a:pt x="72335" y="54430"/>
                  </a:cubicBezTo>
                  <a:lnTo>
                    <a:pt x="12447" y="1863"/>
                  </a:lnTo>
                  <a:cubicBezTo>
                    <a:pt x="9334" y="-869"/>
                    <a:pt x="4596" y="-560"/>
                    <a:pt x="1863" y="2552"/>
                  </a:cubicBezTo>
                  <a:cubicBezTo>
                    <a:pt x="661" y="3921"/>
                    <a:pt x="0" y="5679"/>
                    <a:pt x="0" y="7500"/>
                  </a:cubicBezTo>
                  <a:lnTo>
                    <a:pt x="0" y="112303"/>
                  </a:lnTo>
                  <a:cubicBezTo>
                    <a:pt x="0" y="116445"/>
                    <a:pt x="3357" y="119803"/>
                    <a:pt x="7500" y="119803"/>
                  </a:cubicBezTo>
                  <a:cubicBezTo>
                    <a:pt x="9312" y="119803"/>
                    <a:pt x="11064" y="119146"/>
                    <a:pt x="12429" y="11795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22" name="Рисунок 202">
            <a:extLst>
              <a:ext uri="{FF2B5EF4-FFF2-40B4-BE49-F238E27FC236}">
                <a16:creationId xmlns:a16="http://schemas.microsoft.com/office/drawing/2014/main" id="{BDC59877-4C10-E545-AEB0-94FB7EF0EAAB}"/>
              </a:ext>
            </a:extLst>
          </p:cNvPr>
          <p:cNvGrpSpPr/>
          <p:nvPr/>
        </p:nvGrpSpPr>
        <p:grpSpPr>
          <a:xfrm>
            <a:off x="9734618" y="5134477"/>
            <a:ext cx="360000" cy="360000"/>
            <a:chOff x="9756920" y="5451199"/>
            <a:chExt cx="360000" cy="360000"/>
          </a:xfrm>
        </p:grpSpPr>
        <p:sp>
          <p:nvSpPr>
            <p:cNvPr id="923" name="Полилиния 922">
              <a:extLst>
                <a:ext uri="{FF2B5EF4-FFF2-40B4-BE49-F238E27FC236}">
                  <a16:creationId xmlns:a16="http://schemas.microsoft.com/office/drawing/2014/main" id="{A6BA1A06-9FA4-604A-92CC-94DE8D99B85A}"/>
                </a:ext>
              </a:extLst>
            </p:cNvPr>
            <p:cNvSpPr/>
            <p:nvPr/>
          </p:nvSpPr>
          <p:spPr>
            <a:xfrm>
              <a:off x="9756920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4" name="Полилиния 923">
              <a:extLst>
                <a:ext uri="{FF2B5EF4-FFF2-40B4-BE49-F238E27FC236}">
                  <a16:creationId xmlns:a16="http://schemas.microsoft.com/office/drawing/2014/main" id="{5222B011-F339-354C-A379-2C185A232A8F}"/>
                </a:ext>
              </a:extLst>
            </p:cNvPr>
            <p:cNvSpPr/>
            <p:nvPr/>
          </p:nvSpPr>
          <p:spPr>
            <a:xfrm>
              <a:off x="9801920" y="5496199"/>
              <a:ext cx="270000" cy="270000"/>
            </a:xfrm>
            <a:custGeom>
              <a:avLst/>
              <a:gdLst>
                <a:gd name="connsiteX0" fmla="*/ 270000 w 270000"/>
                <a:gd name="connsiteY0" fmla="*/ 135000 h 270000"/>
                <a:gd name="connsiteX1" fmla="*/ 135000 w 270000"/>
                <a:gd name="connsiteY1" fmla="*/ 270000 h 270000"/>
                <a:gd name="connsiteX2" fmla="*/ 0 w 270000"/>
                <a:gd name="connsiteY2" fmla="*/ 135000 h 270000"/>
                <a:gd name="connsiteX3" fmla="*/ 135000 w 270000"/>
                <a:gd name="connsiteY3" fmla="*/ 0 h 270000"/>
                <a:gd name="connsiteX4" fmla="*/ 270000 w 270000"/>
                <a:gd name="connsiteY4" fmla="*/ 135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000" h="270000">
                  <a:moveTo>
                    <a:pt x="270000" y="135000"/>
                  </a:moveTo>
                  <a:cubicBezTo>
                    <a:pt x="270000" y="209558"/>
                    <a:pt x="209558" y="270000"/>
                    <a:pt x="135000" y="270000"/>
                  </a:cubicBezTo>
                  <a:cubicBezTo>
                    <a:pt x="60442" y="270000"/>
                    <a:pt x="0" y="209558"/>
                    <a:pt x="0" y="135000"/>
                  </a:cubicBezTo>
                  <a:cubicBezTo>
                    <a:pt x="0" y="60442"/>
                    <a:pt x="60442" y="0"/>
                    <a:pt x="135000" y="0"/>
                  </a:cubicBezTo>
                  <a:cubicBezTo>
                    <a:pt x="209558" y="0"/>
                    <a:pt x="270000" y="60442"/>
                    <a:pt x="270000" y="13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5" name="Полилиния 924">
              <a:extLst>
                <a:ext uri="{FF2B5EF4-FFF2-40B4-BE49-F238E27FC236}">
                  <a16:creationId xmlns:a16="http://schemas.microsoft.com/office/drawing/2014/main" id="{8882445E-A7FB-0445-9677-06EE864FCA6E}"/>
                </a:ext>
              </a:extLst>
            </p:cNvPr>
            <p:cNvSpPr/>
            <p:nvPr/>
          </p:nvSpPr>
          <p:spPr>
            <a:xfrm>
              <a:off x="9801920" y="5496199"/>
              <a:ext cx="270000" cy="269993"/>
            </a:xfrm>
            <a:custGeom>
              <a:avLst/>
              <a:gdLst>
                <a:gd name="connsiteX0" fmla="*/ 131037 w 270000"/>
                <a:gd name="connsiteY0" fmla="*/ 269943 h 269993"/>
                <a:gd name="connsiteX1" fmla="*/ 0 w 270000"/>
                <a:gd name="connsiteY1" fmla="*/ 135000 h 269993"/>
                <a:gd name="connsiteX2" fmla="*/ 51 w 270000"/>
                <a:gd name="connsiteY2" fmla="*/ 131270 h 269993"/>
                <a:gd name="connsiteX3" fmla="*/ 28689 w 270000"/>
                <a:gd name="connsiteY3" fmla="*/ 141306 h 269993"/>
                <a:gd name="connsiteX4" fmla="*/ 36871 w 270000"/>
                <a:gd name="connsiteY4" fmla="*/ 166527 h 269993"/>
                <a:gd name="connsiteX5" fmla="*/ 54401 w 270000"/>
                <a:gd name="connsiteY5" fmla="*/ 156920 h 269993"/>
                <a:gd name="connsiteX6" fmla="*/ 80113 w 270000"/>
                <a:gd name="connsiteY6" fmla="*/ 174843 h 269993"/>
                <a:gd name="connsiteX7" fmla="*/ 80113 w 270000"/>
                <a:gd name="connsiteY7" fmla="*/ 198954 h 269993"/>
                <a:gd name="connsiteX8" fmla="*/ 97638 w 270000"/>
                <a:gd name="connsiteY8" fmla="*/ 220572 h 269993"/>
                <a:gd name="connsiteX9" fmla="*/ 101106 w 270000"/>
                <a:gd name="connsiteY9" fmla="*/ 239861 h 269993"/>
                <a:gd name="connsiteX10" fmla="*/ 87759 w 270000"/>
                <a:gd name="connsiteY10" fmla="*/ 261219 h 269993"/>
                <a:gd name="connsiteX11" fmla="*/ 131037 w 270000"/>
                <a:gd name="connsiteY11" fmla="*/ 269942 h 269993"/>
                <a:gd name="connsiteX12" fmla="*/ 131037 w 270000"/>
                <a:gd name="connsiteY12" fmla="*/ 269943 h 269993"/>
                <a:gd name="connsiteX13" fmla="*/ 79241 w 270000"/>
                <a:gd name="connsiteY13" fmla="*/ 12017 h 269993"/>
                <a:gd name="connsiteX14" fmla="*/ 135000 w 270000"/>
                <a:gd name="connsiteY14" fmla="*/ 0 h 269993"/>
                <a:gd name="connsiteX15" fmla="*/ 255546 w 270000"/>
                <a:gd name="connsiteY15" fmla="*/ 74161 h 269993"/>
                <a:gd name="connsiteX16" fmla="*/ 258541 w 270000"/>
                <a:gd name="connsiteY16" fmla="*/ 99491 h 269993"/>
                <a:gd name="connsiteX17" fmla="*/ 233360 w 270000"/>
                <a:gd name="connsiteY17" fmla="*/ 158408 h 269993"/>
                <a:gd name="connsiteX18" fmla="*/ 195210 w 270000"/>
                <a:gd name="connsiteY18" fmla="*/ 178296 h 269993"/>
                <a:gd name="connsiteX19" fmla="*/ 162780 w 270000"/>
                <a:gd name="connsiteY19" fmla="*/ 179858 h 269993"/>
                <a:gd name="connsiteX20" fmla="*/ 142184 w 270000"/>
                <a:gd name="connsiteY20" fmla="*/ 172493 h 269993"/>
                <a:gd name="connsiteX21" fmla="*/ 165834 w 270000"/>
                <a:gd name="connsiteY21" fmla="*/ 154080 h 269993"/>
                <a:gd name="connsiteX22" fmla="*/ 185673 w 270000"/>
                <a:gd name="connsiteY22" fmla="*/ 129570 h 269993"/>
                <a:gd name="connsiteX23" fmla="*/ 134457 w 270000"/>
                <a:gd name="connsiteY23" fmla="*/ 82178 h 269993"/>
                <a:gd name="connsiteX24" fmla="*/ 122826 w 270000"/>
                <a:gd name="connsiteY24" fmla="*/ 55381 h 269993"/>
                <a:gd name="connsiteX25" fmla="*/ 93065 w 270000"/>
                <a:gd name="connsiteY25" fmla="*/ 55381 h 269993"/>
                <a:gd name="connsiteX26" fmla="*/ 79331 w 270000"/>
                <a:gd name="connsiteY26" fmla="*/ 22238 h 269993"/>
                <a:gd name="connsiteX27" fmla="*/ 79241 w 270000"/>
                <a:gd name="connsiteY27" fmla="*/ 12017 h 269993"/>
                <a:gd name="connsiteX28" fmla="*/ 269988 w 270000"/>
                <a:gd name="connsiteY28" fmla="*/ 133155 h 269993"/>
                <a:gd name="connsiteX29" fmla="*/ 270000 w 270000"/>
                <a:gd name="connsiteY29" fmla="*/ 135000 h 269993"/>
                <a:gd name="connsiteX30" fmla="*/ 136343 w 270000"/>
                <a:gd name="connsiteY30" fmla="*/ 269994 h 269993"/>
                <a:gd name="connsiteX31" fmla="*/ 269988 w 270000"/>
                <a:gd name="connsiteY31" fmla="*/ 133155 h 26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70000" h="269993">
                  <a:moveTo>
                    <a:pt x="131037" y="269943"/>
                  </a:moveTo>
                  <a:cubicBezTo>
                    <a:pt x="58311" y="267846"/>
                    <a:pt x="0" y="208233"/>
                    <a:pt x="0" y="135000"/>
                  </a:cubicBezTo>
                  <a:cubicBezTo>
                    <a:pt x="0" y="133752"/>
                    <a:pt x="17" y="132509"/>
                    <a:pt x="51" y="131270"/>
                  </a:cubicBezTo>
                  <a:cubicBezTo>
                    <a:pt x="9935" y="132215"/>
                    <a:pt x="27846" y="134361"/>
                    <a:pt x="28689" y="141306"/>
                  </a:cubicBezTo>
                  <a:cubicBezTo>
                    <a:pt x="29857" y="150914"/>
                    <a:pt x="28689" y="162924"/>
                    <a:pt x="36871" y="166527"/>
                  </a:cubicBezTo>
                  <a:cubicBezTo>
                    <a:pt x="45052" y="170129"/>
                    <a:pt x="47390" y="152114"/>
                    <a:pt x="54401" y="156920"/>
                  </a:cubicBezTo>
                  <a:cubicBezTo>
                    <a:pt x="61413" y="161724"/>
                    <a:pt x="80113" y="166349"/>
                    <a:pt x="80113" y="174843"/>
                  </a:cubicBezTo>
                  <a:cubicBezTo>
                    <a:pt x="80113" y="183336"/>
                    <a:pt x="76607" y="196553"/>
                    <a:pt x="80113" y="198954"/>
                  </a:cubicBezTo>
                  <a:cubicBezTo>
                    <a:pt x="83619" y="201357"/>
                    <a:pt x="97635" y="218169"/>
                    <a:pt x="97638" y="220572"/>
                  </a:cubicBezTo>
                  <a:cubicBezTo>
                    <a:pt x="97644" y="222975"/>
                    <a:pt x="102579" y="235191"/>
                    <a:pt x="101106" y="239861"/>
                  </a:cubicBezTo>
                  <a:cubicBezTo>
                    <a:pt x="99886" y="243730"/>
                    <a:pt x="93729" y="255753"/>
                    <a:pt x="87759" y="261219"/>
                  </a:cubicBezTo>
                  <a:cubicBezTo>
                    <a:pt x="101297" y="266432"/>
                    <a:pt x="115854" y="269487"/>
                    <a:pt x="131037" y="269942"/>
                  </a:cubicBezTo>
                  <a:lnTo>
                    <a:pt x="131037" y="269943"/>
                  </a:lnTo>
                  <a:close/>
                  <a:moveTo>
                    <a:pt x="79241" y="12017"/>
                  </a:moveTo>
                  <a:cubicBezTo>
                    <a:pt x="96238" y="4298"/>
                    <a:pt x="115118" y="0"/>
                    <a:pt x="135000" y="0"/>
                  </a:cubicBezTo>
                  <a:cubicBezTo>
                    <a:pt x="187673" y="0"/>
                    <a:pt x="233298" y="30165"/>
                    <a:pt x="255546" y="74161"/>
                  </a:cubicBezTo>
                  <a:cubicBezTo>
                    <a:pt x="256046" y="85862"/>
                    <a:pt x="255957" y="95870"/>
                    <a:pt x="258541" y="99491"/>
                  </a:cubicBezTo>
                  <a:cubicBezTo>
                    <a:pt x="271698" y="117902"/>
                    <a:pt x="226493" y="130565"/>
                    <a:pt x="233360" y="158408"/>
                  </a:cubicBezTo>
                  <a:cubicBezTo>
                    <a:pt x="236385" y="170693"/>
                    <a:pt x="203292" y="166796"/>
                    <a:pt x="195210" y="178296"/>
                  </a:cubicBezTo>
                  <a:cubicBezTo>
                    <a:pt x="187122" y="189791"/>
                    <a:pt x="167363" y="182067"/>
                    <a:pt x="162780" y="179858"/>
                  </a:cubicBezTo>
                  <a:cubicBezTo>
                    <a:pt x="158199" y="177648"/>
                    <a:pt x="140649" y="185012"/>
                    <a:pt x="142184" y="172493"/>
                  </a:cubicBezTo>
                  <a:cubicBezTo>
                    <a:pt x="143709" y="159969"/>
                    <a:pt x="154385" y="159234"/>
                    <a:pt x="165834" y="154080"/>
                  </a:cubicBezTo>
                  <a:cubicBezTo>
                    <a:pt x="177278" y="148931"/>
                    <a:pt x="193784" y="131808"/>
                    <a:pt x="185673" y="129570"/>
                  </a:cubicBezTo>
                  <a:cubicBezTo>
                    <a:pt x="147485" y="119043"/>
                    <a:pt x="134457" y="82178"/>
                    <a:pt x="134457" y="82178"/>
                  </a:cubicBezTo>
                  <a:cubicBezTo>
                    <a:pt x="132165" y="81735"/>
                    <a:pt x="132741" y="56116"/>
                    <a:pt x="122826" y="55381"/>
                  </a:cubicBezTo>
                  <a:cubicBezTo>
                    <a:pt x="112901" y="54642"/>
                    <a:pt x="107558" y="58326"/>
                    <a:pt x="93065" y="55381"/>
                  </a:cubicBezTo>
                  <a:cubicBezTo>
                    <a:pt x="78565" y="52436"/>
                    <a:pt x="81622" y="42862"/>
                    <a:pt x="79331" y="22238"/>
                  </a:cubicBezTo>
                  <a:cubicBezTo>
                    <a:pt x="78818" y="17612"/>
                    <a:pt x="78843" y="14358"/>
                    <a:pt x="79241" y="12017"/>
                  </a:cubicBezTo>
                  <a:close/>
                  <a:moveTo>
                    <a:pt x="269988" y="133155"/>
                  </a:moveTo>
                  <a:cubicBezTo>
                    <a:pt x="269996" y="133770"/>
                    <a:pt x="270000" y="134384"/>
                    <a:pt x="270000" y="135000"/>
                  </a:cubicBezTo>
                  <a:cubicBezTo>
                    <a:pt x="270000" y="209111"/>
                    <a:pt x="210282" y="269273"/>
                    <a:pt x="136343" y="269994"/>
                  </a:cubicBezTo>
                  <a:cubicBezTo>
                    <a:pt x="209553" y="269255"/>
                    <a:pt x="269006" y="208326"/>
                    <a:pt x="269988" y="13315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926" name="Рисунок 203">
            <a:extLst>
              <a:ext uri="{FF2B5EF4-FFF2-40B4-BE49-F238E27FC236}">
                <a16:creationId xmlns:a16="http://schemas.microsoft.com/office/drawing/2014/main" id="{5ABC5E2C-4627-8145-A2EE-ACCE7703344B}"/>
              </a:ext>
            </a:extLst>
          </p:cNvPr>
          <p:cNvGrpSpPr/>
          <p:nvPr/>
        </p:nvGrpSpPr>
        <p:grpSpPr>
          <a:xfrm>
            <a:off x="3693554" y="5134477"/>
            <a:ext cx="360000" cy="360000"/>
            <a:chOff x="3715856" y="5451199"/>
            <a:chExt cx="360000" cy="360000"/>
          </a:xfrm>
        </p:grpSpPr>
        <p:sp>
          <p:nvSpPr>
            <p:cNvPr id="927" name="Полилиния 926">
              <a:extLst>
                <a:ext uri="{FF2B5EF4-FFF2-40B4-BE49-F238E27FC236}">
                  <a16:creationId xmlns:a16="http://schemas.microsoft.com/office/drawing/2014/main" id="{7B7E6D53-B6A6-8645-82FF-9F8A45A3144A}"/>
                </a:ext>
              </a:extLst>
            </p:cNvPr>
            <p:cNvSpPr/>
            <p:nvPr/>
          </p:nvSpPr>
          <p:spPr>
            <a:xfrm>
              <a:off x="3715856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8" name="Полилиния 927">
              <a:extLst>
                <a:ext uri="{FF2B5EF4-FFF2-40B4-BE49-F238E27FC236}">
                  <a16:creationId xmlns:a16="http://schemas.microsoft.com/office/drawing/2014/main" id="{E060DFD9-9E93-1A47-B52E-7F9EE3F6D843}"/>
                </a:ext>
              </a:extLst>
            </p:cNvPr>
            <p:cNvSpPr/>
            <p:nvPr/>
          </p:nvSpPr>
          <p:spPr>
            <a:xfrm rot="-8100000">
              <a:off x="3835855" y="5481199"/>
              <a:ext cx="120000" cy="261222"/>
            </a:xfrm>
            <a:custGeom>
              <a:avLst/>
              <a:gdLst>
                <a:gd name="connsiteX0" fmla="*/ 0 w 120000"/>
                <a:gd name="connsiteY0" fmla="*/ 238722 h 261222"/>
                <a:gd name="connsiteX1" fmla="*/ 0 w 120000"/>
                <a:gd name="connsiteY1" fmla="*/ 59503 h 261222"/>
                <a:gd name="connsiteX2" fmla="*/ 6747 w 120000"/>
                <a:gd name="connsiteY2" fmla="*/ 43437 h 261222"/>
                <a:gd name="connsiteX3" fmla="*/ 44486 w 120000"/>
                <a:gd name="connsiteY3" fmla="*/ 6434 h 261222"/>
                <a:gd name="connsiteX4" fmla="*/ 75744 w 120000"/>
                <a:gd name="connsiteY4" fmla="*/ 6196 h 261222"/>
                <a:gd name="connsiteX5" fmla="*/ 113006 w 120000"/>
                <a:gd name="connsiteY5" fmla="*/ 41635 h 261222"/>
                <a:gd name="connsiteX6" fmla="*/ 120000 w 120000"/>
                <a:gd name="connsiteY6" fmla="*/ 57939 h 261222"/>
                <a:gd name="connsiteX7" fmla="*/ 120000 w 120000"/>
                <a:gd name="connsiteY7" fmla="*/ 238722 h 261222"/>
                <a:gd name="connsiteX8" fmla="*/ 97500 w 120000"/>
                <a:gd name="connsiteY8" fmla="*/ 261222 h 261222"/>
                <a:gd name="connsiteX9" fmla="*/ 22500 w 120000"/>
                <a:gd name="connsiteY9" fmla="*/ 261222 h 261222"/>
                <a:gd name="connsiteX10" fmla="*/ 0 w 120000"/>
                <a:gd name="connsiteY10" fmla="*/ 238722 h 261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0000" h="261222">
                  <a:moveTo>
                    <a:pt x="0" y="238722"/>
                  </a:moveTo>
                  <a:lnTo>
                    <a:pt x="0" y="59503"/>
                  </a:lnTo>
                  <a:cubicBezTo>
                    <a:pt x="0" y="53459"/>
                    <a:pt x="2432" y="47669"/>
                    <a:pt x="6747" y="43437"/>
                  </a:cubicBezTo>
                  <a:lnTo>
                    <a:pt x="44486" y="6434"/>
                  </a:lnTo>
                  <a:cubicBezTo>
                    <a:pt x="53141" y="-2052"/>
                    <a:pt x="66962" y="-2157"/>
                    <a:pt x="75744" y="6196"/>
                  </a:cubicBezTo>
                  <a:lnTo>
                    <a:pt x="113006" y="41635"/>
                  </a:lnTo>
                  <a:cubicBezTo>
                    <a:pt x="117473" y="45882"/>
                    <a:pt x="120000" y="51776"/>
                    <a:pt x="120000" y="57939"/>
                  </a:cubicBezTo>
                  <a:lnTo>
                    <a:pt x="120000" y="238722"/>
                  </a:lnTo>
                  <a:cubicBezTo>
                    <a:pt x="120000" y="251148"/>
                    <a:pt x="109926" y="261222"/>
                    <a:pt x="97500" y="261222"/>
                  </a:cubicBezTo>
                  <a:lnTo>
                    <a:pt x="22500" y="261222"/>
                  </a:lnTo>
                  <a:cubicBezTo>
                    <a:pt x="10074" y="261222"/>
                    <a:pt x="0" y="251148"/>
                    <a:pt x="0" y="238722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9" name="Скругленный прямоугольник 928">
              <a:extLst>
                <a:ext uri="{FF2B5EF4-FFF2-40B4-BE49-F238E27FC236}">
                  <a16:creationId xmlns:a16="http://schemas.microsoft.com/office/drawing/2014/main" id="{16752605-4B33-094D-9561-1985B74ECAF9}"/>
                </a:ext>
              </a:extLst>
            </p:cNvPr>
            <p:cNvSpPr/>
            <p:nvPr/>
          </p:nvSpPr>
          <p:spPr>
            <a:xfrm>
              <a:off x="3790856" y="5751199"/>
              <a:ext cx="225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30" name="Рисунок 204">
            <a:extLst>
              <a:ext uri="{FF2B5EF4-FFF2-40B4-BE49-F238E27FC236}">
                <a16:creationId xmlns:a16="http://schemas.microsoft.com/office/drawing/2014/main" id="{65B8D3E4-E150-534F-A106-459C4CA3E2C1}"/>
              </a:ext>
            </a:extLst>
          </p:cNvPr>
          <p:cNvGrpSpPr/>
          <p:nvPr/>
        </p:nvGrpSpPr>
        <p:grpSpPr>
          <a:xfrm>
            <a:off x="2938421" y="5134477"/>
            <a:ext cx="360000" cy="360000"/>
            <a:chOff x="2960723" y="5451199"/>
            <a:chExt cx="360000" cy="360000"/>
          </a:xfrm>
        </p:grpSpPr>
        <p:sp>
          <p:nvSpPr>
            <p:cNvPr id="931" name="Полилиния 930">
              <a:extLst>
                <a:ext uri="{FF2B5EF4-FFF2-40B4-BE49-F238E27FC236}">
                  <a16:creationId xmlns:a16="http://schemas.microsoft.com/office/drawing/2014/main" id="{BBDB8A43-C6C1-AC46-A588-CE6F23D77B08}"/>
                </a:ext>
              </a:extLst>
            </p:cNvPr>
            <p:cNvSpPr/>
            <p:nvPr/>
          </p:nvSpPr>
          <p:spPr>
            <a:xfrm>
              <a:off x="2960723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2" name="Полилиния 931">
              <a:extLst>
                <a:ext uri="{FF2B5EF4-FFF2-40B4-BE49-F238E27FC236}">
                  <a16:creationId xmlns:a16="http://schemas.microsoft.com/office/drawing/2014/main" id="{A9174409-34C3-DD43-9099-7E390796F485}"/>
                </a:ext>
              </a:extLst>
            </p:cNvPr>
            <p:cNvSpPr/>
            <p:nvPr/>
          </p:nvSpPr>
          <p:spPr>
            <a:xfrm>
              <a:off x="3005723" y="5736199"/>
              <a:ext cx="255000" cy="30000"/>
            </a:xfrm>
            <a:custGeom>
              <a:avLst/>
              <a:gdLst>
                <a:gd name="connsiteX0" fmla="*/ 0 w 255000"/>
                <a:gd name="connsiteY0" fmla="*/ 0 h 30000"/>
                <a:gd name="connsiteX1" fmla="*/ 30000 w 255000"/>
                <a:gd name="connsiteY1" fmla="*/ 0 h 30000"/>
                <a:gd name="connsiteX2" fmla="*/ 30000 w 255000"/>
                <a:gd name="connsiteY2" fmla="*/ 30000 h 30000"/>
                <a:gd name="connsiteX3" fmla="*/ 0 w 255000"/>
                <a:gd name="connsiteY3" fmla="*/ 30000 h 30000"/>
                <a:gd name="connsiteX4" fmla="*/ 0 w 255000"/>
                <a:gd name="connsiteY4" fmla="*/ 0 h 30000"/>
                <a:gd name="connsiteX5" fmla="*/ 75000 w 255000"/>
                <a:gd name="connsiteY5" fmla="*/ 0 h 30000"/>
                <a:gd name="connsiteX6" fmla="*/ 105000 w 255000"/>
                <a:gd name="connsiteY6" fmla="*/ 0 h 30000"/>
                <a:gd name="connsiteX7" fmla="*/ 105000 w 255000"/>
                <a:gd name="connsiteY7" fmla="*/ 30000 h 30000"/>
                <a:gd name="connsiteX8" fmla="*/ 75000 w 255000"/>
                <a:gd name="connsiteY8" fmla="*/ 30000 h 30000"/>
                <a:gd name="connsiteX9" fmla="*/ 75000 w 255000"/>
                <a:gd name="connsiteY9" fmla="*/ 0 h 30000"/>
                <a:gd name="connsiteX10" fmla="*/ 150000 w 255000"/>
                <a:gd name="connsiteY10" fmla="*/ 0 h 30000"/>
                <a:gd name="connsiteX11" fmla="*/ 180000 w 255000"/>
                <a:gd name="connsiteY11" fmla="*/ 0 h 30000"/>
                <a:gd name="connsiteX12" fmla="*/ 180000 w 255000"/>
                <a:gd name="connsiteY12" fmla="*/ 30000 h 30000"/>
                <a:gd name="connsiteX13" fmla="*/ 150000 w 255000"/>
                <a:gd name="connsiteY13" fmla="*/ 30000 h 30000"/>
                <a:gd name="connsiteX14" fmla="*/ 150000 w 255000"/>
                <a:gd name="connsiteY14" fmla="*/ 0 h 30000"/>
                <a:gd name="connsiteX15" fmla="*/ 225000 w 255000"/>
                <a:gd name="connsiteY15" fmla="*/ 0 h 30000"/>
                <a:gd name="connsiteX16" fmla="*/ 255000 w 255000"/>
                <a:gd name="connsiteY16" fmla="*/ 0 h 30000"/>
                <a:gd name="connsiteX17" fmla="*/ 255000 w 255000"/>
                <a:gd name="connsiteY17" fmla="*/ 30000 h 30000"/>
                <a:gd name="connsiteX18" fmla="*/ 225000 w 255000"/>
                <a:gd name="connsiteY18" fmla="*/ 30000 h 30000"/>
                <a:gd name="connsiteX19" fmla="*/ 225000 w 255000"/>
                <a:gd name="connsiteY19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5000" h="30000">
                  <a:moveTo>
                    <a:pt x="0" y="0"/>
                  </a:moveTo>
                  <a:lnTo>
                    <a:pt x="30000" y="0"/>
                  </a:lnTo>
                  <a:lnTo>
                    <a:pt x="30000" y="30000"/>
                  </a:lnTo>
                  <a:lnTo>
                    <a:pt x="0" y="30000"/>
                  </a:lnTo>
                  <a:lnTo>
                    <a:pt x="0" y="0"/>
                  </a:lnTo>
                  <a:close/>
                  <a:moveTo>
                    <a:pt x="75000" y="0"/>
                  </a:moveTo>
                  <a:lnTo>
                    <a:pt x="105000" y="0"/>
                  </a:lnTo>
                  <a:lnTo>
                    <a:pt x="105000" y="30000"/>
                  </a:lnTo>
                  <a:lnTo>
                    <a:pt x="75000" y="30000"/>
                  </a:lnTo>
                  <a:lnTo>
                    <a:pt x="75000" y="0"/>
                  </a:lnTo>
                  <a:close/>
                  <a:moveTo>
                    <a:pt x="150000" y="0"/>
                  </a:moveTo>
                  <a:lnTo>
                    <a:pt x="180000" y="0"/>
                  </a:lnTo>
                  <a:lnTo>
                    <a:pt x="180000" y="30000"/>
                  </a:lnTo>
                  <a:lnTo>
                    <a:pt x="150000" y="30000"/>
                  </a:lnTo>
                  <a:lnTo>
                    <a:pt x="150000" y="0"/>
                  </a:lnTo>
                  <a:close/>
                  <a:moveTo>
                    <a:pt x="225000" y="0"/>
                  </a:moveTo>
                  <a:lnTo>
                    <a:pt x="255000" y="0"/>
                  </a:lnTo>
                  <a:lnTo>
                    <a:pt x="255000" y="30000"/>
                  </a:lnTo>
                  <a:lnTo>
                    <a:pt x="225000" y="30000"/>
                  </a:lnTo>
                  <a:lnTo>
                    <a:pt x="225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3" name="Полилиния 932">
              <a:extLst>
                <a:ext uri="{FF2B5EF4-FFF2-40B4-BE49-F238E27FC236}">
                  <a16:creationId xmlns:a16="http://schemas.microsoft.com/office/drawing/2014/main" id="{AA50F634-F578-804D-A3A4-0D2F04425109}"/>
                </a:ext>
              </a:extLst>
            </p:cNvPr>
            <p:cNvSpPr/>
            <p:nvPr/>
          </p:nvSpPr>
          <p:spPr>
            <a:xfrm>
              <a:off x="3035123" y="5500039"/>
              <a:ext cx="194939" cy="191159"/>
            </a:xfrm>
            <a:custGeom>
              <a:avLst/>
              <a:gdLst>
                <a:gd name="connsiteX0" fmla="*/ 83160 w 194939"/>
                <a:gd name="connsiteY0" fmla="*/ 0 h 191159"/>
                <a:gd name="connsiteX1" fmla="*/ 112590 w 194939"/>
                <a:gd name="connsiteY1" fmla="*/ 0 h 191159"/>
                <a:gd name="connsiteX2" fmla="*/ 194940 w 194939"/>
                <a:gd name="connsiteY2" fmla="*/ 191160 h 191159"/>
                <a:gd name="connsiteX3" fmla="*/ 156060 w 194939"/>
                <a:gd name="connsiteY3" fmla="*/ 191160 h 191159"/>
                <a:gd name="connsiteX4" fmla="*/ 138240 w 194939"/>
                <a:gd name="connsiteY4" fmla="*/ 147420 h 191159"/>
                <a:gd name="connsiteX5" fmla="*/ 55350 w 194939"/>
                <a:gd name="connsiteY5" fmla="*/ 147420 h 191159"/>
                <a:gd name="connsiteX6" fmla="*/ 38070 w 194939"/>
                <a:gd name="connsiteY6" fmla="*/ 191160 h 191159"/>
                <a:gd name="connsiteX7" fmla="*/ 0 w 194939"/>
                <a:gd name="connsiteY7" fmla="*/ 191160 h 191159"/>
                <a:gd name="connsiteX8" fmla="*/ 83160 w 194939"/>
                <a:gd name="connsiteY8" fmla="*/ 0 h 191159"/>
                <a:gd name="connsiteX9" fmla="*/ 126360 w 194939"/>
                <a:gd name="connsiteY9" fmla="*/ 118260 h 191159"/>
                <a:gd name="connsiteX10" fmla="*/ 96930 w 194939"/>
                <a:gd name="connsiteY10" fmla="*/ 40500 h 191159"/>
                <a:gd name="connsiteX11" fmla="*/ 66960 w 194939"/>
                <a:gd name="connsiteY11" fmla="*/ 118260 h 191159"/>
                <a:gd name="connsiteX12" fmla="*/ 126360 w 194939"/>
                <a:gd name="connsiteY12" fmla="*/ 118260 h 19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939" h="191159">
                  <a:moveTo>
                    <a:pt x="83160" y="0"/>
                  </a:moveTo>
                  <a:lnTo>
                    <a:pt x="112590" y="0"/>
                  </a:lnTo>
                  <a:lnTo>
                    <a:pt x="194940" y="191160"/>
                  </a:lnTo>
                  <a:lnTo>
                    <a:pt x="156060" y="191160"/>
                  </a:lnTo>
                  <a:lnTo>
                    <a:pt x="138240" y="147420"/>
                  </a:lnTo>
                  <a:lnTo>
                    <a:pt x="55350" y="147420"/>
                  </a:lnTo>
                  <a:lnTo>
                    <a:pt x="38070" y="191160"/>
                  </a:lnTo>
                  <a:lnTo>
                    <a:pt x="0" y="191160"/>
                  </a:lnTo>
                  <a:lnTo>
                    <a:pt x="83160" y="0"/>
                  </a:lnTo>
                  <a:close/>
                  <a:moveTo>
                    <a:pt x="126360" y="118260"/>
                  </a:moveTo>
                  <a:lnTo>
                    <a:pt x="96930" y="40500"/>
                  </a:lnTo>
                  <a:lnTo>
                    <a:pt x="66960" y="118260"/>
                  </a:lnTo>
                  <a:lnTo>
                    <a:pt x="126360" y="11826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34" name="Рисунок 205">
            <a:extLst>
              <a:ext uri="{FF2B5EF4-FFF2-40B4-BE49-F238E27FC236}">
                <a16:creationId xmlns:a16="http://schemas.microsoft.com/office/drawing/2014/main" id="{001F9D91-D59C-884F-9BE3-E6A8916F37C0}"/>
              </a:ext>
            </a:extLst>
          </p:cNvPr>
          <p:cNvGrpSpPr/>
          <p:nvPr/>
        </p:nvGrpSpPr>
        <p:grpSpPr>
          <a:xfrm>
            <a:off x="4448687" y="5134477"/>
            <a:ext cx="360000" cy="360000"/>
            <a:chOff x="4470989" y="5451199"/>
            <a:chExt cx="360000" cy="360000"/>
          </a:xfrm>
        </p:grpSpPr>
        <p:sp>
          <p:nvSpPr>
            <p:cNvPr id="935" name="Полилиния 934">
              <a:extLst>
                <a:ext uri="{FF2B5EF4-FFF2-40B4-BE49-F238E27FC236}">
                  <a16:creationId xmlns:a16="http://schemas.microsoft.com/office/drawing/2014/main" id="{CFAB2783-D8FD-2F41-B734-53173A4E6245}"/>
                </a:ext>
              </a:extLst>
            </p:cNvPr>
            <p:cNvSpPr/>
            <p:nvPr/>
          </p:nvSpPr>
          <p:spPr>
            <a:xfrm>
              <a:off x="4470989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6" name="Полилиния 935">
              <a:extLst>
                <a:ext uri="{FF2B5EF4-FFF2-40B4-BE49-F238E27FC236}">
                  <a16:creationId xmlns:a16="http://schemas.microsoft.com/office/drawing/2014/main" id="{025D7B2B-48A5-0A43-8389-02223D5D858E}"/>
                </a:ext>
              </a:extLst>
            </p:cNvPr>
            <p:cNvSpPr/>
            <p:nvPr/>
          </p:nvSpPr>
          <p:spPr>
            <a:xfrm rot="-5400000">
              <a:off x="4598478" y="5499471"/>
              <a:ext cx="120018" cy="195657"/>
            </a:xfrm>
            <a:custGeom>
              <a:avLst/>
              <a:gdLst>
                <a:gd name="connsiteX0" fmla="*/ 12382 w 120018"/>
                <a:gd name="connsiteY0" fmla="*/ 193850 h 195657"/>
                <a:gd name="connsiteX1" fmla="*/ 117400 w 120018"/>
                <a:gd name="connsiteY1" fmla="*/ 103806 h 195657"/>
                <a:gd name="connsiteX2" fmla="*/ 118213 w 120018"/>
                <a:gd name="connsiteY2" fmla="*/ 93230 h 195657"/>
                <a:gd name="connsiteX3" fmla="*/ 117418 w 120018"/>
                <a:gd name="connsiteY3" fmla="*/ 92434 h 195657"/>
                <a:gd name="connsiteX4" fmla="*/ 12400 w 120018"/>
                <a:gd name="connsiteY4" fmla="*/ 1821 h 195657"/>
                <a:gd name="connsiteX5" fmla="*/ 1822 w 120018"/>
                <a:gd name="connsiteY5" fmla="*/ 2600 h 195657"/>
                <a:gd name="connsiteX6" fmla="*/ 0 w 120018"/>
                <a:gd name="connsiteY6" fmla="*/ 7500 h 195657"/>
                <a:gd name="connsiteX7" fmla="*/ 0 w 120018"/>
                <a:gd name="connsiteY7" fmla="*/ 188157 h 195657"/>
                <a:gd name="connsiteX8" fmla="*/ 7500 w 120018"/>
                <a:gd name="connsiteY8" fmla="*/ 195658 h 195657"/>
                <a:gd name="connsiteX9" fmla="*/ 12382 w 120018"/>
                <a:gd name="connsiteY9" fmla="*/ 193850 h 19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18" h="195657">
                  <a:moveTo>
                    <a:pt x="12382" y="193850"/>
                  </a:moveTo>
                  <a:lnTo>
                    <a:pt x="117400" y="103806"/>
                  </a:lnTo>
                  <a:cubicBezTo>
                    <a:pt x="120545" y="101109"/>
                    <a:pt x="120908" y="96375"/>
                    <a:pt x="118213" y="93230"/>
                  </a:cubicBezTo>
                  <a:cubicBezTo>
                    <a:pt x="117968" y="92945"/>
                    <a:pt x="117703" y="92679"/>
                    <a:pt x="117418" y="92434"/>
                  </a:cubicBezTo>
                  <a:lnTo>
                    <a:pt x="12400" y="1821"/>
                  </a:lnTo>
                  <a:cubicBezTo>
                    <a:pt x="9263" y="-885"/>
                    <a:pt x="4527" y="-536"/>
                    <a:pt x="1822" y="2600"/>
                  </a:cubicBezTo>
                  <a:cubicBezTo>
                    <a:pt x="646" y="3962"/>
                    <a:pt x="0" y="5701"/>
                    <a:pt x="0" y="7500"/>
                  </a:cubicBezTo>
                  <a:lnTo>
                    <a:pt x="0" y="188157"/>
                  </a:lnTo>
                  <a:cubicBezTo>
                    <a:pt x="0" y="192299"/>
                    <a:pt x="3358" y="195658"/>
                    <a:pt x="7500" y="195658"/>
                  </a:cubicBezTo>
                  <a:cubicBezTo>
                    <a:pt x="9291" y="195658"/>
                    <a:pt x="11022" y="195015"/>
                    <a:pt x="12382" y="19385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7" name="Скругленный прямоугольник 936">
              <a:extLst>
                <a:ext uri="{FF2B5EF4-FFF2-40B4-BE49-F238E27FC236}">
                  <a16:creationId xmlns:a16="http://schemas.microsoft.com/office/drawing/2014/main" id="{07519682-ABA4-B94E-94F9-AFC57A5EC90F}"/>
                </a:ext>
              </a:extLst>
            </p:cNvPr>
            <p:cNvSpPr/>
            <p:nvPr/>
          </p:nvSpPr>
          <p:spPr>
            <a:xfrm rot="5400000" flipV="1">
              <a:off x="4635989" y="5616199"/>
              <a:ext cx="45000" cy="195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938" name="Рисунок 206">
            <a:extLst>
              <a:ext uri="{FF2B5EF4-FFF2-40B4-BE49-F238E27FC236}">
                <a16:creationId xmlns:a16="http://schemas.microsoft.com/office/drawing/2014/main" id="{F9FE5C6F-00CD-7B48-AADE-DF858BE8592D}"/>
              </a:ext>
            </a:extLst>
          </p:cNvPr>
          <p:cNvGrpSpPr/>
          <p:nvPr/>
        </p:nvGrpSpPr>
        <p:grpSpPr>
          <a:xfrm>
            <a:off x="5203820" y="5134477"/>
            <a:ext cx="360000" cy="360000"/>
            <a:chOff x="5226122" y="5451199"/>
            <a:chExt cx="360000" cy="360000"/>
          </a:xfrm>
        </p:grpSpPr>
        <p:sp>
          <p:nvSpPr>
            <p:cNvPr id="939" name="Полилиния 938">
              <a:extLst>
                <a:ext uri="{FF2B5EF4-FFF2-40B4-BE49-F238E27FC236}">
                  <a16:creationId xmlns:a16="http://schemas.microsoft.com/office/drawing/2014/main" id="{DF32FDEF-3326-394C-9E68-75E8E00E386C}"/>
                </a:ext>
              </a:extLst>
            </p:cNvPr>
            <p:cNvSpPr/>
            <p:nvPr/>
          </p:nvSpPr>
          <p:spPr>
            <a:xfrm>
              <a:off x="5226122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0" name="Скругленный прямоугольник 939">
              <a:extLst>
                <a:ext uri="{FF2B5EF4-FFF2-40B4-BE49-F238E27FC236}">
                  <a16:creationId xmlns:a16="http://schemas.microsoft.com/office/drawing/2014/main" id="{E598E73F-0330-4E4E-AE89-46820442E24E}"/>
                </a:ext>
              </a:extLst>
            </p:cNvPr>
            <p:cNvSpPr/>
            <p:nvPr/>
          </p:nvSpPr>
          <p:spPr>
            <a:xfrm>
              <a:off x="5421122" y="5511199"/>
              <a:ext cx="45000" cy="24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1" name="Скругленный прямоугольник 940">
              <a:extLst>
                <a:ext uri="{FF2B5EF4-FFF2-40B4-BE49-F238E27FC236}">
                  <a16:creationId xmlns:a16="http://schemas.microsoft.com/office/drawing/2014/main" id="{C614ECBA-1D50-B249-8AEB-98599077D4BC}"/>
                </a:ext>
              </a:extLst>
            </p:cNvPr>
            <p:cNvSpPr/>
            <p:nvPr/>
          </p:nvSpPr>
          <p:spPr>
            <a:xfrm>
              <a:off x="5346122" y="5586199"/>
              <a:ext cx="45000" cy="165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2" name="Скругленный прямоугольник 941">
              <a:extLst>
                <a:ext uri="{FF2B5EF4-FFF2-40B4-BE49-F238E27FC236}">
                  <a16:creationId xmlns:a16="http://schemas.microsoft.com/office/drawing/2014/main" id="{748531C5-BB85-C34D-8671-8968D92512D7}"/>
                </a:ext>
              </a:extLst>
            </p:cNvPr>
            <p:cNvSpPr/>
            <p:nvPr/>
          </p:nvSpPr>
          <p:spPr>
            <a:xfrm>
              <a:off x="5496122" y="5616199"/>
              <a:ext cx="45000" cy="135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3" name="Скругленный прямоугольник 942">
              <a:extLst>
                <a:ext uri="{FF2B5EF4-FFF2-40B4-BE49-F238E27FC236}">
                  <a16:creationId xmlns:a16="http://schemas.microsoft.com/office/drawing/2014/main" id="{91B23412-1905-A24F-8783-D8FFE3015482}"/>
                </a:ext>
              </a:extLst>
            </p:cNvPr>
            <p:cNvSpPr/>
            <p:nvPr/>
          </p:nvSpPr>
          <p:spPr>
            <a:xfrm>
              <a:off x="5271122" y="5646199"/>
              <a:ext cx="45000" cy="105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44" name="Рисунок 207">
            <a:extLst>
              <a:ext uri="{FF2B5EF4-FFF2-40B4-BE49-F238E27FC236}">
                <a16:creationId xmlns:a16="http://schemas.microsoft.com/office/drawing/2014/main" id="{974EF935-BCA0-9643-92E5-3525AF2A6C0A}"/>
              </a:ext>
            </a:extLst>
          </p:cNvPr>
          <p:cNvGrpSpPr/>
          <p:nvPr/>
        </p:nvGrpSpPr>
        <p:grpSpPr>
          <a:xfrm>
            <a:off x="2183288" y="5134477"/>
            <a:ext cx="360000" cy="360000"/>
            <a:chOff x="2205590" y="5451199"/>
            <a:chExt cx="360000" cy="360000"/>
          </a:xfrm>
        </p:grpSpPr>
        <p:sp>
          <p:nvSpPr>
            <p:cNvPr id="945" name="Полилиния 944">
              <a:extLst>
                <a:ext uri="{FF2B5EF4-FFF2-40B4-BE49-F238E27FC236}">
                  <a16:creationId xmlns:a16="http://schemas.microsoft.com/office/drawing/2014/main" id="{89B9DEB3-CAA6-C149-A9F9-6D999D1E284B}"/>
                </a:ext>
              </a:extLst>
            </p:cNvPr>
            <p:cNvSpPr/>
            <p:nvPr/>
          </p:nvSpPr>
          <p:spPr>
            <a:xfrm>
              <a:off x="2205590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6" name="Полилиния 945">
              <a:extLst>
                <a:ext uri="{FF2B5EF4-FFF2-40B4-BE49-F238E27FC236}">
                  <a16:creationId xmlns:a16="http://schemas.microsoft.com/office/drawing/2014/main" id="{CBF7B836-F896-9846-803D-8A2541E235D8}"/>
                </a:ext>
              </a:extLst>
            </p:cNvPr>
            <p:cNvSpPr/>
            <p:nvPr/>
          </p:nvSpPr>
          <p:spPr>
            <a:xfrm rot="-2700000">
              <a:off x="2265590" y="5556198"/>
              <a:ext cx="270000" cy="150000"/>
            </a:xfrm>
            <a:custGeom>
              <a:avLst/>
              <a:gdLst>
                <a:gd name="connsiteX0" fmla="*/ 30000 w 270000"/>
                <a:gd name="connsiteY0" fmla="*/ 30000 h 150000"/>
                <a:gd name="connsiteX1" fmla="*/ 30000 w 270000"/>
                <a:gd name="connsiteY1" fmla="*/ 120000 h 150000"/>
                <a:gd name="connsiteX2" fmla="*/ 90000 w 270000"/>
                <a:gd name="connsiteY2" fmla="*/ 120000 h 150000"/>
                <a:gd name="connsiteX3" fmla="*/ 90000 w 270000"/>
                <a:gd name="connsiteY3" fmla="*/ 30000 h 150000"/>
                <a:gd name="connsiteX4" fmla="*/ 30000 w 270000"/>
                <a:gd name="connsiteY4" fmla="*/ 30000 h 150000"/>
                <a:gd name="connsiteX5" fmla="*/ 33750 w 270000"/>
                <a:gd name="connsiteY5" fmla="*/ 0 h 150000"/>
                <a:gd name="connsiteX6" fmla="*/ 236250 w 270000"/>
                <a:gd name="connsiteY6" fmla="*/ 0 h 150000"/>
                <a:gd name="connsiteX7" fmla="*/ 270000 w 270000"/>
                <a:gd name="connsiteY7" fmla="*/ 27273 h 150000"/>
                <a:gd name="connsiteX8" fmla="*/ 270000 w 270000"/>
                <a:gd name="connsiteY8" fmla="*/ 122727 h 150000"/>
                <a:gd name="connsiteX9" fmla="*/ 236250 w 270000"/>
                <a:gd name="connsiteY9" fmla="*/ 150000 h 150000"/>
                <a:gd name="connsiteX10" fmla="*/ 33750 w 270000"/>
                <a:gd name="connsiteY10" fmla="*/ 150000 h 150000"/>
                <a:gd name="connsiteX11" fmla="*/ 0 w 270000"/>
                <a:gd name="connsiteY11" fmla="*/ 122727 h 150000"/>
                <a:gd name="connsiteX12" fmla="*/ 0 w 270000"/>
                <a:gd name="connsiteY12" fmla="*/ 27273 h 150000"/>
                <a:gd name="connsiteX13" fmla="*/ 33750 w 270000"/>
                <a:gd name="connsiteY13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0000" h="150000">
                  <a:moveTo>
                    <a:pt x="30000" y="30000"/>
                  </a:moveTo>
                  <a:lnTo>
                    <a:pt x="30000" y="120000"/>
                  </a:lnTo>
                  <a:lnTo>
                    <a:pt x="90000" y="120000"/>
                  </a:lnTo>
                  <a:lnTo>
                    <a:pt x="90000" y="30000"/>
                  </a:lnTo>
                  <a:lnTo>
                    <a:pt x="30000" y="30000"/>
                  </a:lnTo>
                  <a:close/>
                  <a:moveTo>
                    <a:pt x="33750" y="0"/>
                  </a:moveTo>
                  <a:lnTo>
                    <a:pt x="236250" y="0"/>
                  </a:lnTo>
                  <a:cubicBezTo>
                    <a:pt x="254889" y="0"/>
                    <a:pt x="270000" y="12210"/>
                    <a:pt x="270000" y="27273"/>
                  </a:cubicBezTo>
                  <a:lnTo>
                    <a:pt x="270000" y="122727"/>
                  </a:lnTo>
                  <a:cubicBezTo>
                    <a:pt x="270000" y="137790"/>
                    <a:pt x="254889" y="150000"/>
                    <a:pt x="236250" y="150000"/>
                  </a:cubicBezTo>
                  <a:lnTo>
                    <a:pt x="33750" y="150000"/>
                  </a:lnTo>
                  <a:cubicBezTo>
                    <a:pt x="15110" y="150000"/>
                    <a:pt x="0" y="137790"/>
                    <a:pt x="0" y="122727"/>
                  </a:cubicBezTo>
                  <a:lnTo>
                    <a:pt x="0" y="27273"/>
                  </a:lnTo>
                  <a:cubicBezTo>
                    <a:pt x="0" y="12210"/>
                    <a:pt x="15110" y="0"/>
                    <a:pt x="3375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47" name="Рисунок 208">
            <a:extLst>
              <a:ext uri="{FF2B5EF4-FFF2-40B4-BE49-F238E27FC236}">
                <a16:creationId xmlns:a16="http://schemas.microsoft.com/office/drawing/2014/main" id="{3D1B9FBA-4B52-E64F-A0FB-4F0DEDF33196}"/>
              </a:ext>
            </a:extLst>
          </p:cNvPr>
          <p:cNvGrpSpPr/>
          <p:nvPr/>
        </p:nvGrpSpPr>
        <p:grpSpPr>
          <a:xfrm>
            <a:off x="1428155" y="5134477"/>
            <a:ext cx="360000" cy="360000"/>
            <a:chOff x="1450457" y="5451199"/>
            <a:chExt cx="360000" cy="360000"/>
          </a:xfrm>
        </p:grpSpPr>
        <p:sp>
          <p:nvSpPr>
            <p:cNvPr id="948" name="Полилиния 947">
              <a:extLst>
                <a:ext uri="{FF2B5EF4-FFF2-40B4-BE49-F238E27FC236}">
                  <a16:creationId xmlns:a16="http://schemas.microsoft.com/office/drawing/2014/main" id="{968ECC89-3CD0-F14D-88A7-12A115F539BD}"/>
                </a:ext>
              </a:extLst>
            </p:cNvPr>
            <p:cNvSpPr/>
            <p:nvPr/>
          </p:nvSpPr>
          <p:spPr>
            <a:xfrm>
              <a:off x="1450457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9" name="Полилиния 948">
              <a:extLst>
                <a:ext uri="{FF2B5EF4-FFF2-40B4-BE49-F238E27FC236}">
                  <a16:creationId xmlns:a16="http://schemas.microsoft.com/office/drawing/2014/main" id="{EA904B49-60B6-444B-96FF-47C8626E1981}"/>
                </a:ext>
              </a:extLst>
            </p:cNvPr>
            <p:cNvSpPr/>
            <p:nvPr/>
          </p:nvSpPr>
          <p:spPr>
            <a:xfrm>
              <a:off x="1480457" y="5481199"/>
              <a:ext cx="300000" cy="300000"/>
            </a:xfrm>
            <a:custGeom>
              <a:avLst/>
              <a:gdLst>
                <a:gd name="connsiteX0" fmla="*/ 300000 w 300000"/>
                <a:gd name="connsiteY0" fmla="*/ 150000 h 300000"/>
                <a:gd name="connsiteX1" fmla="*/ 150000 w 300000"/>
                <a:gd name="connsiteY1" fmla="*/ 300000 h 300000"/>
                <a:gd name="connsiteX2" fmla="*/ 0 w 300000"/>
                <a:gd name="connsiteY2" fmla="*/ 150000 h 300000"/>
                <a:gd name="connsiteX3" fmla="*/ 150000 w 300000"/>
                <a:gd name="connsiteY3" fmla="*/ 0 h 300000"/>
                <a:gd name="connsiteX4" fmla="*/ 300000 w 300000"/>
                <a:gd name="connsiteY4" fmla="*/ 15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0" h="300000">
                  <a:moveTo>
                    <a:pt x="300000" y="150000"/>
                  </a:moveTo>
                  <a:cubicBezTo>
                    <a:pt x="300000" y="232843"/>
                    <a:pt x="232843" y="300000"/>
                    <a:pt x="150000" y="300000"/>
                  </a:cubicBezTo>
                  <a:cubicBezTo>
                    <a:pt x="67157" y="300000"/>
                    <a:pt x="0" y="232843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3" y="0"/>
                    <a:pt x="300000" y="67157"/>
                    <a:pt x="300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0" name="Полилиния 949">
              <a:extLst>
                <a:ext uri="{FF2B5EF4-FFF2-40B4-BE49-F238E27FC236}">
                  <a16:creationId xmlns:a16="http://schemas.microsoft.com/office/drawing/2014/main" id="{285C317F-3053-504C-B24B-DC0DD3C6A303}"/>
                </a:ext>
              </a:extLst>
            </p:cNvPr>
            <p:cNvSpPr/>
            <p:nvPr/>
          </p:nvSpPr>
          <p:spPr>
            <a:xfrm>
              <a:off x="1562957" y="5563699"/>
              <a:ext cx="136066" cy="136066"/>
            </a:xfrm>
            <a:custGeom>
              <a:avLst/>
              <a:gdLst>
                <a:gd name="connsiteX0" fmla="*/ 68032 w 136066"/>
                <a:gd name="connsiteY0" fmla="*/ 46819 h 136066"/>
                <a:gd name="connsiteX1" fmla="*/ 110460 w 136066"/>
                <a:gd name="connsiteY1" fmla="*/ 4393 h 136066"/>
                <a:gd name="connsiteX2" fmla="*/ 131673 w 136066"/>
                <a:gd name="connsiteY2" fmla="*/ 4393 h 136066"/>
                <a:gd name="connsiteX3" fmla="*/ 131673 w 136066"/>
                <a:gd name="connsiteY3" fmla="*/ 25607 h 136066"/>
                <a:gd name="connsiteX4" fmla="*/ 89246 w 136066"/>
                <a:gd name="connsiteY4" fmla="*/ 68032 h 136066"/>
                <a:gd name="connsiteX5" fmla="*/ 131673 w 136066"/>
                <a:gd name="connsiteY5" fmla="*/ 110460 h 136066"/>
                <a:gd name="connsiteX6" fmla="*/ 131673 w 136066"/>
                <a:gd name="connsiteY6" fmla="*/ 131673 h 136066"/>
                <a:gd name="connsiteX7" fmla="*/ 110460 w 136066"/>
                <a:gd name="connsiteY7" fmla="*/ 131673 h 136066"/>
                <a:gd name="connsiteX8" fmla="*/ 68032 w 136066"/>
                <a:gd name="connsiteY8" fmla="*/ 89246 h 136066"/>
                <a:gd name="connsiteX9" fmla="*/ 25607 w 136066"/>
                <a:gd name="connsiteY9" fmla="*/ 131673 h 136066"/>
                <a:gd name="connsiteX10" fmla="*/ 4393 w 136066"/>
                <a:gd name="connsiteY10" fmla="*/ 131673 h 136066"/>
                <a:gd name="connsiteX11" fmla="*/ 4393 w 136066"/>
                <a:gd name="connsiteY11" fmla="*/ 110460 h 136066"/>
                <a:gd name="connsiteX12" fmla="*/ 46819 w 136066"/>
                <a:gd name="connsiteY12" fmla="*/ 68032 h 136066"/>
                <a:gd name="connsiteX13" fmla="*/ 4393 w 136066"/>
                <a:gd name="connsiteY13" fmla="*/ 25607 h 136066"/>
                <a:gd name="connsiteX14" fmla="*/ 4393 w 136066"/>
                <a:gd name="connsiteY14" fmla="*/ 4393 h 136066"/>
                <a:gd name="connsiteX15" fmla="*/ 25607 w 136066"/>
                <a:gd name="connsiteY15" fmla="*/ 4393 h 136066"/>
                <a:gd name="connsiteX16" fmla="*/ 68032 w 136066"/>
                <a:gd name="connsiteY16" fmla="*/ 46819 h 136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6066" h="136066">
                  <a:moveTo>
                    <a:pt x="68032" y="46819"/>
                  </a:moveTo>
                  <a:lnTo>
                    <a:pt x="110460" y="4393"/>
                  </a:lnTo>
                  <a:cubicBezTo>
                    <a:pt x="116318" y="-1464"/>
                    <a:pt x="125816" y="-1464"/>
                    <a:pt x="131673" y="4393"/>
                  </a:cubicBezTo>
                  <a:cubicBezTo>
                    <a:pt x="137530" y="10251"/>
                    <a:pt x="137530" y="19749"/>
                    <a:pt x="131673" y="25607"/>
                  </a:cubicBezTo>
                  <a:lnTo>
                    <a:pt x="89246" y="68032"/>
                  </a:lnTo>
                  <a:lnTo>
                    <a:pt x="131673" y="110460"/>
                  </a:lnTo>
                  <a:cubicBezTo>
                    <a:pt x="137530" y="116318"/>
                    <a:pt x="137530" y="125816"/>
                    <a:pt x="131673" y="131673"/>
                  </a:cubicBezTo>
                  <a:cubicBezTo>
                    <a:pt x="125816" y="137530"/>
                    <a:pt x="116318" y="137530"/>
                    <a:pt x="110460" y="131673"/>
                  </a:cubicBezTo>
                  <a:lnTo>
                    <a:pt x="68032" y="89246"/>
                  </a:lnTo>
                  <a:lnTo>
                    <a:pt x="25607" y="131673"/>
                  </a:lnTo>
                  <a:cubicBezTo>
                    <a:pt x="19749" y="137530"/>
                    <a:pt x="10251" y="137530"/>
                    <a:pt x="4393" y="131673"/>
                  </a:cubicBezTo>
                  <a:cubicBezTo>
                    <a:pt x="-1464" y="125816"/>
                    <a:pt x="-1464" y="116318"/>
                    <a:pt x="4393" y="110460"/>
                  </a:cubicBezTo>
                  <a:lnTo>
                    <a:pt x="46819" y="68032"/>
                  </a:lnTo>
                  <a:lnTo>
                    <a:pt x="4393" y="25607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7" y="4393"/>
                  </a:cubicBezTo>
                  <a:lnTo>
                    <a:pt x="68032" y="46819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51" name="Рисунок 209">
            <a:extLst>
              <a:ext uri="{FF2B5EF4-FFF2-40B4-BE49-F238E27FC236}">
                <a16:creationId xmlns:a16="http://schemas.microsoft.com/office/drawing/2014/main" id="{9A36673E-3A4C-8A42-BF25-62622038A8FA}"/>
              </a:ext>
            </a:extLst>
          </p:cNvPr>
          <p:cNvGrpSpPr/>
          <p:nvPr/>
        </p:nvGrpSpPr>
        <p:grpSpPr>
          <a:xfrm>
            <a:off x="673022" y="5134477"/>
            <a:ext cx="360000" cy="360000"/>
            <a:chOff x="695324" y="5451199"/>
            <a:chExt cx="360000" cy="360000"/>
          </a:xfrm>
        </p:grpSpPr>
        <p:sp>
          <p:nvSpPr>
            <p:cNvPr id="952" name="Полилиния 951">
              <a:extLst>
                <a:ext uri="{FF2B5EF4-FFF2-40B4-BE49-F238E27FC236}">
                  <a16:creationId xmlns:a16="http://schemas.microsoft.com/office/drawing/2014/main" id="{61A5B204-27B1-7741-BA5F-93B83A885249}"/>
                </a:ext>
              </a:extLst>
            </p:cNvPr>
            <p:cNvSpPr/>
            <p:nvPr/>
          </p:nvSpPr>
          <p:spPr>
            <a:xfrm>
              <a:off x="695324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3" name="Полилиния 952">
              <a:extLst>
                <a:ext uri="{FF2B5EF4-FFF2-40B4-BE49-F238E27FC236}">
                  <a16:creationId xmlns:a16="http://schemas.microsoft.com/office/drawing/2014/main" id="{05F2E3CA-7679-5849-AF47-C4CE52A9FC83}"/>
                </a:ext>
              </a:extLst>
            </p:cNvPr>
            <p:cNvSpPr/>
            <p:nvPr/>
          </p:nvSpPr>
          <p:spPr>
            <a:xfrm>
              <a:off x="759959" y="5586199"/>
              <a:ext cx="170729" cy="90000"/>
            </a:xfrm>
            <a:custGeom>
              <a:avLst/>
              <a:gdLst>
                <a:gd name="connsiteX0" fmla="*/ 792 w 170729"/>
                <a:gd name="connsiteY0" fmla="*/ 19146 h 90000"/>
                <a:gd name="connsiteX1" fmla="*/ 8292 w 170729"/>
                <a:gd name="connsiteY1" fmla="*/ 4146 h 90000"/>
                <a:gd name="connsiteX2" fmla="*/ 15000 w 170729"/>
                <a:gd name="connsiteY2" fmla="*/ 0 h 90000"/>
                <a:gd name="connsiteX3" fmla="*/ 163230 w 170729"/>
                <a:gd name="connsiteY3" fmla="*/ 0 h 90000"/>
                <a:gd name="connsiteX4" fmla="*/ 170730 w 170729"/>
                <a:gd name="connsiteY4" fmla="*/ 7500 h 90000"/>
                <a:gd name="connsiteX5" fmla="*/ 169938 w 170729"/>
                <a:gd name="connsiteY5" fmla="*/ 10854 h 90000"/>
                <a:gd name="connsiteX6" fmla="*/ 162438 w 170729"/>
                <a:gd name="connsiteY6" fmla="*/ 25854 h 90000"/>
                <a:gd name="connsiteX7" fmla="*/ 155730 w 170729"/>
                <a:gd name="connsiteY7" fmla="*/ 30000 h 90000"/>
                <a:gd name="connsiteX8" fmla="*/ 7500 w 170729"/>
                <a:gd name="connsiteY8" fmla="*/ 30000 h 90000"/>
                <a:gd name="connsiteX9" fmla="*/ 0 w 170729"/>
                <a:gd name="connsiteY9" fmla="*/ 22500 h 90000"/>
                <a:gd name="connsiteX10" fmla="*/ 792 w 170729"/>
                <a:gd name="connsiteY10" fmla="*/ 19146 h 90000"/>
                <a:gd name="connsiteX11" fmla="*/ 154938 w 170729"/>
                <a:gd name="connsiteY11" fmla="*/ 70854 h 90000"/>
                <a:gd name="connsiteX12" fmla="*/ 147438 w 170729"/>
                <a:gd name="connsiteY12" fmla="*/ 85854 h 90000"/>
                <a:gd name="connsiteX13" fmla="*/ 140730 w 170729"/>
                <a:gd name="connsiteY13" fmla="*/ 90000 h 90000"/>
                <a:gd name="connsiteX14" fmla="*/ 7500 w 170729"/>
                <a:gd name="connsiteY14" fmla="*/ 90000 h 90000"/>
                <a:gd name="connsiteX15" fmla="*/ 0 w 170729"/>
                <a:gd name="connsiteY15" fmla="*/ 82500 h 90000"/>
                <a:gd name="connsiteX16" fmla="*/ 792 w 170729"/>
                <a:gd name="connsiteY16" fmla="*/ 79146 h 90000"/>
                <a:gd name="connsiteX17" fmla="*/ 8292 w 170729"/>
                <a:gd name="connsiteY17" fmla="*/ 64146 h 90000"/>
                <a:gd name="connsiteX18" fmla="*/ 15000 w 170729"/>
                <a:gd name="connsiteY18" fmla="*/ 60000 h 90000"/>
                <a:gd name="connsiteX19" fmla="*/ 148230 w 170729"/>
                <a:gd name="connsiteY19" fmla="*/ 60000 h 90000"/>
                <a:gd name="connsiteX20" fmla="*/ 155730 w 170729"/>
                <a:gd name="connsiteY20" fmla="*/ 67500 h 90000"/>
                <a:gd name="connsiteX21" fmla="*/ 154938 w 170729"/>
                <a:gd name="connsiteY21" fmla="*/ 70854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0729" h="90000">
                  <a:moveTo>
                    <a:pt x="792" y="19146"/>
                  </a:moveTo>
                  <a:lnTo>
                    <a:pt x="8292" y="4146"/>
                  </a:lnTo>
                  <a:cubicBezTo>
                    <a:pt x="9562" y="1605"/>
                    <a:pt x="12159" y="0"/>
                    <a:pt x="15000" y="0"/>
                  </a:cubicBezTo>
                  <a:lnTo>
                    <a:pt x="163230" y="0"/>
                  </a:lnTo>
                  <a:cubicBezTo>
                    <a:pt x="167371" y="0"/>
                    <a:pt x="170730" y="3358"/>
                    <a:pt x="170730" y="7500"/>
                  </a:cubicBezTo>
                  <a:cubicBezTo>
                    <a:pt x="170730" y="8664"/>
                    <a:pt x="170458" y="9813"/>
                    <a:pt x="169938" y="10854"/>
                  </a:cubicBezTo>
                  <a:lnTo>
                    <a:pt x="162438" y="25854"/>
                  </a:lnTo>
                  <a:cubicBezTo>
                    <a:pt x="161167" y="28395"/>
                    <a:pt x="158571" y="30000"/>
                    <a:pt x="155730" y="30000"/>
                  </a:cubicBezTo>
                  <a:lnTo>
                    <a:pt x="7500" y="30000"/>
                  </a:lnTo>
                  <a:cubicBezTo>
                    <a:pt x="3358" y="30000"/>
                    <a:pt x="0" y="26642"/>
                    <a:pt x="0" y="22500"/>
                  </a:cubicBezTo>
                  <a:cubicBezTo>
                    <a:pt x="0" y="21336"/>
                    <a:pt x="271" y="20187"/>
                    <a:pt x="792" y="19146"/>
                  </a:cubicBezTo>
                  <a:close/>
                  <a:moveTo>
                    <a:pt x="154938" y="70854"/>
                  </a:moveTo>
                  <a:lnTo>
                    <a:pt x="147438" y="85854"/>
                  </a:lnTo>
                  <a:cubicBezTo>
                    <a:pt x="146167" y="88395"/>
                    <a:pt x="143571" y="90000"/>
                    <a:pt x="140730" y="90000"/>
                  </a:cubicBezTo>
                  <a:lnTo>
                    <a:pt x="7500" y="90000"/>
                  </a:lnTo>
                  <a:cubicBezTo>
                    <a:pt x="3358" y="90000"/>
                    <a:pt x="0" y="86642"/>
                    <a:pt x="0" y="82500"/>
                  </a:cubicBezTo>
                  <a:cubicBezTo>
                    <a:pt x="0" y="81336"/>
                    <a:pt x="271" y="80187"/>
                    <a:pt x="792" y="79146"/>
                  </a:cubicBezTo>
                  <a:lnTo>
                    <a:pt x="8292" y="64146"/>
                  </a:lnTo>
                  <a:cubicBezTo>
                    <a:pt x="9562" y="61605"/>
                    <a:pt x="12159" y="60000"/>
                    <a:pt x="15000" y="60000"/>
                  </a:cubicBezTo>
                  <a:lnTo>
                    <a:pt x="148230" y="60000"/>
                  </a:lnTo>
                  <a:cubicBezTo>
                    <a:pt x="152371" y="60000"/>
                    <a:pt x="155730" y="63358"/>
                    <a:pt x="155730" y="67500"/>
                  </a:cubicBezTo>
                  <a:cubicBezTo>
                    <a:pt x="155730" y="68664"/>
                    <a:pt x="155458" y="69813"/>
                    <a:pt x="154938" y="70854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4" name="Полилиния 953">
              <a:extLst>
                <a:ext uri="{FF2B5EF4-FFF2-40B4-BE49-F238E27FC236}">
                  <a16:creationId xmlns:a16="http://schemas.microsoft.com/office/drawing/2014/main" id="{1571AAA6-56CB-D445-88A9-5A2E2529223F}"/>
                </a:ext>
              </a:extLst>
            </p:cNvPr>
            <p:cNvSpPr/>
            <p:nvPr/>
          </p:nvSpPr>
          <p:spPr>
            <a:xfrm>
              <a:off x="784183" y="5507508"/>
              <a:ext cx="205379" cy="234360"/>
            </a:xfrm>
            <a:custGeom>
              <a:avLst/>
              <a:gdLst>
                <a:gd name="connsiteX0" fmla="*/ 171675 w 205379"/>
                <a:gd name="connsiteY0" fmla="*/ 57960 h 234360"/>
                <a:gd name="connsiteX1" fmla="*/ 148680 w 205379"/>
                <a:gd name="connsiteY1" fmla="*/ 40478 h 234360"/>
                <a:gd name="connsiteX2" fmla="*/ 120960 w 205379"/>
                <a:gd name="connsiteY2" fmla="*/ 34965 h 234360"/>
                <a:gd name="connsiteX3" fmla="*/ 89460 w 205379"/>
                <a:gd name="connsiteY3" fmla="*/ 41265 h 234360"/>
                <a:gd name="connsiteX4" fmla="*/ 65048 w 205379"/>
                <a:gd name="connsiteY4" fmla="*/ 58590 h 234360"/>
                <a:gd name="connsiteX5" fmla="*/ 49298 w 205379"/>
                <a:gd name="connsiteY5" fmla="*/ 84420 h 234360"/>
                <a:gd name="connsiteX6" fmla="*/ 43785 w 205379"/>
                <a:gd name="connsiteY6" fmla="*/ 116550 h 234360"/>
                <a:gd name="connsiteX7" fmla="*/ 49140 w 205379"/>
                <a:gd name="connsiteY7" fmla="*/ 149940 h 234360"/>
                <a:gd name="connsiteX8" fmla="*/ 64418 w 205379"/>
                <a:gd name="connsiteY8" fmla="*/ 175928 h 234360"/>
                <a:gd name="connsiteX9" fmla="*/ 88200 w 205379"/>
                <a:gd name="connsiteY9" fmla="*/ 192780 h 234360"/>
                <a:gd name="connsiteX10" fmla="*/ 119385 w 205379"/>
                <a:gd name="connsiteY10" fmla="*/ 198765 h 234360"/>
                <a:gd name="connsiteX11" fmla="*/ 151200 w 205379"/>
                <a:gd name="connsiteY11" fmla="*/ 191677 h 234360"/>
                <a:gd name="connsiteX12" fmla="*/ 173565 w 205379"/>
                <a:gd name="connsiteY12" fmla="*/ 172935 h 234360"/>
                <a:gd name="connsiteX13" fmla="*/ 205380 w 205379"/>
                <a:gd name="connsiteY13" fmla="*/ 195300 h 234360"/>
                <a:gd name="connsiteX14" fmla="*/ 169155 w 205379"/>
                <a:gd name="connsiteY14" fmla="*/ 224122 h 234360"/>
                <a:gd name="connsiteX15" fmla="*/ 119070 w 205379"/>
                <a:gd name="connsiteY15" fmla="*/ 234360 h 234360"/>
                <a:gd name="connsiteX16" fmla="*/ 71033 w 205379"/>
                <a:gd name="connsiteY16" fmla="*/ 225698 h 234360"/>
                <a:gd name="connsiteX17" fmla="*/ 33390 w 205379"/>
                <a:gd name="connsiteY17" fmla="*/ 201443 h 234360"/>
                <a:gd name="connsiteX18" fmla="*/ 8820 w 205379"/>
                <a:gd name="connsiteY18" fmla="*/ 164273 h 234360"/>
                <a:gd name="connsiteX19" fmla="*/ 0 w 205379"/>
                <a:gd name="connsiteY19" fmla="*/ 116550 h 234360"/>
                <a:gd name="connsiteX20" fmla="*/ 9293 w 205379"/>
                <a:gd name="connsiteY20" fmla="*/ 68198 h 234360"/>
                <a:gd name="connsiteX21" fmla="*/ 34808 w 205379"/>
                <a:gd name="connsiteY21" fmla="*/ 31500 h 234360"/>
                <a:gd name="connsiteX22" fmla="*/ 73080 w 205379"/>
                <a:gd name="connsiteY22" fmla="*/ 8190 h 234360"/>
                <a:gd name="connsiteX23" fmla="*/ 120960 w 205379"/>
                <a:gd name="connsiteY23" fmla="*/ 0 h 234360"/>
                <a:gd name="connsiteX24" fmla="*/ 143325 w 205379"/>
                <a:gd name="connsiteY24" fmla="*/ 2048 h 234360"/>
                <a:gd name="connsiteX25" fmla="*/ 165690 w 205379"/>
                <a:gd name="connsiteY25" fmla="*/ 8348 h 234360"/>
                <a:gd name="connsiteX26" fmla="*/ 185850 w 205379"/>
                <a:gd name="connsiteY26" fmla="*/ 18900 h 234360"/>
                <a:gd name="connsiteX27" fmla="*/ 201915 w 205379"/>
                <a:gd name="connsiteY27" fmla="*/ 34020 h 234360"/>
                <a:gd name="connsiteX28" fmla="*/ 171675 w 205379"/>
                <a:gd name="connsiteY28" fmla="*/ 57960 h 234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05379" h="234360">
                  <a:moveTo>
                    <a:pt x="171675" y="57960"/>
                  </a:moveTo>
                  <a:cubicBezTo>
                    <a:pt x="165795" y="49980"/>
                    <a:pt x="158130" y="44153"/>
                    <a:pt x="148680" y="40478"/>
                  </a:cubicBezTo>
                  <a:cubicBezTo>
                    <a:pt x="139230" y="36803"/>
                    <a:pt x="129990" y="34965"/>
                    <a:pt x="120960" y="34965"/>
                  </a:cubicBezTo>
                  <a:cubicBezTo>
                    <a:pt x="109410" y="34965"/>
                    <a:pt x="98910" y="37065"/>
                    <a:pt x="89460" y="41265"/>
                  </a:cubicBezTo>
                  <a:cubicBezTo>
                    <a:pt x="80010" y="45465"/>
                    <a:pt x="71873" y="51240"/>
                    <a:pt x="65048" y="58590"/>
                  </a:cubicBezTo>
                  <a:cubicBezTo>
                    <a:pt x="58223" y="65940"/>
                    <a:pt x="52972" y="74550"/>
                    <a:pt x="49298" y="84420"/>
                  </a:cubicBezTo>
                  <a:cubicBezTo>
                    <a:pt x="45623" y="94290"/>
                    <a:pt x="43785" y="105000"/>
                    <a:pt x="43785" y="116550"/>
                  </a:cubicBezTo>
                  <a:cubicBezTo>
                    <a:pt x="43785" y="128730"/>
                    <a:pt x="45570" y="139860"/>
                    <a:pt x="49140" y="149940"/>
                  </a:cubicBezTo>
                  <a:cubicBezTo>
                    <a:pt x="52710" y="160020"/>
                    <a:pt x="57803" y="168683"/>
                    <a:pt x="64418" y="175928"/>
                  </a:cubicBezTo>
                  <a:cubicBezTo>
                    <a:pt x="71033" y="183173"/>
                    <a:pt x="78960" y="188790"/>
                    <a:pt x="88200" y="192780"/>
                  </a:cubicBezTo>
                  <a:cubicBezTo>
                    <a:pt x="97440" y="196770"/>
                    <a:pt x="107835" y="198765"/>
                    <a:pt x="119385" y="198765"/>
                  </a:cubicBezTo>
                  <a:cubicBezTo>
                    <a:pt x="131355" y="198765"/>
                    <a:pt x="141960" y="196403"/>
                    <a:pt x="151200" y="191677"/>
                  </a:cubicBezTo>
                  <a:cubicBezTo>
                    <a:pt x="160440" y="186953"/>
                    <a:pt x="167895" y="180705"/>
                    <a:pt x="173565" y="172935"/>
                  </a:cubicBezTo>
                  <a:lnTo>
                    <a:pt x="205380" y="195300"/>
                  </a:lnTo>
                  <a:cubicBezTo>
                    <a:pt x="195510" y="207690"/>
                    <a:pt x="183435" y="217298"/>
                    <a:pt x="169155" y="224122"/>
                  </a:cubicBezTo>
                  <a:cubicBezTo>
                    <a:pt x="154875" y="230947"/>
                    <a:pt x="138180" y="234360"/>
                    <a:pt x="119070" y="234360"/>
                  </a:cubicBezTo>
                  <a:cubicBezTo>
                    <a:pt x="101640" y="234360"/>
                    <a:pt x="85628" y="231472"/>
                    <a:pt x="71033" y="225698"/>
                  </a:cubicBezTo>
                  <a:cubicBezTo>
                    <a:pt x="56437" y="219923"/>
                    <a:pt x="43890" y="211837"/>
                    <a:pt x="33390" y="201443"/>
                  </a:cubicBezTo>
                  <a:cubicBezTo>
                    <a:pt x="22890" y="191048"/>
                    <a:pt x="14700" y="178658"/>
                    <a:pt x="8820" y="164273"/>
                  </a:cubicBezTo>
                  <a:cubicBezTo>
                    <a:pt x="2940" y="149888"/>
                    <a:pt x="0" y="133980"/>
                    <a:pt x="0" y="116550"/>
                  </a:cubicBezTo>
                  <a:cubicBezTo>
                    <a:pt x="0" y="98700"/>
                    <a:pt x="3098" y="82582"/>
                    <a:pt x="9293" y="68198"/>
                  </a:cubicBezTo>
                  <a:cubicBezTo>
                    <a:pt x="15488" y="53812"/>
                    <a:pt x="23993" y="41580"/>
                    <a:pt x="34808" y="31500"/>
                  </a:cubicBezTo>
                  <a:cubicBezTo>
                    <a:pt x="45623" y="21420"/>
                    <a:pt x="58380" y="13650"/>
                    <a:pt x="73080" y="8190"/>
                  </a:cubicBezTo>
                  <a:cubicBezTo>
                    <a:pt x="87780" y="2730"/>
                    <a:pt x="103740" y="0"/>
                    <a:pt x="120960" y="0"/>
                  </a:cubicBezTo>
                  <a:cubicBezTo>
                    <a:pt x="128100" y="0"/>
                    <a:pt x="135555" y="683"/>
                    <a:pt x="143325" y="2048"/>
                  </a:cubicBezTo>
                  <a:cubicBezTo>
                    <a:pt x="151095" y="3412"/>
                    <a:pt x="158550" y="5513"/>
                    <a:pt x="165690" y="8348"/>
                  </a:cubicBezTo>
                  <a:cubicBezTo>
                    <a:pt x="172830" y="11182"/>
                    <a:pt x="179550" y="14700"/>
                    <a:pt x="185850" y="18900"/>
                  </a:cubicBezTo>
                  <a:cubicBezTo>
                    <a:pt x="192150" y="23100"/>
                    <a:pt x="197505" y="28140"/>
                    <a:pt x="201915" y="34020"/>
                  </a:cubicBezTo>
                  <a:lnTo>
                    <a:pt x="171675" y="5796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55" name="Рисунок 210">
            <a:extLst>
              <a:ext uri="{FF2B5EF4-FFF2-40B4-BE49-F238E27FC236}">
                <a16:creationId xmlns:a16="http://schemas.microsoft.com/office/drawing/2014/main" id="{56485000-A48F-3D48-87D5-9172E8352B12}"/>
              </a:ext>
            </a:extLst>
          </p:cNvPr>
          <p:cNvGrpSpPr/>
          <p:nvPr/>
        </p:nvGrpSpPr>
        <p:grpSpPr>
          <a:xfrm>
            <a:off x="11244886" y="4461423"/>
            <a:ext cx="360000" cy="360000"/>
            <a:chOff x="11267188" y="4778145"/>
            <a:chExt cx="360000" cy="360000"/>
          </a:xfrm>
        </p:grpSpPr>
        <p:sp>
          <p:nvSpPr>
            <p:cNvPr id="956" name="Полилиния 955">
              <a:extLst>
                <a:ext uri="{FF2B5EF4-FFF2-40B4-BE49-F238E27FC236}">
                  <a16:creationId xmlns:a16="http://schemas.microsoft.com/office/drawing/2014/main" id="{6F508CD5-7A15-1145-8FAA-2F53EECCEECC}"/>
                </a:ext>
              </a:extLst>
            </p:cNvPr>
            <p:cNvSpPr/>
            <p:nvPr/>
          </p:nvSpPr>
          <p:spPr>
            <a:xfrm>
              <a:off x="11267188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7" name="Скругленный прямоугольник 956">
              <a:extLst>
                <a:ext uri="{FF2B5EF4-FFF2-40B4-BE49-F238E27FC236}">
                  <a16:creationId xmlns:a16="http://schemas.microsoft.com/office/drawing/2014/main" id="{10216D62-C1B9-664F-8E74-DB16199A519F}"/>
                </a:ext>
              </a:extLst>
            </p:cNvPr>
            <p:cNvSpPr/>
            <p:nvPr/>
          </p:nvSpPr>
          <p:spPr>
            <a:xfrm rot="-5400000">
              <a:off x="11447188" y="4778145"/>
              <a:ext cx="30000" cy="18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8" name="Полилиния 957">
              <a:extLst>
                <a:ext uri="{FF2B5EF4-FFF2-40B4-BE49-F238E27FC236}">
                  <a16:creationId xmlns:a16="http://schemas.microsoft.com/office/drawing/2014/main" id="{B534C991-C903-344E-A8B5-46506234DF17}"/>
                </a:ext>
              </a:extLst>
            </p:cNvPr>
            <p:cNvSpPr/>
            <p:nvPr/>
          </p:nvSpPr>
          <p:spPr>
            <a:xfrm rot="5400000">
              <a:off x="11319688" y="4830644"/>
              <a:ext cx="119999" cy="74999"/>
            </a:xfrm>
            <a:custGeom>
              <a:avLst/>
              <a:gdLst>
                <a:gd name="connsiteX0" fmla="*/ 94393 w 119999"/>
                <a:gd name="connsiteY0" fmla="*/ 4393 h 74999"/>
                <a:gd name="connsiteX1" fmla="*/ 115607 w 119999"/>
                <a:gd name="connsiteY1" fmla="*/ 4393 h 74999"/>
                <a:gd name="connsiteX2" fmla="*/ 115607 w 119999"/>
                <a:gd name="connsiteY2" fmla="*/ 25607 h 74999"/>
                <a:gd name="connsiteX3" fmla="*/ 70607 w 119999"/>
                <a:gd name="connsiteY3" fmla="*/ 70607 h 74999"/>
                <a:gd name="connsiteX4" fmla="*/ 49393 w 119999"/>
                <a:gd name="connsiteY4" fmla="*/ 70607 h 74999"/>
                <a:gd name="connsiteX5" fmla="*/ 4393 w 119999"/>
                <a:gd name="connsiteY5" fmla="*/ 25607 h 74999"/>
                <a:gd name="connsiteX6" fmla="*/ 4393 w 119999"/>
                <a:gd name="connsiteY6" fmla="*/ 4393 h 74999"/>
                <a:gd name="connsiteX7" fmla="*/ 25607 w 119999"/>
                <a:gd name="connsiteY7" fmla="*/ 4393 h 74999"/>
                <a:gd name="connsiteX8" fmla="*/ 60000 w 119999"/>
                <a:gd name="connsiteY8" fmla="*/ 38787 h 74999"/>
                <a:gd name="connsiteX9" fmla="*/ 94393 w 119999"/>
                <a:gd name="connsiteY9" fmla="*/ 4393 h 7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74999">
                  <a:moveTo>
                    <a:pt x="94393" y="4393"/>
                  </a:moveTo>
                  <a:cubicBezTo>
                    <a:pt x="100251" y="-1464"/>
                    <a:pt x="109749" y="-1464"/>
                    <a:pt x="115607" y="4393"/>
                  </a:cubicBezTo>
                  <a:cubicBezTo>
                    <a:pt x="121464" y="10251"/>
                    <a:pt x="121464" y="19749"/>
                    <a:pt x="115607" y="25607"/>
                  </a:cubicBezTo>
                  <a:lnTo>
                    <a:pt x="70607" y="70607"/>
                  </a:lnTo>
                  <a:cubicBezTo>
                    <a:pt x="64749" y="76464"/>
                    <a:pt x="55251" y="76464"/>
                    <a:pt x="49393" y="70607"/>
                  </a:cubicBezTo>
                  <a:lnTo>
                    <a:pt x="4393" y="25607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7" y="4393"/>
                  </a:cubicBezTo>
                  <a:lnTo>
                    <a:pt x="60000" y="38787"/>
                  </a:lnTo>
                  <a:lnTo>
                    <a:pt x="94393" y="439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9" name="Скругленный прямоугольник 958">
              <a:extLst>
                <a:ext uri="{FF2B5EF4-FFF2-40B4-BE49-F238E27FC236}">
                  <a16:creationId xmlns:a16="http://schemas.microsoft.com/office/drawing/2014/main" id="{B8BE98BE-046E-1643-A7D2-CB56151D05C3}"/>
                </a:ext>
              </a:extLst>
            </p:cNvPr>
            <p:cNvSpPr/>
            <p:nvPr/>
          </p:nvSpPr>
          <p:spPr>
            <a:xfrm rot="-5400000" flipV="1">
              <a:off x="11417188" y="4958145"/>
              <a:ext cx="30000" cy="18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0" name="Полилиния 959">
              <a:extLst>
                <a:ext uri="{FF2B5EF4-FFF2-40B4-BE49-F238E27FC236}">
                  <a16:creationId xmlns:a16="http://schemas.microsoft.com/office/drawing/2014/main" id="{FDED53E5-D957-4B4B-AC57-1CF01701F8C8}"/>
                </a:ext>
              </a:extLst>
            </p:cNvPr>
            <p:cNvSpPr/>
            <p:nvPr/>
          </p:nvSpPr>
          <p:spPr>
            <a:xfrm rot="5400000" flipV="1">
              <a:off x="11454688" y="5010645"/>
              <a:ext cx="119999" cy="74999"/>
            </a:xfrm>
            <a:custGeom>
              <a:avLst/>
              <a:gdLst>
                <a:gd name="connsiteX0" fmla="*/ 94393 w 119999"/>
                <a:gd name="connsiteY0" fmla="*/ 4393 h 74999"/>
                <a:gd name="connsiteX1" fmla="*/ 115606 w 119999"/>
                <a:gd name="connsiteY1" fmla="*/ 4393 h 74999"/>
                <a:gd name="connsiteX2" fmla="*/ 115606 w 119999"/>
                <a:gd name="connsiteY2" fmla="*/ 25606 h 74999"/>
                <a:gd name="connsiteX3" fmla="*/ 70606 w 119999"/>
                <a:gd name="connsiteY3" fmla="*/ 70606 h 74999"/>
                <a:gd name="connsiteX4" fmla="*/ 49393 w 119999"/>
                <a:gd name="connsiteY4" fmla="*/ 70606 h 74999"/>
                <a:gd name="connsiteX5" fmla="*/ 4393 w 119999"/>
                <a:gd name="connsiteY5" fmla="*/ 25606 h 74999"/>
                <a:gd name="connsiteX6" fmla="*/ 4393 w 119999"/>
                <a:gd name="connsiteY6" fmla="*/ 4393 h 74999"/>
                <a:gd name="connsiteX7" fmla="*/ 25606 w 119999"/>
                <a:gd name="connsiteY7" fmla="*/ 4393 h 74999"/>
                <a:gd name="connsiteX8" fmla="*/ 60000 w 119999"/>
                <a:gd name="connsiteY8" fmla="*/ 38787 h 74999"/>
                <a:gd name="connsiteX9" fmla="*/ 94393 w 119999"/>
                <a:gd name="connsiteY9" fmla="*/ 4393 h 7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74999">
                  <a:moveTo>
                    <a:pt x="94393" y="4393"/>
                  </a:moveTo>
                  <a:cubicBezTo>
                    <a:pt x="100251" y="-1464"/>
                    <a:pt x="109749" y="-1464"/>
                    <a:pt x="115606" y="4393"/>
                  </a:cubicBezTo>
                  <a:cubicBezTo>
                    <a:pt x="121464" y="10251"/>
                    <a:pt x="121464" y="19749"/>
                    <a:pt x="115606" y="25606"/>
                  </a:cubicBezTo>
                  <a:lnTo>
                    <a:pt x="70606" y="70606"/>
                  </a:lnTo>
                  <a:cubicBezTo>
                    <a:pt x="64749" y="76464"/>
                    <a:pt x="55251" y="76464"/>
                    <a:pt x="49393" y="70606"/>
                  </a:cubicBezTo>
                  <a:lnTo>
                    <a:pt x="4393" y="25606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6" y="4393"/>
                  </a:cubicBezTo>
                  <a:lnTo>
                    <a:pt x="60000" y="38787"/>
                  </a:lnTo>
                  <a:lnTo>
                    <a:pt x="94393" y="439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61" name="Рисунок 211">
            <a:extLst>
              <a:ext uri="{FF2B5EF4-FFF2-40B4-BE49-F238E27FC236}">
                <a16:creationId xmlns:a16="http://schemas.microsoft.com/office/drawing/2014/main" id="{F2967855-7E6A-0D4A-AD1C-38677516E275}"/>
              </a:ext>
            </a:extLst>
          </p:cNvPr>
          <p:cNvGrpSpPr/>
          <p:nvPr/>
        </p:nvGrpSpPr>
        <p:grpSpPr>
          <a:xfrm>
            <a:off x="5203820" y="4461423"/>
            <a:ext cx="360000" cy="360000"/>
            <a:chOff x="5226122" y="4778145"/>
            <a:chExt cx="360000" cy="360000"/>
          </a:xfrm>
        </p:grpSpPr>
        <p:sp>
          <p:nvSpPr>
            <p:cNvPr id="962" name="Полилиния 961">
              <a:extLst>
                <a:ext uri="{FF2B5EF4-FFF2-40B4-BE49-F238E27FC236}">
                  <a16:creationId xmlns:a16="http://schemas.microsoft.com/office/drawing/2014/main" id="{97B91FFE-61A2-524C-855A-2BDBB46D8B92}"/>
                </a:ext>
              </a:extLst>
            </p:cNvPr>
            <p:cNvSpPr/>
            <p:nvPr/>
          </p:nvSpPr>
          <p:spPr>
            <a:xfrm>
              <a:off x="5226122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3" name="Полилиния 962">
              <a:extLst>
                <a:ext uri="{FF2B5EF4-FFF2-40B4-BE49-F238E27FC236}">
                  <a16:creationId xmlns:a16="http://schemas.microsoft.com/office/drawing/2014/main" id="{720E5A0A-06BC-8044-8CFA-9446AA228974}"/>
                </a:ext>
              </a:extLst>
            </p:cNvPr>
            <p:cNvSpPr/>
            <p:nvPr/>
          </p:nvSpPr>
          <p:spPr>
            <a:xfrm>
              <a:off x="5303695" y="4839652"/>
              <a:ext cx="220918" cy="236984"/>
            </a:xfrm>
            <a:custGeom>
              <a:avLst/>
              <a:gdLst>
                <a:gd name="connsiteX0" fmla="*/ 81213 w 220918"/>
                <a:gd name="connsiteY0" fmla="*/ 118492 h 236984"/>
                <a:gd name="connsiteX1" fmla="*/ 4393 w 220918"/>
                <a:gd name="connsiteY1" fmla="*/ 41673 h 236984"/>
                <a:gd name="connsiteX2" fmla="*/ 4393 w 220918"/>
                <a:gd name="connsiteY2" fmla="*/ 20460 h 236984"/>
                <a:gd name="connsiteX3" fmla="*/ 25607 w 220918"/>
                <a:gd name="connsiteY3" fmla="*/ 20460 h 236984"/>
                <a:gd name="connsiteX4" fmla="*/ 102426 w 220918"/>
                <a:gd name="connsiteY4" fmla="*/ 97279 h 236984"/>
                <a:gd name="connsiteX5" fmla="*/ 195312 w 220918"/>
                <a:gd name="connsiteY5" fmla="*/ 4393 h 236984"/>
                <a:gd name="connsiteX6" fmla="*/ 216525 w 220918"/>
                <a:gd name="connsiteY6" fmla="*/ 4393 h 236984"/>
                <a:gd name="connsiteX7" fmla="*/ 216525 w 220918"/>
                <a:gd name="connsiteY7" fmla="*/ 25607 h 236984"/>
                <a:gd name="connsiteX8" fmla="*/ 123639 w 220918"/>
                <a:gd name="connsiteY8" fmla="*/ 118492 h 236984"/>
                <a:gd name="connsiteX9" fmla="*/ 216525 w 220918"/>
                <a:gd name="connsiteY9" fmla="*/ 211378 h 236984"/>
                <a:gd name="connsiteX10" fmla="*/ 216525 w 220918"/>
                <a:gd name="connsiteY10" fmla="*/ 232591 h 236984"/>
                <a:gd name="connsiteX11" fmla="*/ 195312 w 220918"/>
                <a:gd name="connsiteY11" fmla="*/ 232591 h 236984"/>
                <a:gd name="connsiteX12" fmla="*/ 102426 w 220918"/>
                <a:gd name="connsiteY12" fmla="*/ 139705 h 236984"/>
                <a:gd name="connsiteX13" fmla="*/ 25607 w 220918"/>
                <a:gd name="connsiteY13" fmla="*/ 216525 h 236984"/>
                <a:gd name="connsiteX14" fmla="*/ 4393 w 220918"/>
                <a:gd name="connsiteY14" fmla="*/ 216525 h 236984"/>
                <a:gd name="connsiteX15" fmla="*/ 4393 w 220918"/>
                <a:gd name="connsiteY15" fmla="*/ 195312 h 236984"/>
                <a:gd name="connsiteX16" fmla="*/ 81213 w 220918"/>
                <a:gd name="connsiteY16" fmla="*/ 118492 h 236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0918" h="236984">
                  <a:moveTo>
                    <a:pt x="81213" y="118492"/>
                  </a:moveTo>
                  <a:lnTo>
                    <a:pt x="4393" y="41673"/>
                  </a:lnTo>
                  <a:cubicBezTo>
                    <a:pt x="-1464" y="35815"/>
                    <a:pt x="-1464" y="26317"/>
                    <a:pt x="4393" y="20460"/>
                  </a:cubicBezTo>
                  <a:cubicBezTo>
                    <a:pt x="10251" y="14602"/>
                    <a:pt x="19749" y="14602"/>
                    <a:pt x="25607" y="20460"/>
                  </a:cubicBezTo>
                  <a:lnTo>
                    <a:pt x="102426" y="97279"/>
                  </a:lnTo>
                  <a:lnTo>
                    <a:pt x="195312" y="4393"/>
                  </a:lnTo>
                  <a:cubicBezTo>
                    <a:pt x="201170" y="-1464"/>
                    <a:pt x="210668" y="-1464"/>
                    <a:pt x="216525" y="4393"/>
                  </a:cubicBezTo>
                  <a:cubicBezTo>
                    <a:pt x="222383" y="10251"/>
                    <a:pt x="222383" y="19749"/>
                    <a:pt x="216525" y="25607"/>
                  </a:cubicBezTo>
                  <a:lnTo>
                    <a:pt x="123639" y="118492"/>
                  </a:lnTo>
                  <a:lnTo>
                    <a:pt x="216525" y="211378"/>
                  </a:lnTo>
                  <a:cubicBezTo>
                    <a:pt x="222383" y="217236"/>
                    <a:pt x="222383" y="226734"/>
                    <a:pt x="216525" y="232591"/>
                  </a:cubicBezTo>
                  <a:cubicBezTo>
                    <a:pt x="210668" y="238449"/>
                    <a:pt x="201170" y="238449"/>
                    <a:pt x="195312" y="232591"/>
                  </a:cubicBezTo>
                  <a:lnTo>
                    <a:pt x="102426" y="139705"/>
                  </a:lnTo>
                  <a:lnTo>
                    <a:pt x="25607" y="216525"/>
                  </a:lnTo>
                  <a:cubicBezTo>
                    <a:pt x="19749" y="222384"/>
                    <a:pt x="10251" y="222384"/>
                    <a:pt x="4393" y="216525"/>
                  </a:cubicBezTo>
                  <a:cubicBezTo>
                    <a:pt x="-1464" y="210667"/>
                    <a:pt x="-1464" y="201169"/>
                    <a:pt x="4393" y="195312"/>
                  </a:cubicBezTo>
                  <a:lnTo>
                    <a:pt x="81213" y="11849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964" name="Полилиния 963">
              <a:extLst>
                <a:ext uri="{FF2B5EF4-FFF2-40B4-BE49-F238E27FC236}">
                  <a16:creationId xmlns:a16="http://schemas.microsoft.com/office/drawing/2014/main" id="{0D11DC70-1792-764B-80DB-83A8B1F077E1}"/>
                </a:ext>
              </a:extLst>
            </p:cNvPr>
            <p:cNvSpPr/>
            <p:nvPr/>
          </p:nvSpPr>
          <p:spPr>
            <a:xfrm>
              <a:off x="5286122" y="4838145"/>
              <a:ext cx="240000" cy="240000"/>
            </a:xfrm>
            <a:custGeom>
              <a:avLst/>
              <a:gdLst>
                <a:gd name="connsiteX0" fmla="*/ 30000 w 240000"/>
                <a:gd name="connsiteY0" fmla="*/ 210000 h 240000"/>
                <a:gd name="connsiteX1" fmla="*/ 75000 w 240000"/>
                <a:gd name="connsiteY1" fmla="*/ 210000 h 240000"/>
                <a:gd name="connsiteX2" fmla="*/ 90000 w 240000"/>
                <a:gd name="connsiteY2" fmla="*/ 225000 h 240000"/>
                <a:gd name="connsiteX3" fmla="*/ 75000 w 240000"/>
                <a:gd name="connsiteY3" fmla="*/ 240000 h 240000"/>
                <a:gd name="connsiteX4" fmla="*/ 0 w 240000"/>
                <a:gd name="connsiteY4" fmla="*/ 240000 h 240000"/>
                <a:gd name="connsiteX5" fmla="*/ 0 w 240000"/>
                <a:gd name="connsiteY5" fmla="*/ 165000 h 240000"/>
                <a:gd name="connsiteX6" fmla="*/ 15000 w 240000"/>
                <a:gd name="connsiteY6" fmla="*/ 150000 h 240000"/>
                <a:gd name="connsiteX7" fmla="*/ 30000 w 240000"/>
                <a:gd name="connsiteY7" fmla="*/ 165000 h 240000"/>
                <a:gd name="connsiteX8" fmla="*/ 30000 w 240000"/>
                <a:gd name="connsiteY8" fmla="*/ 210000 h 240000"/>
                <a:gd name="connsiteX9" fmla="*/ 210000 w 240000"/>
                <a:gd name="connsiteY9" fmla="*/ 210000 h 240000"/>
                <a:gd name="connsiteX10" fmla="*/ 210000 w 240000"/>
                <a:gd name="connsiteY10" fmla="*/ 165000 h 240000"/>
                <a:gd name="connsiteX11" fmla="*/ 225000 w 240000"/>
                <a:gd name="connsiteY11" fmla="*/ 150000 h 240000"/>
                <a:gd name="connsiteX12" fmla="*/ 240000 w 240000"/>
                <a:gd name="connsiteY12" fmla="*/ 165000 h 240000"/>
                <a:gd name="connsiteX13" fmla="*/ 240000 w 240000"/>
                <a:gd name="connsiteY13" fmla="*/ 240000 h 240000"/>
                <a:gd name="connsiteX14" fmla="*/ 165000 w 240000"/>
                <a:gd name="connsiteY14" fmla="*/ 240000 h 240000"/>
                <a:gd name="connsiteX15" fmla="*/ 150000 w 240000"/>
                <a:gd name="connsiteY15" fmla="*/ 225000 h 240000"/>
                <a:gd name="connsiteX16" fmla="*/ 165000 w 240000"/>
                <a:gd name="connsiteY16" fmla="*/ 210000 h 240000"/>
                <a:gd name="connsiteX17" fmla="*/ 210000 w 240000"/>
                <a:gd name="connsiteY17" fmla="*/ 210000 h 240000"/>
                <a:gd name="connsiteX18" fmla="*/ 210000 w 240000"/>
                <a:gd name="connsiteY18" fmla="*/ 30000 h 240000"/>
                <a:gd name="connsiteX19" fmla="*/ 165000 w 240000"/>
                <a:gd name="connsiteY19" fmla="*/ 30000 h 240000"/>
                <a:gd name="connsiteX20" fmla="*/ 150000 w 240000"/>
                <a:gd name="connsiteY20" fmla="*/ 15000 h 240000"/>
                <a:gd name="connsiteX21" fmla="*/ 165000 w 240000"/>
                <a:gd name="connsiteY21" fmla="*/ 0 h 240000"/>
                <a:gd name="connsiteX22" fmla="*/ 240000 w 240000"/>
                <a:gd name="connsiteY22" fmla="*/ 0 h 240000"/>
                <a:gd name="connsiteX23" fmla="*/ 240000 w 240000"/>
                <a:gd name="connsiteY23" fmla="*/ 75000 h 240000"/>
                <a:gd name="connsiteX24" fmla="*/ 225000 w 240000"/>
                <a:gd name="connsiteY24" fmla="*/ 90000 h 240000"/>
                <a:gd name="connsiteX25" fmla="*/ 210000 w 240000"/>
                <a:gd name="connsiteY25" fmla="*/ 75000 h 240000"/>
                <a:gd name="connsiteX26" fmla="*/ 210000 w 240000"/>
                <a:gd name="connsiteY26" fmla="*/ 30000 h 240000"/>
                <a:gd name="connsiteX27" fmla="*/ 30000 w 240000"/>
                <a:gd name="connsiteY27" fmla="*/ 30000 h 240000"/>
                <a:gd name="connsiteX28" fmla="*/ 30000 w 240000"/>
                <a:gd name="connsiteY28" fmla="*/ 75000 h 240000"/>
                <a:gd name="connsiteX29" fmla="*/ 15000 w 240000"/>
                <a:gd name="connsiteY29" fmla="*/ 90000 h 240000"/>
                <a:gd name="connsiteX30" fmla="*/ 0 w 240000"/>
                <a:gd name="connsiteY30" fmla="*/ 75000 h 240000"/>
                <a:gd name="connsiteX31" fmla="*/ 0 w 240000"/>
                <a:gd name="connsiteY31" fmla="*/ 0 h 240000"/>
                <a:gd name="connsiteX32" fmla="*/ 75000 w 240000"/>
                <a:gd name="connsiteY32" fmla="*/ 0 h 240000"/>
                <a:gd name="connsiteX33" fmla="*/ 90000 w 240000"/>
                <a:gd name="connsiteY33" fmla="*/ 15000 h 240000"/>
                <a:gd name="connsiteX34" fmla="*/ 75000 w 240000"/>
                <a:gd name="connsiteY34" fmla="*/ 30000 h 240000"/>
                <a:gd name="connsiteX35" fmla="*/ 30000 w 240000"/>
                <a:gd name="connsiteY35" fmla="*/ 3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40000" h="240000">
                  <a:moveTo>
                    <a:pt x="30000" y="210000"/>
                  </a:moveTo>
                  <a:lnTo>
                    <a:pt x="75000" y="210000"/>
                  </a:lnTo>
                  <a:cubicBezTo>
                    <a:pt x="85000" y="211716"/>
                    <a:pt x="90000" y="216716"/>
                    <a:pt x="90000" y="225000"/>
                  </a:cubicBezTo>
                  <a:cubicBezTo>
                    <a:pt x="90000" y="233285"/>
                    <a:pt x="85000" y="238284"/>
                    <a:pt x="75000" y="240000"/>
                  </a:cubicBezTo>
                  <a:lnTo>
                    <a:pt x="0" y="240000"/>
                  </a:lnTo>
                  <a:lnTo>
                    <a:pt x="0" y="165000"/>
                  </a:lnTo>
                  <a:cubicBezTo>
                    <a:pt x="0" y="155000"/>
                    <a:pt x="5000" y="150000"/>
                    <a:pt x="15000" y="150000"/>
                  </a:cubicBezTo>
                  <a:cubicBezTo>
                    <a:pt x="25000" y="150000"/>
                    <a:pt x="30000" y="155000"/>
                    <a:pt x="30000" y="165000"/>
                  </a:cubicBezTo>
                  <a:lnTo>
                    <a:pt x="30000" y="210000"/>
                  </a:lnTo>
                  <a:close/>
                  <a:moveTo>
                    <a:pt x="210000" y="210000"/>
                  </a:moveTo>
                  <a:lnTo>
                    <a:pt x="210000" y="165000"/>
                  </a:lnTo>
                  <a:cubicBezTo>
                    <a:pt x="211716" y="155000"/>
                    <a:pt x="216716" y="150000"/>
                    <a:pt x="225000" y="150000"/>
                  </a:cubicBezTo>
                  <a:cubicBezTo>
                    <a:pt x="233285" y="150000"/>
                    <a:pt x="238284" y="155000"/>
                    <a:pt x="240000" y="165000"/>
                  </a:cubicBezTo>
                  <a:lnTo>
                    <a:pt x="240000" y="240000"/>
                  </a:lnTo>
                  <a:lnTo>
                    <a:pt x="165000" y="240000"/>
                  </a:lnTo>
                  <a:cubicBezTo>
                    <a:pt x="155000" y="240000"/>
                    <a:pt x="150000" y="235001"/>
                    <a:pt x="150000" y="225000"/>
                  </a:cubicBezTo>
                  <a:cubicBezTo>
                    <a:pt x="150000" y="215000"/>
                    <a:pt x="155000" y="210000"/>
                    <a:pt x="165000" y="210000"/>
                  </a:cubicBezTo>
                  <a:lnTo>
                    <a:pt x="210000" y="210000"/>
                  </a:lnTo>
                  <a:close/>
                  <a:moveTo>
                    <a:pt x="210000" y="30000"/>
                  </a:moveTo>
                  <a:lnTo>
                    <a:pt x="165000" y="30000"/>
                  </a:lnTo>
                  <a:cubicBezTo>
                    <a:pt x="155000" y="28284"/>
                    <a:pt x="150000" y="23284"/>
                    <a:pt x="150000" y="15000"/>
                  </a:cubicBezTo>
                  <a:cubicBezTo>
                    <a:pt x="150000" y="6716"/>
                    <a:pt x="155000" y="1716"/>
                    <a:pt x="165000" y="0"/>
                  </a:cubicBezTo>
                  <a:lnTo>
                    <a:pt x="240000" y="0"/>
                  </a:lnTo>
                  <a:lnTo>
                    <a:pt x="240000" y="75000"/>
                  </a:lnTo>
                  <a:cubicBezTo>
                    <a:pt x="240000" y="85000"/>
                    <a:pt x="235001" y="90000"/>
                    <a:pt x="225000" y="90000"/>
                  </a:cubicBezTo>
                  <a:cubicBezTo>
                    <a:pt x="215000" y="90000"/>
                    <a:pt x="210000" y="85000"/>
                    <a:pt x="210000" y="75000"/>
                  </a:cubicBezTo>
                  <a:lnTo>
                    <a:pt x="210000" y="30000"/>
                  </a:lnTo>
                  <a:close/>
                  <a:moveTo>
                    <a:pt x="30000" y="30000"/>
                  </a:moveTo>
                  <a:lnTo>
                    <a:pt x="30000" y="75000"/>
                  </a:lnTo>
                  <a:cubicBezTo>
                    <a:pt x="28284" y="85000"/>
                    <a:pt x="23284" y="90000"/>
                    <a:pt x="15000" y="90000"/>
                  </a:cubicBezTo>
                  <a:cubicBezTo>
                    <a:pt x="6716" y="90000"/>
                    <a:pt x="1716" y="85000"/>
                    <a:pt x="0" y="75000"/>
                  </a:cubicBezTo>
                  <a:lnTo>
                    <a:pt x="0" y="0"/>
                  </a:lnTo>
                  <a:lnTo>
                    <a:pt x="75000" y="0"/>
                  </a:lnTo>
                  <a:cubicBezTo>
                    <a:pt x="85000" y="0"/>
                    <a:pt x="90000" y="5000"/>
                    <a:pt x="90000" y="15000"/>
                  </a:cubicBezTo>
                  <a:cubicBezTo>
                    <a:pt x="90000" y="25000"/>
                    <a:pt x="85000" y="30000"/>
                    <a:pt x="75000" y="30000"/>
                  </a:cubicBezTo>
                  <a:lnTo>
                    <a:pt x="30000" y="3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65" name="Рисунок 212">
            <a:extLst>
              <a:ext uri="{FF2B5EF4-FFF2-40B4-BE49-F238E27FC236}">
                <a16:creationId xmlns:a16="http://schemas.microsoft.com/office/drawing/2014/main" id="{8E049253-7BCF-0E48-AE9F-9DCBCA12CFDC}"/>
              </a:ext>
            </a:extLst>
          </p:cNvPr>
          <p:cNvGrpSpPr/>
          <p:nvPr/>
        </p:nvGrpSpPr>
        <p:grpSpPr>
          <a:xfrm>
            <a:off x="6714086" y="4461423"/>
            <a:ext cx="360000" cy="360000"/>
            <a:chOff x="6736388" y="4778145"/>
            <a:chExt cx="360000" cy="360000"/>
          </a:xfrm>
        </p:grpSpPr>
        <p:sp>
          <p:nvSpPr>
            <p:cNvPr id="966" name="Полилиния 965">
              <a:extLst>
                <a:ext uri="{FF2B5EF4-FFF2-40B4-BE49-F238E27FC236}">
                  <a16:creationId xmlns:a16="http://schemas.microsoft.com/office/drawing/2014/main" id="{2FFBBE75-C0D9-C04F-8E40-8A5AC4348367}"/>
                </a:ext>
              </a:extLst>
            </p:cNvPr>
            <p:cNvSpPr/>
            <p:nvPr/>
          </p:nvSpPr>
          <p:spPr>
            <a:xfrm>
              <a:off x="6736388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7" name="Полилиния 966">
              <a:extLst>
                <a:ext uri="{FF2B5EF4-FFF2-40B4-BE49-F238E27FC236}">
                  <a16:creationId xmlns:a16="http://schemas.microsoft.com/office/drawing/2014/main" id="{03788B19-67E4-DB4C-A02F-CAE70E50F3DD}"/>
                </a:ext>
              </a:extLst>
            </p:cNvPr>
            <p:cNvSpPr/>
            <p:nvPr/>
          </p:nvSpPr>
          <p:spPr>
            <a:xfrm>
              <a:off x="6766388" y="4868040"/>
              <a:ext cx="300000" cy="240104"/>
            </a:xfrm>
            <a:custGeom>
              <a:avLst/>
              <a:gdLst>
                <a:gd name="connsiteX0" fmla="*/ 225000 w 300000"/>
                <a:gd name="connsiteY0" fmla="*/ 30104 h 240104"/>
                <a:gd name="connsiteX1" fmla="*/ 210000 w 300000"/>
                <a:gd name="connsiteY1" fmla="*/ 15104 h 240104"/>
                <a:gd name="connsiteX2" fmla="*/ 225000 w 300000"/>
                <a:gd name="connsiteY2" fmla="*/ 104 h 240104"/>
                <a:gd name="connsiteX3" fmla="*/ 240000 w 300000"/>
                <a:gd name="connsiteY3" fmla="*/ 104 h 240104"/>
                <a:gd name="connsiteX4" fmla="*/ 300000 w 300000"/>
                <a:gd name="connsiteY4" fmla="*/ 60104 h 240104"/>
                <a:gd name="connsiteX5" fmla="*/ 300000 w 300000"/>
                <a:gd name="connsiteY5" fmla="*/ 180104 h 240104"/>
                <a:gd name="connsiteX6" fmla="*/ 240000 w 300000"/>
                <a:gd name="connsiteY6" fmla="*/ 240104 h 240104"/>
                <a:gd name="connsiteX7" fmla="*/ 60000 w 300000"/>
                <a:gd name="connsiteY7" fmla="*/ 240104 h 240104"/>
                <a:gd name="connsiteX8" fmla="*/ 0 w 300000"/>
                <a:gd name="connsiteY8" fmla="*/ 180104 h 240104"/>
                <a:gd name="connsiteX9" fmla="*/ 0 w 300000"/>
                <a:gd name="connsiteY9" fmla="*/ 60000 h 240104"/>
                <a:gd name="connsiteX10" fmla="*/ 60000 w 300000"/>
                <a:gd name="connsiteY10" fmla="*/ 0 h 240104"/>
                <a:gd name="connsiteX11" fmla="*/ 75000 w 300000"/>
                <a:gd name="connsiteY11" fmla="*/ 0 h 240104"/>
                <a:gd name="connsiteX12" fmla="*/ 90000 w 300000"/>
                <a:gd name="connsiteY12" fmla="*/ 15000 h 240104"/>
                <a:gd name="connsiteX13" fmla="*/ 75000 w 300000"/>
                <a:gd name="connsiteY13" fmla="*/ 30000 h 240104"/>
                <a:gd name="connsiteX14" fmla="*/ 60000 w 300000"/>
                <a:gd name="connsiteY14" fmla="*/ 30000 h 240104"/>
                <a:gd name="connsiteX15" fmla="*/ 30000 w 300000"/>
                <a:gd name="connsiteY15" fmla="*/ 60000 h 240104"/>
                <a:gd name="connsiteX16" fmla="*/ 30000 w 300000"/>
                <a:gd name="connsiteY16" fmla="*/ 180104 h 240104"/>
                <a:gd name="connsiteX17" fmla="*/ 60000 w 300000"/>
                <a:gd name="connsiteY17" fmla="*/ 210104 h 240104"/>
                <a:gd name="connsiteX18" fmla="*/ 240000 w 300000"/>
                <a:gd name="connsiteY18" fmla="*/ 210104 h 240104"/>
                <a:gd name="connsiteX19" fmla="*/ 270000 w 300000"/>
                <a:gd name="connsiteY19" fmla="*/ 180104 h 240104"/>
                <a:gd name="connsiteX20" fmla="*/ 270000 w 300000"/>
                <a:gd name="connsiteY20" fmla="*/ 60104 h 240104"/>
                <a:gd name="connsiteX21" fmla="*/ 240000 w 300000"/>
                <a:gd name="connsiteY21" fmla="*/ 30104 h 240104"/>
                <a:gd name="connsiteX22" fmla="*/ 225000 w 300000"/>
                <a:gd name="connsiteY22" fmla="*/ 30104 h 24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0000" h="240104">
                  <a:moveTo>
                    <a:pt x="225000" y="30104"/>
                  </a:moveTo>
                  <a:cubicBezTo>
                    <a:pt x="216716" y="30104"/>
                    <a:pt x="210000" y="23388"/>
                    <a:pt x="210000" y="15104"/>
                  </a:cubicBezTo>
                  <a:cubicBezTo>
                    <a:pt x="210000" y="6820"/>
                    <a:pt x="216716" y="104"/>
                    <a:pt x="225000" y="104"/>
                  </a:cubicBezTo>
                  <a:lnTo>
                    <a:pt x="240000" y="104"/>
                  </a:lnTo>
                  <a:cubicBezTo>
                    <a:pt x="273137" y="104"/>
                    <a:pt x="300000" y="26967"/>
                    <a:pt x="300000" y="60104"/>
                  </a:cubicBezTo>
                  <a:lnTo>
                    <a:pt x="300000" y="180104"/>
                  </a:lnTo>
                  <a:cubicBezTo>
                    <a:pt x="300000" y="213241"/>
                    <a:pt x="273137" y="240104"/>
                    <a:pt x="240000" y="240104"/>
                  </a:cubicBezTo>
                  <a:lnTo>
                    <a:pt x="60000" y="240104"/>
                  </a:lnTo>
                  <a:cubicBezTo>
                    <a:pt x="26863" y="240104"/>
                    <a:pt x="0" y="213241"/>
                    <a:pt x="0" y="180104"/>
                  </a:cubicBezTo>
                  <a:lnTo>
                    <a:pt x="0" y="60000"/>
                  </a:lnTo>
                  <a:cubicBezTo>
                    <a:pt x="0" y="26863"/>
                    <a:pt x="26863" y="0"/>
                    <a:pt x="60000" y="0"/>
                  </a:cubicBezTo>
                  <a:lnTo>
                    <a:pt x="75000" y="0"/>
                  </a:lnTo>
                  <a:cubicBezTo>
                    <a:pt x="83284" y="0"/>
                    <a:pt x="90000" y="6716"/>
                    <a:pt x="90000" y="15000"/>
                  </a:cubicBezTo>
                  <a:cubicBezTo>
                    <a:pt x="90000" y="23284"/>
                    <a:pt x="83284" y="30000"/>
                    <a:pt x="75000" y="30000"/>
                  </a:cubicBezTo>
                  <a:lnTo>
                    <a:pt x="60000" y="30000"/>
                  </a:lnTo>
                  <a:cubicBezTo>
                    <a:pt x="43431" y="30000"/>
                    <a:pt x="30000" y="43431"/>
                    <a:pt x="30000" y="60000"/>
                  </a:cubicBezTo>
                  <a:lnTo>
                    <a:pt x="30000" y="180104"/>
                  </a:lnTo>
                  <a:cubicBezTo>
                    <a:pt x="30000" y="196673"/>
                    <a:pt x="43431" y="210104"/>
                    <a:pt x="60000" y="210104"/>
                  </a:cubicBezTo>
                  <a:lnTo>
                    <a:pt x="240000" y="210104"/>
                  </a:lnTo>
                  <a:cubicBezTo>
                    <a:pt x="256569" y="210104"/>
                    <a:pt x="270000" y="196673"/>
                    <a:pt x="270000" y="180104"/>
                  </a:cubicBezTo>
                  <a:lnTo>
                    <a:pt x="270000" y="60104"/>
                  </a:lnTo>
                  <a:cubicBezTo>
                    <a:pt x="270000" y="43536"/>
                    <a:pt x="256569" y="30104"/>
                    <a:pt x="240000" y="30104"/>
                  </a:cubicBezTo>
                  <a:lnTo>
                    <a:pt x="225000" y="30104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8" name="Скругленный прямоугольник 967">
              <a:extLst>
                <a:ext uri="{FF2B5EF4-FFF2-40B4-BE49-F238E27FC236}">
                  <a16:creationId xmlns:a16="http://schemas.microsoft.com/office/drawing/2014/main" id="{51A725D6-16CD-9A48-99CD-C6662EF2B71B}"/>
                </a:ext>
              </a:extLst>
            </p:cNvPr>
            <p:cNvSpPr/>
            <p:nvPr/>
          </p:nvSpPr>
          <p:spPr>
            <a:xfrm rot="10800000" flipV="1">
              <a:off x="6901388" y="4808145"/>
              <a:ext cx="30000" cy="18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9" name="Полилиния 968">
              <a:extLst>
                <a:ext uri="{FF2B5EF4-FFF2-40B4-BE49-F238E27FC236}">
                  <a16:creationId xmlns:a16="http://schemas.microsoft.com/office/drawing/2014/main" id="{F17A2962-36CF-D24B-ACC8-0332238C71F7}"/>
                </a:ext>
              </a:extLst>
            </p:cNvPr>
            <p:cNvSpPr/>
            <p:nvPr/>
          </p:nvSpPr>
          <p:spPr>
            <a:xfrm flipV="1">
              <a:off x="6856387" y="4778145"/>
              <a:ext cx="119999" cy="75000"/>
            </a:xfrm>
            <a:custGeom>
              <a:avLst/>
              <a:gdLst>
                <a:gd name="connsiteX0" fmla="*/ 60000 w 119999"/>
                <a:gd name="connsiteY0" fmla="*/ 38787 h 75000"/>
                <a:gd name="connsiteX1" fmla="*/ 94394 w 119999"/>
                <a:gd name="connsiteY1" fmla="*/ 4393 h 75000"/>
                <a:gd name="connsiteX2" fmla="*/ 115607 w 119999"/>
                <a:gd name="connsiteY2" fmla="*/ 4393 h 75000"/>
                <a:gd name="connsiteX3" fmla="*/ 115607 w 119999"/>
                <a:gd name="connsiteY3" fmla="*/ 25607 h 75000"/>
                <a:gd name="connsiteX4" fmla="*/ 70607 w 119999"/>
                <a:gd name="connsiteY4" fmla="*/ 70607 h 75000"/>
                <a:gd name="connsiteX5" fmla="*/ 49394 w 119999"/>
                <a:gd name="connsiteY5" fmla="*/ 70607 h 75000"/>
                <a:gd name="connsiteX6" fmla="*/ 4393 w 119999"/>
                <a:gd name="connsiteY6" fmla="*/ 25607 h 75000"/>
                <a:gd name="connsiteX7" fmla="*/ 4393 w 119999"/>
                <a:gd name="connsiteY7" fmla="*/ 4393 h 75000"/>
                <a:gd name="connsiteX8" fmla="*/ 25607 w 119999"/>
                <a:gd name="connsiteY8" fmla="*/ 4393 h 75000"/>
                <a:gd name="connsiteX9" fmla="*/ 60000 w 119999"/>
                <a:gd name="connsiteY9" fmla="*/ 38787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75000">
                  <a:moveTo>
                    <a:pt x="60000" y="38787"/>
                  </a:moveTo>
                  <a:lnTo>
                    <a:pt x="94394" y="4393"/>
                  </a:lnTo>
                  <a:cubicBezTo>
                    <a:pt x="100251" y="-1464"/>
                    <a:pt x="109749" y="-1464"/>
                    <a:pt x="115607" y="4393"/>
                  </a:cubicBezTo>
                  <a:cubicBezTo>
                    <a:pt x="121464" y="10251"/>
                    <a:pt x="121464" y="19749"/>
                    <a:pt x="115607" y="25607"/>
                  </a:cubicBezTo>
                  <a:lnTo>
                    <a:pt x="70607" y="70607"/>
                  </a:lnTo>
                  <a:cubicBezTo>
                    <a:pt x="64749" y="76464"/>
                    <a:pt x="55251" y="76464"/>
                    <a:pt x="49394" y="70607"/>
                  </a:cubicBezTo>
                  <a:lnTo>
                    <a:pt x="4393" y="25607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7" y="4393"/>
                  </a:cubicBezTo>
                  <a:lnTo>
                    <a:pt x="60000" y="3878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70" name="Рисунок 213">
            <a:extLst>
              <a:ext uri="{FF2B5EF4-FFF2-40B4-BE49-F238E27FC236}">
                <a16:creationId xmlns:a16="http://schemas.microsoft.com/office/drawing/2014/main" id="{FE1BEFC9-BAEA-E345-AB30-D3CE117FE82C}"/>
              </a:ext>
            </a:extLst>
          </p:cNvPr>
          <p:cNvGrpSpPr/>
          <p:nvPr/>
        </p:nvGrpSpPr>
        <p:grpSpPr>
          <a:xfrm>
            <a:off x="7469219" y="4461423"/>
            <a:ext cx="360000" cy="360000"/>
            <a:chOff x="7491521" y="4778145"/>
            <a:chExt cx="360000" cy="360000"/>
          </a:xfrm>
        </p:grpSpPr>
        <p:sp>
          <p:nvSpPr>
            <p:cNvPr id="971" name="Полилиния 970">
              <a:extLst>
                <a:ext uri="{FF2B5EF4-FFF2-40B4-BE49-F238E27FC236}">
                  <a16:creationId xmlns:a16="http://schemas.microsoft.com/office/drawing/2014/main" id="{1EDEE75B-74E0-CB49-8BCF-AAA1B23EA73F}"/>
                </a:ext>
              </a:extLst>
            </p:cNvPr>
            <p:cNvSpPr/>
            <p:nvPr/>
          </p:nvSpPr>
          <p:spPr>
            <a:xfrm>
              <a:off x="7491521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2" name="Полилиния 971">
              <a:extLst>
                <a:ext uri="{FF2B5EF4-FFF2-40B4-BE49-F238E27FC236}">
                  <a16:creationId xmlns:a16="http://schemas.microsoft.com/office/drawing/2014/main" id="{4110CFB0-8BB5-CC48-A007-A97F5537F31D}"/>
                </a:ext>
              </a:extLst>
            </p:cNvPr>
            <p:cNvSpPr/>
            <p:nvPr/>
          </p:nvSpPr>
          <p:spPr>
            <a:xfrm>
              <a:off x="7665581" y="4868145"/>
              <a:ext cx="125939" cy="195000"/>
            </a:xfrm>
            <a:custGeom>
              <a:avLst/>
              <a:gdLst>
                <a:gd name="connsiteX0" fmla="*/ 0 w 125939"/>
                <a:gd name="connsiteY0" fmla="*/ 0 h 195000"/>
                <a:gd name="connsiteX1" fmla="*/ 125940 w 125939"/>
                <a:gd name="connsiteY1" fmla="*/ 0 h 195000"/>
                <a:gd name="connsiteX2" fmla="*/ 125940 w 125939"/>
                <a:gd name="connsiteY2" fmla="*/ 30000 h 195000"/>
                <a:gd name="connsiteX3" fmla="*/ 35940 w 125939"/>
                <a:gd name="connsiteY3" fmla="*/ 30000 h 195000"/>
                <a:gd name="connsiteX4" fmla="*/ 35940 w 125939"/>
                <a:gd name="connsiteY4" fmla="*/ 85920 h 195000"/>
                <a:gd name="connsiteX5" fmla="*/ 118260 w 125939"/>
                <a:gd name="connsiteY5" fmla="*/ 85920 h 195000"/>
                <a:gd name="connsiteX6" fmla="*/ 118260 w 125939"/>
                <a:gd name="connsiteY6" fmla="*/ 114540 h 195000"/>
                <a:gd name="connsiteX7" fmla="*/ 35940 w 125939"/>
                <a:gd name="connsiteY7" fmla="*/ 114540 h 195000"/>
                <a:gd name="connsiteX8" fmla="*/ 35940 w 125939"/>
                <a:gd name="connsiteY8" fmla="*/ 195000 h 195000"/>
                <a:gd name="connsiteX9" fmla="*/ 0 w 125939"/>
                <a:gd name="connsiteY9" fmla="*/ 1950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5939" h="195000">
                  <a:moveTo>
                    <a:pt x="0" y="0"/>
                  </a:moveTo>
                  <a:lnTo>
                    <a:pt x="125940" y="0"/>
                  </a:lnTo>
                  <a:lnTo>
                    <a:pt x="125940" y="30000"/>
                  </a:lnTo>
                  <a:lnTo>
                    <a:pt x="35940" y="30000"/>
                  </a:lnTo>
                  <a:lnTo>
                    <a:pt x="35940" y="85920"/>
                  </a:lnTo>
                  <a:lnTo>
                    <a:pt x="118260" y="85920"/>
                  </a:lnTo>
                  <a:lnTo>
                    <a:pt x="118260" y="114540"/>
                  </a:lnTo>
                  <a:lnTo>
                    <a:pt x="35940" y="114540"/>
                  </a:lnTo>
                  <a:lnTo>
                    <a:pt x="35940" y="195000"/>
                  </a:lnTo>
                  <a:lnTo>
                    <a:pt x="0" y="19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3" name="Полилиния 972">
              <a:extLst>
                <a:ext uri="{FF2B5EF4-FFF2-40B4-BE49-F238E27FC236}">
                  <a16:creationId xmlns:a16="http://schemas.microsoft.com/office/drawing/2014/main" id="{D54B703A-989E-C945-9AAE-70CCC39411ED}"/>
                </a:ext>
              </a:extLst>
            </p:cNvPr>
            <p:cNvSpPr/>
            <p:nvPr/>
          </p:nvSpPr>
          <p:spPr>
            <a:xfrm>
              <a:off x="7547321" y="4868744"/>
              <a:ext cx="86399" cy="86400"/>
            </a:xfrm>
            <a:custGeom>
              <a:avLst/>
              <a:gdLst>
                <a:gd name="connsiteX0" fmla="*/ 0 w 86399"/>
                <a:gd name="connsiteY0" fmla="*/ 43200 h 86400"/>
                <a:gd name="connsiteX1" fmla="*/ 3375 w 86399"/>
                <a:gd name="connsiteY1" fmla="*/ 26460 h 86400"/>
                <a:gd name="connsiteX2" fmla="*/ 12690 w 86399"/>
                <a:gd name="connsiteY2" fmla="*/ 12690 h 86400"/>
                <a:gd name="connsiteX3" fmla="*/ 26460 w 86399"/>
                <a:gd name="connsiteY3" fmla="*/ 3375 h 86400"/>
                <a:gd name="connsiteX4" fmla="*/ 43200 w 86399"/>
                <a:gd name="connsiteY4" fmla="*/ 0 h 86400"/>
                <a:gd name="connsiteX5" fmla="*/ 59940 w 86399"/>
                <a:gd name="connsiteY5" fmla="*/ 3375 h 86400"/>
                <a:gd name="connsiteX6" fmla="*/ 73710 w 86399"/>
                <a:gd name="connsiteY6" fmla="*/ 12690 h 86400"/>
                <a:gd name="connsiteX7" fmla="*/ 83025 w 86399"/>
                <a:gd name="connsiteY7" fmla="*/ 26460 h 86400"/>
                <a:gd name="connsiteX8" fmla="*/ 86400 w 86399"/>
                <a:gd name="connsiteY8" fmla="*/ 43200 h 86400"/>
                <a:gd name="connsiteX9" fmla="*/ 83025 w 86399"/>
                <a:gd name="connsiteY9" fmla="*/ 59940 h 86400"/>
                <a:gd name="connsiteX10" fmla="*/ 73710 w 86399"/>
                <a:gd name="connsiteY10" fmla="*/ 73710 h 86400"/>
                <a:gd name="connsiteX11" fmla="*/ 59940 w 86399"/>
                <a:gd name="connsiteY11" fmla="*/ 83025 h 86400"/>
                <a:gd name="connsiteX12" fmla="*/ 43200 w 86399"/>
                <a:gd name="connsiteY12" fmla="*/ 86400 h 86400"/>
                <a:gd name="connsiteX13" fmla="*/ 26460 w 86399"/>
                <a:gd name="connsiteY13" fmla="*/ 83025 h 86400"/>
                <a:gd name="connsiteX14" fmla="*/ 12690 w 86399"/>
                <a:gd name="connsiteY14" fmla="*/ 73710 h 86400"/>
                <a:gd name="connsiteX15" fmla="*/ 3375 w 86399"/>
                <a:gd name="connsiteY15" fmla="*/ 59940 h 86400"/>
                <a:gd name="connsiteX16" fmla="*/ 0 w 86399"/>
                <a:gd name="connsiteY16" fmla="*/ 43200 h 86400"/>
                <a:gd name="connsiteX17" fmla="*/ 21060 w 86399"/>
                <a:gd name="connsiteY17" fmla="*/ 43200 h 86400"/>
                <a:gd name="connsiteX18" fmla="*/ 27540 w 86399"/>
                <a:gd name="connsiteY18" fmla="*/ 58860 h 86400"/>
                <a:gd name="connsiteX19" fmla="*/ 43200 w 86399"/>
                <a:gd name="connsiteY19" fmla="*/ 65340 h 86400"/>
                <a:gd name="connsiteX20" fmla="*/ 58860 w 86399"/>
                <a:gd name="connsiteY20" fmla="*/ 58860 h 86400"/>
                <a:gd name="connsiteX21" fmla="*/ 65340 w 86399"/>
                <a:gd name="connsiteY21" fmla="*/ 43200 h 86400"/>
                <a:gd name="connsiteX22" fmla="*/ 58860 w 86399"/>
                <a:gd name="connsiteY22" fmla="*/ 27540 h 86400"/>
                <a:gd name="connsiteX23" fmla="*/ 43200 w 86399"/>
                <a:gd name="connsiteY23" fmla="*/ 21060 h 86400"/>
                <a:gd name="connsiteX24" fmla="*/ 27540 w 86399"/>
                <a:gd name="connsiteY24" fmla="*/ 27540 h 86400"/>
                <a:gd name="connsiteX25" fmla="*/ 21060 w 86399"/>
                <a:gd name="connsiteY25" fmla="*/ 43200 h 8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6399" h="86400">
                  <a:moveTo>
                    <a:pt x="0" y="43200"/>
                  </a:moveTo>
                  <a:cubicBezTo>
                    <a:pt x="0" y="37260"/>
                    <a:pt x="1125" y="31680"/>
                    <a:pt x="3375" y="26460"/>
                  </a:cubicBezTo>
                  <a:cubicBezTo>
                    <a:pt x="5625" y="21240"/>
                    <a:pt x="8730" y="16650"/>
                    <a:pt x="12690" y="12690"/>
                  </a:cubicBezTo>
                  <a:cubicBezTo>
                    <a:pt x="16650" y="8730"/>
                    <a:pt x="21240" y="5625"/>
                    <a:pt x="26460" y="3375"/>
                  </a:cubicBezTo>
                  <a:cubicBezTo>
                    <a:pt x="31680" y="1125"/>
                    <a:pt x="37260" y="0"/>
                    <a:pt x="43200" y="0"/>
                  </a:cubicBezTo>
                  <a:cubicBezTo>
                    <a:pt x="49140" y="0"/>
                    <a:pt x="54720" y="1125"/>
                    <a:pt x="59940" y="3375"/>
                  </a:cubicBezTo>
                  <a:cubicBezTo>
                    <a:pt x="65160" y="5625"/>
                    <a:pt x="69750" y="8730"/>
                    <a:pt x="73710" y="12690"/>
                  </a:cubicBezTo>
                  <a:cubicBezTo>
                    <a:pt x="77670" y="16650"/>
                    <a:pt x="80775" y="21240"/>
                    <a:pt x="83025" y="26460"/>
                  </a:cubicBezTo>
                  <a:cubicBezTo>
                    <a:pt x="85275" y="31680"/>
                    <a:pt x="86400" y="37260"/>
                    <a:pt x="86400" y="43200"/>
                  </a:cubicBezTo>
                  <a:cubicBezTo>
                    <a:pt x="86400" y="49140"/>
                    <a:pt x="85275" y="54720"/>
                    <a:pt x="83025" y="59940"/>
                  </a:cubicBezTo>
                  <a:cubicBezTo>
                    <a:pt x="80775" y="65160"/>
                    <a:pt x="77670" y="69750"/>
                    <a:pt x="73710" y="73710"/>
                  </a:cubicBezTo>
                  <a:cubicBezTo>
                    <a:pt x="69750" y="77670"/>
                    <a:pt x="65160" y="80775"/>
                    <a:pt x="59940" y="83025"/>
                  </a:cubicBezTo>
                  <a:cubicBezTo>
                    <a:pt x="54720" y="85275"/>
                    <a:pt x="49140" y="86400"/>
                    <a:pt x="43200" y="86400"/>
                  </a:cubicBezTo>
                  <a:cubicBezTo>
                    <a:pt x="37260" y="86400"/>
                    <a:pt x="31680" y="85275"/>
                    <a:pt x="26460" y="83025"/>
                  </a:cubicBezTo>
                  <a:cubicBezTo>
                    <a:pt x="21240" y="80775"/>
                    <a:pt x="16650" y="77670"/>
                    <a:pt x="12690" y="73710"/>
                  </a:cubicBezTo>
                  <a:cubicBezTo>
                    <a:pt x="8730" y="69750"/>
                    <a:pt x="5625" y="65160"/>
                    <a:pt x="3375" y="59940"/>
                  </a:cubicBezTo>
                  <a:cubicBezTo>
                    <a:pt x="1125" y="54720"/>
                    <a:pt x="0" y="49140"/>
                    <a:pt x="0" y="43200"/>
                  </a:cubicBezTo>
                  <a:close/>
                  <a:moveTo>
                    <a:pt x="21060" y="43200"/>
                  </a:moveTo>
                  <a:cubicBezTo>
                    <a:pt x="21060" y="49320"/>
                    <a:pt x="23220" y="54540"/>
                    <a:pt x="27540" y="58860"/>
                  </a:cubicBezTo>
                  <a:cubicBezTo>
                    <a:pt x="31860" y="63180"/>
                    <a:pt x="37080" y="65340"/>
                    <a:pt x="43200" y="65340"/>
                  </a:cubicBezTo>
                  <a:cubicBezTo>
                    <a:pt x="49320" y="65340"/>
                    <a:pt x="54540" y="63180"/>
                    <a:pt x="58860" y="58860"/>
                  </a:cubicBezTo>
                  <a:cubicBezTo>
                    <a:pt x="63180" y="54540"/>
                    <a:pt x="65340" y="49320"/>
                    <a:pt x="65340" y="43200"/>
                  </a:cubicBezTo>
                  <a:cubicBezTo>
                    <a:pt x="65340" y="37080"/>
                    <a:pt x="63180" y="31860"/>
                    <a:pt x="58860" y="27540"/>
                  </a:cubicBezTo>
                  <a:cubicBezTo>
                    <a:pt x="54540" y="23220"/>
                    <a:pt x="49320" y="21060"/>
                    <a:pt x="43200" y="21060"/>
                  </a:cubicBezTo>
                  <a:cubicBezTo>
                    <a:pt x="37080" y="21060"/>
                    <a:pt x="31860" y="23220"/>
                    <a:pt x="27540" y="27540"/>
                  </a:cubicBezTo>
                  <a:cubicBezTo>
                    <a:pt x="23220" y="31860"/>
                    <a:pt x="21060" y="37080"/>
                    <a:pt x="21060" y="432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74" name="Рисунок 214">
            <a:extLst>
              <a:ext uri="{FF2B5EF4-FFF2-40B4-BE49-F238E27FC236}">
                <a16:creationId xmlns:a16="http://schemas.microsoft.com/office/drawing/2014/main" id="{CA5B4F39-58FB-564C-9ED4-5E1087199BFD}"/>
              </a:ext>
            </a:extLst>
          </p:cNvPr>
          <p:cNvGrpSpPr/>
          <p:nvPr/>
        </p:nvGrpSpPr>
        <p:grpSpPr>
          <a:xfrm>
            <a:off x="9734618" y="4461423"/>
            <a:ext cx="360000" cy="360000"/>
            <a:chOff x="9756920" y="4778145"/>
            <a:chExt cx="360000" cy="360000"/>
          </a:xfrm>
        </p:grpSpPr>
        <p:sp>
          <p:nvSpPr>
            <p:cNvPr id="975" name="Полилиния 974">
              <a:extLst>
                <a:ext uri="{FF2B5EF4-FFF2-40B4-BE49-F238E27FC236}">
                  <a16:creationId xmlns:a16="http://schemas.microsoft.com/office/drawing/2014/main" id="{D0FCF71A-3287-CC4D-98DF-7253C4485B82}"/>
                </a:ext>
              </a:extLst>
            </p:cNvPr>
            <p:cNvSpPr/>
            <p:nvPr/>
          </p:nvSpPr>
          <p:spPr>
            <a:xfrm>
              <a:off x="9756920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6" name="Полилиния 975">
              <a:extLst>
                <a:ext uri="{FF2B5EF4-FFF2-40B4-BE49-F238E27FC236}">
                  <a16:creationId xmlns:a16="http://schemas.microsoft.com/office/drawing/2014/main" id="{A91D5AB2-527C-7045-A1E6-3AE67471B08F}"/>
                </a:ext>
              </a:extLst>
            </p:cNvPr>
            <p:cNvSpPr/>
            <p:nvPr/>
          </p:nvSpPr>
          <p:spPr>
            <a:xfrm>
              <a:off x="9919582" y="4930529"/>
              <a:ext cx="194040" cy="157143"/>
            </a:xfrm>
            <a:custGeom>
              <a:avLst/>
              <a:gdLst>
                <a:gd name="connsiteX0" fmla="*/ 187953 w 194040"/>
                <a:gd name="connsiteY0" fmla="*/ 131072 h 157143"/>
                <a:gd name="connsiteX1" fmla="*/ 63270 w 194040"/>
                <a:gd name="connsiteY1" fmla="*/ 137028 h 157143"/>
                <a:gd name="connsiteX2" fmla="*/ 6087 w 194040"/>
                <a:gd name="connsiteY2" fmla="*/ 26072 h 157143"/>
                <a:gd name="connsiteX3" fmla="*/ 130770 w 194040"/>
                <a:gd name="connsiteY3" fmla="*/ 20115 h 157143"/>
                <a:gd name="connsiteX4" fmla="*/ 187953 w 194040"/>
                <a:gd name="connsiteY4" fmla="*/ 131072 h 15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040" h="157143">
                  <a:moveTo>
                    <a:pt x="187953" y="131072"/>
                  </a:moveTo>
                  <a:cubicBezTo>
                    <a:pt x="169313" y="163356"/>
                    <a:pt x="113490" y="166023"/>
                    <a:pt x="63270" y="137028"/>
                  </a:cubicBezTo>
                  <a:cubicBezTo>
                    <a:pt x="13049" y="108033"/>
                    <a:pt x="-12552" y="58356"/>
                    <a:pt x="6087" y="26072"/>
                  </a:cubicBezTo>
                  <a:cubicBezTo>
                    <a:pt x="24726" y="-6213"/>
                    <a:pt x="80549" y="-8880"/>
                    <a:pt x="130770" y="20115"/>
                  </a:cubicBezTo>
                  <a:cubicBezTo>
                    <a:pt x="180990" y="49110"/>
                    <a:pt x="206592" y="98787"/>
                    <a:pt x="187953" y="131072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7" name="Полилиния 976">
              <a:extLst>
                <a:ext uri="{FF2B5EF4-FFF2-40B4-BE49-F238E27FC236}">
                  <a16:creationId xmlns:a16="http://schemas.microsoft.com/office/drawing/2014/main" id="{CAA528D7-E6C1-7642-986F-9243BE019705}"/>
                </a:ext>
              </a:extLst>
            </p:cNvPr>
            <p:cNvSpPr/>
            <p:nvPr/>
          </p:nvSpPr>
          <p:spPr>
            <a:xfrm rot="-10800000">
              <a:off x="9876920" y="4808145"/>
              <a:ext cx="134999" cy="210000"/>
            </a:xfrm>
            <a:custGeom>
              <a:avLst/>
              <a:gdLst>
                <a:gd name="connsiteX0" fmla="*/ 135000 w 134999"/>
                <a:gd name="connsiteY0" fmla="*/ 105000 h 210000"/>
                <a:gd name="connsiteX1" fmla="*/ 67500 w 134999"/>
                <a:gd name="connsiteY1" fmla="*/ 210000 h 210000"/>
                <a:gd name="connsiteX2" fmla="*/ 0 w 134999"/>
                <a:gd name="connsiteY2" fmla="*/ 105000 h 210000"/>
                <a:gd name="connsiteX3" fmla="*/ 67500 w 134999"/>
                <a:gd name="connsiteY3" fmla="*/ 0 h 210000"/>
                <a:gd name="connsiteX4" fmla="*/ 135000 w 134999"/>
                <a:gd name="connsiteY4" fmla="*/ 105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999" h="210000">
                  <a:moveTo>
                    <a:pt x="135000" y="105000"/>
                  </a:moveTo>
                  <a:cubicBezTo>
                    <a:pt x="135000" y="162990"/>
                    <a:pt x="104779" y="210000"/>
                    <a:pt x="67500" y="210000"/>
                  </a:cubicBezTo>
                  <a:cubicBezTo>
                    <a:pt x="30221" y="210000"/>
                    <a:pt x="0" y="162990"/>
                    <a:pt x="0" y="105000"/>
                  </a:cubicBezTo>
                  <a:cubicBezTo>
                    <a:pt x="0" y="47010"/>
                    <a:pt x="30221" y="0"/>
                    <a:pt x="67500" y="0"/>
                  </a:cubicBezTo>
                  <a:cubicBezTo>
                    <a:pt x="104779" y="0"/>
                    <a:pt x="135000" y="47010"/>
                    <a:pt x="135000" y="10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8" name="Полилиния 977">
              <a:extLst>
                <a:ext uri="{FF2B5EF4-FFF2-40B4-BE49-F238E27FC236}">
                  <a16:creationId xmlns:a16="http://schemas.microsoft.com/office/drawing/2014/main" id="{13B97349-5594-6E4D-A880-1977A1CD2B30}"/>
                </a:ext>
              </a:extLst>
            </p:cNvPr>
            <p:cNvSpPr/>
            <p:nvPr/>
          </p:nvSpPr>
          <p:spPr>
            <a:xfrm>
              <a:off x="9769582" y="4930529"/>
              <a:ext cx="194040" cy="157143"/>
            </a:xfrm>
            <a:custGeom>
              <a:avLst/>
              <a:gdLst>
                <a:gd name="connsiteX0" fmla="*/ 6088 w 194040"/>
                <a:gd name="connsiteY0" fmla="*/ 131072 h 157143"/>
                <a:gd name="connsiteX1" fmla="*/ 63270 w 194040"/>
                <a:gd name="connsiteY1" fmla="*/ 20115 h 157143"/>
                <a:gd name="connsiteX2" fmla="*/ 187954 w 194040"/>
                <a:gd name="connsiteY2" fmla="*/ 26072 h 157143"/>
                <a:gd name="connsiteX3" fmla="*/ 130770 w 194040"/>
                <a:gd name="connsiteY3" fmla="*/ 137028 h 157143"/>
                <a:gd name="connsiteX4" fmla="*/ 6088 w 194040"/>
                <a:gd name="connsiteY4" fmla="*/ 131072 h 15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040" h="157143">
                  <a:moveTo>
                    <a:pt x="6088" y="131072"/>
                  </a:moveTo>
                  <a:cubicBezTo>
                    <a:pt x="-12552" y="98787"/>
                    <a:pt x="13049" y="49110"/>
                    <a:pt x="63270" y="20115"/>
                  </a:cubicBezTo>
                  <a:cubicBezTo>
                    <a:pt x="113491" y="-8880"/>
                    <a:pt x="169313" y="-6213"/>
                    <a:pt x="187954" y="26072"/>
                  </a:cubicBezTo>
                  <a:cubicBezTo>
                    <a:pt x="206593" y="58356"/>
                    <a:pt x="180991" y="108033"/>
                    <a:pt x="130770" y="137028"/>
                  </a:cubicBezTo>
                  <a:cubicBezTo>
                    <a:pt x="80549" y="166023"/>
                    <a:pt x="24727" y="163356"/>
                    <a:pt x="6088" y="131072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79" name="Рисунок 215">
            <a:extLst>
              <a:ext uri="{FF2B5EF4-FFF2-40B4-BE49-F238E27FC236}">
                <a16:creationId xmlns:a16="http://schemas.microsoft.com/office/drawing/2014/main" id="{3828996E-5D0B-A949-ACC1-2349EEC03953}"/>
              </a:ext>
            </a:extLst>
          </p:cNvPr>
          <p:cNvGrpSpPr/>
          <p:nvPr/>
        </p:nvGrpSpPr>
        <p:grpSpPr>
          <a:xfrm>
            <a:off x="10489751" y="4461423"/>
            <a:ext cx="360000" cy="360000"/>
            <a:chOff x="10512053" y="4778145"/>
            <a:chExt cx="360000" cy="360000"/>
          </a:xfrm>
        </p:grpSpPr>
        <p:sp>
          <p:nvSpPr>
            <p:cNvPr id="980" name="Полилиния 979">
              <a:extLst>
                <a:ext uri="{FF2B5EF4-FFF2-40B4-BE49-F238E27FC236}">
                  <a16:creationId xmlns:a16="http://schemas.microsoft.com/office/drawing/2014/main" id="{8E857322-BDA5-174D-9605-88B5F048B5AB}"/>
                </a:ext>
              </a:extLst>
            </p:cNvPr>
            <p:cNvSpPr/>
            <p:nvPr/>
          </p:nvSpPr>
          <p:spPr>
            <a:xfrm>
              <a:off x="1051205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1" name="Полилиния 980">
              <a:extLst>
                <a:ext uri="{FF2B5EF4-FFF2-40B4-BE49-F238E27FC236}">
                  <a16:creationId xmlns:a16="http://schemas.microsoft.com/office/drawing/2014/main" id="{78110D17-F808-644A-81B8-C2CF546B2566}"/>
                </a:ext>
              </a:extLst>
            </p:cNvPr>
            <p:cNvSpPr/>
            <p:nvPr/>
          </p:nvSpPr>
          <p:spPr>
            <a:xfrm>
              <a:off x="10572053" y="4808145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2" name="Полилиния 981">
              <a:extLst>
                <a:ext uri="{FF2B5EF4-FFF2-40B4-BE49-F238E27FC236}">
                  <a16:creationId xmlns:a16="http://schemas.microsoft.com/office/drawing/2014/main" id="{5DC885A1-A4AA-8040-AB0A-2AAC6D23F940}"/>
                </a:ext>
              </a:extLst>
            </p:cNvPr>
            <p:cNvSpPr/>
            <p:nvPr/>
          </p:nvSpPr>
          <p:spPr>
            <a:xfrm>
              <a:off x="10602053" y="4943145"/>
              <a:ext cx="135000" cy="30000"/>
            </a:xfrm>
            <a:custGeom>
              <a:avLst/>
              <a:gdLst>
                <a:gd name="connsiteX0" fmla="*/ 120000 w 135000"/>
                <a:gd name="connsiteY0" fmla="*/ 0 h 30000"/>
                <a:gd name="connsiteX1" fmla="*/ 135000 w 135000"/>
                <a:gd name="connsiteY1" fmla="*/ 0 h 30000"/>
                <a:gd name="connsiteX2" fmla="*/ 135000 w 135000"/>
                <a:gd name="connsiteY2" fmla="*/ 30000 h 30000"/>
                <a:gd name="connsiteX3" fmla="*/ 120000 w 135000"/>
                <a:gd name="connsiteY3" fmla="*/ 30000 h 30000"/>
                <a:gd name="connsiteX4" fmla="*/ 15000 w 135000"/>
                <a:gd name="connsiteY4" fmla="*/ 30000 h 30000"/>
                <a:gd name="connsiteX5" fmla="*/ 0 w 135000"/>
                <a:gd name="connsiteY5" fmla="*/ 30000 h 30000"/>
                <a:gd name="connsiteX6" fmla="*/ 0 w 135000"/>
                <a:gd name="connsiteY6" fmla="*/ 0 h 30000"/>
                <a:gd name="connsiteX7" fmla="*/ 15000 w 135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000" h="30000">
                  <a:moveTo>
                    <a:pt x="120000" y="0"/>
                  </a:moveTo>
                  <a:cubicBezTo>
                    <a:pt x="128284" y="0"/>
                    <a:pt x="135000" y="0"/>
                    <a:pt x="135000" y="0"/>
                  </a:cubicBezTo>
                  <a:lnTo>
                    <a:pt x="135000" y="30000"/>
                  </a:lnTo>
                  <a:cubicBezTo>
                    <a:pt x="135000" y="30000"/>
                    <a:pt x="128284" y="30000"/>
                    <a:pt x="120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rgbClr val="000000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3" name="Полилиния 982">
              <a:extLst>
                <a:ext uri="{FF2B5EF4-FFF2-40B4-BE49-F238E27FC236}">
                  <a16:creationId xmlns:a16="http://schemas.microsoft.com/office/drawing/2014/main" id="{FC6C5445-EEDA-994E-B107-B255D10F0D0E}"/>
                </a:ext>
              </a:extLst>
            </p:cNvPr>
            <p:cNvSpPr/>
            <p:nvPr/>
          </p:nvSpPr>
          <p:spPr>
            <a:xfrm>
              <a:off x="10602053" y="5003145"/>
              <a:ext cx="75000" cy="30000"/>
            </a:xfrm>
            <a:custGeom>
              <a:avLst/>
              <a:gdLst>
                <a:gd name="connsiteX0" fmla="*/ 60000 w 75000"/>
                <a:gd name="connsiteY0" fmla="*/ 0 h 30000"/>
                <a:gd name="connsiteX1" fmla="*/ 75000 w 75000"/>
                <a:gd name="connsiteY1" fmla="*/ 0 h 30000"/>
                <a:gd name="connsiteX2" fmla="*/ 75000 w 75000"/>
                <a:gd name="connsiteY2" fmla="*/ 30000 h 30000"/>
                <a:gd name="connsiteX3" fmla="*/ 60000 w 75000"/>
                <a:gd name="connsiteY3" fmla="*/ 30000 h 30000"/>
                <a:gd name="connsiteX4" fmla="*/ 15000 w 75000"/>
                <a:gd name="connsiteY4" fmla="*/ 30000 h 30000"/>
                <a:gd name="connsiteX5" fmla="*/ 0 w 75000"/>
                <a:gd name="connsiteY5" fmla="*/ 30000 h 30000"/>
                <a:gd name="connsiteX6" fmla="*/ 0 w 75000"/>
                <a:gd name="connsiteY6" fmla="*/ 0 h 30000"/>
                <a:gd name="connsiteX7" fmla="*/ 15000 w 75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000" h="30000">
                  <a:moveTo>
                    <a:pt x="60000" y="0"/>
                  </a:moveTo>
                  <a:cubicBezTo>
                    <a:pt x="68284" y="0"/>
                    <a:pt x="75000" y="0"/>
                    <a:pt x="75000" y="0"/>
                  </a:cubicBezTo>
                  <a:lnTo>
                    <a:pt x="75000" y="30000"/>
                  </a:lnTo>
                  <a:cubicBezTo>
                    <a:pt x="75000" y="30000"/>
                    <a:pt x="68284" y="30000"/>
                    <a:pt x="60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rgbClr val="000000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84" name="Рисунок 216">
            <a:extLst>
              <a:ext uri="{FF2B5EF4-FFF2-40B4-BE49-F238E27FC236}">
                <a16:creationId xmlns:a16="http://schemas.microsoft.com/office/drawing/2014/main" id="{BB74CDE6-821C-CE40-93A3-28D5419A5414}"/>
              </a:ext>
            </a:extLst>
          </p:cNvPr>
          <p:cNvGrpSpPr/>
          <p:nvPr/>
        </p:nvGrpSpPr>
        <p:grpSpPr>
          <a:xfrm>
            <a:off x="8979485" y="4461423"/>
            <a:ext cx="360000" cy="360000"/>
            <a:chOff x="9001787" y="4778145"/>
            <a:chExt cx="360000" cy="360000"/>
          </a:xfrm>
        </p:grpSpPr>
        <p:sp>
          <p:nvSpPr>
            <p:cNvPr id="985" name="Полилиния 984">
              <a:extLst>
                <a:ext uri="{FF2B5EF4-FFF2-40B4-BE49-F238E27FC236}">
                  <a16:creationId xmlns:a16="http://schemas.microsoft.com/office/drawing/2014/main" id="{2135C7D8-B626-EE46-9141-2CCF4A43D143}"/>
                </a:ext>
              </a:extLst>
            </p:cNvPr>
            <p:cNvSpPr/>
            <p:nvPr/>
          </p:nvSpPr>
          <p:spPr>
            <a:xfrm>
              <a:off x="9001787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6" name="Полилиния 985">
              <a:extLst>
                <a:ext uri="{FF2B5EF4-FFF2-40B4-BE49-F238E27FC236}">
                  <a16:creationId xmlns:a16="http://schemas.microsoft.com/office/drawing/2014/main" id="{0A3986CD-F7A1-F241-AE19-CB6C7D68E967}"/>
                </a:ext>
              </a:extLst>
            </p:cNvPr>
            <p:cNvSpPr/>
            <p:nvPr/>
          </p:nvSpPr>
          <p:spPr>
            <a:xfrm>
              <a:off x="9061787" y="4808145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7" name="Полилиния 986">
              <a:extLst>
                <a:ext uri="{FF2B5EF4-FFF2-40B4-BE49-F238E27FC236}">
                  <a16:creationId xmlns:a16="http://schemas.microsoft.com/office/drawing/2014/main" id="{31429BB9-A205-B54E-9F2F-94002DF1B93D}"/>
                </a:ext>
              </a:extLst>
            </p:cNvPr>
            <p:cNvSpPr/>
            <p:nvPr/>
          </p:nvSpPr>
          <p:spPr>
            <a:xfrm>
              <a:off x="9106787" y="4913145"/>
              <a:ext cx="150000" cy="105000"/>
            </a:xfrm>
            <a:custGeom>
              <a:avLst/>
              <a:gdLst>
                <a:gd name="connsiteX0" fmla="*/ 24549 w 150000"/>
                <a:gd name="connsiteY0" fmla="*/ 96948 h 105000"/>
                <a:gd name="connsiteX1" fmla="*/ 0 w 150000"/>
                <a:gd name="connsiteY1" fmla="*/ 52500 h 105000"/>
                <a:gd name="connsiteX2" fmla="*/ 52500 w 150000"/>
                <a:gd name="connsiteY2" fmla="*/ 0 h 105000"/>
                <a:gd name="connsiteX3" fmla="*/ 104469 w 150000"/>
                <a:gd name="connsiteY3" fmla="*/ 45000 h 105000"/>
                <a:gd name="connsiteX4" fmla="*/ 120000 w 150000"/>
                <a:gd name="connsiteY4" fmla="*/ 45000 h 105000"/>
                <a:gd name="connsiteX5" fmla="*/ 150000 w 150000"/>
                <a:gd name="connsiteY5" fmla="*/ 75000 h 105000"/>
                <a:gd name="connsiteX6" fmla="*/ 120000 w 150000"/>
                <a:gd name="connsiteY6" fmla="*/ 105000 h 105000"/>
                <a:gd name="connsiteX7" fmla="*/ 45000 w 150000"/>
                <a:gd name="connsiteY7" fmla="*/ 105000 h 105000"/>
                <a:gd name="connsiteX8" fmla="*/ 24549 w 150000"/>
                <a:gd name="connsiteY8" fmla="*/ 96948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000" h="105000">
                  <a:moveTo>
                    <a:pt x="24549" y="96948"/>
                  </a:moveTo>
                  <a:cubicBezTo>
                    <a:pt x="9799" y="87654"/>
                    <a:pt x="0" y="71222"/>
                    <a:pt x="0" y="52500"/>
                  </a:cubicBezTo>
                  <a:cubicBezTo>
                    <a:pt x="0" y="23505"/>
                    <a:pt x="23505" y="0"/>
                    <a:pt x="52500" y="0"/>
                  </a:cubicBezTo>
                  <a:cubicBezTo>
                    <a:pt x="78948" y="0"/>
                    <a:pt x="100829" y="19558"/>
                    <a:pt x="104469" y="45000"/>
                  </a:cubicBezTo>
                  <a:lnTo>
                    <a:pt x="120000" y="45000"/>
                  </a:lnTo>
                  <a:cubicBezTo>
                    <a:pt x="136569" y="45000"/>
                    <a:pt x="150000" y="58431"/>
                    <a:pt x="150000" y="75000"/>
                  </a:cubicBezTo>
                  <a:cubicBezTo>
                    <a:pt x="150000" y="91569"/>
                    <a:pt x="136569" y="105000"/>
                    <a:pt x="120000" y="105000"/>
                  </a:cubicBezTo>
                  <a:lnTo>
                    <a:pt x="45000" y="105000"/>
                  </a:lnTo>
                  <a:cubicBezTo>
                    <a:pt x="37097" y="105000"/>
                    <a:pt x="29907" y="101945"/>
                    <a:pt x="24549" y="96948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88" name="Рисунок 217">
            <a:extLst>
              <a:ext uri="{FF2B5EF4-FFF2-40B4-BE49-F238E27FC236}">
                <a16:creationId xmlns:a16="http://schemas.microsoft.com/office/drawing/2014/main" id="{C3C25035-FA0F-1942-B7EE-0B8BD8AA85B6}"/>
              </a:ext>
            </a:extLst>
          </p:cNvPr>
          <p:cNvGrpSpPr/>
          <p:nvPr/>
        </p:nvGrpSpPr>
        <p:grpSpPr>
          <a:xfrm>
            <a:off x="8224352" y="4461423"/>
            <a:ext cx="360000" cy="360000"/>
            <a:chOff x="8246654" y="4778145"/>
            <a:chExt cx="360000" cy="360000"/>
          </a:xfrm>
        </p:grpSpPr>
        <p:sp>
          <p:nvSpPr>
            <p:cNvPr id="989" name="Полилиния 988">
              <a:extLst>
                <a:ext uri="{FF2B5EF4-FFF2-40B4-BE49-F238E27FC236}">
                  <a16:creationId xmlns:a16="http://schemas.microsoft.com/office/drawing/2014/main" id="{BA5B5D14-B43E-5341-B37B-AB391AD74CBB}"/>
                </a:ext>
              </a:extLst>
            </p:cNvPr>
            <p:cNvSpPr/>
            <p:nvPr/>
          </p:nvSpPr>
          <p:spPr>
            <a:xfrm>
              <a:off x="8246654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0" name="Полилиния 989">
              <a:extLst>
                <a:ext uri="{FF2B5EF4-FFF2-40B4-BE49-F238E27FC236}">
                  <a16:creationId xmlns:a16="http://schemas.microsoft.com/office/drawing/2014/main" id="{F935CA4D-349F-A94F-A4DD-444AEAB9E799}"/>
                </a:ext>
              </a:extLst>
            </p:cNvPr>
            <p:cNvSpPr/>
            <p:nvPr/>
          </p:nvSpPr>
          <p:spPr>
            <a:xfrm>
              <a:off x="8306654" y="4808145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  <a:gd name="connsiteX11" fmla="*/ 103125 w 240000"/>
                <a:gd name="connsiteY11" fmla="*/ 206250 h 300000"/>
                <a:gd name="connsiteX12" fmla="*/ 113187 w 240000"/>
                <a:gd name="connsiteY12" fmla="*/ 201938 h 300000"/>
                <a:gd name="connsiteX13" fmla="*/ 170688 w 240000"/>
                <a:gd name="connsiteY13" fmla="*/ 144438 h 300000"/>
                <a:gd name="connsiteX14" fmla="*/ 170688 w 240000"/>
                <a:gd name="connsiteY14" fmla="*/ 124313 h 300000"/>
                <a:gd name="connsiteX15" fmla="*/ 150563 w 240000"/>
                <a:gd name="connsiteY15" fmla="*/ 124313 h 300000"/>
                <a:gd name="connsiteX16" fmla="*/ 103125 w 240000"/>
                <a:gd name="connsiteY16" fmla="*/ 171750 h 300000"/>
                <a:gd name="connsiteX17" fmla="*/ 84438 w 240000"/>
                <a:gd name="connsiteY17" fmla="*/ 153063 h 300000"/>
                <a:gd name="connsiteX18" fmla="*/ 64313 w 240000"/>
                <a:gd name="connsiteY18" fmla="*/ 153063 h 300000"/>
                <a:gd name="connsiteX19" fmla="*/ 64313 w 240000"/>
                <a:gd name="connsiteY19" fmla="*/ 173187 h 300000"/>
                <a:gd name="connsiteX20" fmla="*/ 93063 w 240000"/>
                <a:gd name="connsiteY20" fmla="*/ 201938 h 300000"/>
                <a:gd name="connsiteX21" fmla="*/ 103125 w 240000"/>
                <a:gd name="connsiteY21" fmla="*/ 20625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  <a:moveTo>
                    <a:pt x="103125" y="206250"/>
                  </a:moveTo>
                  <a:cubicBezTo>
                    <a:pt x="106719" y="206250"/>
                    <a:pt x="110313" y="204813"/>
                    <a:pt x="113187" y="201938"/>
                  </a:cubicBezTo>
                  <a:lnTo>
                    <a:pt x="170688" y="144438"/>
                  </a:lnTo>
                  <a:cubicBezTo>
                    <a:pt x="176438" y="138687"/>
                    <a:pt x="176438" y="130062"/>
                    <a:pt x="170688" y="124313"/>
                  </a:cubicBezTo>
                  <a:cubicBezTo>
                    <a:pt x="164937" y="118563"/>
                    <a:pt x="156312" y="118563"/>
                    <a:pt x="150563" y="124313"/>
                  </a:cubicBezTo>
                  <a:lnTo>
                    <a:pt x="103125" y="171750"/>
                  </a:lnTo>
                  <a:lnTo>
                    <a:pt x="84438" y="153063"/>
                  </a:lnTo>
                  <a:cubicBezTo>
                    <a:pt x="79406" y="147312"/>
                    <a:pt x="70062" y="147312"/>
                    <a:pt x="64313" y="153063"/>
                  </a:cubicBezTo>
                  <a:cubicBezTo>
                    <a:pt x="58563" y="158813"/>
                    <a:pt x="58563" y="167438"/>
                    <a:pt x="64313" y="173187"/>
                  </a:cubicBezTo>
                  <a:lnTo>
                    <a:pt x="93063" y="201938"/>
                  </a:lnTo>
                  <a:cubicBezTo>
                    <a:pt x="95937" y="204813"/>
                    <a:pt x="99531" y="206250"/>
                    <a:pt x="103125" y="20625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1" name="Полилиния 990">
              <a:extLst>
                <a:ext uri="{FF2B5EF4-FFF2-40B4-BE49-F238E27FC236}">
                  <a16:creationId xmlns:a16="http://schemas.microsoft.com/office/drawing/2014/main" id="{2050CC79-135A-0E4E-B322-0B23B05DCFA4}"/>
                </a:ext>
              </a:extLst>
            </p:cNvPr>
            <p:cNvSpPr/>
            <p:nvPr/>
          </p:nvSpPr>
          <p:spPr>
            <a:xfrm>
              <a:off x="8366654" y="4928145"/>
              <a:ext cx="115000" cy="86249"/>
            </a:xfrm>
            <a:custGeom>
              <a:avLst/>
              <a:gdLst>
                <a:gd name="connsiteX0" fmla="*/ 43125 w 115000"/>
                <a:gd name="connsiteY0" fmla="*/ 86250 h 86249"/>
                <a:gd name="connsiteX1" fmla="*/ 33063 w 115000"/>
                <a:gd name="connsiteY1" fmla="*/ 81937 h 86249"/>
                <a:gd name="connsiteX2" fmla="*/ 4312 w 115000"/>
                <a:gd name="connsiteY2" fmla="*/ 53187 h 86249"/>
                <a:gd name="connsiteX3" fmla="*/ 4312 w 115000"/>
                <a:gd name="connsiteY3" fmla="*/ 33063 h 86249"/>
                <a:gd name="connsiteX4" fmla="*/ 24438 w 115000"/>
                <a:gd name="connsiteY4" fmla="*/ 33063 h 86249"/>
                <a:gd name="connsiteX5" fmla="*/ 43125 w 115000"/>
                <a:gd name="connsiteY5" fmla="*/ 51750 h 86249"/>
                <a:gd name="connsiteX6" fmla="*/ 90562 w 115000"/>
                <a:gd name="connsiteY6" fmla="*/ 4312 h 86249"/>
                <a:gd name="connsiteX7" fmla="*/ 110688 w 115000"/>
                <a:gd name="connsiteY7" fmla="*/ 4312 h 86249"/>
                <a:gd name="connsiteX8" fmla="*/ 110688 w 115000"/>
                <a:gd name="connsiteY8" fmla="*/ 24438 h 86249"/>
                <a:gd name="connsiteX9" fmla="*/ 53187 w 115000"/>
                <a:gd name="connsiteY9" fmla="*/ 81937 h 86249"/>
                <a:gd name="connsiteX10" fmla="*/ 43125 w 115000"/>
                <a:gd name="connsiteY10" fmla="*/ 86250 h 86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000" h="86249">
                  <a:moveTo>
                    <a:pt x="43125" y="86250"/>
                  </a:moveTo>
                  <a:cubicBezTo>
                    <a:pt x="39531" y="86250"/>
                    <a:pt x="35937" y="84813"/>
                    <a:pt x="33063" y="81937"/>
                  </a:cubicBezTo>
                  <a:lnTo>
                    <a:pt x="4312" y="53187"/>
                  </a:lnTo>
                  <a:cubicBezTo>
                    <a:pt x="-1437" y="47437"/>
                    <a:pt x="-1437" y="38812"/>
                    <a:pt x="4312" y="33063"/>
                  </a:cubicBezTo>
                  <a:cubicBezTo>
                    <a:pt x="10062" y="27312"/>
                    <a:pt x="19406" y="27312"/>
                    <a:pt x="24438" y="33063"/>
                  </a:cubicBezTo>
                  <a:lnTo>
                    <a:pt x="43125" y="51750"/>
                  </a:lnTo>
                  <a:lnTo>
                    <a:pt x="90562" y="4312"/>
                  </a:lnTo>
                  <a:cubicBezTo>
                    <a:pt x="96312" y="-1437"/>
                    <a:pt x="104937" y="-1437"/>
                    <a:pt x="110688" y="4312"/>
                  </a:cubicBezTo>
                  <a:cubicBezTo>
                    <a:pt x="116437" y="10062"/>
                    <a:pt x="116437" y="18687"/>
                    <a:pt x="110688" y="24438"/>
                  </a:cubicBezTo>
                  <a:lnTo>
                    <a:pt x="53187" y="81937"/>
                  </a:lnTo>
                  <a:cubicBezTo>
                    <a:pt x="50313" y="84813"/>
                    <a:pt x="46719" y="86250"/>
                    <a:pt x="43125" y="8625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92" name="Рисунок 218">
            <a:extLst>
              <a:ext uri="{FF2B5EF4-FFF2-40B4-BE49-F238E27FC236}">
                <a16:creationId xmlns:a16="http://schemas.microsoft.com/office/drawing/2014/main" id="{4107D8E6-3F6B-7644-8536-D0AC76E36783}"/>
              </a:ext>
            </a:extLst>
          </p:cNvPr>
          <p:cNvGrpSpPr/>
          <p:nvPr/>
        </p:nvGrpSpPr>
        <p:grpSpPr>
          <a:xfrm>
            <a:off x="5958953" y="4461423"/>
            <a:ext cx="360000" cy="360000"/>
            <a:chOff x="5981255" y="4778145"/>
            <a:chExt cx="360000" cy="360000"/>
          </a:xfrm>
        </p:grpSpPr>
        <p:sp>
          <p:nvSpPr>
            <p:cNvPr id="993" name="Полилиния 992">
              <a:extLst>
                <a:ext uri="{FF2B5EF4-FFF2-40B4-BE49-F238E27FC236}">
                  <a16:creationId xmlns:a16="http://schemas.microsoft.com/office/drawing/2014/main" id="{493E1162-45CD-4C4C-AB99-9DF73C579A15}"/>
                </a:ext>
              </a:extLst>
            </p:cNvPr>
            <p:cNvSpPr/>
            <p:nvPr/>
          </p:nvSpPr>
          <p:spPr>
            <a:xfrm>
              <a:off x="5981255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4" name="Полилиния 993">
              <a:extLst>
                <a:ext uri="{FF2B5EF4-FFF2-40B4-BE49-F238E27FC236}">
                  <a16:creationId xmlns:a16="http://schemas.microsoft.com/office/drawing/2014/main" id="{BD1C9283-EA94-3244-AA72-CE89C982B853}"/>
                </a:ext>
              </a:extLst>
            </p:cNvPr>
            <p:cNvSpPr/>
            <p:nvPr/>
          </p:nvSpPr>
          <p:spPr>
            <a:xfrm>
              <a:off x="6041255" y="4808145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5" name="Скругленный прямоугольник 994">
              <a:extLst>
                <a:ext uri="{FF2B5EF4-FFF2-40B4-BE49-F238E27FC236}">
                  <a16:creationId xmlns:a16="http://schemas.microsoft.com/office/drawing/2014/main" id="{11459616-6BDB-E243-9146-21224522E020}"/>
                </a:ext>
              </a:extLst>
            </p:cNvPr>
            <p:cNvSpPr/>
            <p:nvPr/>
          </p:nvSpPr>
          <p:spPr>
            <a:xfrm>
              <a:off x="6116255" y="4958145"/>
              <a:ext cx="90000" cy="3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96" name="Рисунок 219">
            <a:extLst>
              <a:ext uri="{FF2B5EF4-FFF2-40B4-BE49-F238E27FC236}">
                <a16:creationId xmlns:a16="http://schemas.microsoft.com/office/drawing/2014/main" id="{D5A6B567-CAC0-8F40-B0B1-B604DB36B335}"/>
              </a:ext>
            </a:extLst>
          </p:cNvPr>
          <p:cNvGrpSpPr/>
          <p:nvPr/>
        </p:nvGrpSpPr>
        <p:grpSpPr>
          <a:xfrm>
            <a:off x="4448687" y="4461423"/>
            <a:ext cx="360000" cy="360000"/>
            <a:chOff x="4470989" y="4778145"/>
            <a:chExt cx="360000" cy="360000"/>
          </a:xfrm>
        </p:grpSpPr>
        <p:sp>
          <p:nvSpPr>
            <p:cNvPr id="997" name="Полилиния 996">
              <a:extLst>
                <a:ext uri="{FF2B5EF4-FFF2-40B4-BE49-F238E27FC236}">
                  <a16:creationId xmlns:a16="http://schemas.microsoft.com/office/drawing/2014/main" id="{9D78284E-B703-584C-B31A-39C962A86F72}"/>
                </a:ext>
              </a:extLst>
            </p:cNvPr>
            <p:cNvSpPr/>
            <p:nvPr/>
          </p:nvSpPr>
          <p:spPr>
            <a:xfrm>
              <a:off x="4470989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8" name="Полилиния 997">
              <a:extLst>
                <a:ext uri="{FF2B5EF4-FFF2-40B4-BE49-F238E27FC236}">
                  <a16:creationId xmlns:a16="http://schemas.microsoft.com/office/drawing/2014/main" id="{0FBA2D30-6846-1B4E-8AEC-72790272BF3A}"/>
                </a:ext>
              </a:extLst>
            </p:cNvPr>
            <p:cNvSpPr/>
            <p:nvPr/>
          </p:nvSpPr>
          <p:spPr>
            <a:xfrm>
              <a:off x="4530989" y="4808145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9" name="Полилиния 998">
              <a:extLst>
                <a:ext uri="{FF2B5EF4-FFF2-40B4-BE49-F238E27FC236}">
                  <a16:creationId xmlns:a16="http://schemas.microsoft.com/office/drawing/2014/main" id="{DB378549-B8E4-EE41-A765-6EE5E1B5577B}"/>
                </a:ext>
              </a:extLst>
            </p:cNvPr>
            <p:cNvSpPr/>
            <p:nvPr/>
          </p:nvSpPr>
          <p:spPr>
            <a:xfrm>
              <a:off x="4590989" y="4913145"/>
              <a:ext cx="120000" cy="120000"/>
            </a:xfrm>
            <a:custGeom>
              <a:avLst/>
              <a:gdLst>
                <a:gd name="connsiteX0" fmla="*/ 45000 w 120000"/>
                <a:gd name="connsiteY0" fmla="*/ 75000 h 120000"/>
                <a:gd name="connsiteX1" fmla="*/ 15000 w 120000"/>
                <a:gd name="connsiteY1" fmla="*/ 75000 h 120000"/>
                <a:gd name="connsiteX2" fmla="*/ 0 w 120000"/>
                <a:gd name="connsiteY2" fmla="*/ 60000 h 120000"/>
                <a:gd name="connsiteX3" fmla="*/ 15000 w 120000"/>
                <a:gd name="connsiteY3" fmla="*/ 45000 h 120000"/>
                <a:gd name="connsiteX4" fmla="*/ 45000 w 120000"/>
                <a:gd name="connsiteY4" fmla="*/ 45000 h 120000"/>
                <a:gd name="connsiteX5" fmla="*/ 45000 w 120000"/>
                <a:gd name="connsiteY5" fmla="*/ 15000 h 120000"/>
                <a:gd name="connsiteX6" fmla="*/ 60000 w 120000"/>
                <a:gd name="connsiteY6" fmla="*/ 0 h 120000"/>
                <a:gd name="connsiteX7" fmla="*/ 75000 w 120000"/>
                <a:gd name="connsiteY7" fmla="*/ 15000 h 120000"/>
                <a:gd name="connsiteX8" fmla="*/ 75000 w 120000"/>
                <a:gd name="connsiteY8" fmla="*/ 45000 h 120000"/>
                <a:gd name="connsiteX9" fmla="*/ 105000 w 120000"/>
                <a:gd name="connsiteY9" fmla="*/ 45000 h 120000"/>
                <a:gd name="connsiteX10" fmla="*/ 120000 w 120000"/>
                <a:gd name="connsiteY10" fmla="*/ 60000 h 120000"/>
                <a:gd name="connsiteX11" fmla="*/ 105000 w 120000"/>
                <a:gd name="connsiteY11" fmla="*/ 75000 h 120000"/>
                <a:gd name="connsiteX12" fmla="*/ 75000 w 120000"/>
                <a:gd name="connsiteY12" fmla="*/ 75000 h 120000"/>
                <a:gd name="connsiteX13" fmla="*/ 75000 w 120000"/>
                <a:gd name="connsiteY13" fmla="*/ 105000 h 120000"/>
                <a:gd name="connsiteX14" fmla="*/ 60000 w 120000"/>
                <a:gd name="connsiteY14" fmla="*/ 120000 h 120000"/>
                <a:gd name="connsiteX15" fmla="*/ 45000 w 120000"/>
                <a:gd name="connsiteY15" fmla="*/ 105000 h 120000"/>
                <a:gd name="connsiteX16" fmla="*/ 45000 w 120000"/>
                <a:gd name="connsiteY16" fmla="*/ 7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0000" h="120000">
                  <a:moveTo>
                    <a:pt x="45000" y="75000"/>
                  </a:moveTo>
                  <a:lnTo>
                    <a:pt x="15000" y="75000"/>
                  </a:lnTo>
                  <a:cubicBezTo>
                    <a:pt x="6716" y="75000"/>
                    <a:pt x="0" y="68285"/>
                    <a:pt x="0" y="60000"/>
                  </a:cubicBezTo>
                  <a:cubicBezTo>
                    <a:pt x="0" y="51715"/>
                    <a:pt x="6716" y="45000"/>
                    <a:pt x="15000" y="45000"/>
                  </a:cubicBezTo>
                  <a:lnTo>
                    <a:pt x="45000" y="45000"/>
                  </a:lnTo>
                  <a:lnTo>
                    <a:pt x="45000" y="15000"/>
                  </a:lnTo>
                  <a:cubicBezTo>
                    <a:pt x="45000" y="6716"/>
                    <a:pt x="51715" y="0"/>
                    <a:pt x="60000" y="0"/>
                  </a:cubicBezTo>
                  <a:cubicBezTo>
                    <a:pt x="68285" y="0"/>
                    <a:pt x="75000" y="6716"/>
                    <a:pt x="75000" y="15000"/>
                  </a:cubicBezTo>
                  <a:lnTo>
                    <a:pt x="75000" y="45000"/>
                  </a:lnTo>
                  <a:lnTo>
                    <a:pt x="105000" y="45000"/>
                  </a:lnTo>
                  <a:cubicBezTo>
                    <a:pt x="113285" y="45000"/>
                    <a:pt x="120000" y="51715"/>
                    <a:pt x="120000" y="60000"/>
                  </a:cubicBezTo>
                  <a:cubicBezTo>
                    <a:pt x="120000" y="68285"/>
                    <a:pt x="113285" y="75000"/>
                    <a:pt x="105000" y="75000"/>
                  </a:cubicBezTo>
                  <a:lnTo>
                    <a:pt x="75000" y="75000"/>
                  </a:lnTo>
                  <a:lnTo>
                    <a:pt x="75000" y="105000"/>
                  </a:lnTo>
                  <a:cubicBezTo>
                    <a:pt x="75000" y="113284"/>
                    <a:pt x="68285" y="120000"/>
                    <a:pt x="60000" y="120000"/>
                  </a:cubicBezTo>
                  <a:cubicBezTo>
                    <a:pt x="51715" y="120000"/>
                    <a:pt x="45000" y="113284"/>
                    <a:pt x="45000" y="105000"/>
                  </a:cubicBezTo>
                  <a:lnTo>
                    <a:pt x="45000" y="7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00" name="Рисунок 220">
            <a:extLst>
              <a:ext uri="{FF2B5EF4-FFF2-40B4-BE49-F238E27FC236}">
                <a16:creationId xmlns:a16="http://schemas.microsoft.com/office/drawing/2014/main" id="{5FB3294E-E554-4246-89CD-2D76DCCAD4A0}"/>
              </a:ext>
            </a:extLst>
          </p:cNvPr>
          <p:cNvGrpSpPr/>
          <p:nvPr/>
        </p:nvGrpSpPr>
        <p:grpSpPr>
          <a:xfrm>
            <a:off x="3693554" y="4461423"/>
            <a:ext cx="360000" cy="360000"/>
            <a:chOff x="3715856" y="4778145"/>
            <a:chExt cx="360000" cy="360000"/>
          </a:xfrm>
        </p:grpSpPr>
        <p:sp>
          <p:nvSpPr>
            <p:cNvPr id="1001" name="Полилиния 1000">
              <a:extLst>
                <a:ext uri="{FF2B5EF4-FFF2-40B4-BE49-F238E27FC236}">
                  <a16:creationId xmlns:a16="http://schemas.microsoft.com/office/drawing/2014/main" id="{0BC9EAAD-EF5F-1740-9793-1ACFB66F9755}"/>
                </a:ext>
              </a:extLst>
            </p:cNvPr>
            <p:cNvSpPr/>
            <p:nvPr/>
          </p:nvSpPr>
          <p:spPr>
            <a:xfrm>
              <a:off x="3715856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2" name="Полилиния 1001">
              <a:extLst>
                <a:ext uri="{FF2B5EF4-FFF2-40B4-BE49-F238E27FC236}">
                  <a16:creationId xmlns:a16="http://schemas.microsoft.com/office/drawing/2014/main" id="{3C430434-C8E0-DD4E-9E9D-D3E1E30077F2}"/>
                </a:ext>
              </a:extLst>
            </p:cNvPr>
            <p:cNvSpPr/>
            <p:nvPr/>
          </p:nvSpPr>
          <p:spPr>
            <a:xfrm>
              <a:off x="3783355" y="4838145"/>
              <a:ext cx="225000" cy="250364"/>
            </a:xfrm>
            <a:custGeom>
              <a:avLst/>
              <a:gdLst>
                <a:gd name="connsiteX0" fmla="*/ 7500 w 225000"/>
                <a:gd name="connsiteY0" fmla="*/ 0 h 250364"/>
                <a:gd name="connsiteX1" fmla="*/ 217500 w 225000"/>
                <a:gd name="connsiteY1" fmla="*/ 0 h 250364"/>
                <a:gd name="connsiteX2" fmla="*/ 225000 w 225000"/>
                <a:gd name="connsiteY2" fmla="*/ 7500 h 250364"/>
                <a:gd name="connsiteX3" fmla="*/ 223500 w 225000"/>
                <a:gd name="connsiteY3" fmla="*/ 12000 h 250364"/>
                <a:gd name="connsiteX4" fmla="*/ 142500 w 225000"/>
                <a:gd name="connsiteY4" fmla="*/ 120000 h 250364"/>
                <a:gd name="connsiteX5" fmla="*/ 142500 w 225000"/>
                <a:gd name="connsiteY5" fmla="*/ 242865 h 250364"/>
                <a:gd name="connsiteX6" fmla="*/ 135000 w 225000"/>
                <a:gd name="connsiteY6" fmla="*/ 250365 h 250364"/>
                <a:gd name="connsiteX7" fmla="*/ 131646 w 225000"/>
                <a:gd name="connsiteY7" fmla="*/ 249573 h 250364"/>
                <a:gd name="connsiteX8" fmla="*/ 82500 w 225000"/>
                <a:gd name="connsiteY8" fmla="*/ 225000 h 250364"/>
                <a:gd name="connsiteX9" fmla="*/ 82500 w 225000"/>
                <a:gd name="connsiteY9" fmla="*/ 120000 h 250364"/>
                <a:gd name="connsiteX10" fmla="*/ 1500 w 225000"/>
                <a:gd name="connsiteY10" fmla="*/ 12000 h 250364"/>
                <a:gd name="connsiteX11" fmla="*/ 3000 w 225000"/>
                <a:gd name="connsiteY11" fmla="*/ 1500 h 250364"/>
                <a:gd name="connsiteX12" fmla="*/ 7500 w 225000"/>
                <a:gd name="connsiteY12" fmla="*/ 0 h 25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5000" h="250364">
                  <a:moveTo>
                    <a:pt x="7500" y="0"/>
                  </a:moveTo>
                  <a:lnTo>
                    <a:pt x="217500" y="0"/>
                  </a:lnTo>
                  <a:cubicBezTo>
                    <a:pt x="221642" y="0"/>
                    <a:pt x="225000" y="3358"/>
                    <a:pt x="225000" y="7500"/>
                  </a:cubicBezTo>
                  <a:cubicBezTo>
                    <a:pt x="225000" y="9123"/>
                    <a:pt x="224474" y="10702"/>
                    <a:pt x="223500" y="12000"/>
                  </a:cubicBezTo>
                  <a:lnTo>
                    <a:pt x="142500" y="120000"/>
                  </a:lnTo>
                  <a:lnTo>
                    <a:pt x="142500" y="242865"/>
                  </a:lnTo>
                  <a:cubicBezTo>
                    <a:pt x="142500" y="247007"/>
                    <a:pt x="139142" y="250365"/>
                    <a:pt x="135000" y="250365"/>
                  </a:cubicBezTo>
                  <a:cubicBezTo>
                    <a:pt x="133836" y="250365"/>
                    <a:pt x="132687" y="250093"/>
                    <a:pt x="131646" y="249573"/>
                  </a:cubicBezTo>
                  <a:lnTo>
                    <a:pt x="82500" y="225000"/>
                  </a:lnTo>
                  <a:lnTo>
                    <a:pt x="82500" y="120000"/>
                  </a:lnTo>
                  <a:lnTo>
                    <a:pt x="1500" y="12000"/>
                  </a:lnTo>
                  <a:cubicBezTo>
                    <a:pt x="-985" y="8686"/>
                    <a:pt x="-313" y="3985"/>
                    <a:pt x="3000" y="1500"/>
                  </a:cubicBezTo>
                  <a:cubicBezTo>
                    <a:pt x="4299" y="526"/>
                    <a:pt x="5878" y="0"/>
                    <a:pt x="75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03" name="Рисунок 221">
            <a:extLst>
              <a:ext uri="{FF2B5EF4-FFF2-40B4-BE49-F238E27FC236}">
                <a16:creationId xmlns:a16="http://schemas.microsoft.com/office/drawing/2014/main" id="{18AA3858-0BCD-7045-B799-37EAC74C3FED}"/>
              </a:ext>
            </a:extLst>
          </p:cNvPr>
          <p:cNvGrpSpPr/>
          <p:nvPr/>
        </p:nvGrpSpPr>
        <p:grpSpPr>
          <a:xfrm>
            <a:off x="2938421" y="4461423"/>
            <a:ext cx="360000" cy="360000"/>
            <a:chOff x="2960723" y="4778145"/>
            <a:chExt cx="360000" cy="360000"/>
          </a:xfrm>
        </p:grpSpPr>
        <p:sp>
          <p:nvSpPr>
            <p:cNvPr id="1004" name="Полилиния 1003">
              <a:extLst>
                <a:ext uri="{FF2B5EF4-FFF2-40B4-BE49-F238E27FC236}">
                  <a16:creationId xmlns:a16="http://schemas.microsoft.com/office/drawing/2014/main" id="{00BADB87-D23F-3E45-9B59-BAE07F2D1BED}"/>
                </a:ext>
              </a:extLst>
            </p:cNvPr>
            <p:cNvSpPr/>
            <p:nvPr/>
          </p:nvSpPr>
          <p:spPr>
            <a:xfrm>
              <a:off x="296072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5" name="Полилиния 1004">
              <a:extLst>
                <a:ext uri="{FF2B5EF4-FFF2-40B4-BE49-F238E27FC236}">
                  <a16:creationId xmlns:a16="http://schemas.microsoft.com/office/drawing/2014/main" id="{8918B65E-B781-E14F-8AE6-4BBC84D3CF41}"/>
                </a:ext>
              </a:extLst>
            </p:cNvPr>
            <p:cNvSpPr/>
            <p:nvPr/>
          </p:nvSpPr>
          <p:spPr>
            <a:xfrm>
              <a:off x="3050723" y="4830645"/>
              <a:ext cx="180000" cy="265510"/>
            </a:xfrm>
            <a:custGeom>
              <a:avLst/>
              <a:gdLst>
                <a:gd name="connsiteX0" fmla="*/ 120000 w 180000"/>
                <a:gd name="connsiteY0" fmla="*/ 52500 h 265510"/>
                <a:gd name="connsiteX1" fmla="*/ 75000 w 180000"/>
                <a:gd name="connsiteY1" fmla="*/ 132755 h 265510"/>
                <a:gd name="connsiteX2" fmla="*/ 67500 w 180000"/>
                <a:gd name="connsiteY2" fmla="*/ 0 h 265510"/>
                <a:gd name="connsiteX3" fmla="*/ 32175 w 180000"/>
                <a:gd name="connsiteY3" fmla="*/ 106076 h 265510"/>
                <a:gd name="connsiteX4" fmla="*/ 0 w 180000"/>
                <a:gd name="connsiteY4" fmla="*/ 187500 h 265510"/>
                <a:gd name="connsiteX5" fmla="*/ 90086 w 180000"/>
                <a:gd name="connsiteY5" fmla="*/ 265511 h 265510"/>
                <a:gd name="connsiteX6" fmla="*/ 180000 w 180000"/>
                <a:gd name="connsiteY6" fmla="*/ 184508 h 265510"/>
                <a:gd name="connsiteX7" fmla="*/ 120000 w 180000"/>
                <a:gd name="connsiteY7" fmla="*/ 52500 h 26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000" h="265510">
                  <a:moveTo>
                    <a:pt x="120000" y="52500"/>
                  </a:moveTo>
                  <a:cubicBezTo>
                    <a:pt x="115001" y="102499"/>
                    <a:pt x="100001" y="129252"/>
                    <a:pt x="75000" y="132755"/>
                  </a:cubicBezTo>
                  <a:cubicBezTo>
                    <a:pt x="75000" y="132755"/>
                    <a:pt x="97500" y="45000"/>
                    <a:pt x="67500" y="0"/>
                  </a:cubicBezTo>
                  <a:cubicBezTo>
                    <a:pt x="67500" y="0"/>
                    <a:pt x="64319" y="48217"/>
                    <a:pt x="32175" y="106076"/>
                  </a:cubicBezTo>
                  <a:cubicBezTo>
                    <a:pt x="17107" y="133197"/>
                    <a:pt x="0" y="151481"/>
                    <a:pt x="0" y="187500"/>
                  </a:cubicBezTo>
                  <a:cubicBezTo>
                    <a:pt x="0" y="238931"/>
                    <a:pt x="52672" y="265511"/>
                    <a:pt x="90086" y="265511"/>
                  </a:cubicBezTo>
                  <a:cubicBezTo>
                    <a:pt x="127500" y="265511"/>
                    <a:pt x="180000" y="247509"/>
                    <a:pt x="180000" y="184508"/>
                  </a:cubicBezTo>
                  <a:cubicBezTo>
                    <a:pt x="180000" y="158601"/>
                    <a:pt x="160001" y="114599"/>
                    <a:pt x="120000" y="525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006" name="Рисунок 222">
            <a:extLst>
              <a:ext uri="{FF2B5EF4-FFF2-40B4-BE49-F238E27FC236}">
                <a16:creationId xmlns:a16="http://schemas.microsoft.com/office/drawing/2014/main" id="{7B3C35AC-7832-E945-92E5-DE2E9400993B}"/>
              </a:ext>
            </a:extLst>
          </p:cNvPr>
          <p:cNvGrpSpPr/>
          <p:nvPr/>
        </p:nvGrpSpPr>
        <p:grpSpPr>
          <a:xfrm>
            <a:off x="2183288" y="4461423"/>
            <a:ext cx="360000" cy="360000"/>
            <a:chOff x="2205590" y="4778145"/>
            <a:chExt cx="360000" cy="360000"/>
          </a:xfrm>
        </p:grpSpPr>
        <p:sp>
          <p:nvSpPr>
            <p:cNvPr id="1007" name="Полилиния 1006">
              <a:extLst>
                <a:ext uri="{FF2B5EF4-FFF2-40B4-BE49-F238E27FC236}">
                  <a16:creationId xmlns:a16="http://schemas.microsoft.com/office/drawing/2014/main" id="{4CB655FF-6C3E-8940-8307-3E9BBB6B184D}"/>
                </a:ext>
              </a:extLst>
            </p:cNvPr>
            <p:cNvSpPr/>
            <p:nvPr/>
          </p:nvSpPr>
          <p:spPr>
            <a:xfrm>
              <a:off x="2205590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8" name="Полилиния 1007">
              <a:extLst>
                <a:ext uri="{FF2B5EF4-FFF2-40B4-BE49-F238E27FC236}">
                  <a16:creationId xmlns:a16="http://schemas.microsoft.com/office/drawing/2014/main" id="{3C760853-C7AA-8545-B1C7-2268E4C154DF}"/>
                </a:ext>
              </a:extLst>
            </p:cNvPr>
            <p:cNvSpPr/>
            <p:nvPr/>
          </p:nvSpPr>
          <p:spPr>
            <a:xfrm>
              <a:off x="2250590" y="4838145"/>
              <a:ext cx="270000" cy="240000"/>
            </a:xfrm>
            <a:custGeom>
              <a:avLst/>
              <a:gdLst>
                <a:gd name="connsiteX0" fmla="*/ 210000 w 270000"/>
                <a:gd name="connsiteY0" fmla="*/ 240000 h 240000"/>
                <a:gd name="connsiteX1" fmla="*/ 210000 w 270000"/>
                <a:gd name="connsiteY1" fmla="*/ 120000 h 240000"/>
                <a:gd name="connsiteX2" fmla="*/ 135000 w 270000"/>
                <a:gd name="connsiteY2" fmla="*/ 45000 h 240000"/>
                <a:gd name="connsiteX3" fmla="*/ 60000 w 270000"/>
                <a:gd name="connsiteY3" fmla="*/ 120000 h 240000"/>
                <a:gd name="connsiteX4" fmla="*/ 60000 w 270000"/>
                <a:gd name="connsiteY4" fmla="*/ 240000 h 240000"/>
                <a:gd name="connsiteX5" fmla="*/ 30000 w 270000"/>
                <a:gd name="connsiteY5" fmla="*/ 240000 h 240000"/>
                <a:gd name="connsiteX6" fmla="*/ 0 w 270000"/>
                <a:gd name="connsiteY6" fmla="*/ 210000 h 240000"/>
                <a:gd name="connsiteX7" fmla="*/ 0 w 270000"/>
                <a:gd name="connsiteY7" fmla="*/ 30000 h 240000"/>
                <a:gd name="connsiteX8" fmla="*/ 30000 w 270000"/>
                <a:gd name="connsiteY8" fmla="*/ 0 h 240000"/>
                <a:gd name="connsiteX9" fmla="*/ 240000 w 270000"/>
                <a:gd name="connsiteY9" fmla="*/ 0 h 240000"/>
                <a:gd name="connsiteX10" fmla="*/ 270000 w 270000"/>
                <a:gd name="connsiteY10" fmla="*/ 30000 h 240000"/>
                <a:gd name="connsiteX11" fmla="*/ 270000 w 270000"/>
                <a:gd name="connsiteY11" fmla="*/ 210000 h 240000"/>
                <a:gd name="connsiteX12" fmla="*/ 240000 w 270000"/>
                <a:gd name="connsiteY12" fmla="*/ 240000 h 240000"/>
                <a:gd name="connsiteX13" fmla="*/ 210000 w 270000"/>
                <a:gd name="connsiteY13" fmla="*/ 24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0000" h="240000">
                  <a:moveTo>
                    <a:pt x="210000" y="240000"/>
                  </a:moveTo>
                  <a:lnTo>
                    <a:pt x="210000" y="120000"/>
                  </a:lnTo>
                  <a:cubicBezTo>
                    <a:pt x="210000" y="78579"/>
                    <a:pt x="176421" y="45000"/>
                    <a:pt x="135000" y="45000"/>
                  </a:cubicBezTo>
                  <a:cubicBezTo>
                    <a:pt x="93579" y="45000"/>
                    <a:pt x="60000" y="78579"/>
                    <a:pt x="60000" y="120000"/>
                  </a:cubicBezTo>
                  <a:lnTo>
                    <a:pt x="60000" y="240000"/>
                  </a:lnTo>
                  <a:lnTo>
                    <a:pt x="30000" y="240000"/>
                  </a:lnTo>
                  <a:cubicBezTo>
                    <a:pt x="13431" y="240000"/>
                    <a:pt x="0" y="226569"/>
                    <a:pt x="0" y="21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210000"/>
                  </a:lnTo>
                  <a:cubicBezTo>
                    <a:pt x="270000" y="226569"/>
                    <a:pt x="256569" y="240000"/>
                    <a:pt x="240000" y="240000"/>
                  </a:cubicBezTo>
                  <a:lnTo>
                    <a:pt x="210000" y="24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9" name="Полилиния 1008">
              <a:extLst>
                <a:ext uri="{FF2B5EF4-FFF2-40B4-BE49-F238E27FC236}">
                  <a16:creationId xmlns:a16="http://schemas.microsoft.com/office/drawing/2014/main" id="{28ADCBF1-F36A-1F4F-88CF-D8CC25F2E6AF}"/>
                </a:ext>
              </a:extLst>
            </p:cNvPr>
            <p:cNvSpPr/>
            <p:nvPr/>
          </p:nvSpPr>
          <p:spPr>
            <a:xfrm>
              <a:off x="2341861" y="4928145"/>
              <a:ext cx="87458" cy="129004"/>
            </a:xfrm>
            <a:custGeom>
              <a:avLst/>
              <a:gdLst>
                <a:gd name="connsiteX0" fmla="*/ 58306 w 87458"/>
                <a:gd name="connsiteY0" fmla="*/ 25509 h 129004"/>
                <a:gd name="connsiteX1" fmla="*/ 36440 w 87458"/>
                <a:gd name="connsiteY1" fmla="*/ 64503 h 129004"/>
                <a:gd name="connsiteX2" fmla="*/ 32797 w 87458"/>
                <a:gd name="connsiteY2" fmla="*/ 0 h 129004"/>
                <a:gd name="connsiteX3" fmla="*/ 15632 w 87458"/>
                <a:gd name="connsiteY3" fmla="*/ 51540 h 129004"/>
                <a:gd name="connsiteX4" fmla="*/ 0 w 87458"/>
                <a:gd name="connsiteY4" fmla="*/ 91102 h 129004"/>
                <a:gd name="connsiteX5" fmla="*/ 43771 w 87458"/>
                <a:gd name="connsiteY5" fmla="*/ 129005 h 129004"/>
                <a:gd name="connsiteX6" fmla="*/ 87458 w 87458"/>
                <a:gd name="connsiteY6" fmla="*/ 89647 h 129004"/>
                <a:gd name="connsiteX7" fmla="*/ 58306 w 87458"/>
                <a:gd name="connsiteY7" fmla="*/ 25509 h 12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458" h="129004">
                  <a:moveTo>
                    <a:pt x="58306" y="25509"/>
                  </a:moveTo>
                  <a:cubicBezTo>
                    <a:pt x="55876" y="49803"/>
                    <a:pt x="48587" y="62800"/>
                    <a:pt x="36440" y="64503"/>
                  </a:cubicBezTo>
                  <a:cubicBezTo>
                    <a:pt x="36440" y="64503"/>
                    <a:pt x="47372" y="21864"/>
                    <a:pt x="32797" y="0"/>
                  </a:cubicBezTo>
                  <a:cubicBezTo>
                    <a:pt x="32797" y="0"/>
                    <a:pt x="31250" y="23427"/>
                    <a:pt x="15632" y="51540"/>
                  </a:cubicBezTo>
                  <a:cubicBezTo>
                    <a:pt x="8312" y="64717"/>
                    <a:pt x="0" y="73601"/>
                    <a:pt x="0" y="91102"/>
                  </a:cubicBezTo>
                  <a:cubicBezTo>
                    <a:pt x="0" y="116091"/>
                    <a:pt x="25592" y="129005"/>
                    <a:pt x="43771" y="129005"/>
                  </a:cubicBezTo>
                  <a:cubicBezTo>
                    <a:pt x="61949" y="129005"/>
                    <a:pt x="87458" y="120259"/>
                    <a:pt x="87458" y="89647"/>
                  </a:cubicBezTo>
                  <a:cubicBezTo>
                    <a:pt x="87458" y="77061"/>
                    <a:pt x="77740" y="55680"/>
                    <a:pt x="58306" y="2550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10" name="Рисунок 223">
            <a:extLst>
              <a:ext uri="{FF2B5EF4-FFF2-40B4-BE49-F238E27FC236}">
                <a16:creationId xmlns:a16="http://schemas.microsoft.com/office/drawing/2014/main" id="{7059FF33-0F54-6B48-86C8-13D5AE6D2831}"/>
              </a:ext>
            </a:extLst>
          </p:cNvPr>
          <p:cNvGrpSpPr/>
          <p:nvPr/>
        </p:nvGrpSpPr>
        <p:grpSpPr>
          <a:xfrm>
            <a:off x="1428155" y="4461423"/>
            <a:ext cx="360000" cy="360000"/>
            <a:chOff x="1450457" y="4778145"/>
            <a:chExt cx="360000" cy="360000"/>
          </a:xfrm>
        </p:grpSpPr>
        <p:sp>
          <p:nvSpPr>
            <p:cNvPr id="1011" name="Полилиния 1010">
              <a:extLst>
                <a:ext uri="{FF2B5EF4-FFF2-40B4-BE49-F238E27FC236}">
                  <a16:creationId xmlns:a16="http://schemas.microsoft.com/office/drawing/2014/main" id="{21F262CE-38DA-4E46-9D62-61E0416999F1}"/>
                </a:ext>
              </a:extLst>
            </p:cNvPr>
            <p:cNvSpPr/>
            <p:nvPr/>
          </p:nvSpPr>
          <p:spPr>
            <a:xfrm>
              <a:off x="1450457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2" name="Полилиния 1011">
              <a:extLst>
                <a:ext uri="{FF2B5EF4-FFF2-40B4-BE49-F238E27FC236}">
                  <a16:creationId xmlns:a16="http://schemas.microsoft.com/office/drawing/2014/main" id="{1BA4E449-4956-B04A-9BF0-4AA4CA1F01DF}"/>
                </a:ext>
              </a:extLst>
            </p:cNvPr>
            <p:cNvSpPr/>
            <p:nvPr/>
          </p:nvSpPr>
          <p:spPr>
            <a:xfrm>
              <a:off x="1480457" y="4823145"/>
              <a:ext cx="45000" cy="270000"/>
            </a:xfrm>
            <a:custGeom>
              <a:avLst/>
              <a:gdLst>
                <a:gd name="connsiteX0" fmla="*/ 22500 w 45000"/>
                <a:gd name="connsiteY0" fmla="*/ 0 h 270000"/>
                <a:gd name="connsiteX1" fmla="*/ 45000 w 45000"/>
                <a:gd name="connsiteY1" fmla="*/ 0 h 270000"/>
                <a:gd name="connsiteX2" fmla="*/ 45000 w 45000"/>
                <a:gd name="connsiteY2" fmla="*/ 247500 h 270000"/>
                <a:gd name="connsiteX3" fmla="*/ 22500 w 45000"/>
                <a:gd name="connsiteY3" fmla="*/ 270000 h 270000"/>
                <a:gd name="connsiteX4" fmla="*/ 22500 w 45000"/>
                <a:gd name="connsiteY4" fmla="*/ 270000 h 270000"/>
                <a:gd name="connsiteX5" fmla="*/ 0 w 45000"/>
                <a:gd name="connsiteY5" fmla="*/ 247500 h 270000"/>
                <a:gd name="connsiteX6" fmla="*/ 0 w 45000"/>
                <a:gd name="connsiteY6" fmla="*/ 22500 h 270000"/>
                <a:gd name="connsiteX7" fmla="*/ 22500 w 45000"/>
                <a:gd name="connsiteY7" fmla="*/ 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000" h="270000">
                  <a:moveTo>
                    <a:pt x="22500" y="0"/>
                  </a:moveTo>
                  <a:lnTo>
                    <a:pt x="45000" y="0"/>
                  </a:lnTo>
                  <a:lnTo>
                    <a:pt x="45000" y="247500"/>
                  </a:lnTo>
                  <a:cubicBezTo>
                    <a:pt x="45000" y="259926"/>
                    <a:pt x="34926" y="270000"/>
                    <a:pt x="22500" y="270000"/>
                  </a:cubicBezTo>
                  <a:lnTo>
                    <a:pt x="22500" y="270000"/>
                  </a:lnTo>
                  <a:cubicBezTo>
                    <a:pt x="10074" y="270000"/>
                    <a:pt x="0" y="259926"/>
                    <a:pt x="0" y="247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3" name="Полилиния 1012">
              <a:extLst>
                <a:ext uri="{FF2B5EF4-FFF2-40B4-BE49-F238E27FC236}">
                  <a16:creationId xmlns:a16="http://schemas.microsoft.com/office/drawing/2014/main" id="{A94E1D26-1196-1946-AEA5-A49CF2CA0C43}"/>
                </a:ext>
              </a:extLst>
            </p:cNvPr>
            <p:cNvSpPr/>
            <p:nvPr/>
          </p:nvSpPr>
          <p:spPr>
            <a:xfrm>
              <a:off x="1555455" y="4823144"/>
              <a:ext cx="206321" cy="150000"/>
            </a:xfrm>
            <a:custGeom>
              <a:avLst/>
              <a:gdLst>
                <a:gd name="connsiteX0" fmla="*/ 0 w 206321"/>
                <a:gd name="connsiteY0" fmla="*/ 0 h 150000"/>
                <a:gd name="connsiteX1" fmla="*/ 191321 w 206321"/>
                <a:gd name="connsiteY1" fmla="*/ 1 h 150000"/>
                <a:gd name="connsiteX2" fmla="*/ 206321 w 206321"/>
                <a:gd name="connsiteY2" fmla="*/ 15001 h 150000"/>
                <a:gd name="connsiteX3" fmla="*/ 202470 w 206321"/>
                <a:gd name="connsiteY3" fmla="*/ 25035 h 150000"/>
                <a:gd name="connsiteX4" fmla="*/ 157502 w 206321"/>
                <a:gd name="connsiteY4" fmla="*/ 75001 h 150000"/>
                <a:gd name="connsiteX5" fmla="*/ 202470 w 206321"/>
                <a:gd name="connsiteY5" fmla="*/ 124966 h 150000"/>
                <a:gd name="connsiteX6" fmla="*/ 201356 w 206321"/>
                <a:gd name="connsiteY6" fmla="*/ 146150 h 150000"/>
                <a:gd name="connsiteX7" fmla="*/ 191321 w 206321"/>
                <a:gd name="connsiteY7" fmla="*/ 150001 h 150000"/>
                <a:gd name="connsiteX8" fmla="*/ 0 w 206321"/>
                <a:gd name="connsiteY8" fmla="*/ 150001 h 150000"/>
                <a:gd name="connsiteX9" fmla="*/ 0 w 206321"/>
                <a:gd name="connsiteY9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6321" h="150000">
                  <a:moveTo>
                    <a:pt x="0" y="0"/>
                  </a:moveTo>
                  <a:lnTo>
                    <a:pt x="191321" y="1"/>
                  </a:lnTo>
                  <a:cubicBezTo>
                    <a:pt x="199605" y="1"/>
                    <a:pt x="206321" y="6716"/>
                    <a:pt x="206321" y="15001"/>
                  </a:cubicBezTo>
                  <a:cubicBezTo>
                    <a:pt x="206321" y="18706"/>
                    <a:pt x="204950" y="22281"/>
                    <a:pt x="202470" y="25035"/>
                  </a:cubicBezTo>
                  <a:lnTo>
                    <a:pt x="157502" y="75001"/>
                  </a:lnTo>
                  <a:lnTo>
                    <a:pt x="202470" y="124966"/>
                  </a:lnTo>
                  <a:cubicBezTo>
                    <a:pt x="208013" y="131123"/>
                    <a:pt x="207513" y="140608"/>
                    <a:pt x="201356" y="146150"/>
                  </a:cubicBezTo>
                  <a:cubicBezTo>
                    <a:pt x="198602" y="148630"/>
                    <a:pt x="195027" y="150001"/>
                    <a:pt x="191321" y="150001"/>
                  </a:cubicBezTo>
                  <a:lnTo>
                    <a:pt x="0" y="1500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14" name="Рисунок 224">
            <a:extLst>
              <a:ext uri="{FF2B5EF4-FFF2-40B4-BE49-F238E27FC236}">
                <a16:creationId xmlns:a16="http://schemas.microsoft.com/office/drawing/2014/main" id="{D79ED7D4-05AC-4B4C-8E45-B943A54B866E}"/>
              </a:ext>
            </a:extLst>
          </p:cNvPr>
          <p:cNvGrpSpPr/>
          <p:nvPr/>
        </p:nvGrpSpPr>
        <p:grpSpPr>
          <a:xfrm>
            <a:off x="673022" y="4461423"/>
            <a:ext cx="360000" cy="360000"/>
            <a:chOff x="695324" y="4778145"/>
            <a:chExt cx="360000" cy="360000"/>
          </a:xfrm>
        </p:grpSpPr>
        <p:sp>
          <p:nvSpPr>
            <p:cNvPr id="1015" name="Полилиния 1014">
              <a:extLst>
                <a:ext uri="{FF2B5EF4-FFF2-40B4-BE49-F238E27FC236}">
                  <a16:creationId xmlns:a16="http://schemas.microsoft.com/office/drawing/2014/main" id="{A3023FAB-C2E0-FC42-B2E8-305241EBB0EE}"/>
                </a:ext>
              </a:extLst>
            </p:cNvPr>
            <p:cNvSpPr/>
            <p:nvPr/>
          </p:nvSpPr>
          <p:spPr>
            <a:xfrm>
              <a:off x="695324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6" name="Полилиния 1015">
              <a:extLst>
                <a:ext uri="{FF2B5EF4-FFF2-40B4-BE49-F238E27FC236}">
                  <a16:creationId xmlns:a16="http://schemas.microsoft.com/office/drawing/2014/main" id="{F8EB0DF2-05A5-F744-A4E1-1FA2336318F9}"/>
                </a:ext>
              </a:extLst>
            </p:cNvPr>
            <p:cNvSpPr/>
            <p:nvPr/>
          </p:nvSpPr>
          <p:spPr>
            <a:xfrm>
              <a:off x="785324" y="4868145"/>
              <a:ext cx="180000" cy="240000"/>
            </a:xfrm>
            <a:custGeom>
              <a:avLst/>
              <a:gdLst>
                <a:gd name="connsiteX0" fmla="*/ 0 w 180000"/>
                <a:gd name="connsiteY0" fmla="*/ 60000 h 240000"/>
                <a:gd name="connsiteX1" fmla="*/ 0 w 180000"/>
                <a:gd name="connsiteY1" fmla="*/ 0 h 240000"/>
                <a:gd name="connsiteX2" fmla="*/ 180000 w 180000"/>
                <a:gd name="connsiteY2" fmla="*/ 0 h 240000"/>
                <a:gd name="connsiteX3" fmla="*/ 180000 w 180000"/>
                <a:gd name="connsiteY3" fmla="*/ 60000 h 240000"/>
                <a:gd name="connsiteX4" fmla="*/ 135000 w 180000"/>
                <a:gd name="connsiteY4" fmla="*/ 120000 h 240000"/>
                <a:gd name="connsiteX5" fmla="*/ 135000 w 180000"/>
                <a:gd name="connsiteY5" fmla="*/ 180000 h 240000"/>
                <a:gd name="connsiteX6" fmla="*/ 135000 w 180000"/>
                <a:gd name="connsiteY6" fmla="*/ 210000 h 240000"/>
                <a:gd name="connsiteX7" fmla="*/ 105000 w 180000"/>
                <a:gd name="connsiteY7" fmla="*/ 240000 h 240000"/>
                <a:gd name="connsiteX8" fmla="*/ 75000 w 180000"/>
                <a:gd name="connsiteY8" fmla="*/ 240000 h 240000"/>
                <a:gd name="connsiteX9" fmla="*/ 45000 w 180000"/>
                <a:gd name="connsiteY9" fmla="*/ 210000 h 240000"/>
                <a:gd name="connsiteX10" fmla="*/ 45000 w 180000"/>
                <a:gd name="connsiteY10" fmla="*/ 180000 h 240000"/>
                <a:gd name="connsiteX11" fmla="*/ 45000 w 180000"/>
                <a:gd name="connsiteY11" fmla="*/ 120000 h 240000"/>
                <a:gd name="connsiteX12" fmla="*/ 0 w 180000"/>
                <a:gd name="connsiteY12" fmla="*/ 60000 h 240000"/>
                <a:gd name="connsiteX13" fmla="*/ 90000 w 180000"/>
                <a:gd name="connsiteY13" fmla="*/ 75000 h 240000"/>
                <a:gd name="connsiteX14" fmla="*/ 60000 w 180000"/>
                <a:gd name="connsiteY14" fmla="*/ 105000 h 240000"/>
                <a:gd name="connsiteX15" fmla="*/ 60000 w 180000"/>
                <a:gd name="connsiteY15" fmla="*/ 135000 h 240000"/>
                <a:gd name="connsiteX16" fmla="*/ 90000 w 180000"/>
                <a:gd name="connsiteY16" fmla="*/ 165000 h 240000"/>
                <a:gd name="connsiteX17" fmla="*/ 120000 w 180000"/>
                <a:gd name="connsiteY17" fmla="*/ 135000 h 240000"/>
                <a:gd name="connsiteX18" fmla="*/ 120000 w 180000"/>
                <a:gd name="connsiteY18" fmla="*/ 105000 h 240000"/>
                <a:gd name="connsiteX19" fmla="*/ 90000 w 180000"/>
                <a:gd name="connsiteY19" fmla="*/ 75000 h 240000"/>
                <a:gd name="connsiteX20" fmla="*/ 90000 w 180000"/>
                <a:gd name="connsiteY20" fmla="*/ 120000 h 240000"/>
                <a:gd name="connsiteX21" fmla="*/ 75000 w 180000"/>
                <a:gd name="connsiteY21" fmla="*/ 105000 h 240000"/>
                <a:gd name="connsiteX22" fmla="*/ 90000 w 180000"/>
                <a:gd name="connsiteY22" fmla="*/ 90000 h 240000"/>
                <a:gd name="connsiteX23" fmla="*/ 105000 w 180000"/>
                <a:gd name="connsiteY23" fmla="*/ 105000 h 240000"/>
                <a:gd name="connsiteX24" fmla="*/ 90000 w 180000"/>
                <a:gd name="connsiteY24" fmla="*/ 12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0000" h="240000">
                  <a:moveTo>
                    <a:pt x="0" y="60000"/>
                  </a:moveTo>
                  <a:lnTo>
                    <a:pt x="0" y="0"/>
                  </a:lnTo>
                  <a:lnTo>
                    <a:pt x="180000" y="0"/>
                  </a:lnTo>
                  <a:lnTo>
                    <a:pt x="180000" y="60000"/>
                  </a:lnTo>
                  <a:cubicBezTo>
                    <a:pt x="150000" y="82797"/>
                    <a:pt x="135000" y="102797"/>
                    <a:pt x="135000" y="120000"/>
                  </a:cubicBezTo>
                  <a:lnTo>
                    <a:pt x="135000" y="180000"/>
                  </a:lnTo>
                  <a:lnTo>
                    <a:pt x="135000" y="210000"/>
                  </a:lnTo>
                  <a:cubicBezTo>
                    <a:pt x="135000" y="226569"/>
                    <a:pt x="121569" y="240000"/>
                    <a:pt x="105000" y="240000"/>
                  </a:cubicBezTo>
                  <a:lnTo>
                    <a:pt x="75000" y="240000"/>
                  </a:lnTo>
                  <a:cubicBezTo>
                    <a:pt x="58431" y="240000"/>
                    <a:pt x="45000" y="226569"/>
                    <a:pt x="45000" y="210000"/>
                  </a:cubicBezTo>
                  <a:lnTo>
                    <a:pt x="45000" y="180000"/>
                  </a:lnTo>
                  <a:lnTo>
                    <a:pt x="45000" y="120000"/>
                  </a:lnTo>
                  <a:cubicBezTo>
                    <a:pt x="45000" y="94999"/>
                    <a:pt x="30000" y="75000"/>
                    <a:pt x="0" y="60000"/>
                  </a:cubicBezTo>
                  <a:close/>
                  <a:moveTo>
                    <a:pt x="90000" y="75000"/>
                  </a:moveTo>
                  <a:cubicBezTo>
                    <a:pt x="73431" y="75000"/>
                    <a:pt x="60000" y="88431"/>
                    <a:pt x="60000" y="105000"/>
                  </a:cubicBezTo>
                  <a:lnTo>
                    <a:pt x="60000" y="135000"/>
                  </a:lnTo>
                  <a:cubicBezTo>
                    <a:pt x="60000" y="151569"/>
                    <a:pt x="73431" y="165000"/>
                    <a:pt x="90000" y="165000"/>
                  </a:cubicBezTo>
                  <a:cubicBezTo>
                    <a:pt x="106569" y="165000"/>
                    <a:pt x="120000" y="151569"/>
                    <a:pt x="120000" y="135000"/>
                  </a:cubicBezTo>
                  <a:lnTo>
                    <a:pt x="120000" y="105000"/>
                  </a:lnTo>
                  <a:cubicBezTo>
                    <a:pt x="120000" y="88431"/>
                    <a:pt x="106569" y="75000"/>
                    <a:pt x="90000" y="75000"/>
                  </a:cubicBezTo>
                  <a:close/>
                  <a:moveTo>
                    <a:pt x="90000" y="120000"/>
                  </a:moveTo>
                  <a:cubicBezTo>
                    <a:pt x="81715" y="120000"/>
                    <a:pt x="75000" y="113285"/>
                    <a:pt x="75000" y="105000"/>
                  </a:cubicBezTo>
                  <a:cubicBezTo>
                    <a:pt x="75000" y="96715"/>
                    <a:pt x="81715" y="90000"/>
                    <a:pt x="90000" y="90000"/>
                  </a:cubicBezTo>
                  <a:cubicBezTo>
                    <a:pt x="98285" y="90000"/>
                    <a:pt x="105000" y="96715"/>
                    <a:pt x="105000" y="105000"/>
                  </a:cubicBezTo>
                  <a:cubicBezTo>
                    <a:pt x="105000" y="113285"/>
                    <a:pt x="98285" y="120000"/>
                    <a:pt x="9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7" name="Полилиния 1016">
              <a:extLst>
                <a:ext uri="{FF2B5EF4-FFF2-40B4-BE49-F238E27FC236}">
                  <a16:creationId xmlns:a16="http://schemas.microsoft.com/office/drawing/2014/main" id="{88F532A0-C442-1948-BC09-06079B79C056}"/>
                </a:ext>
              </a:extLst>
            </p:cNvPr>
            <p:cNvSpPr/>
            <p:nvPr/>
          </p:nvSpPr>
          <p:spPr>
            <a:xfrm>
              <a:off x="785324" y="4808145"/>
              <a:ext cx="180000" cy="30000"/>
            </a:xfrm>
            <a:custGeom>
              <a:avLst/>
              <a:gdLst>
                <a:gd name="connsiteX0" fmla="*/ 15000 w 180000"/>
                <a:gd name="connsiteY0" fmla="*/ 0 h 30000"/>
                <a:gd name="connsiteX1" fmla="*/ 165000 w 180000"/>
                <a:gd name="connsiteY1" fmla="*/ 0 h 30000"/>
                <a:gd name="connsiteX2" fmla="*/ 180000 w 180000"/>
                <a:gd name="connsiteY2" fmla="*/ 15000 h 30000"/>
                <a:gd name="connsiteX3" fmla="*/ 180000 w 180000"/>
                <a:gd name="connsiteY3" fmla="*/ 30000 h 30000"/>
                <a:gd name="connsiteX4" fmla="*/ 0 w 180000"/>
                <a:gd name="connsiteY4" fmla="*/ 30000 h 30000"/>
                <a:gd name="connsiteX5" fmla="*/ 0 w 180000"/>
                <a:gd name="connsiteY5" fmla="*/ 15000 h 30000"/>
                <a:gd name="connsiteX6" fmla="*/ 15000 w 180000"/>
                <a:gd name="connsiteY6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000" h="30000">
                  <a:moveTo>
                    <a:pt x="15000" y="0"/>
                  </a:moveTo>
                  <a:lnTo>
                    <a:pt x="165000" y="0"/>
                  </a:lnTo>
                  <a:cubicBezTo>
                    <a:pt x="173285" y="0"/>
                    <a:pt x="180000" y="6716"/>
                    <a:pt x="180000" y="15000"/>
                  </a:cubicBezTo>
                  <a:lnTo>
                    <a:pt x="180000" y="30000"/>
                  </a:lnTo>
                  <a:lnTo>
                    <a:pt x="0" y="30000"/>
                  </a:ln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018" name="Рисунок 225">
            <a:extLst>
              <a:ext uri="{FF2B5EF4-FFF2-40B4-BE49-F238E27FC236}">
                <a16:creationId xmlns:a16="http://schemas.microsoft.com/office/drawing/2014/main" id="{FDD1A93D-225B-3848-8E73-587807C7DE82}"/>
              </a:ext>
            </a:extLst>
          </p:cNvPr>
          <p:cNvGrpSpPr/>
          <p:nvPr/>
        </p:nvGrpSpPr>
        <p:grpSpPr>
          <a:xfrm>
            <a:off x="11244886" y="3788369"/>
            <a:ext cx="360000" cy="360000"/>
            <a:chOff x="11267188" y="4105091"/>
            <a:chExt cx="360000" cy="360000"/>
          </a:xfrm>
        </p:grpSpPr>
        <p:sp>
          <p:nvSpPr>
            <p:cNvPr id="1019" name="Полилиния 1018">
              <a:extLst>
                <a:ext uri="{FF2B5EF4-FFF2-40B4-BE49-F238E27FC236}">
                  <a16:creationId xmlns:a16="http://schemas.microsoft.com/office/drawing/2014/main" id="{43992EC8-415C-1844-AB72-DE0E80CDD359}"/>
                </a:ext>
              </a:extLst>
            </p:cNvPr>
            <p:cNvSpPr/>
            <p:nvPr/>
          </p:nvSpPr>
          <p:spPr>
            <a:xfrm>
              <a:off x="11267188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0" name="Полилиния 1019">
              <a:extLst>
                <a:ext uri="{FF2B5EF4-FFF2-40B4-BE49-F238E27FC236}">
                  <a16:creationId xmlns:a16="http://schemas.microsoft.com/office/drawing/2014/main" id="{815E3A27-76BE-F84B-8CAA-3CBF972B4466}"/>
                </a:ext>
              </a:extLst>
            </p:cNvPr>
            <p:cNvSpPr/>
            <p:nvPr/>
          </p:nvSpPr>
          <p:spPr>
            <a:xfrm>
              <a:off x="11312188" y="4240091"/>
              <a:ext cx="180000" cy="180000"/>
            </a:xfrm>
            <a:custGeom>
              <a:avLst/>
              <a:gdLst>
                <a:gd name="connsiteX0" fmla="*/ 180000 w 180000"/>
                <a:gd name="connsiteY0" fmla="*/ 90000 h 180000"/>
                <a:gd name="connsiteX1" fmla="*/ 90000 w 180000"/>
                <a:gd name="connsiteY1" fmla="*/ 180000 h 180000"/>
                <a:gd name="connsiteX2" fmla="*/ 0 w 180000"/>
                <a:gd name="connsiteY2" fmla="*/ 90000 h 180000"/>
                <a:gd name="connsiteX3" fmla="*/ 90000 w 180000"/>
                <a:gd name="connsiteY3" fmla="*/ 0 h 180000"/>
                <a:gd name="connsiteX4" fmla="*/ 180000 w 180000"/>
                <a:gd name="connsiteY4" fmla="*/ 9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000" h="180000">
                  <a:moveTo>
                    <a:pt x="180000" y="90000"/>
                  </a:moveTo>
                  <a:cubicBezTo>
                    <a:pt x="180000" y="139706"/>
                    <a:pt x="139706" y="180000"/>
                    <a:pt x="90000" y="180000"/>
                  </a:cubicBezTo>
                  <a:cubicBezTo>
                    <a:pt x="40294" y="180000"/>
                    <a:pt x="0" y="139706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9706" y="0"/>
                    <a:pt x="180000" y="40294"/>
                    <a:pt x="180000" y="9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1" name="Полилиния 1020">
              <a:extLst>
                <a:ext uri="{FF2B5EF4-FFF2-40B4-BE49-F238E27FC236}">
                  <a16:creationId xmlns:a16="http://schemas.microsoft.com/office/drawing/2014/main" id="{EB80532F-C3EA-BE4C-8577-A820BD8CEE76}"/>
                </a:ext>
              </a:extLst>
            </p:cNvPr>
            <p:cNvSpPr/>
            <p:nvPr/>
          </p:nvSpPr>
          <p:spPr>
            <a:xfrm>
              <a:off x="11399207" y="4165091"/>
              <a:ext cx="167980" cy="167980"/>
            </a:xfrm>
            <a:custGeom>
              <a:avLst/>
              <a:gdLst>
                <a:gd name="connsiteX0" fmla="*/ 0 w 167980"/>
                <a:gd name="connsiteY0" fmla="*/ 45036 h 167980"/>
                <a:gd name="connsiteX1" fmla="*/ 77981 w 167980"/>
                <a:gd name="connsiteY1" fmla="*/ 0 h 167980"/>
                <a:gd name="connsiteX2" fmla="*/ 167981 w 167980"/>
                <a:gd name="connsiteY2" fmla="*/ 90000 h 167980"/>
                <a:gd name="connsiteX3" fmla="*/ 122945 w 167980"/>
                <a:gd name="connsiteY3" fmla="*/ 167981 h 167980"/>
                <a:gd name="connsiteX4" fmla="*/ 122981 w 167980"/>
                <a:gd name="connsiteY4" fmla="*/ 165000 h 167980"/>
                <a:gd name="connsiteX5" fmla="*/ 2981 w 167980"/>
                <a:gd name="connsiteY5" fmla="*/ 45000 h 167980"/>
                <a:gd name="connsiteX6" fmla="*/ 0 w 167980"/>
                <a:gd name="connsiteY6" fmla="*/ 45036 h 167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7980" h="167980">
                  <a:moveTo>
                    <a:pt x="0" y="45036"/>
                  </a:moveTo>
                  <a:cubicBezTo>
                    <a:pt x="15556" y="18115"/>
                    <a:pt x="44654" y="0"/>
                    <a:pt x="77981" y="0"/>
                  </a:cubicBezTo>
                  <a:cubicBezTo>
                    <a:pt x="127686" y="0"/>
                    <a:pt x="167981" y="40294"/>
                    <a:pt x="167981" y="90000"/>
                  </a:cubicBezTo>
                  <a:cubicBezTo>
                    <a:pt x="167981" y="123327"/>
                    <a:pt x="149865" y="152424"/>
                    <a:pt x="122945" y="167981"/>
                  </a:cubicBezTo>
                  <a:cubicBezTo>
                    <a:pt x="122969" y="166991"/>
                    <a:pt x="122981" y="165996"/>
                    <a:pt x="122981" y="165000"/>
                  </a:cubicBezTo>
                  <a:cubicBezTo>
                    <a:pt x="122981" y="98726"/>
                    <a:pt x="69255" y="45000"/>
                    <a:pt x="2981" y="45000"/>
                  </a:cubicBezTo>
                  <a:cubicBezTo>
                    <a:pt x="1984" y="45000"/>
                    <a:pt x="991" y="45012"/>
                    <a:pt x="0" y="45036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22" name="Рисунок 226">
            <a:extLst>
              <a:ext uri="{FF2B5EF4-FFF2-40B4-BE49-F238E27FC236}">
                <a16:creationId xmlns:a16="http://schemas.microsoft.com/office/drawing/2014/main" id="{558C8565-7075-B04A-954A-CF5BF7AFEF96}"/>
              </a:ext>
            </a:extLst>
          </p:cNvPr>
          <p:cNvGrpSpPr/>
          <p:nvPr/>
        </p:nvGrpSpPr>
        <p:grpSpPr>
          <a:xfrm>
            <a:off x="8979485" y="3788369"/>
            <a:ext cx="360000" cy="360000"/>
            <a:chOff x="9001787" y="4105091"/>
            <a:chExt cx="360000" cy="360000"/>
          </a:xfrm>
        </p:grpSpPr>
        <p:sp>
          <p:nvSpPr>
            <p:cNvPr id="1023" name="Полилиния 1022">
              <a:extLst>
                <a:ext uri="{FF2B5EF4-FFF2-40B4-BE49-F238E27FC236}">
                  <a16:creationId xmlns:a16="http://schemas.microsoft.com/office/drawing/2014/main" id="{87B67473-F43A-B941-8470-3037A2BDF672}"/>
                </a:ext>
              </a:extLst>
            </p:cNvPr>
            <p:cNvSpPr/>
            <p:nvPr/>
          </p:nvSpPr>
          <p:spPr>
            <a:xfrm>
              <a:off x="9001787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4" name="Полилиния 1023">
              <a:extLst>
                <a:ext uri="{FF2B5EF4-FFF2-40B4-BE49-F238E27FC236}">
                  <a16:creationId xmlns:a16="http://schemas.microsoft.com/office/drawing/2014/main" id="{1F7D130D-4CC7-464A-98D4-07844CEC8FB9}"/>
                </a:ext>
              </a:extLst>
            </p:cNvPr>
            <p:cNvSpPr/>
            <p:nvPr/>
          </p:nvSpPr>
          <p:spPr>
            <a:xfrm>
              <a:off x="9050362" y="4196535"/>
              <a:ext cx="86424" cy="193555"/>
            </a:xfrm>
            <a:custGeom>
              <a:avLst/>
              <a:gdLst>
                <a:gd name="connsiteX0" fmla="*/ 7502 w 86424"/>
                <a:gd name="connsiteY0" fmla="*/ 193556 h 193555"/>
                <a:gd name="connsiteX1" fmla="*/ 78924 w 86424"/>
                <a:gd name="connsiteY1" fmla="*/ 193556 h 193555"/>
                <a:gd name="connsiteX2" fmla="*/ 86424 w 86424"/>
                <a:gd name="connsiteY2" fmla="*/ 186056 h 193555"/>
                <a:gd name="connsiteX3" fmla="*/ 86424 w 86424"/>
                <a:gd name="connsiteY3" fmla="*/ 7500 h 193555"/>
                <a:gd name="connsiteX4" fmla="*/ 78924 w 86424"/>
                <a:gd name="connsiteY4" fmla="*/ 0 h 193555"/>
                <a:gd name="connsiteX5" fmla="*/ 71961 w 86424"/>
                <a:gd name="connsiteY5" fmla="*/ 4715 h 193555"/>
                <a:gd name="connsiteX6" fmla="*/ 538 w 86424"/>
                <a:gd name="connsiteY6" fmla="*/ 183270 h 193555"/>
                <a:gd name="connsiteX7" fmla="*/ 4717 w 86424"/>
                <a:gd name="connsiteY7" fmla="*/ 193019 h 193555"/>
                <a:gd name="connsiteX8" fmla="*/ 7502 w 86424"/>
                <a:gd name="connsiteY8" fmla="*/ 193556 h 19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424" h="193555">
                  <a:moveTo>
                    <a:pt x="7502" y="193556"/>
                  </a:moveTo>
                  <a:lnTo>
                    <a:pt x="78924" y="193556"/>
                  </a:lnTo>
                  <a:cubicBezTo>
                    <a:pt x="83066" y="193556"/>
                    <a:pt x="86424" y="190197"/>
                    <a:pt x="86424" y="186056"/>
                  </a:cubicBezTo>
                  <a:lnTo>
                    <a:pt x="86424" y="7500"/>
                  </a:lnTo>
                  <a:cubicBezTo>
                    <a:pt x="86424" y="3358"/>
                    <a:pt x="83066" y="0"/>
                    <a:pt x="78924" y="0"/>
                  </a:cubicBezTo>
                  <a:cubicBezTo>
                    <a:pt x="75858" y="0"/>
                    <a:pt x="73100" y="1867"/>
                    <a:pt x="71961" y="4715"/>
                  </a:cubicBezTo>
                  <a:lnTo>
                    <a:pt x="538" y="183270"/>
                  </a:lnTo>
                  <a:cubicBezTo>
                    <a:pt x="-1000" y="187116"/>
                    <a:pt x="871" y="191481"/>
                    <a:pt x="4717" y="193019"/>
                  </a:cubicBezTo>
                  <a:cubicBezTo>
                    <a:pt x="5602" y="193374"/>
                    <a:pt x="6548" y="193556"/>
                    <a:pt x="7502" y="193556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5" name="Полилиния 1024">
              <a:extLst>
                <a:ext uri="{FF2B5EF4-FFF2-40B4-BE49-F238E27FC236}">
                  <a16:creationId xmlns:a16="http://schemas.microsoft.com/office/drawing/2014/main" id="{12AA8A13-B7AA-6542-B983-3C73BF9B4AEF}"/>
                </a:ext>
              </a:extLst>
            </p:cNvPr>
            <p:cNvSpPr/>
            <p:nvPr/>
          </p:nvSpPr>
          <p:spPr>
            <a:xfrm rot="10800000" flipV="1">
              <a:off x="9226787" y="4196535"/>
              <a:ext cx="86424" cy="193555"/>
            </a:xfrm>
            <a:custGeom>
              <a:avLst/>
              <a:gdLst>
                <a:gd name="connsiteX0" fmla="*/ 7502 w 86424"/>
                <a:gd name="connsiteY0" fmla="*/ 193556 h 193555"/>
                <a:gd name="connsiteX1" fmla="*/ 78924 w 86424"/>
                <a:gd name="connsiteY1" fmla="*/ 193556 h 193555"/>
                <a:gd name="connsiteX2" fmla="*/ 86424 w 86424"/>
                <a:gd name="connsiteY2" fmla="*/ 186056 h 193555"/>
                <a:gd name="connsiteX3" fmla="*/ 86424 w 86424"/>
                <a:gd name="connsiteY3" fmla="*/ 7500 h 193555"/>
                <a:gd name="connsiteX4" fmla="*/ 78924 w 86424"/>
                <a:gd name="connsiteY4" fmla="*/ 0 h 193555"/>
                <a:gd name="connsiteX5" fmla="*/ 71961 w 86424"/>
                <a:gd name="connsiteY5" fmla="*/ 4715 h 193555"/>
                <a:gd name="connsiteX6" fmla="*/ 539 w 86424"/>
                <a:gd name="connsiteY6" fmla="*/ 183270 h 193555"/>
                <a:gd name="connsiteX7" fmla="*/ 4716 w 86424"/>
                <a:gd name="connsiteY7" fmla="*/ 193019 h 193555"/>
                <a:gd name="connsiteX8" fmla="*/ 7502 w 86424"/>
                <a:gd name="connsiteY8" fmla="*/ 193556 h 19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424" h="193555">
                  <a:moveTo>
                    <a:pt x="7502" y="193556"/>
                  </a:moveTo>
                  <a:lnTo>
                    <a:pt x="78924" y="193556"/>
                  </a:lnTo>
                  <a:cubicBezTo>
                    <a:pt x="83066" y="193556"/>
                    <a:pt x="86424" y="190197"/>
                    <a:pt x="86424" y="186056"/>
                  </a:cubicBezTo>
                  <a:lnTo>
                    <a:pt x="86424" y="7500"/>
                  </a:lnTo>
                  <a:cubicBezTo>
                    <a:pt x="86424" y="3358"/>
                    <a:pt x="83066" y="0"/>
                    <a:pt x="78924" y="0"/>
                  </a:cubicBezTo>
                  <a:cubicBezTo>
                    <a:pt x="75857" y="0"/>
                    <a:pt x="73100" y="1867"/>
                    <a:pt x="71961" y="4715"/>
                  </a:cubicBezTo>
                  <a:lnTo>
                    <a:pt x="539" y="183270"/>
                  </a:lnTo>
                  <a:cubicBezTo>
                    <a:pt x="-1000" y="187116"/>
                    <a:pt x="870" y="191481"/>
                    <a:pt x="4716" y="193019"/>
                  </a:cubicBezTo>
                  <a:cubicBezTo>
                    <a:pt x="5603" y="193374"/>
                    <a:pt x="6548" y="193556"/>
                    <a:pt x="7502" y="193556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6" name="Скругленный прямоугольник 1025">
              <a:extLst>
                <a:ext uri="{FF2B5EF4-FFF2-40B4-BE49-F238E27FC236}">
                  <a16:creationId xmlns:a16="http://schemas.microsoft.com/office/drawing/2014/main" id="{C3894067-C8BA-EE4E-9BF6-B1AABDAA3123}"/>
                </a:ext>
              </a:extLst>
            </p:cNvPr>
            <p:cNvSpPr/>
            <p:nvPr/>
          </p:nvSpPr>
          <p:spPr>
            <a:xfrm>
              <a:off x="9166787" y="4135091"/>
              <a:ext cx="30000" cy="30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27" name="Рисунок 227">
            <a:extLst>
              <a:ext uri="{FF2B5EF4-FFF2-40B4-BE49-F238E27FC236}">
                <a16:creationId xmlns:a16="http://schemas.microsoft.com/office/drawing/2014/main" id="{F3A93D7D-E134-2244-AB43-A999A02FF0D9}"/>
              </a:ext>
            </a:extLst>
          </p:cNvPr>
          <p:cNvGrpSpPr/>
          <p:nvPr/>
        </p:nvGrpSpPr>
        <p:grpSpPr>
          <a:xfrm>
            <a:off x="9734618" y="3788369"/>
            <a:ext cx="360000" cy="360000"/>
            <a:chOff x="9756920" y="4105091"/>
            <a:chExt cx="360000" cy="360000"/>
          </a:xfrm>
        </p:grpSpPr>
        <p:sp>
          <p:nvSpPr>
            <p:cNvPr id="1028" name="Полилиния 1027">
              <a:extLst>
                <a:ext uri="{FF2B5EF4-FFF2-40B4-BE49-F238E27FC236}">
                  <a16:creationId xmlns:a16="http://schemas.microsoft.com/office/drawing/2014/main" id="{636AE23F-B2B9-8C4E-ADF1-324F79D20238}"/>
                </a:ext>
              </a:extLst>
            </p:cNvPr>
            <p:cNvSpPr/>
            <p:nvPr/>
          </p:nvSpPr>
          <p:spPr>
            <a:xfrm>
              <a:off x="9756920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9" name="Полилиния 1028">
              <a:extLst>
                <a:ext uri="{FF2B5EF4-FFF2-40B4-BE49-F238E27FC236}">
                  <a16:creationId xmlns:a16="http://schemas.microsoft.com/office/drawing/2014/main" id="{28B27CC2-F556-3943-AA81-C5DD0DA3B8AC}"/>
                </a:ext>
              </a:extLst>
            </p:cNvPr>
            <p:cNvSpPr/>
            <p:nvPr/>
          </p:nvSpPr>
          <p:spPr>
            <a:xfrm rot="5400000">
              <a:off x="9885485" y="4100101"/>
              <a:ext cx="86424" cy="193554"/>
            </a:xfrm>
            <a:custGeom>
              <a:avLst/>
              <a:gdLst>
                <a:gd name="connsiteX0" fmla="*/ 7502 w 86424"/>
                <a:gd name="connsiteY0" fmla="*/ 193555 h 193554"/>
                <a:gd name="connsiteX1" fmla="*/ 78925 w 86424"/>
                <a:gd name="connsiteY1" fmla="*/ 193555 h 193554"/>
                <a:gd name="connsiteX2" fmla="*/ 86425 w 86424"/>
                <a:gd name="connsiteY2" fmla="*/ 186055 h 193554"/>
                <a:gd name="connsiteX3" fmla="*/ 86425 w 86424"/>
                <a:gd name="connsiteY3" fmla="*/ 7500 h 193554"/>
                <a:gd name="connsiteX4" fmla="*/ 78925 w 86424"/>
                <a:gd name="connsiteY4" fmla="*/ 0 h 193554"/>
                <a:gd name="connsiteX5" fmla="*/ 71960 w 86424"/>
                <a:gd name="connsiteY5" fmla="*/ 4715 h 193554"/>
                <a:gd name="connsiteX6" fmla="*/ 538 w 86424"/>
                <a:gd name="connsiteY6" fmla="*/ 183271 h 193554"/>
                <a:gd name="connsiteX7" fmla="*/ 4717 w 86424"/>
                <a:gd name="connsiteY7" fmla="*/ 193019 h 193554"/>
                <a:gd name="connsiteX8" fmla="*/ 7502 w 86424"/>
                <a:gd name="connsiteY8" fmla="*/ 193555 h 193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424" h="193554">
                  <a:moveTo>
                    <a:pt x="7502" y="193555"/>
                  </a:moveTo>
                  <a:lnTo>
                    <a:pt x="78925" y="193555"/>
                  </a:lnTo>
                  <a:cubicBezTo>
                    <a:pt x="83066" y="193555"/>
                    <a:pt x="86425" y="190198"/>
                    <a:pt x="86425" y="186055"/>
                  </a:cubicBezTo>
                  <a:lnTo>
                    <a:pt x="86425" y="7500"/>
                  </a:lnTo>
                  <a:cubicBezTo>
                    <a:pt x="86425" y="3358"/>
                    <a:pt x="83066" y="0"/>
                    <a:pt x="78925" y="0"/>
                  </a:cubicBezTo>
                  <a:cubicBezTo>
                    <a:pt x="75857" y="0"/>
                    <a:pt x="73100" y="1867"/>
                    <a:pt x="71960" y="4715"/>
                  </a:cubicBezTo>
                  <a:lnTo>
                    <a:pt x="538" y="183271"/>
                  </a:lnTo>
                  <a:cubicBezTo>
                    <a:pt x="-1000" y="187115"/>
                    <a:pt x="871" y="191480"/>
                    <a:pt x="4717" y="193019"/>
                  </a:cubicBezTo>
                  <a:cubicBezTo>
                    <a:pt x="5602" y="193373"/>
                    <a:pt x="6548" y="193555"/>
                    <a:pt x="7502" y="193555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0" name="Полилиния 1029">
              <a:extLst>
                <a:ext uri="{FF2B5EF4-FFF2-40B4-BE49-F238E27FC236}">
                  <a16:creationId xmlns:a16="http://schemas.microsoft.com/office/drawing/2014/main" id="{72ED9A2A-5039-444E-A030-B9F1697BA894}"/>
                </a:ext>
              </a:extLst>
            </p:cNvPr>
            <p:cNvSpPr/>
            <p:nvPr/>
          </p:nvSpPr>
          <p:spPr>
            <a:xfrm rot="-5400000" flipV="1">
              <a:off x="9885485" y="4276525"/>
              <a:ext cx="86424" cy="193555"/>
            </a:xfrm>
            <a:custGeom>
              <a:avLst/>
              <a:gdLst>
                <a:gd name="connsiteX0" fmla="*/ 7502 w 86424"/>
                <a:gd name="connsiteY0" fmla="*/ 193555 h 193555"/>
                <a:gd name="connsiteX1" fmla="*/ 78924 w 86424"/>
                <a:gd name="connsiteY1" fmla="*/ 193555 h 193555"/>
                <a:gd name="connsiteX2" fmla="*/ 86424 w 86424"/>
                <a:gd name="connsiteY2" fmla="*/ 186055 h 193555"/>
                <a:gd name="connsiteX3" fmla="*/ 86424 w 86424"/>
                <a:gd name="connsiteY3" fmla="*/ 7500 h 193555"/>
                <a:gd name="connsiteX4" fmla="*/ 78924 w 86424"/>
                <a:gd name="connsiteY4" fmla="*/ 0 h 193555"/>
                <a:gd name="connsiteX5" fmla="*/ 71961 w 86424"/>
                <a:gd name="connsiteY5" fmla="*/ 4714 h 193555"/>
                <a:gd name="connsiteX6" fmla="*/ 538 w 86424"/>
                <a:gd name="connsiteY6" fmla="*/ 183270 h 193555"/>
                <a:gd name="connsiteX7" fmla="*/ 4716 w 86424"/>
                <a:gd name="connsiteY7" fmla="*/ 193018 h 193555"/>
                <a:gd name="connsiteX8" fmla="*/ 7502 w 86424"/>
                <a:gd name="connsiteY8" fmla="*/ 193555 h 19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424" h="193555">
                  <a:moveTo>
                    <a:pt x="7502" y="193555"/>
                  </a:moveTo>
                  <a:lnTo>
                    <a:pt x="78924" y="193555"/>
                  </a:lnTo>
                  <a:cubicBezTo>
                    <a:pt x="83066" y="193555"/>
                    <a:pt x="86424" y="190197"/>
                    <a:pt x="86424" y="186055"/>
                  </a:cubicBezTo>
                  <a:lnTo>
                    <a:pt x="86424" y="7500"/>
                  </a:lnTo>
                  <a:cubicBezTo>
                    <a:pt x="86424" y="3357"/>
                    <a:pt x="83066" y="0"/>
                    <a:pt x="78924" y="0"/>
                  </a:cubicBezTo>
                  <a:cubicBezTo>
                    <a:pt x="75857" y="0"/>
                    <a:pt x="73100" y="1867"/>
                    <a:pt x="71961" y="4714"/>
                  </a:cubicBezTo>
                  <a:lnTo>
                    <a:pt x="538" y="183270"/>
                  </a:lnTo>
                  <a:cubicBezTo>
                    <a:pt x="-1000" y="187116"/>
                    <a:pt x="871" y="191481"/>
                    <a:pt x="4716" y="193018"/>
                  </a:cubicBezTo>
                  <a:cubicBezTo>
                    <a:pt x="5602" y="193374"/>
                    <a:pt x="6548" y="193555"/>
                    <a:pt x="7502" y="19355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1" name="Скругленный прямоугольник 1030">
              <a:extLst>
                <a:ext uri="{FF2B5EF4-FFF2-40B4-BE49-F238E27FC236}">
                  <a16:creationId xmlns:a16="http://schemas.microsoft.com/office/drawing/2014/main" id="{C70DABF7-A315-EA4E-83C4-9793F1E89CD6}"/>
                </a:ext>
              </a:extLst>
            </p:cNvPr>
            <p:cNvSpPr/>
            <p:nvPr/>
          </p:nvSpPr>
          <p:spPr>
            <a:xfrm rot="5400000">
              <a:off x="9921920" y="4135091"/>
              <a:ext cx="30000" cy="30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32" name="Рисунок 228">
            <a:extLst>
              <a:ext uri="{FF2B5EF4-FFF2-40B4-BE49-F238E27FC236}">
                <a16:creationId xmlns:a16="http://schemas.microsoft.com/office/drawing/2014/main" id="{A832887E-7D29-B342-BA49-96765C0109CB}"/>
              </a:ext>
            </a:extLst>
          </p:cNvPr>
          <p:cNvGrpSpPr/>
          <p:nvPr/>
        </p:nvGrpSpPr>
        <p:grpSpPr>
          <a:xfrm>
            <a:off x="10489751" y="3788369"/>
            <a:ext cx="360000" cy="360000"/>
            <a:chOff x="10512053" y="4105091"/>
            <a:chExt cx="360000" cy="360000"/>
          </a:xfrm>
        </p:grpSpPr>
        <p:sp>
          <p:nvSpPr>
            <p:cNvPr id="1033" name="Полилиния 1032">
              <a:extLst>
                <a:ext uri="{FF2B5EF4-FFF2-40B4-BE49-F238E27FC236}">
                  <a16:creationId xmlns:a16="http://schemas.microsoft.com/office/drawing/2014/main" id="{E0A20095-FD2C-A342-B66E-9167A95B6824}"/>
                </a:ext>
              </a:extLst>
            </p:cNvPr>
            <p:cNvSpPr/>
            <p:nvPr/>
          </p:nvSpPr>
          <p:spPr>
            <a:xfrm>
              <a:off x="10512053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4" name="Полилиния 1033">
              <a:extLst>
                <a:ext uri="{FF2B5EF4-FFF2-40B4-BE49-F238E27FC236}">
                  <a16:creationId xmlns:a16="http://schemas.microsoft.com/office/drawing/2014/main" id="{9F9EA31B-4A6C-2047-9709-146013E0C28A}"/>
                </a:ext>
              </a:extLst>
            </p:cNvPr>
            <p:cNvSpPr/>
            <p:nvPr/>
          </p:nvSpPr>
          <p:spPr>
            <a:xfrm rot="8999999" flipV="1">
              <a:off x="10601193" y="4120090"/>
              <a:ext cx="89843" cy="224999"/>
            </a:xfrm>
            <a:custGeom>
              <a:avLst/>
              <a:gdLst>
                <a:gd name="connsiteX0" fmla="*/ 45859 w 89843"/>
                <a:gd name="connsiteY0" fmla="*/ 0 h 224999"/>
                <a:gd name="connsiteX1" fmla="*/ 45859 w 89843"/>
                <a:gd name="connsiteY1" fmla="*/ 225000 h 224999"/>
                <a:gd name="connsiteX2" fmla="*/ 45859 w 89843"/>
                <a:gd name="connsiteY2" fmla="*/ 0 h 22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843" h="224999">
                  <a:moveTo>
                    <a:pt x="45859" y="0"/>
                  </a:moveTo>
                  <a:cubicBezTo>
                    <a:pt x="-15286" y="102439"/>
                    <a:pt x="-15286" y="177439"/>
                    <a:pt x="45859" y="225000"/>
                  </a:cubicBezTo>
                  <a:cubicBezTo>
                    <a:pt x="104505" y="177439"/>
                    <a:pt x="104505" y="102439"/>
                    <a:pt x="45859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5" name="Полилиния 1034">
              <a:extLst>
                <a:ext uri="{FF2B5EF4-FFF2-40B4-BE49-F238E27FC236}">
                  <a16:creationId xmlns:a16="http://schemas.microsoft.com/office/drawing/2014/main" id="{88FE6AA8-0682-0F47-8C5D-E842C9AC94A6}"/>
                </a:ext>
              </a:extLst>
            </p:cNvPr>
            <p:cNvSpPr/>
            <p:nvPr/>
          </p:nvSpPr>
          <p:spPr>
            <a:xfrm rot="1800001">
              <a:off x="10691193" y="4120090"/>
              <a:ext cx="89843" cy="224999"/>
            </a:xfrm>
            <a:custGeom>
              <a:avLst/>
              <a:gdLst>
                <a:gd name="connsiteX0" fmla="*/ 45859 w 89843"/>
                <a:gd name="connsiteY0" fmla="*/ 0 h 224999"/>
                <a:gd name="connsiteX1" fmla="*/ 45859 w 89843"/>
                <a:gd name="connsiteY1" fmla="*/ 225000 h 224999"/>
                <a:gd name="connsiteX2" fmla="*/ 45859 w 89843"/>
                <a:gd name="connsiteY2" fmla="*/ 0 h 22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843" h="224999">
                  <a:moveTo>
                    <a:pt x="45859" y="0"/>
                  </a:moveTo>
                  <a:cubicBezTo>
                    <a:pt x="-15286" y="102439"/>
                    <a:pt x="-15286" y="177439"/>
                    <a:pt x="45859" y="225000"/>
                  </a:cubicBezTo>
                  <a:cubicBezTo>
                    <a:pt x="104505" y="177439"/>
                    <a:pt x="104505" y="102439"/>
                    <a:pt x="45859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6" name="Полилиния 1035">
              <a:extLst>
                <a:ext uri="{FF2B5EF4-FFF2-40B4-BE49-F238E27FC236}">
                  <a16:creationId xmlns:a16="http://schemas.microsoft.com/office/drawing/2014/main" id="{9EF822C5-EBB0-144F-B44F-038B3258ABF5}"/>
                </a:ext>
              </a:extLst>
            </p:cNvPr>
            <p:cNvSpPr/>
            <p:nvPr/>
          </p:nvSpPr>
          <p:spPr>
            <a:xfrm>
              <a:off x="10646193" y="4120091"/>
              <a:ext cx="89843" cy="225000"/>
            </a:xfrm>
            <a:custGeom>
              <a:avLst/>
              <a:gdLst>
                <a:gd name="connsiteX0" fmla="*/ 45859 w 89843"/>
                <a:gd name="connsiteY0" fmla="*/ 0 h 225000"/>
                <a:gd name="connsiteX1" fmla="*/ 45859 w 89843"/>
                <a:gd name="connsiteY1" fmla="*/ 225000 h 225000"/>
                <a:gd name="connsiteX2" fmla="*/ 45859 w 89843"/>
                <a:gd name="connsiteY2" fmla="*/ 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843" h="225000">
                  <a:moveTo>
                    <a:pt x="45859" y="0"/>
                  </a:moveTo>
                  <a:cubicBezTo>
                    <a:pt x="-15286" y="102439"/>
                    <a:pt x="-15286" y="177440"/>
                    <a:pt x="45859" y="225000"/>
                  </a:cubicBezTo>
                  <a:cubicBezTo>
                    <a:pt x="104505" y="177440"/>
                    <a:pt x="104505" y="102439"/>
                    <a:pt x="45859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7" name="Полилиния 1036">
              <a:extLst>
                <a:ext uri="{FF2B5EF4-FFF2-40B4-BE49-F238E27FC236}">
                  <a16:creationId xmlns:a16="http://schemas.microsoft.com/office/drawing/2014/main" id="{7186253B-5999-9B41-84FA-94D56600A72C}"/>
                </a:ext>
              </a:extLst>
            </p:cNvPr>
            <p:cNvSpPr/>
            <p:nvPr/>
          </p:nvSpPr>
          <p:spPr>
            <a:xfrm>
              <a:off x="10592209" y="4300091"/>
              <a:ext cx="199683" cy="150000"/>
            </a:xfrm>
            <a:custGeom>
              <a:avLst/>
              <a:gdLst>
                <a:gd name="connsiteX0" fmla="*/ 15004 w 199683"/>
                <a:gd name="connsiteY0" fmla="*/ 0 h 150000"/>
                <a:gd name="connsiteX1" fmla="*/ 184684 w 199683"/>
                <a:gd name="connsiteY1" fmla="*/ 0 h 150000"/>
                <a:gd name="connsiteX2" fmla="*/ 199684 w 199683"/>
                <a:gd name="connsiteY2" fmla="*/ 15000 h 150000"/>
                <a:gd name="connsiteX3" fmla="*/ 199051 w 199683"/>
                <a:gd name="connsiteY3" fmla="*/ 19310 h 150000"/>
                <a:gd name="connsiteX4" fmla="*/ 166258 w 199683"/>
                <a:gd name="connsiteY4" fmla="*/ 128620 h 150000"/>
                <a:gd name="connsiteX5" fmla="*/ 137522 w 199683"/>
                <a:gd name="connsiteY5" fmla="*/ 150000 h 150000"/>
                <a:gd name="connsiteX6" fmla="*/ 62164 w 199683"/>
                <a:gd name="connsiteY6" fmla="*/ 150000 h 150000"/>
                <a:gd name="connsiteX7" fmla="*/ 33430 w 199683"/>
                <a:gd name="connsiteY7" fmla="*/ 128620 h 150000"/>
                <a:gd name="connsiteX8" fmla="*/ 637 w 199683"/>
                <a:gd name="connsiteY8" fmla="*/ 19310 h 150000"/>
                <a:gd name="connsiteX9" fmla="*/ 10694 w 199683"/>
                <a:gd name="connsiteY9" fmla="*/ 633 h 150000"/>
                <a:gd name="connsiteX10" fmla="*/ 15004 w 199683"/>
                <a:gd name="connsiteY10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683" h="150000">
                  <a:moveTo>
                    <a:pt x="15004" y="0"/>
                  </a:moveTo>
                  <a:lnTo>
                    <a:pt x="184684" y="0"/>
                  </a:lnTo>
                  <a:cubicBezTo>
                    <a:pt x="192968" y="0"/>
                    <a:pt x="199684" y="6715"/>
                    <a:pt x="199684" y="15000"/>
                  </a:cubicBezTo>
                  <a:cubicBezTo>
                    <a:pt x="199684" y="16459"/>
                    <a:pt x="199471" y="17912"/>
                    <a:pt x="199051" y="19310"/>
                  </a:cubicBezTo>
                  <a:lnTo>
                    <a:pt x="166258" y="128620"/>
                  </a:lnTo>
                  <a:cubicBezTo>
                    <a:pt x="162451" y="141311"/>
                    <a:pt x="150772" y="150000"/>
                    <a:pt x="137522" y="150000"/>
                  </a:cubicBezTo>
                  <a:lnTo>
                    <a:pt x="62164" y="150000"/>
                  </a:lnTo>
                  <a:cubicBezTo>
                    <a:pt x="48916" y="150000"/>
                    <a:pt x="37237" y="141311"/>
                    <a:pt x="33430" y="128620"/>
                  </a:cubicBezTo>
                  <a:lnTo>
                    <a:pt x="637" y="19310"/>
                  </a:lnTo>
                  <a:cubicBezTo>
                    <a:pt x="-1744" y="11376"/>
                    <a:pt x="2759" y="3014"/>
                    <a:pt x="10694" y="633"/>
                  </a:cubicBezTo>
                  <a:cubicBezTo>
                    <a:pt x="12092" y="213"/>
                    <a:pt x="13544" y="0"/>
                    <a:pt x="15004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38" name="Рисунок 229">
            <a:extLst>
              <a:ext uri="{FF2B5EF4-FFF2-40B4-BE49-F238E27FC236}">
                <a16:creationId xmlns:a16="http://schemas.microsoft.com/office/drawing/2014/main" id="{451F1929-08E6-C449-8573-C459A39CC3EC}"/>
              </a:ext>
            </a:extLst>
          </p:cNvPr>
          <p:cNvGrpSpPr/>
          <p:nvPr/>
        </p:nvGrpSpPr>
        <p:grpSpPr>
          <a:xfrm>
            <a:off x="2183288" y="3788369"/>
            <a:ext cx="360000" cy="360000"/>
            <a:chOff x="2205590" y="4105091"/>
            <a:chExt cx="360000" cy="360000"/>
          </a:xfrm>
        </p:grpSpPr>
        <p:sp>
          <p:nvSpPr>
            <p:cNvPr id="1039" name="Полилиния 1038">
              <a:extLst>
                <a:ext uri="{FF2B5EF4-FFF2-40B4-BE49-F238E27FC236}">
                  <a16:creationId xmlns:a16="http://schemas.microsoft.com/office/drawing/2014/main" id="{F8BE3BD7-764A-4047-9873-B37D1603DEC6}"/>
                </a:ext>
              </a:extLst>
            </p:cNvPr>
            <p:cNvSpPr/>
            <p:nvPr/>
          </p:nvSpPr>
          <p:spPr>
            <a:xfrm>
              <a:off x="2205590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0" name="Полилиния 1039">
              <a:extLst>
                <a:ext uri="{FF2B5EF4-FFF2-40B4-BE49-F238E27FC236}">
                  <a16:creationId xmlns:a16="http://schemas.microsoft.com/office/drawing/2014/main" id="{BB4574F4-05EF-6441-B382-142AE4DC4414}"/>
                </a:ext>
              </a:extLst>
            </p:cNvPr>
            <p:cNvSpPr/>
            <p:nvPr/>
          </p:nvSpPr>
          <p:spPr>
            <a:xfrm>
              <a:off x="2355590" y="4285091"/>
              <a:ext cx="150000" cy="150000"/>
            </a:xfrm>
            <a:custGeom>
              <a:avLst/>
              <a:gdLst>
                <a:gd name="connsiteX0" fmla="*/ 150000 w 150000"/>
                <a:gd name="connsiteY0" fmla="*/ 75000 h 150000"/>
                <a:gd name="connsiteX1" fmla="*/ 75000 w 150000"/>
                <a:gd name="connsiteY1" fmla="*/ 150000 h 150000"/>
                <a:gd name="connsiteX2" fmla="*/ 0 w 150000"/>
                <a:gd name="connsiteY2" fmla="*/ 75000 h 150000"/>
                <a:gd name="connsiteX3" fmla="*/ 75000 w 150000"/>
                <a:gd name="connsiteY3" fmla="*/ 0 h 150000"/>
                <a:gd name="connsiteX4" fmla="*/ 150000 w 150000"/>
                <a:gd name="connsiteY4" fmla="*/ 7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000" h="150000">
                  <a:moveTo>
                    <a:pt x="150000" y="75000"/>
                  </a:moveTo>
                  <a:cubicBezTo>
                    <a:pt x="150000" y="116421"/>
                    <a:pt x="116421" y="150000"/>
                    <a:pt x="75000" y="150000"/>
                  </a:cubicBezTo>
                  <a:cubicBezTo>
                    <a:pt x="33579" y="150000"/>
                    <a:pt x="0" y="116421"/>
                    <a:pt x="0" y="75000"/>
                  </a:cubicBezTo>
                  <a:cubicBezTo>
                    <a:pt x="0" y="33579"/>
                    <a:pt x="33579" y="0"/>
                    <a:pt x="75000" y="0"/>
                  </a:cubicBezTo>
                  <a:cubicBezTo>
                    <a:pt x="116421" y="0"/>
                    <a:pt x="150000" y="33579"/>
                    <a:pt x="150000" y="7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1" name="Полилиния 1040">
              <a:extLst>
                <a:ext uri="{FF2B5EF4-FFF2-40B4-BE49-F238E27FC236}">
                  <a16:creationId xmlns:a16="http://schemas.microsoft.com/office/drawing/2014/main" id="{B3CD95E5-95ED-EF4F-B051-6AACA6961A79}"/>
                </a:ext>
              </a:extLst>
            </p:cNvPr>
            <p:cNvSpPr/>
            <p:nvPr/>
          </p:nvSpPr>
          <p:spPr>
            <a:xfrm>
              <a:off x="2265590" y="4285091"/>
              <a:ext cx="150000" cy="150000"/>
            </a:xfrm>
            <a:custGeom>
              <a:avLst/>
              <a:gdLst>
                <a:gd name="connsiteX0" fmla="*/ 150000 w 150000"/>
                <a:gd name="connsiteY0" fmla="*/ 75000 h 150000"/>
                <a:gd name="connsiteX1" fmla="*/ 75000 w 150000"/>
                <a:gd name="connsiteY1" fmla="*/ 150000 h 150000"/>
                <a:gd name="connsiteX2" fmla="*/ 0 w 150000"/>
                <a:gd name="connsiteY2" fmla="*/ 75000 h 150000"/>
                <a:gd name="connsiteX3" fmla="*/ 75000 w 150000"/>
                <a:gd name="connsiteY3" fmla="*/ 0 h 150000"/>
                <a:gd name="connsiteX4" fmla="*/ 150000 w 150000"/>
                <a:gd name="connsiteY4" fmla="*/ 7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000" h="150000">
                  <a:moveTo>
                    <a:pt x="150000" y="75000"/>
                  </a:moveTo>
                  <a:cubicBezTo>
                    <a:pt x="150000" y="116421"/>
                    <a:pt x="116421" y="150000"/>
                    <a:pt x="75000" y="150000"/>
                  </a:cubicBezTo>
                  <a:cubicBezTo>
                    <a:pt x="33579" y="150000"/>
                    <a:pt x="0" y="116421"/>
                    <a:pt x="0" y="75000"/>
                  </a:cubicBezTo>
                  <a:cubicBezTo>
                    <a:pt x="0" y="33579"/>
                    <a:pt x="33579" y="0"/>
                    <a:pt x="75000" y="0"/>
                  </a:cubicBezTo>
                  <a:cubicBezTo>
                    <a:pt x="116421" y="0"/>
                    <a:pt x="150000" y="33579"/>
                    <a:pt x="150000" y="7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2" name="Полилиния 1041">
              <a:extLst>
                <a:ext uri="{FF2B5EF4-FFF2-40B4-BE49-F238E27FC236}">
                  <a16:creationId xmlns:a16="http://schemas.microsoft.com/office/drawing/2014/main" id="{D4E0CC73-F886-F346-814C-9A2683E98AE5}"/>
                </a:ext>
              </a:extLst>
            </p:cNvPr>
            <p:cNvSpPr/>
            <p:nvPr/>
          </p:nvSpPr>
          <p:spPr>
            <a:xfrm>
              <a:off x="2235590" y="4195091"/>
              <a:ext cx="150000" cy="150000"/>
            </a:xfrm>
            <a:custGeom>
              <a:avLst/>
              <a:gdLst>
                <a:gd name="connsiteX0" fmla="*/ 150000 w 150000"/>
                <a:gd name="connsiteY0" fmla="*/ 75000 h 150000"/>
                <a:gd name="connsiteX1" fmla="*/ 75000 w 150000"/>
                <a:gd name="connsiteY1" fmla="*/ 150000 h 150000"/>
                <a:gd name="connsiteX2" fmla="*/ 0 w 150000"/>
                <a:gd name="connsiteY2" fmla="*/ 75000 h 150000"/>
                <a:gd name="connsiteX3" fmla="*/ 75000 w 150000"/>
                <a:gd name="connsiteY3" fmla="*/ 0 h 150000"/>
                <a:gd name="connsiteX4" fmla="*/ 150000 w 150000"/>
                <a:gd name="connsiteY4" fmla="*/ 7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000" h="150000">
                  <a:moveTo>
                    <a:pt x="150000" y="75000"/>
                  </a:moveTo>
                  <a:cubicBezTo>
                    <a:pt x="150000" y="116421"/>
                    <a:pt x="116421" y="150000"/>
                    <a:pt x="75000" y="150000"/>
                  </a:cubicBezTo>
                  <a:cubicBezTo>
                    <a:pt x="33579" y="150000"/>
                    <a:pt x="0" y="116421"/>
                    <a:pt x="0" y="75000"/>
                  </a:cubicBezTo>
                  <a:cubicBezTo>
                    <a:pt x="0" y="33579"/>
                    <a:pt x="33579" y="0"/>
                    <a:pt x="75000" y="0"/>
                  </a:cubicBezTo>
                  <a:cubicBezTo>
                    <a:pt x="116421" y="0"/>
                    <a:pt x="150000" y="33579"/>
                    <a:pt x="150000" y="7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3" name="Полилиния 1042">
              <a:extLst>
                <a:ext uri="{FF2B5EF4-FFF2-40B4-BE49-F238E27FC236}">
                  <a16:creationId xmlns:a16="http://schemas.microsoft.com/office/drawing/2014/main" id="{6364A300-D3E2-3047-B037-455679470F1D}"/>
                </a:ext>
              </a:extLst>
            </p:cNvPr>
            <p:cNvSpPr/>
            <p:nvPr/>
          </p:nvSpPr>
          <p:spPr>
            <a:xfrm>
              <a:off x="2385590" y="4195091"/>
              <a:ext cx="150000" cy="150000"/>
            </a:xfrm>
            <a:custGeom>
              <a:avLst/>
              <a:gdLst>
                <a:gd name="connsiteX0" fmla="*/ 150000 w 150000"/>
                <a:gd name="connsiteY0" fmla="*/ 75000 h 150000"/>
                <a:gd name="connsiteX1" fmla="*/ 75000 w 150000"/>
                <a:gd name="connsiteY1" fmla="*/ 150000 h 150000"/>
                <a:gd name="connsiteX2" fmla="*/ 0 w 150000"/>
                <a:gd name="connsiteY2" fmla="*/ 75000 h 150000"/>
                <a:gd name="connsiteX3" fmla="*/ 75000 w 150000"/>
                <a:gd name="connsiteY3" fmla="*/ 0 h 150000"/>
                <a:gd name="connsiteX4" fmla="*/ 150000 w 150000"/>
                <a:gd name="connsiteY4" fmla="*/ 7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000" h="150000">
                  <a:moveTo>
                    <a:pt x="150000" y="75000"/>
                  </a:moveTo>
                  <a:cubicBezTo>
                    <a:pt x="150000" y="116421"/>
                    <a:pt x="116421" y="150000"/>
                    <a:pt x="75000" y="150000"/>
                  </a:cubicBezTo>
                  <a:cubicBezTo>
                    <a:pt x="33579" y="150000"/>
                    <a:pt x="0" y="116421"/>
                    <a:pt x="0" y="75000"/>
                  </a:cubicBezTo>
                  <a:cubicBezTo>
                    <a:pt x="0" y="33579"/>
                    <a:pt x="33579" y="0"/>
                    <a:pt x="75000" y="0"/>
                  </a:cubicBezTo>
                  <a:cubicBezTo>
                    <a:pt x="116421" y="0"/>
                    <a:pt x="150000" y="33579"/>
                    <a:pt x="150000" y="7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4" name="Полилиния 1043">
              <a:extLst>
                <a:ext uri="{FF2B5EF4-FFF2-40B4-BE49-F238E27FC236}">
                  <a16:creationId xmlns:a16="http://schemas.microsoft.com/office/drawing/2014/main" id="{150A96C6-43F6-E649-BD93-7334B2C0C05E}"/>
                </a:ext>
              </a:extLst>
            </p:cNvPr>
            <p:cNvSpPr/>
            <p:nvPr/>
          </p:nvSpPr>
          <p:spPr>
            <a:xfrm>
              <a:off x="2310590" y="4135091"/>
              <a:ext cx="150000" cy="150000"/>
            </a:xfrm>
            <a:custGeom>
              <a:avLst/>
              <a:gdLst>
                <a:gd name="connsiteX0" fmla="*/ 150000 w 150000"/>
                <a:gd name="connsiteY0" fmla="*/ 75000 h 150000"/>
                <a:gd name="connsiteX1" fmla="*/ 75000 w 150000"/>
                <a:gd name="connsiteY1" fmla="*/ 150000 h 150000"/>
                <a:gd name="connsiteX2" fmla="*/ 0 w 150000"/>
                <a:gd name="connsiteY2" fmla="*/ 75000 h 150000"/>
                <a:gd name="connsiteX3" fmla="*/ 75000 w 150000"/>
                <a:gd name="connsiteY3" fmla="*/ 0 h 150000"/>
                <a:gd name="connsiteX4" fmla="*/ 150000 w 150000"/>
                <a:gd name="connsiteY4" fmla="*/ 7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000" h="150000">
                  <a:moveTo>
                    <a:pt x="150000" y="75000"/>
                  </a:moveTo>
                  <a:cubicBezTo>
                    <a:pt x="150000" y="116421"/>
                    <a:pt x="116421" y="150000"/>
                    <a:pt x="75000" y="150000"/>
                  </a:cubicBezTo>
                  <a:cubicBezTo>
                    <a:pt x="33579" y="150000"/>
                    <a:pt x="0" y="116421"/>
                    <a:pt x="0" y="75000"/>
                  </a:cubicBezTo>
                  <a:cubicBezTo>
                    <a:pt x="0" y="33579"/>
                    <a:pt x="33579" y="0"/>
                    <a:pt x="75000" y="0"/>
                  </a:cubicBezTo>
                  <a:cubicBezTo>
                    <a:pt x="116421" y="0"/>
                    <a:pt x="150000" y="33579"/>
                    <a:pt x="150000" y="7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45" name="Рисунок 230">
            <a:extLst>
              <a:ext uri="{FF2B5EF4-FFF2-40B4-BE49-F238E27FC236}">
                <a16:creationId xmlns:a16="http://schemas.microsoft.com/office/drawing/2014/main" id="{8BA1FAA4-268F-564B-AF02-BB9881B5E246}"/>
              </a:ext>
            </a:extLst>
          </p:cNvPr>
          <p:cNvGrpSpPr/>
          <p:nvPr/>
        </p:nvGrpSpPr>
        <p:grpSpPr>
          <a:xfrm>
            <a:off x="3693554" y="3788369"/>
            <a:ext cx="360000" cy="360000"/>
            <a:chOff x="3715856" y="4105091"/>
            <a:chExt cx="360000" cy="360000"/>
          </a:xfrm>
        </p:grpSpPr>
        <p:sp>
          <p:nvSpPr>
            <p:cNvPr id="1046" name="Полилиния 1045">
              <a:extLst>
                <a:ext uri="{FF2B5EF4-FFF2-40B4-BE49-F238E27FC236}">
                  <a16:creationId xmlns:a16="http://schemas.microsoft.com/office/drawing/2014/main" id="{4B327E34-5C74-8A4B-B9EF-9DD092A22DC2}"/>
                </a:ext>
              </a:extLst>
            </p:cNvPr>
            <p:cNvSpPr/>
            <p:nvPr/>
          </p:nvSpPr>
          <p:spPr>
            <a:xfrm>
              <a:off x="3715856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7" name="Полилиния 1046">
              <a:extLst>
                <a:ext uri="{FF2B5EF4-FFF2-40B4-BE49-F238E27FC236}">
                  <a16:creationId xmlns:a16="http://schemas.microsoft.com/office/drawing/2014/main" id="{413EA3BD-F878-C14C-8606-319BB3EFA605}"/>
                </a:ext>
              </a:extLst>
            </p:cNvPr>
            <p:cNvSpPr/>
            <p:nvPr/>
          </p:nvSpPr>
          <p:spPr>
            <a:xfrm>
              <a:off x="3737084" y="4177692"/>
              <a:ext cx="172020" cy="275091"/>
            </a:xfrm>
            <a:custGeom>
              <a:avLst/>
              <a:gdLst>
                <a:gd name="connsiteX0" fmla="*/ 0 w 172020"/>
                <a:gd name="connsiteY0" fmla="*/ 0 h 275091"/>
                <a:gd name="connsiteX1" fmla="*/ 158823 w 172020"/>
                <a:gd name="connsiteY1" fmla="*/ 275091 h 275091"/>
                <a:gd name="connsiteX2" fmla="*/ 0 w 172020"/>
                <a:gd name="connsiteY2" fmla="*/ 0 h 275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020" h="275091">
                  <a:moveTo>
                    <a:pt x="0" y="0"/>
                  </a:moveTo>
                  <a:cubicBezTo>
                    <a:pt x="146445" y="82443"/>
                    <a:pt x="199386" y="174140"/>
                    <a:pt x="158823" y="275091"/>
                  </a:cubicBezTo>
                  <a:cubicBezTo>
                    <a:pt x="54147" y="257994"/>
                    <a:pt x="1206" y="166296"/>
                    <a:pt x="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8" name="Полилиния 1047">
              <a:extLst>
                <a:ext uri="{FF2B5EF4-FFF2-40B4-BE49-F238E27FC236}">
                  <a16:creationId xmlns:a16="http://schemas.microsoft.com/office/drawing/2014/main" id="{B17840D0-34A2-3849-A9A0-13B7199EE037}"/>
                </a:ext>
              </a:extLst>
            </p:cNvPr>
            <p:cNvSpPr/>
            <p:nvPr/>
          </p:nvSpPr>
          <p:spPr>
            <a:xfrm>
              <a:off x="3882760" y="4177692"/>
              <a:ext cx="172020" cy="275091"/>
            </a:xfrm>
            <a:custGeom>
              <a:avLst/>
              <a:gdLst>
                <a:gd name="connsiteX0" fmla="*/ 172021 w 172020"/>
                <a:gd name="connsiteY0" fmla="*/ 0 h 275091"/>
                <a:gd name="connsiteX1" fmla="*/ 13198 w 172020"/>
                <a:gd name="connsiteY1" fmla="*/ 275091 h 275091"/>
                <a:gd name="connsiteX2" fmla="*/ 172021 w 172020"/>
                <a:gd name="connsiteY2" fmla="*/ 0 h 275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020" h="275091">
                  <a:moveTo>
                    <a:pt x="172021" y="0"/>
                  </a:moveTo>
                  <a:cubicBezTo>
                    <a:pt x="25576" y="82443"/>
                    <a:pt x="-27366" y="174140"/>
                    <a:pt x="13198" y="275091"/>
                  </a:cubicBezTo>
                  <a:cubicBezTo>
                    <a:pt x="117874" y="257994"/>
                    <a:pt x="170815" y="166296"/>
                    <a:pt x="172021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9" name="Полилиния 1048">
              <a:extLst>
                <a:ext uri="{FF2B5EF4-FFF2-40B4-BE49-F238E27FC236}">
                  <a16:creationId xmlns:a16="http://schemas.microsoft.com/office/drawing/2014/main" id="{74CBFF94-5193-7A46-8301-11AFCAFE09D8}"/>
                </a:ext>
              </a:extLst>
            </p:cNvPr>
            <p:cNvSpPr/>
            <p:nvPr/>
          </p:nvSpPr>
          <p:spPr>
            <a:xfrm>
              <a:off x="3831655" y="4135091"/>
              <a:ext cx="125781" cy="317647"/>
            </a:xfrm>
            <a:custGeom>
              <a:avLst/>
              <a:gdLst>
                <a:gd name="connsiteX0" fmla="*/ 64203 w 125781"/>
                <a:gd name="connsiteY0" fmla="*/ 0 h 317647"/>
                <a:gd name="connsiteX1" fmla="*/ 64203 w 125781"/>
                <a:gd name="connsiteY1" fmla="*/ 317648 h 317647"/>
                <a:gd name="connsiteX2" fmla="*/ 64203 w 125781"/>
                <a:gd name="connsiteY2" fmla="*/ 0 h 31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781" h="317647">
                  <a:moveTo>
                    <a:pt x="64203" y="0"/>
                  </a:moveTo>
                  <a:cubicBezTo>
                    <a:pt x="-21401" y="144620"/>
                    <a:pt x="-21401" y="250502"/>
                    <a:pt x="64203" y="317648"/>
                  </a:cubicBezTo>
                  <a:cubicBezTo>
                    <a:pt x="146307" y="250502"/>
                    <a:pt x="146307" y="144620"/>
                    <a:pt x="64203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50" name="Рисунок 231">
            <a:extLst>
              <a:ext uri="{FF2B5EF4-FFF2-40B4-BE49-F238E27FC236}">
                <a16:creationId xmlns:a16="http://schemas.microsoft.com/office/drawing/2014/main" id="{D5E393BB-3EC5-4248-B2CE-45A1A6313AED}"/>
              </a:ext>
            </a:extLst>
          </p:cNvPr>
          <p:cNvGrpSpPr/>
          <p:nvPr/>
        </p:nvGrpSpPr>
        <p:grpSpPr>
          <a:xfrm>
            <a:off x="6714086" y="3788369"/>
            <a:ext cx="360000" cy="360000"/>
            <a:chOff x="6736388" y="4105091"/>
            <a:chExt cx="360000" cy="360000"/>
          </a:xfrm>
        </p:grpSpPr>
        <p:sp>
          <p:nvSpPr>
            <p:cNvPr id="1051" name="Полилиния 1050">
              <a:extLst>
                <a:ext uri="{FF2B5EF4-FFF2-40B4-BE49-F238E27FC236}">
                  <a16:creationId xmlns:a16="http://schemas.microsoft.com/office/drawing/2014/main" id="{C676B191-0999-954A-A381-498E09EABD9A}"/>
                </a:ext>
              </a:extLst>
            </p:cNvPr>
            <p:cNvSpPr/>
            <p:nvPr/>
          </p:nvSpPr>
          <p:spPr>
            <a:xfrm>
              <a:off x="6736388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2" name="Скругленный прямоугольник 1051">
              <a:extLst>
                <a:ext uri="{FF2B5EF4-FFF2-40B4-BE49-F238E27FC236}">
                  <a16:creationId xmlns:a16="http://schemas.microsoft.com/office/drawing/2014/main" id="{B35CBD51-6A13-D94D-A91A-A0039D263FC1}"/>
                </a:ext>
              </a:extLst>
            </p:cNvPr>
            <p:cNvSpPr/>
            <p:nvPr/>
          </p:nvSpPr>
          <p:spPr>
            <a:xfrm>
              <a:off x="6766388" y="4180091"/>
              <a:ext cx="30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3" name="Скругленный прямоугольник 1052">
              <a:extLst>
                <a:ext uri="{FF2B5EF4-FFF2-40B4-BE49-F238E27FC236}">
                  <a16:creationId xmlns:a16="http://schemas.microsoft.com/office/drawing/2014/main" id="{E48B24E7-280F-A245-95EE-7983A4C1F6EB}"/>
                </a:ext>
              </a:extLst>
            </p:cNvPr>
            <p:cNvSpPr/>
            <p:nvPr/>
          </p:nvSpPr>
          <p:spPr>
            <a:xfrm>
              <a:off x="6766388" y="4360091"/>
              <a:ext cx="30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4" name="Скругленный прямоугольник 1053">
              <a:extLst>
                <a:ext uri="{FF2B5EF4-FFF2-40B4-BE49-F238E27FC236}">
                  <a16:creationId xmlns:a16="http://schemas.microsoft.com/office/drawing/2014/main" id="{CB8AB3C2-353B-B949-8467-3C276B790AD2}"/>
                </a:ext>
              </a:extLst>
            </p:cNvPr>
            <p:cNvSpPr/>
            <p:nvPr/>
          </p:nvSpPr>
          <p:spPr>
            <a:xfrm>
              <a:off x="6766388" y="4240091"/>
              <a:ext cx="75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5" name="Скругленный прямоугольник 1054">
              <a:extLst>
                <a:ext uri="{FF2B5EF4-FFF2-40B4-BE49-F238E27FC236}">
                  <a16:creationId xmlns:a16="http://schemas.microsoft.com/office/drawing/2014/main" id="{8DE4D62B-29B2-EF4D-8BFD-5EA10783E2AD}"/>
                </a:ext>
              </a:extLst>
            </p:cNvPr>
            <p:cNvSpPr/>
            <p:nvPr/>
          </p:nvSpPr>
          <p:spPr>
            <a:xfrm>
              <a:off x="6976388" y="4300091"/>
              <a:ext cx="9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6" name="Скругленный прямоугольник 1055">
              <a:extLst>
                <a:ext uri="{FF2B5EF4-FFF2-40B4-BE49-F238E27FC236}">
                  <a16:creationId xmlns:a16="http://schemas.microsoft.com/office/drawing/2014/main" id="{45049C44-A19B-C245-982F-D0BF82D93BB3}"/>
                </a:ext>
              </a:extLst>
            </p:cNvPr>
            <p:cNvSpPr/>
            <p:nvPr/>
          </p:nvSpPr>
          <p:spPr>
            <a:xfrm>
              <a:off x="6871388" y="4240091"/>
              <a:ext cx="195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7" name="Скругленный прямоугольник 1056">
              <a:extLst>
                <a:ext uri="{FF2B5EF4-FFF2-40B4-BE49-F238E27FC236}">
                  <a16:creationId xmlns:a16="http://schemas.microsoft.com/office/drawing/2014/main" id="{F26BE3E1-007D-9347-87DD-E77A8D99F0CC}"/>
                </a:ext>
              </a:extLst>
            </p:cNvPr>
            <p:cNvSpPr/>
            <p:nvPr/>
          </p:nvSpPr>
          <p:spPr>
            <a:xfrm>
              <a:off x="6766388" y="4300091"/>
              <a:ext cx="18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58" name="Рисунок 232">
            <a:extLst>
              <a:ext uri="{FF2B5EF4-FFF2-40B4-BE49-F238E27FC236}">
                <a16:creationId xmlns:a16="http://schemas.microsoft.com/office/drawing/2014/main" id="{4E69B234-112D-BF45-BC98-9CF8C805B2A9}"/>
              </a:ext>
            </a:extLst>
          </p:cNvPr>
          <p:cNvGrpSpPr/>
          <p:nvPr/>
        </p:nvGrpSpPr>
        <p:grpSpPr>
          <a:xfrm>
            <a:off x="5958953" y="3788369"/>
            <a:ext cx="360000" cy="360000"/>
            <a:chOff x="5981255" y="4105091"/>
            <a:chExt cx="360000" cy="360000"/>
          </a:xfrm>
        </p:grpSpPr>
        <p:sp>
          <p:nvSpPr>
            <p:cNvPr id="1059" name="Полилиния 1058">
              <a:extLst>
                <a:ext uri="{FF2B5EF4-FFF2-40B4-BE49-F238E27FC236}">
                  <a16:creationId xmlns:a16="http://schemas.microsoft.com/office/drawing/2014/main" id="{0D7CA015-8E9A-7245-9A5E-52A099953BC9}"/>
                </a:ext>
              </a:extLst>
            </p:cNvPr>
            <p:cNvSpPr/>
            <p:nvPr/>
          </p:nvSpPr>
          <p:spPr>
            <a:xfrm>
              <a:off x="5981255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0" name="Полилиния 1059">
              <a:extLst>
                <a:ext uri="{FF2B5EF4-FFF2-40B4-BE49-F238E27FC236}">
                  <a16:creationId xmlns:a16="http://schemas.microsoft.com/office/drawing/2014/main" id="{BB238EEE-923C-474B-9B72-9DB869202453}"/>
                </a:ext>
              </a:extLst>
            </p:cNvPr>
            <p:cNvSpPr/>
            <p:nvPr/>
          </p:nvSpPr>
          <p:spPr>
            <a:xfrm>
              <a:off x="6011255" y="4165091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61" name="Рисунок 233">
            <a:extLst>
              <a:ext uri="{FF2B5EF4-FFF2-40B4-BE49-F238E27FC236}">
                <a16:creationId xmlns:a16="http://schemas.microsoft.com/office/drawing/2014/main" id="{379E95B5-62B4-CD4C-926F-EF181652D7CA}"/>
              </a:ext>
            </a:extLst>
          </p:cNvPr>
          <p:cNvGrpSpPr/>
          <p:nvPr/>
        </p:nvGrpSpPr>
        <p:grpSpPr>
          <a:xfrm>
            <a:off x="7469219" y="3788369"/>
            <a:ext cx="360000" cy="360000"/>
            <a:chOff x="7491521" y="4105091"/>
            <a:chExt cx="360000" cy="360000"/>
          </a:xfrm>
        </p:grpSpPr>
        <p:sp>
          <p:nvSpPr>
            <p:cNvPr id="1062" name="Полилиния 1061">
              <a:extLst>
                <a:ext uri="{FF2B5EF4-FFF2-40B4-BE49-F238E27FC236}">
                  <a16:creationId xmlns:a16="http://schemas.microsoft.com/office/drawing/2014/main" id="{6A00B7A7-883A-4D45-9F26-3B16B4348F5B}"/>
                </a:ext>
              </a:extLst>
            </p:cNvPr>
            <p:cNvSpPr/>
            <p:nvPr/>
          </p:nvSpPr>
          <p:spPr>
            <a:xfrm>
              <a:off x="7491521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3" name="Полилиния 1062">
              <a:extLst>
                <a:ext uri="{FF2B5EF4-FFF2-40B4-BE49-F238E27FC236}">
                  <a16:creationId xmlns:a16="http://schemas.microsoft.com/office/drawing/2014/main" id="{155CF035-205B-104C-A0BE-8243D4CD582F}"/>
                </a:ext>
              </a:extLst>
            </p:cNvPr>
            <p:cNvSpPr/>
            <p:nvPr/>
          </p:nvSpPr>
          <p:spPr>
            <a:xfrm>
              <a:off x="7521521" y="4165091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4" name="Полилиния 1063">
              <a:extLst>
                <a:ext uri="{FF2B5EF4-FFF2-40B4-BE49-F238E27FC236}">
                  <a16:creationId xmlns:a16="http://schemas.microsoft.com/office/drawing/2014/main" id="{2D5A7711-08D3-ED4B-9C91-0998E85269F0}"/>
                </a:ext>
              </a:extLst>
            </p:cNvPr>
            <p:cNvSpPr/>
            <p:nvPr/>
          </p:nvSpPr>
          <p:spPr>
            <a:xfrm>
              <a:off x="7611521" y="4270091"/>
              <a:ext cx="115000" cy="86249"/>
            </a:xfrm>
            <a:custGeom>
              <a:avLst/>
              <a:gdLst>
                <a:gd name="connsiteX0" fmla="*/ 43125 w 115000"/>
                <a:gd name="connsiteY0" fmla="*/ 86250 h 86249"/>
                <a:gd name="connsiteX1" fmla="*/ 33063 w 115000"/>
                <a:gd name="connsiteY1" fmla="*/ 81937 h 86249"/>
                <a:gd name="connsiteX2" fmla="*/ 4312 w 115000"/>
                <a:gd name="connsiteY2" fmla="*/ 53187 h 86249"/>
                <a:gd name="connsiteX3" fmla="*/ 4312 w 115000"/>
                <a:gd name="connsiteY3" fmla="*/ 33063 h 86249"/>
                <a:gd name="connsiteX4" fmla="*/ 24438 w 115000"/>
                <a:gd name="connsiteY4" fmla="*/ 33063 h 86249"/>
                <a:gd name="connsiteX5" fmla="*/ 43125 w 115000"/>
                <a:gd name="connsiteY5" fmla="*/ 51750 h 86249"/>
                <a:gd name="connsiteX6" fmla="*/ 90562 w 115000"/>
                <a:gd name="connsiteY6" fmla="*/ 4312 h 86249"/>
                <a:gd name="connsiteX7" fmla="*/ 110688 w 115000"/>
                <a:gd name="connsiteY7" fmla="*/ 4312 h 86249"/>
                <a:gd name="connsiteX8" fmla="*/ 110688 w 115000"/>
                <a:gd name="connsiteY8" fmla="*/ 24438 h 86249"/>
                <a:gd name="connsiteX9" fmla="*/ 53187 w 115000"/>
                <a:gd name="connsiteY9" fmla="*/ 81937 h 86249"/>
                <a:gd name="connsiteX10" fmla="*/ 43125 w 115000"/>
                <a:gd name="connsiteY10" fmla="*/ 86250 h 86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000" h="86249">
                  <a:moveTo>
                    <a:pt x="43125" y="86250"/>
                  </a:moveTo>
                  <a:cubicBezTo>
                    <a:pt x="39531" y="86250"/>
                    <a:pt x="35937" y="84813"/>
                    <a:pt x="33063" y="81937"/>
                  </a:cubicBezTo>
                  <a:lnTo>
                    <a:pt x="4312" y="53187"/>
                  </a:lnTo>
                  <a:cubicBezTo>
                    <a:pt x="-1437" y="47437"/>
                    <a:pt x="-1437" y="38812"/>
                    <a:pt x="4312" y="33063"/>
                  </a:cubicBezTo>
                  <a:cubicBezTo>
                    <a:pt x="10062" y="27312"/>
                    <a:pt x="19406" y="27312"/>
                    <a:pt x="24438" y="33063"/>
                  </a:cubicBezTo>
                  <a:lnTo>
                    <a:pt x="43125" y="51750"/>
                  </a:lnTo>
                  <a:lnTo>
                    <a:pt x="90562" y="4312"/>
                  </a:lnTo>
                  <a:cubicBezTo>
                    <a:pt x="96312" y="-1437"/>
                    <a:pt x="104937" y="-1437"/>
                    <a:pt x="110688" y="4312"/>
                  </a:cubicBezTo>
                  <a:cubicBezTo>
                    <a:pt x="116437" y="10062"/>
                    <a:pt x="116437" y="18687"/>
                    <a:pt x="110688" y="24438"/>
                  </a:cubicBezTo>
                  <a:lnTo>
                    <a:pt x="53187" y="81937"/>
                  </a:lnTo>
                  <a:cubicBezTo>
                    <a:pt x="50313" y="84813"/>
                    <a:pt x="46719" y="86250"/>
                    <a:pt x="43125" y="8625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65" name="Рисунок 234">
            <a:extLst>
              <a:ext uri="{FF2B5EF4-FFF2-40B4-BE49-F238E27FC236}">
                <a16:creationId xmlns:a16="http://schemas.microsoft.com/office/drawing/2014/main" id="{006B2F97-3338-1341-AE83-AB9EA6E7C259}"/>
              </a:ext>
            </a:extLst>
          </p:cNvPr>
          <p:cNvGrpSpPr/>
          <p:nvPr/>
        </p:nvGrpSpPr>
        <p:grpSpPr>
          <a:xfrm>
            <a:off x="4448687" y="3788369"/>
            <a:ext cx="360000" cy="360000"/>
            <a:chOff x="4470989" y="4105091"/>
            <a:chExt cx="360000" cy="360000"/>
          </a:xfrm>
        </p:grpSpPr>
        <p:sp>
          <p:nvSpPr>
            <p:cNvPr id="1066" name="Полилиния 1065">
              <a:extLst>
                <a:ext uri="{FF2B5EF4-FFF2-40B4-BE49-F238E27FC236}">
                  <a16:creationId xmlns:a16="http://schemas.microsoft.com/office/drawing/2014/main" id="{E7D224A4-7489-2D4F-B65E-489E47DF3E65}"/>
                </a:ext>
              </a:extLst>
            </p:cNvPr>
            <p:cNvSpPr/>
            <p:nvPr/>
          </p:nvSpPr>
          <p:spPr>
            <a:xfrm>
              <a:off x="4470989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7" name="Полилиния 1066">
              <a:extLst>
                <a:ext uri="{FF2B5EF4-FFF2-40B4-BE49-F238E27FC236}">
                  <a16:creationId xmlns:a16="http://schemas.microsoft.com/office/drawing/2014/main" id="{DDB53AA3-7A3D-534E-9A26-85F2973E877B}"/>
                </a:ext>
              </a:extLst>
            </p:cNvPr>
            <p:cNvSpPr/>
            <p:nvPr/>
          </p:nvSpPr>
          <p:spPr>
            <a:xfrm>
              <a:off x="4500989" y="4165091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8" name="Полилиния 1067">
              <a:extLst>
                <a:ext uri="{FF2B5EF4-FFF2-40B4-BE49-F238E27FC236}">
                  <a16:creationId xmlns:a16="http://schemas.microsoft.com/office/drawing/2014/main" id="{34975DBB-B82C-2145-B071-9568DBAFEAF4}"/>
                </a:ext>
              </a:extLst>
            </p:cNvPr>
            <p:cNvSpPr/>
            <p:nvPr/>
          </p:nvSpPr>
          <p:spPr>
            <a:xfrm>
              <a:off x="4575989" y="4255091"/>
              <a:ext cx="150000" cy="105000"/>
            </a:xfrm>
            <a:custGeom>
              <a:avLst/>
              <a:gdLst>
                <a:gd name="connsiteX0" fmla="*/ 24549 w 150000"/>
                <a:gd name="connsiteY0" fmla="*/ 96948 h 105000"/>
                <a:gd name="connsiteX1" fmla="*/ 0 w 150000"/>
                <a:gd name="connsiteY1" fmla="*/ 52500 h 105000"/>
                <a:gd name="connsiteX2" fmla="*/ 52500 w 150000"/>
                <a:gd name="connsiteY2" fmla="*/ 0 h 105000"/>
                <a:gd name="connsiteX3" fmla="*/ 104469 w 150000"/>
                <a:gd name="connsiteY3" fmla="*/ 45000 h 105000"/>
                <a:gd name="connsiteX4" fmla="*/ 120000 w 150000"/>
                <a:gd name="connsiteY4" fmla="*/ 45000 h 105000"/>
                <a:gd name="connsiteX5" fmla="*/ 150000 w 150000"/>
                <a:gd name="connsiteY5" fmla="*/ 75000 h 105000"/>
                <a:gd name="connsiteX6" fmla="*/ 120000 w 150000"/>
                <a:gd name="connsiteY6" fmla="*/ 105000 h 105000"/>
                <a:gd name="connsiteX7" fmla="*/ 45000 w 150000"/>
                <a:gd name="connsiteY7" fmla="*/ 105000 h 105000"/>
                <a:gd name="connsiteX8" fmla="*/ 24549 w 150000"/>
                <a:gd name="connsiteY8" fmla="*/ 96948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000" h="105000">
                  <a:moveTo>
                    <a:pt x="24549" y="96948"/>
                  </a:moveTo>
                  <a:cubicBezTo>
                    <a:pt x="9799" y="87654"/>
                    <a:pt x="0" y="71222"/>
                    <a:pt x="0" y="52500"/>
                  </a:cubicBezTo>
                  <a:cubicBezTo>
                    <a:pt x="0" y="23505"/>
                    <a:pt x="23505" y="0"/>
                    <a:pt x="52500" y="0"/>
                  </a:cubicBezTo>
                  <a:cubicBezTo>
                    <a:pt x="78948" y="0"/>
                    <a:pt x="100829" y="19558"/>
                    <a:pt x="104469" y="45000"/>
                  </a:cubicBezTo>
                  <a:lnTo>
                    <a:pt x="120000" y="45000"/>
                  </a:lnTo>
                  <a:cubicBezTo>
                    <a:pt x="136569" y="45000"/>
                    <a:pt x="150000" y="58431"/>
                    <a:pt x="150000" y="75000"/>
                  </a:cubicBezTo>
                  <a:cubicBezTo>
                    <a:pt x="150000" y="91569"/>
                    <a:pt x="136569" y="105000"/>
                    <a:pt x="120000" y="105000"/>
                  </a:cubicBezTo>
                  <a:lnTo>
                    <a:pt x="45000" y="105000"/>
                  </a:lnTo>
                  <a:cubicBezTo>
                    <a:pt x="37097" y="105000"/>
                    <a:pt x="29907" y="101945"/>
                    <a:pt x="24549" y="96948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69" name="Рисунок 235">
            <a:extLst>
              <a:ext uri="{FF2B5EF4-FFF2-40B4-BE49-F238E27FC236}">
                <a16:creationId xmlns:a16="http://schemas.microsoft.com/office/drawing/2014/main" id="{00BB8C40-9E86-8143-BB01-1C0ECCA64886}"/>
              </a:ext>
            </a:extLst>
          </p:cNvPr>
          <p:cNvGrpSpPr/>
          <p:nvPr/>
        </p:nvGrpSpPr>
        <p:grpSpPr>
          <a:xfrm>
            <a:off x="8224352" y="3788369"/>
            <a:ext cx="360000" cy="360000"/>
            <a:chOff x="8246654" y="4105091"/>
            <a:chExt cx="360000" cy="360000"/>
          </a:xfrm>
        </p:grpSpPr>
        <p:sp>
          <p:nvSpPr>
            <p:cNvPr id="1070" name="Полилиния 1069">
              <a:extLst>
                <a:ext uri="{FF2B5EF4-FFF2-40B4-BE49-F238E27FC236}">
                  <a16:creationId xmlns:a16="http://schemas.microsoft.com/office/drawing/2014/main" id="{CC6A758E-6A29-E749-A0B1-F44FFE6943E0}"/>
                </a:ext>
              </a:extLst>
            </p:cNvPr>
            <p:cNvSpPr/>
            <p:nvPr/>
          </p:nvSpPr>
          <p:spPr>
            <a:xfrm>
              <a:off x="8246654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1" name="Полилиния 1070">
              <a:extLst>
                <a:ext uri="{FF2B5EF4-FFF2-40B4-BE49-F238E27FC236}">
                  <a16:creationId xmlns:a16="http://schemas.microsoft.com/office/drawing/2014/main" id="{E762F5B9-7334-5641-951C-82638983CCBB}"/>
                </a:ext>
              </a:extLst>
            </p:cNvPr>
            <p:cNvSpPr/>
            <p:nvPr/>
          </p:nvSpPr>
          <p:spPr>
            <a:xfrm>
              <a:off x="8276654" y="4165091"/>
              <a:ext cx="300000" cy="255000"/>
            </a:xfrm>
            <a:custGeom>
              <a:avLst/>
              <a:gdLst>
                <a:gd name="connsiteX0" fmla="*/ 0 w 300000"/>
                <a:gd name="connsiteY0" fmla="*/ 137250 h 255000"/>
                <a:gd name="connsiteX1" fmla="*/ 0 w 300000"/>
                <a:gd name="connsiteY1" fmla="*/ 22500 h 255000"/>
                <a:gd name="connsiteX2" fmla="*/ 22500 w 300000"/>
                <a:gd name="connsiteY2" fmla="*/ 0 h 255000"/>
                <a:gd name="connsiteX3" fmla="*/ 65680 w 300000"/>
                <a:gd name="connsiteY3" fmla="*/ 0 h 255000"/>
                <a:gd name="connsiteX4" fmla="*/ 81590 w 300000"/>
                <a:gd name="connsiteY4" fmla="*/ 6590 h 255000"/>
                <a:gd name="connsiteX5" fmla="*/ 120000 w 300000"/>
                <a:gd name="connsiteY5" fmla="*/ 45000 h 255000"/>
                <a:gd name="connsiteX6" fmla="*/ 277500 w 300000"/>
                <a:gd name="connsiteY6" fmla="*/ 45000 h 255000"/>
                <a:gd name="connsiteX7" fmla="*/ 300000 w 300000"/>
                <a:gd name="connsiteY7" fmla="*/ 67500 h 255000"/>
                <a:gd name="connsiteX8" fmla="*/ 300000 w 300000"/>
                <a:gd name="connsiteY8" fmla="*/ 232500 h 255000"/>
                <a:gd name="connsiteX9" fmla="*/ 277500 w 300000"/>
                <a:gd name="connsiteY9" fmla="*/ 255000 h 255000"/>
                <a:gd name="connsiteX10" fmla="*/ 134754 w 300000"/>
                <a:gd name="connsiteY10" fmla="*/ 255000 h 255000"/>
                <a:gd name="connsiteX11" fmla="*/ 135000 w 300000"/>
                <a:gd name="connsiteY11" fmla="*/ 247500 h 255000"/>
                <a:gd name="connsiteX12" fmla="*/ 22500 w 300000"/>
                <a:gd name="connsiteY12" fmla="*/ 135000 h 255000"/>
                <a:gd name="connsiteX13" fmla="*/ 0 w 300000"/>
                <a:gd name="connsiteY13" fmla="*/ 13725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000" h="255000">
                  <a:moveTo>
                    <a:pt x="0" y="137250"/>
                  </a:move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lnTo>
                    <a:pt x="65680" y="0"/>
                  </a:lnTo>
                  <a:cubicBezTo>
                    <a:pt x="71648" y="0"/>
                    <a:pt x="77371" y="2371"/>
                    <a:pt x="81590" y="6590"/>
                  </a:cubicBezTo>
                  <a:lnTo>
                    <a:pt x="120000" y="45000"/>
                  </a:lnTo>
                  <a:lnTo>
                    <a:pt x="277500" y="45000"/>
                  </a:lnTo>
                  <a:cubicBezTo>
                    <a:pt x="289926" y="45000"/>
                    <a:pt x="300000" y="55074"/>
                    <a:pt x="300000" y="67500"/>
                  </a:cubicBezTo>
                  <a:lnTo>
                    <a:pt x="300000" y="232500"/>
                  </a:lnTo>
                  <a:cubicBezTo>
                    <a:pt x="300000" y="244926"/>
                    <a:pt x="289926" y="255000"/>
                    <a:pt x="277500" y="255000"/>
                  </a:cubicBezTo>
                  <a:lnTo>
                    <a:pt x="134754" y="255000"/>
                  </a:lnTo>
                  <a:cubicBezTo>
                    <a:pt x="134918" y="252521"/>
                    <a:pt x="135000" y="250020"/>
                    <a:pt x="135000" y="247500"/>
                  </a:cubicBezTo>
                  <a:cubicBezTo>
                    <a:pt x="135000" y="185369"/>
                    <a:pt x="84632" y="135000"/>
                    <a:pt x="22500" y="135000"/>
                  </a:cubicBezTo>
                  <a:cubicBezTo>
                    <a:pt x="14795" y="135000"/>
                    <a:pt x="7270" y="135774"/>
                    <a:pt x="0" y="13725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2" name="Полилиния 1071">
              <a:extLst>
                <a:ext uri="{FF2B5EF4-FFF2-40B4-BE49-F238E27FC236}">
                  <a16:creationId xmlns:a16="http://schemas.microsoft.com/office/drawing/2014/main" id="{C8BB5B6F-6368-EC4F-8C05-66524056AF89}"/>
                </a:ext>
              </a:extLst>
            </p:cNvPr>
            <p:cNvSpPr/>
            <p:nvPr/>
          </p:nvSpPr>
          <p:spPr>
            <a:xfrm>
              <a:off x="8299154" y="4345091"/>
              <a:ext cx="30000" cy="105000"/>
            </a:xfrm>
            <a:custGeom>
              <a:avLst/>
              <a:gdLst>
                <a:gd name="connsiteX0" fmla="*/ 15000 w 30000"/>
                <a:gd name="connsiteY0" fmla="*/ 0 h 105000"/>
                <a:gd name="connsiteX1" fmla="*/ 30000 w 30000"/>
                <a:gd name="connsiteY1" fmla="*/ 15000 h 105000"/>
                <a:gd name="connsiteX2" fmla="*/ 30000 w 30000"/>
                <a:gd name="connsiteY2" fmla="*/ 45000 h 105000"/>
                <a:gd name="connsiteX3" fmla="*/ 15000 w 30000"/>
                <a:gd name="connsiteY3" fmla="*/ 60000 h 105000"/>
                <a:gd name="connsiteX4" fmla="*/ 0 w 30000"/>
                <a:gd name="connsiteY4" fmla="*/ 45000 h 105000"/>
                <a:gd name="connsiteX5" fmla="*/ 0 w 30000"/>
                <a:gd name="connsiteY5" fmla="*/ 15000 h 105000"/>
                <a:gd name="connsiteX6" fmla="*/ 15000 w 30000"/>
                <a:gd name="connsiteY6" fmla="*/ 0 h 105000"/>
                <a:gd name="connsiteX7" fmla="*/ 15000 w 30000"/>
                <a:gd name="connsiteY7" fmla="*/ 105000 h 105000"/>
                <a:gd name="connsiteX8" fmla="*/ 0 w 30000"/>
                <a:gd name="connsiteY8" fmla="*/ 90000 h 105000"/>
                <a:gd name="connsiteX9" fmla="*/ 15000 w 30000"/>
                <a:gd name="connsiteY9" fmla="*/ 75000 h 105000"/>
                <a:gd name="connsiteX10" fmla="*/ 30000 w 30000"/>
                <a:gd name="connsiteY10" fmla="*/ 90000 h 105000"/>
                <a:gd name="connsiteX11" fmla="*/ 15000 w 30000"/>
                <a:gd name="connsiteY11" fmla="*/ 10500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" h="105000">
                  <a:moveTo>
                    <a:pt x="15000" y="0"/>
                  </a:moveTo>
                  <a:cubicBezTo>
                    <a:pt x="23284" y="0"/>
                    <a:pt x="30000" y="6716"/>
                    <a:pt x="30000" y="15000"/>
                  </a:cubicBezTo>
                  <a:lnTo>
                    <a:pt x="30000" y="45000"/>
                  </a:lnTo>
                  <a:cubicBezTo>
                    <a:pt x="30000" y="53284"/>
                    <a:pt x="23284" y="60000"/>
                    <a:pt x="15000" y="60000"/>
                  </a:cubicBezTo>
                  <a:cubicBezTo>
                    <a:pt x="6716" y="60000"/>
                    <a:pt x="0" y="53284"/>
                    <a:pt x="0" y="4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000" y="105000"/>
                  </a:moveTo>
                  <a:cubicBezTo>
                    <a:pt x="6716" y="105000"/>
                    <a:pt x="0" y="98284"/>
                    <a:pt x="0" y="90000"/>
                  </a:cubicBezTo>
                  <a:cubicBezTo>
                    <a:pt x="0" y="81716"/>
                    <a:pt x="6716" y="75000"/>
                    <a:pt x="15000" y="75000"/>
                  </a:cubicBezTo>
                  <a:cubicBezTo>
                    <a:pt x="23284" y="75000"/>
                    <a:pt x="30000" y="81716"/>
                    <a:pt x="30000" y="90000"/>
                  </a:cubicBezTo>
                  <a:cubicBezTo>
                    <a:pt x="30000" y="98284"/>
                    <a:pt x="23284" y="105000"/>
                    <a:pt x="15000" y="10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73" name="Рисунок 236">
            <a:extLst>
              <a:ext uri="{FF2B5EF4-FFF2-40B4-BE49-F238E27FC236}">
                <a16:creationId xmlns:a16="http://schemas.microsoft.com/office/drawing/2014/main" id="{45ED4DCA-8C19-0246-B8E7-F7DE17985388}"/>
              </a:ext>
            </a:extLst>
          </p:cNvPr>
          <p:cNvGrpSpPr/>
          <p:nvPr/>
        </p:nvGrpSpPr>
        <p:grpSpPr>
          <a:xfrm>
            <a:off x="5203820" y="3788369"/>
            <a:ext cx="360000" cy="360000"/>
            <a:chOff x="5226122" y="4105091"/>
            <a:chExt cx="360000" cy="360000"/>
          </a:xfrm>
        </p:grpSpPr>
        <p:sp>
          <p:nvSpPr>
            <p:cNvPr id="1074" name="Полилиния 1073">
              <a:extLst>
                <a:ext uri="{FF2B5EF4-FFF2-40B4-BE49-F238E27FC236}">
                  <a16:creationId xmlns:a16="http://schemas.microsoft.com/office/drawing/2014/main" id="{9D8CF7E6-6C66-4E48-BC63-67B006C92D9B}"/>
                </a:ext>
              </a:extLst>
            </p:cNvPr>
            <p:cNvSpPr/>
            <p:nvPr/>
          </p:nvSpPr>
          <p:spPr>
            <a:xfrm>
              <a:off x="5226122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5" name="Полилиния 1074">
              <a:extLst>
                <a:ext uri="{FF2B5EF4-FFF2-40B4-BE49-F238E27FC236}">
                  <a16:creationId xmlns:a16="http://schemas.microsoft.com/office/drawing/2014/main" id="{83025D0D-3C03-BB4E-91BC-7A5E65052485}"/>
                </a:ext>
              </a:extLst>
            </p:cNvPr>
            <p:cNvSpPr/>
            <p:nvPr/>
          </p:nvSpPr>
          <p:spPr>
            <a:xfrm>
              <a:off x="5256122" y="4165091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6" name="Полилиния 1075">
              <a:extLst>
                <a:ext uri="{FF2B5EF4-FFF2-40B4-BE49-F238E27FC236}">
                  <a16:creationId xmlns:a16="http://schemas.microsoft.com/office/drawing/2014/main" id="{D2332A1C-45D3-644C-B2E2-1418C72B75D5}"/>
                </a:ext>
              </a:extLst>
            </p:cNvPr>
            <p:cNvSpPr/>
            <p:nvPr/>
          </p:nvSpPr>
          <p:spPr>
            <a:xfrm>
              <a:off x="5340121" y="4262591"/>
              <a:ext cx="135000" cy="112500"/>
            </a:xfrm>
            <a:custGeom>
              <a:avLst/>
              <a:gdLst>
                <a:gd name="connsiteX0" fmla="*/ 101250 w 135000"/>
                <a:gd name="connsiteY0" fmla="*/ 0 h 112500"/>
                <a:gd name="connsiteX1" fmla="*/ 67500 w 135000"/>
                <a:gd name="connsiteY1" fmla="*/ 22500 h 112500"/>
                <a:gd name="connsiteX2" fmla="*/ 33750 w 135000"/>
                <a:gd name="connsiteY2" fmla="*/ 0 h 112500"/>
                <a:gd name="connsiteX3" fmla="*/ 0 w 135000"/>
                <a:gd name="connsiteY3" fmla="*/ 37878 h 112500"/>
                <a:gd name="connsiteX4" fmla="*/ 67500 w 135000"/>
                <a:gd name="connsiteY4" fmla="*/ 112500 h 112500"/>
                <a:gd name="connsiteX5" fmla="*/ 135000 w 135000"/>
                <a:gd name="connsiteY5" fmla="*/ 39375 h 112500"/>
                <a:gd name="connsiteX6" fmla="*/ 101250 w 135000"/>
                <a:gd name="connsiteY6" fmla="*/ 0 h 11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000" h="112500">
                  <a:moveTo>
                    <a:pt x="101250" y="0"/>
                  </a:moveTo>
                  <a:cubicBezTo>
                    <a:pt x="89178" y="0"/>
                    <a:pt x="75062" y="13685"/>
                    <a:pt x="67500" y="22500"/>
                  </a:cubicBezTo>
                  <a:cubicBezTo>
                    <a:pt x="59938" y="13685"/>
                    <a:pt x="45821" y="0"/>
                    <a:pt x="33750" y="0"/>
                  </a:cubicBezTo>
                  <a:cubicBezTo>
                    <a:pt x="12383" y="0"/>
                    <a:pt x="0" y="16667"/>
                    <a:pt x="0" y="37878"/>
                  </a:cubicBezTo>
                  <a:cubicBezTo>
                    <a:pt x="0" y="61375"/>
                    <a:pt x="22500" y="86250"/>
                    <a:pt x="67500" y="112500"/>
                  </a:cubicBezTo>
                  <a:cubicBezTo>
                    <a:pt x="112500" y="86250"/>
                    <a:pt x="135000" y="61875"/>
                    <a:pt x="135000" y="39375"/>
                  </a:cubicBezTo>
                  <a:cubicBezTo>
                    <a:pt x="135000" y="18164"/>
                    <a:pt x="122618" y="0"/>
                    <a:pt x="10125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77" name="Рисунок 237">
            <a:extLst>
              <a:ext uri="{FF2B5EF4-FFF2-40B4-BE49-F238E27FC236}">
                <a16:creationId xmlns:a16="http://schemas.microsoft.com/office/drawing/2014/main" id="{674B9442-0DD8-1E4D-B99F-24AB3BD07117}"/>
              </a:ext>
            </a:extLst>
          </p:cNvPr>
          <p:cNvGrpSpPr/>
          <p:nvPr/>
        </p:nvGrpSpPr>
        <p:grpSpPr>
          <a:xfrm>
            <a:off x="2938421" y="3788369"/>
            <a:ext cx="360000" cy="360000"/>
            <a:chOff x="2960723" y="4105091"/>
            <a:chExt cx="360000" cy="360000"/>
          </a:xfrm>
        </p:grpSpPr>
        <p:sp>
          <p:nvSpPr>
            <p:cNvPr id="1078" name="Полилиния 1077">
              <a:extLst>
                <a:ext uri="{FF2B5EF4-FFF2-40B4-BE49-F238E27FC236}">
                  <a16:creationId xmlns:a16="http://schemas.microsoft.com/office/drawing/2014/main" id="{E26EDE35-F703-4542-99F8-B84DC3BEF037}"/>
                </a:ext>
              </a:extLst>
            </p:cNvPr>
            <p:cNvSpPr/>
            <p:nvPr/>
          </p:nvSpPr>
          <p:spPr>
            <a:xfrm>
              <a:off x="2960723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9" name="Полилиния 1078">
              <a:extLst>
                <a:ext uri="{FF2B5EF4-FFF2-40B4-BE49-F238E27FC236}">
                  <a16:creationId xmlns:a16="http://schemas.microsoft.com/office/drawing/2014/main" id="{D84F70B9-7E9B-AA4D-AFD8-A4D2C894EE5B}"/>
                </a:ext>
              </a:extLst>
            </p:cNvPr>
            <p:cNvSpPr/>
            <p:nvPr/>
          </p:nvSpPr>
          <p:spPr>
            <a:xfrm>
              <a:off x="2990723" y="4165091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0" name="Скругленный прямоугольник 1079">
              <a:extLst>
                <a:ext uri="{FF2B5EF4-FFF2-40B4-BE49-F238E27FC236}">
                  <a16:creationId xmlns:a16="http://schemas.microsoft.com/office/drawing/2014/main" id="{3CF5F98A-5CA7-5D40-9C84-E964D9705A14}"/>
                </a:ext>
              </a:extLst>
            </p:cNvPr>
            <p:cNvSpPr/>
            <p:nvPr/>
          </p:nvSpPr>
          <p:spPr>
            <a:xfrm>
              <a:off x="3095723" y="4300091"/>
              <a:ext cx="90000" cy="3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81" name="Рисунок 238">
            <a:extLst>
              <a:ext uri="{FF2B5EF4-FFF2-40B4-BE49-F238E27FC236}">
                <a16:creationId xmlns:a16="http://schemas.microsoft.com/office/drawing/2014/main" id="{66FE08B9-C703-B340-8E8F-388B9887C6B2}"/>
              </a:ext>
            </a:extLst>
          </p:cNvPr>
          <p:cNvGrpSpPr/>
          <p:nvPr/>
        </p:nvGrpSpPr>
        <p:grpSpPr>
          <a:xfrm>
            <a:off x="1428155" y="3788369"/>
            <a:ext cx="360000" cy="360000"/>
            <a:chOff x="1450457" y="4105091"/>
            <a:chExt cx="360000" cy="360000"/>
          </a:xfrm>
        </p:grpSpPr>
        <p:sp>
          <p:nvSpPr>
            <p:cNvPr id="1082" name="Полилиния 1081">
              <a:extLst>
                <a:ext uri="{FF2B5EF4-FFF2-40B4-BE49-F238E27FC236}">
                  <a16:creationId xmlns:a16="http://schemas.microsoft.com/office/drawing/2014/main" id="{18958699-2B45-3141-8AF7-0961AA94666A}"/>
                </a:ext>
              </a:extLst>
            </p:cNvPr>
            <p:cNvSpPr/>
            <p:nvPr/>
          </p:nvSpPr>
          <p:spPr>
            <a:xfrm>
              <a:off x="1450457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3" name="Полилиния 1082">
              <a:extLst>
                <a:ext uri="{FF2B5EF4-FFF2-40B4-BE49-F238E27FC236}">
                  <a16:creationId xmlns:a16="http://schemas.microsoft.com/office/drawing/2014/main" id="{D87FB5D8-14D8-EE4D-A200-3113D8001C41}"/>
                </a:ext>
              </a:extLst>
            </p:cNvPr>
            <p:cNvSpPr/>
            <p:nvPr/>
          </p:nvSpPr>
          <p:spPr>
            <a:xfrm>
              <a:off x="1480457" y="4165091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4" name="Полилиния 1083">
              <a:extLst>
                <a:ext uri="{FF2B5EF4-FFF2-40B4-BE49-F238E27FC236}">
                  <a16:creationId xmlns:a16="http://schemas.microsoft.com/office/drawing/2014/main" id="{914D5996-1668-7A4F-915F-B4000F8A1118}"/>
                </a:ext>
              </a:extLst>
            </p:cNvPr>
            <p:cNvSpPr/>
            <p:nvPr/>
          </p:nvSpPr>
          <p:spPr>
            <a:xfrm>
              <a:off x="1570457" y="4255091"/>
              <a:ext cx="120000" cy="120000"/>
            </a:xfrm>
            <a:custGeom>
              <a:avLst/>
              <a:gdLst>
                <a:gd name="connsiteX0" fmla="*/ 45000 w 120000"/>
                <a:gd name="connsiteY0" fmla="*/ 45000 h 120000"/>
                <a:gd name="connsiteX1" fmla="*/ 45000 w 120000"/>
                <a:gd name="connsiteY1" fmla="*/ 15000 h 120000"/>
                <a:gd name="connsiteX2" fmla="*/ 60000 w 120000"/>
                <a:gd name="connsiteY2" fmla="*/ 0 h 120000"/>
                <a:gd name="connsiteX3" fmla="*/ 75000 w 120000"/>
                <a:gd name="connsiteY3" fmla="*/ 15000 h 120000"/>
                <a:gd name="connsiteX4" fmla="*/ 75000 w 120000"/>
                <a:gd name="connsiteY4" fmla="*/ 45000 h 120000"/>
                <a:gd name="connsiteX5" fmla="*/ 105000 w 120000"/>
                <a:gd name="connsiteY5" fmla="*/ 45000 h 120000"/>
                <a:gd name="connsiteX6" fmla="*/ 120000 w 120000"/>
                <a:gd name="connsiteY6" fmla="*/ 60000 h 120000"/>
                <a:gd name="connsiteX7" fmla="*/ 105000 w 120000"/>
                <a:gd name="connsiteY7" fmla="*/ 75000 h 120000"/>
                <a:gd name="connsiteX8" fmla="*/ 75000 w 120000"/>
                <a:gd name="connsiteY8" fmla="*/ 75000 h 120000"/>
                <a:gd name="connsiteX9" fmla="*/ 75000 w 120000"/>
                <a:gd name="connsiteY9" fmla="*/ 105000 h 120000"/>
                <a:gd name="connsiteX10" fmla="*/ 60000 w 120000"/>
                <a:gd name="connsiteY10" fmla="*/ 120000 h 120000"/>
                <a:gd name="connsiteX11" fmla="*/ 45000 w 120000"/>
                <a:gd name="connsiteY11" fmla="*/ 105000 h 120000"/>
                <a:gd name="connsiteX12" fmla="*/ 45000 w 120000"/>
                <a:gd name="connsiteY12" fmla="*/ 75000 h 120000"/>
                <a:gd name="connsiteX13" fmla="*/ 15000 w 120000"/>
                <a:gd name="connsiteY13" fmla="*/ 75000 h 120000"/>
                <a:gd name="connsiteX14" fmla="*/ 0 w 120000"/>
                <a:gd name="connsiteY14" fmla="*/ 60000 h 120000"/>
                <a:gd name="connsiteX15" fmla="*/ 15000 w 120000"/>
                <a:gd name="connsiteY15" fmla="*/ 45000 h 120000"/>
                <a:gd name="connsiteX16" fmla="*/ 45000 w 120000"/>
                <a:gd name="connsiteY16" fmla="*/ 4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0000" h="120000">
                  <a:moveTo>
                    <a:pt x="45000" y="45000"/>
                  </a:moveTo>
                  <a:lnTo>
                    <a:pt x="45000" y="15000"/>
                  </a:lnTo>
                  <a:cubicBezTo>
                    <a:pt x="45000" y="6715"/>
                    <a:pt x="51715" y="0"/>
                    <a:pt x="60000" y="0"/>
                  </a:cubicBezTo>
                  <a:cubicBezTo>
                    <a:pt x="68285" y="0"/>
                    <a:pt x="75000" y="6715"/>
                    <a:pt x="75000" y="15000"/>
                  </a:cubicBezTo>
                  <a:lnTo>
                    <a:pt x="75000" y="45000"/>
                  </a:lnTo>
                  <a:lnTo>
                    <a:pt x="105000" y="45000"/>
                  </a:lnTo>
                  <a:cubicBezTo>
                    <a:pt x="113285" y="45000"/>
                    <a:pt x="120000" y="51715"/>
                    <a:pt x="120000" y="60000"/>
                  </a:cubicBezTo>
                  <a:cubicBezTo>
                    <a:pt x="120000" y="68285"/>
                    <a:pt x="113285" y="75000"/>
                    <a:pt x="105000" y="75000"/>
                  </a:cubicBezTo>
                  <a:lnTo>
                    <a:pt x="75000" y="75000"/>
                  </a:lnTo>
                  <a:lnTo>
                    <a:pt x="75000" y="105000"/>
                  </a:lnTo>
                  <a:cubicBezTo>
                    <a:pt x="75000" y="113284"/>
                    <a:pt x="68285" y="120000"/>
                    <a:pt x="60000" y="120000"/>
                  </a:cubicBezTo>
                  <a:cubicBezTo>
                    <a:pt x="51715" y="120000"/>
                    <a:pt x="45000" y="113284"/>
                    <a:pt x="45000" y="105000"/>
                  </a:cubicBezTo>
                  <a:lnTo>
                    <a:pt x="45000" y="75000"/>
                  </a:lnTo>
                  <a:lnTo>
                    <a:pt x="15000" y="75000"/>
                  </a:lnTo>
                  <a:cubicBezTo>
                    <a:pt x="6716" y="75000"/>
                    <a:pt x="0" y="68285"/>
                    <a:pt x="0" y="60000"/>
                  </a:cubicBezTo>
                  <a:cubicBezTo>
                    <a:pt x="0" y="51715"/>
                    <a:pt x="6716" y="45000"/>
                    <a:pt x="15000" y="45000"/>
                  </a:cubicBezTo>
                  <a:lnTo>
                    <a:pt x="45000" y="4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85" name="Рисунок 239">
            <a:extLst>
              <a:ext uri="{FF2B5EF4-FFF2-40B4-BE49-F238E27FC236}">
                <a16:creationId xmlns:a16="http://schemas.microsoft.com/office/drawing/2014/main" id="{DBD49DB7-FE6F-4C48-96A8-00B9E58E0B19}"/>
              </a:ext>
            </a:extLst>
          </p:cNvPr>
          <p:cNvGrpSpPr/>
          <p:nvPr/>
        </p:nvGrpSpPr>
        <p:grpSpPr>
          <a:xfrm>
            <a:off x="673022" y="3788369"/>
            <a:ext cx="360000" cy="360000"/>
            <a:chOff x="695324" y="4105091"/>
            <a:chExt cx="360000" cy="360000"/>
          </a:xfrm>
        </p:grpSpPr>
        <p:sp>
          <p:nvSpPr>
            <p:cNvPr id="1086" name="Полилиния 1085">
              <a:extLst>
                <a:ext uri="{FF2B5EF4-FFF2-40B4-BE49-F238E27FC236}">
                  <a16:creationId xmlns:a16="http://schemas.microsoft.com/office/drawing/2014/main" id="{35B8F497-1F5F-1246-9033-71F7CD2464A5}"/>
                </a:ext>
              </a:extLst>
            </p:cNvPr>
            <p:cNvSpPr/>
            <p:nvPr/>
          </p:nvSpPr>
          <p:spPr>
            <a:xfrm>
              <a:off x="695324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7" name="Полилиния 1086">
              <a:extLst>
                <a:ext uri="{FF2B5EF4-FFF2-40B4-BE49-F238E27FC236}">
                  <a16:creationId xmlns:a16="http://schemas.microsoft.com/office/drawing/2014/main" id="{0B48D32F-BC0E-E149-91DC-E52EBA12A37B}"/>
                </a:ext>
              </a:extLst>
            </p:cNvPr>
            <p:cNvSpPr/>
            <p:nvPr/>
          </p:nvSpPr>
          <p:spPr>
            <a:xfrm>
              <a:off x="725324" y="4165091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88" name="Рисунок 240">
            <a:extLst>
              <a:ext uri="{FF2B5EF4-FFF2-40B4-BE49-F238E27FC236}">
                <a16:creationId xmlns:a16="http://schemas.microsoft.com/office/drawing/2014/main" id="{58903912-96B0-3446-B948-A8E83DF7DD37}"/>
              </a:ext>
            </a:extLst>
          </p:cNvPr>
          <p:cNvGrpSpPr/>
          <p:nvPr/>
        </p:nvGrpSpPr>
        <p:grpSpPr>
          <a:xfrm>
            <a:off x="700757" y="5807534"/>
            <a:ext cx="360000" cy="360000"/>
            <a:chOff x="723059" y="6124256"/>
            <a:chExt cx="360000" cy="360000"/>
          </a:xfrm>
        </p:grpSpPr>
        <p:sp>
          <p:nvSpPr>
            <p:cNvPr id="1089" name="Полилиния 1088">
              <a:extLst>
                <a:ext uri="{FF2B5EF4-FFF2-40B4-BE49-F238E27FC236}">
                  <a16:creationId xmlns:a16="http://schemas.microsoft.com/office/drawing/2014/main" id="{043C30C0-7358-8F49-A726-6199DB6AF276}"/>
                </a:ext>
              </a:extLst>
            </p:cNvPr>
            <p:cNvSpPr/>
            <p:nvPr/>
          </p:nvSpPr>
          <p:spPr>
            <a:xfrm>
              <a:off x="72305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0" name="Полилиния 1089">
              <a:extLst>
                <a:ext uri="{FF2B5EF4-FFF2-40B4-BE49-F238E27FC236}">
                  <a16:creationId xmlns:a16="http://schemas.microsoft.com/office/drawing/2014/main" id="{4E2BEB3C-86BA-0642-B37F-99AED9CCBE0A}"/>
                </a:ext>
              </a:extLst>
            </p:cNvPr>
            <p:cNvSpPr/>
            <p:nvPr/>
          </p:nvSpPr>
          <p:spPr>
            <a:xfrm>
              <a:off x="753059" y="6184256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1" name="Полилиния 1090">
              <a:extLst>
                <a:ext uri="{FF2B5EF4-FFF2-40B4-BE49-F238E27FC236}">
                  <a16:creationId xmlns:a16="http://schemas.microsoft.com/office/drawing/2014/main" id="{E6F39BC7-21E0-864D-B80E-585E9DCF4C18}"/>
                </a:ext>
              </a:extLst>
            </p:cNvPr>
            <p:cNvSpPr/>
            <p:nvPr/>
          </p:nvSpPr>
          <p:spPr>
            <a:xfrm>
              <a:off x="835558" y="6266756"/>
              <a:ext cx="134999" cy="134999"/>
            </a:xfrm>
            <a:custGeom>
              <a:avLst/>
              <a:gdLst>
                <a:gd name="connsiteX0" fmla="*/ 67500 w 134999"/>
                <a:gd name="connsiteY0" fmla="*/ 115915 h 134999"/>
                <a:gd name="connsiteX1" fmla="*/ 34528 w 134999"/>
                <a:gd name="connsiteY1" fmla="*/ 134030 h 134999"/>
                <a:gd name="connsiteX2" fmla="*/ 23626 w 134999"/>
                <a:gd name="connsiteY2" fmla="*/ 130488 h 134999"/>
                <a:gd name="connsiteX3" fmla="*/ 22815 w 134999"/>
                <a:gd name="connsiteY3" fmla="*/ 125136 h 134999"/>
                <a:gd name="connsiteX4" fmla="*/ 29112 w 134999"/>
                <a:gd name="connsiteY4" fmla="*/ 86769 h 134999"/>
                <a:gd name="connsiteX5" fmla="*/ 2438 w 134999"/>
                <a:gd name="connsiteY5" fmla="*/ 59598 h 134999"/>
                <a:gd name="connsiteX6" fmla="*/ 2292 w 134999"/>
                <a:gd name="connsiteY6" fmla="*/ 47668 h 134999"/>
                <a:gd name="connsiteX7" fmla="*/ 6912 w 134999"/>
                <a:gd name="connsiteY7" fmla="*/ 45208 h 134999"/>
                <a:gd name="connsiteX8" fmla="*/ 43775 w 134999"/>
                <a:gd name="connsiteY8" fmla="*/ 39612 h 134999"/>
                <a:gd name="connsiteX9" fmla="*/ 60261 w 134999"/>
                <a:gd name="connsiteY9" fmla="*/ 4704 h 134999"/>
                <a:gd name="connsiteX10" fmla="*/ 71072 w 134999"/>
                <a:gd name="connsiteY10" fmla="*/ 873 h 134999"/>
                <a:gd name="connsiteX11" fmla="*/ 74739 w 134999"/>
                <a:gd name="connsiteY11" fmla="*/ 4704 h 134999"/>
                <a:gd name="connsiteX12" fmla="*/ 91224 w 134999"/>
                <a:gd name="connsiteY12" fmla="*/ 39612 h 134999"/>
                <a:gd name="connsiteX13" fmla="*/ 128087 w 134999"/>
                <a:gd name="connsiteY13" fmla="*/ 45208 h 134999"/>
                <a:gd name="connsiteX14" fmla="*/ 134915 w 134999"/>
                <a:gd name="connsiteY14" fmla="*/ 54771 h 134999"/>
                <a:gd name="connsiteX15" fmla="*/ 132561 w 134999"/>
                <a:gd name="connsiteY15" fmla="*/ 59598 h 134999"/>
                <a:gd name="connsiteX16" fmla="*/ 105887 w 134999"/>
                <a:gd name="connsiteY16" fmla="*/ 86769 h 134999"/>
                <a:gd name="connsiteX17" fmla="*/ 112184 w 134999"/>
                <a:gd name="connsiteY17" fmla="*/ 125136 h 134999"/>
                <a:gd name="connsiteX18" fmla="*/ 105593 w 134999"/>
                <a:gd name="connsiteY18" fmla="*/ 134877 h 134999"/>
                <a:gd name="connsiteX19" fmla="*/ 100472 w 134999"/>
                <a:gd name="connsiteY19" fmla="*/ 134030 h 134999"/>
                <a:gd name="connsiteX20" fmla="*/ 67500 w 134999"/>
                <a:gd name="connsiteY20" fmla="*/ 115915 h 13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4999" h="134999">
                  <a:moveTo>
                    <a:pt x="67500" y="115915"/>
                  </a:moveTo>
                  <a:lnTo>
                    <a:pt x="34528" y="134030"/>
                  </a:lnTo>
                  <a:cubicBezTo>
                    <a:pt x="30582" y="136197"/>
                    <a:pt x="25701" y="134611"/>
                    <a:pt x="23626" y="130488"/>
                  </a:cubicBezTo>
                  <a:cubicBezTo>
                    <a:pt x="22800" y="128845"/>
                    <a:pt x="22515" y="126964"/>
                    <a:pt x="22815" y="125136"/>
                  </a:cubicBezTo>
                  <a:lnTo>
                    <a:pt x="29112" y="86769"/>
                  </a:lnTo>
                  <a:lnTo>
                    <a:pt x="2438" y="59598"/>
                  </a:lnTo>
                  <a:cubicBezTo>
                    <a:pt x="-755" y="56346"/>
                    <a:pt x="-820" y="51006"/>
                    <a:pt x="2292" y="47668"/>
                  </a:cubicBezTo>
                  <a:cubicBezTo>
                    <a:pt x="3531" y="46341"/>
                    <a:pt x="5155" y="45475"/>
                    <a:pt x="6912" y="45208"/>
                  </a:cubicBezTo>
                  <a:lnTo>
                    <a:pt x="43775" y="39612"/>
                  </a:lnTo>
                  <a:lnTo>
                    <a:pt x="60261" y="4704"/>
                  </a:lnTo>
                  <a:cubicBezTo>
                    <a:pt x="62234" y="526"/>
                    <a:pt x="67074" y="-1189"/>
                    <a:pt x="71072" y="873"/>
                  </a:cubicBezTo>
                  <a:cubicBezTo>
                    <a:pt x="72665" y="1694"/>
                    <a:pt x="73953" y="3041"/>
                    <a:pt x="74739" y="4704"/>
                  </a:cubicBezTo>
                  <a:lnTo>
                    <a:pt x="91224" y="39612"/>
                  </a:lnTo>
                  <a:lnTo>
                    <a:pt x="128087" y="45208"/>
                  </a:lnTo>
                  <a:cubicBezTo>
                    <a:pt x="132500" y="45879"/>
                    <a:pt x="135557" y="50160"/>
                    <a:pt x="134915" y="54771"/>
                  </a:cubicBezTo>
                  <a:cubicBezTo>
                    <a:pt x="134660" y="56607"/>
                    <a:pt x="133833" y="58303"/>
                    <a:pt x="132561" y="59598"/>
                  </a:cubicBezTo>
                  <a:lnTo>
                    <a:pt x="105887" y="86769"/>
                  </a:lnTo>
                  <a:lnTo>
                    <a:pt x="112184" y="125136"/>
                  </a:lnTo>
                  <a:cubicBezTo>
                    <a:pt x="112938" y="129729"/>
                    <a:pt x="109986" y="134089"/>
                    <a:pt x="105593" y="134877"/>
                  </a:cubicBezTo>
                  <a:cubicBezTo>
                    <a:pt x="103842" y="135190"/>
                    <a:pt x="102042" y="134892"/>
                    <a:pt x="100472" y="134030"/>
                  </a:cubicBezTo>
                  <a:lnTo>
                    <a:pt x="67500" y="115915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92" name="Рисунок 241">
            <a:extLst>
              <a:ext uri="{FF2B5EF4-FFF2-40B4-BE49-F238E27FC236}">
                <a16:creationId xmlns:a16="http://schemas.microsoft.com/office/drawing/2014/main" id="{4E1E223D-F0D5-254B-BDF6-BCE05A73B27F}"/>
              </a:ext>
            </a:extLst>
          </p:cNvPr>
          <p:cNvGrpSpPr/>
          <p:nvPr/>
        </p:nvGrpSpPr>
        <p:grpSpPr>
          <a:xfrm>
            <a:off x="11244886" y="5807534"/>
            <a:ext cx="360000" cy="360000"/>
            <a:chOff x="11267188" y="6124256"/>
            <a:chExt cx="360000" cy="360000"/>
          </a:xfrm>
        </p:grpSpPr>
        <p:sp>
          <p:nvSpPr>
            <p:cNvPr id="1093" name="Полилиния 1092">
              <a:extLst>
                <a:ext uri="{FF2B5EF4-FFF2-40B4-BE49-F238E27FC236}">
                  <a16:creationId xmlns:a16="http://schemas.microsoft.com/office/drawing/2014/main" id="{E4256C48-CE23-5949-B3D6-B91D4079FAD2}"/>
                </a:ext>
              </a:extLst>
            </p:cNvPr>
            <p:cNvSpPr/>
            <p:nvPr/>
          </p:nvSpPr>
          <p:spPr>
            <a:xfrm>
              <a:off x="11267188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4" name="Скругленный прямоугольник 1093">
              <a:extLst>
                <a:ext uri="{FF2B5EF4-FFF2-40B4-BE49-F238E27FC236}">
                  <a16:creationId xmlns:a16="http://schemas.microsoft.com/office/drawing/2014/main" id="{F8A46490-0B1F-E645-AEB5-A592C4A5361B}"/>
                </a:ext>
              </a:extLst>
            </p:cNvPr>
            <p:cNvSpPr/>
            <p:nvPr/>
          </p:nvSpPr>
          <p:spPr>
            <a:xfrm rot="-8100000">
              <a:off x="11437490" y="6201452"/>
              <a:ext cx="30000" cy="21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5" name="Полилиния 1094">
              <a:extLst>
                <a:ext uri="{FF2B5EF4-FFF2-40B4-BE49-F238E27FC236}">
                  <a16:creationId xmlns:a16="http://schemas.microsoft.com/office/drawing/2014/main" id="{242C5359-D84C-7949-8F23-803E8579CC3A}"/>
                </a:ext>
              </a:extLst>
            </p:cNvPr>
            <p:cNvSpPr/>
            <p:nvPr/>
          </p:nvSpPr>
          <p:spPr>
            <a:xfrm>
              <a:off x="11357941" y="6243722"/>
              <a:ext cx="162582" cy="151976"/>
            </a:xfrm>
            <a:custGeom>
              <a:avLst/>
              <a:gdLst>
                <a:gd name="connsiteX0" fmla="*/ 147583 w 162582"/>
                <a:gd name="connsiteY0" fmla="*/ 121976 h 151976"/>
                <a:gd name="connsiteX1" fmla="*/ 162583 w 162582"/>
                <a:gd name="connsiteY1" fmla="*/ 136976 h 151976"/>
                <a:gd name="connsiteX2" fmla="*/ 147583 w 162582"/>
                <a:gd name="connsiteY2" fmla="*/ 151976 h 151976"/>
                <a:gd name="connsiteX3" fmla="*/ 20304 w 162582"/>
                <a:gd name="connsiteY3" fmla="*/ 151976 h 151976"/>
                <a:gd name="connsiteX4" fmla="*/ 5318 w 162582"/>
                <a:gd name="connsiteY4" fmla="*/ 137627 h 151976"/>
                <a:gd name="connsiteX5" fmla="*/ 14 w 162582"/>
                <a:gd name="connsiteY5" fmla="*/ 15652 h 151976"/>
                <a:gd name="connsiteX6" fmla="*/ 14349 w 162582"/>
                <a:gd name="connsiteY6" fmla="*/ 14 h 151976"/>
                <a:gd name="connsiteX7" fmla="*/ 29986 w 162582"/>
                <a:gd name="connsiteY7" fmla="*/ 14349 h 151976"/>
                <a:gd name="connsiteX8" fmla="*/ 34665 w 162582"/>
                <a:gd name="connsiteY8" fmla="*/ 121976 h 151976"/>
                <a:gd name="connsiteX9" fmla="*/ 147583 w 162582"/>
                <a:gd name="connsiteY9" fmla="*/ 121976 h 151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582" h="151976">
                  <a:moveTo>
                    <a:pt x="147583" y="121976"/>
                  </a:moveTo>
                  <a:cubicBezTo>
                    <a:pt x="155867" y="121976"/>
                    <a:pt x="162583" y="128692"/>
                    <a:pt x="162583" y="136976"/>
                  </a:cubicBezTo>
                  <a:cubicBezTo>
                    <a:pt x="162583" y="145261"/>
                    <a:pt x="155867" y="151976"/>
                    <a:pt x="147583" y="151976"/>
                  </a:cubicBezTo>
                  <a:lnTo>
                    <a:pt x="20304" y="151976"/>
                  </a:lnTo>
                  <a:cubicBezTo>
                    <a:pt x="12273" y="151976"/>
                    <a:pt x="5667" y="145651"/>
                    <a:pt x="5318" y="137627"/>
                  </a:cubicBezTo>
                  <a:lnTo>
                    <a:pt x="14" y="15652"/>
                  </a:lnTo>
                  <a:cubicBezTo>
                    <a:pt x="-345" y="7375"/>
                    <a:pt x="6072" y="374"/>
                    <a:pt x="14349" y="14"/>
                  </a:cubicBezTo>
                  <a:cubicBezTo>
                    <a:pt x="22625" y="-345"/>
                    <a:pt x="29626" y="6072"/>
                    <a:pt x="29986" y="14349"/>
                  </a:cubicBezTo>
                  <a:lnTo>
                    <a:pt x="34665" y="121976"/>
                  </a:lnTo>
                  <a:lnTo>
                    <a:pt x="147583" y="121976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96" name="Рисунок 142">
            <a:extLst>
              <a:ext uri="{FF2B5EF4-FFF2-40B4-BE49-F238E27FC236}">
                <a16:creationId xmlns:a16="http://schemas.microsoft.com/office/drawing/2014/main" id="{28C208D8-69B0-CB43-ABEF-CE3D0E71ECCB}"/>
              </a:ext>
            </a:extLst>
          </p:cNvPr>
          <p:cNvGrpSpPr/>
          <p:nvPr/>
        </p:nvGrpSpPr>
        <p:grpSpPr>
          <a:xfrm>
            <a:off x="7479513" y="2452555"/>
            <a:ext cx="339411" cy="339411"/>
            <a:chOff x="7501815" y="2769277"/>
            <a:chExt cx="339411" cy="339411"/>
          </a:xfrm>
        </p:grpSpPr>
        <p:sp>
          <p:nvSpPr>
            <p:cNvPr id="1097" name="Скругленный прямоугольник 1096">
              <a:extLst>
                <a:ext uri="{FF2B5EF4-FFF2-40B4-BE49-F238E27FC236}">
                  <a16:creationId xmlns:a16="http://schemas.microsoft.com/office/drawing/2014/main" id="{8DB8EDD8-7BBC-CB45-93FC-45F98F206D3C}"/>
                </a:ext>
              </a:extLst>
            </p:cNvPr>
            <p:cNvSpPr/>
            <p:nvPr/>
          </p:nvSpPr>
          <p:spPr>
            <a:xfrm rot="-2700000">
              <a:off x="7551521" y="2923982"/>
              <a:ext cx="240000" cy="3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8" name="Скругленный прямоугольник 1097">
              <a:extLst>
                <a:ext uri="{FF2B5EF4-FFF2-40B4-BE49-F238E27FC236}">
                  <a16:creationId xmlns:a16="http://schemas.microsoft.com/office/drawing/2014/main" id="{0A2492F6-34BD-1E48-895B-0D865B547685}"/>
                </a:ext>
              </a:extLst>
            </p:cNvPr>
            <p:cNvSpPr/>
            <p:nvPr/>
          </p:nvSpPr>
          <p:spPr>
            <a:xfrm rot="2700000">
              <a:off x="7551521" y="2923982"/>
              <a:ext cx="24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34" name="Номер слайда 1">
            <a:extLst>
              <a:ext uri="{FF2B5EF4-FFF2-40B4-BE49-F238E27FC236}">
                <a16:creationId xmlns:a16="http://schemas.microsoft.com/office/drawing/2014/main" id="{8E34A71F-B900-1242-B27F-809CDBD2F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38053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86AE312-6237-6E4D-A5DA-3F938E51E0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1181857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литые иконки</a:t>
            </a:r>
          </a:p>
        </p:txBody>
      </p:sp>
      <p:grpSp>
        <p:nvGrpSpPr>
          <p:cNvPr id="534" name="Рисунок 242">
            <a:extLst>
              <a:ext uri="{FF2B5EF4-FFF2-40B4-BE49-F238E27FC236}">
                <a16:creationId xmlns:a16="http://schemas.microsoft.com/office/drawing/2014/main" id="{03A2E5BA-C60F-0E4A-A881-CA441B1C15EC}"/>
              </a:ext>
            </a:extLst>
          </p:cNvPr>
          <p:cNvGrpSpPr/>
          <p:nvPr/>
        </p:nvGrpSpPr>
        <p:grpSpPr>
          <a:xfrm>
            <a:off x="11233735" y="5134477"/>
            <a:ext cx="360000" cy="360000"/>
            <a:chOff x="11267188" y="5451199"/>
            <a:chExt cx="360000" cy="360000"/>
          </a:xfrm>
        </p:grpSpPr>
        <p:sp>
          <p:nvSpPr>
            <p:cNvPr id="535" name="Полилиния 534">
              <a:extLst>
                <a:ext uri="{FF2B5EF4-FFF2-40B4-BE49-F238E27FC236}">
                  <a16:creationId xmlns:a16="http://schemas.microsoft.com/office/drawing/2014/main" id="{A110EA70-6438-0444-BD1C-438729088662}"/>
                </a:ext>
              </a:extLst>
            </p:cNvPr>
            <p:cNvSpPr/>
            <p:nvPr/>
          </p:nvSpPr>
          <p:spPr>
            <a:xfrm>
              <a:off x="11267188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6" name="Полилиния 535">
              <a:extLst>
                <a:ext uri="{FF2B5EF4-FFF2-40B4-BE49-F238E27FC236}">
                  <a16:creationId xmlns:a16="http://schemas.microsoft.com/office/drawing/2014/main" id="{8246D24B-B63A-FB46-8249-BB25268AD348}"/>
                </a:ext>
              </a:extLst>
            </p:cNvPr>
            <p:cNvSpPr/>
            <p:nvPr/>
          </p:nvSpPr>
          <p:spPr>
            <a:xfrm rot="8160001">
              <a:off x="11333449" y="5484197"/>
              <a:ext cx="87796" cy="148706"/>
            </a:xfrm>
            <a:custGeom>
              <a:avLst/>
              <a:gdLst>
                <a:gd name="connsiteX0" fmla="*/ 39285 w 87796"/>
                <a:gd name="connsiteY0" fmla="*/ 185 h 148706"/>
                <a:gd name="connsiteX1" fmla="*/ 49890 w 87796"/>
                <a:gd name="connsiteY1" fmla="*/ 0 h 148706"/>
                <a:gd name="connsiteX2" fmla="*/ 84708 w 87796"/>
                <a:gd name="connsiteY2" fmla="*/ 88342 h 148706"/>
                <a:gd name="connsiteX3" fmla="*/ 59811 w 87796"/>
                <a:gd name="connsiteY3" fmla="*/ 145630 h 148706"/>
                <a:gd name="connsiteX4" fmla="*/ 43615 w 87796"/>
                <a:gd name="connsiteY4" fmla="*/ 148707 h 148706"/>
                <a:gd name="connsiteX5" fmla="*/ 0 w 87796"/>
                <a:gd name="connsiteY5" fmla="*/ 105091 h 148706"/>
                <a:gd name="connsiteX6" fmla="*/ 3228 w 87796"/>
                <a:gd name="connsiteY6" fmla="*/ 88625 h 148706"/>
                <a:gd name="connsiteX7" fmla="*/ 39285 w 87796"/>
                <a:gd name="connsiteY7" fmla="*/ 185 h 148706"/>
                <a:gd name="connsiteX8" fmla="*/ 43615 w 87796"/>
                <a:gd name="connsiteY8" fmla="*/ 127278 h 148706"/>
                <a:gd name="connsiteX9" fmla="*/ 65243 w 87796"/>
                <a:gd name="connsiteY9" fmla="*/ 105849 h 148706"/>
                <a:gd name="connsiteX10" fmla="*/ 43615 w 87796"/>
                <a:gd name="connsiteY10" fmla="*/ 84421 h 148706"/>
                <a:gd name="connsiteX11" fmla="*/ 21988 w 87796"/>
                <a:gd name="connsiteY11" fmla="*/ 105849 h 148706"/>
                <a:gd name="connsiteX12" fmla="*/ 43615 w 87796"/>
                <a:gd name="connsiteY12" fmla="*/ 127278 h 14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96" h="148706">
                  <a:moveTo>
                    <a:pt x="39285" y="185"/>
                  </a:moveTo>
                  <a:lnTo>
                    <a:pt x="49890" y="0"/>
                  </a:lnTo>
                  <a:lnTo>
                    <a:pt x="84708" y="88342"/>
                  </a:lnTo>
                  <a:cubicBezTo>
                    <a:pt x="93653" y="111037"/>
                    <a:pt x="82506" y="136686"/>
                    <a:pt x="59811" y="145630"/>
                  </a:cubicBezTo>
                  <a:cubicBezTo>
                    <a:pt x="54653" y="147663"/>
                    <a:pt x="49159" y="148707"/>
                    <a:pt x="43615" y="148707"/>
                  </a:cubicBezTo>
                  <a:cubicBezTo>
                    <a:pt x="19527" y="148707"/>
                    <a:pt x="0" y="129180"/>
                    <a:pt x="0" y="105091"/>
                  </a:cubicBezTo>
                  <a:cubicBezTo>
                    <a:pt x="0" y="99445"/>
                    <a:pt x="1096" y="93853"/>
                    <a:pt x="3228" y="88625"/>
                  </a:cubicBezTo>
                  <a:lnTo>
                    <a:pt x="39285" y="185"/>
                  </a:lnTo>
                  <a:close/>
                  <a:moveTo>
                    <a:pt x="43615" y="127278"/>
                  </a:moveTo>
                  <a:cubicBezTo>
                    <a:pt x="55560" y="127278"/>
                    <a:pt x="65243" y="117684"/>
                    <a:pt x="65243" y="105849"/>
                  </a:cubicBezTo>
                  <a:cubicBezTo>
                    <a:pt x="65243" y="94015"/>
                    <a:pt x="55560" y="84421"/>
                    <a:pt x="43615" y="84421"/>
                  </a:cubicBezTo>
                  <a:cubicBezTo>
                    <a:pt x="31671" y="84421"/>
                    <a:pt x="21988" y="94015"/>
                    <a:pt x="21988" y="105849"/>
                  </a:cubicBezTo>
                  <a:cubicBezTo>
                    <a:pt x="21988" y="117684"/>
                    <a:pt x="31671" y="127278"/>
                    <a:pt x="43615" y="127278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7" name="Полилиния 536">
              <a:extLst>
                <a:ext uri="{FF2B5EF4-FFF2-40B4-BE49-F238E27FC236}">
                  <a16:creationId xmlns:a16="http://schemas.microsoft.com/office/drawing/2014/main" id="{26DF3B29-B90A-6048-B77D-8D0294B54AA4}"/>
                </a:ext>
              </a:extLst>
            </p:cNvPr>
            <p:cNvSpPr/>
            <p:nvPr/>
          </p:nvSpPr>
          <p:spPr>
            <a:xfrm>
              <a:off x="11385524" y="5570822"/>
              <a:ext cx="209999" cy="210000"/>
            </a:xfrm>
            <a:custGeom>
              <a:avLst/>
              <a:gdLst>
                <a:gd name="connsiteX0" fmla="*/ 30754 w 209999"/>
                <a:gd name="connsiteY0" fmla="*/ 179246 h 210000"/>
                <a:gd name="connsiteX1" fmla="*/ 30754 w 209999"/>
                <a:gd name="connsiteY1" fmla="*/ 30753 h 210000"/>
                <a:gd name="connsiteX2" fmla="*/ 179246 w 209999"/>
                <a:gd name="connsiteY2" fmla="*/ 30753 h 210000"/>
                <a:gd name="connsiteX3" fmla="*/ 179246 w 209999"/>
                <a:gd name="connsiteY3" fmla="*/ 179246 h 210000"/>
                <a:gd name="connsiteX4" fmla="*/ 30754 w 209999"/>
                <a:gd name="connsiteY4" fmla="*/ 179246 h 210000"/>
                <a:gd name="connsiteX5" fmla="*/ 106664 w 209999"/>
                <a:gd name="connsiteY5" fmla="*/ 187877 h 210000"/>
                <a:gd name="connsiteX6" fmla="*/ 189164 w 209999"/>
                <a:gd name="connsiteY6" fmla="*/ 105377 h 210000"/>
                <a:gd name="connsiteX7" fmla="*/ 106664 w 209999"/>
                <a:gd name="connsiteY7" fmla="*/ 22877 h 210000"/>
                <a:gd name="connsiteX8" fmla="*/ 24164 w 209999"/>
                <a:gd name="connsiteY8" fmla="*/ 105377 h 210000"/>
                <a:gd name="connsiteX9" fmla="*/ 106664 w 209999"/>
                <a:gd name="connsiteY9" fmla="*/ 187877 h 210000"/>
                <a:gd name="connsiteX10" fmla="*/ 106664 w 209999"/>
                <a:gd name="connsiteY10" fmla="*/ 172877 h 210000"/>
                <a:gd name="connsiteX11" fmla="*/ 39164 w 209999"/>
                <a:gd name="connsiteY11" fmla="*/ 105377 h 210000"/>
                <a:gd name="connsiteX12" fmla="*/ 106664 w 209999"/>
                <a:gd name="connsiteY12" fmla="*/ 37877 h 210000"/>
                <a:gd name="connsiteX13" fmla="*/ 174164 w 209999"/>
                <a:gd name="connsiteY13" fmla="*/ 105377 h 210000"/>
                <a:gd name="connsiteX14" fmla="*/ 106664 w 209999"/>
                <a:gd name="connsiteY14" fmla="*/ 172877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999" h="210000">
                  <a:moveTo>
                    <a:pt x="30754" y="179246"/>
                  </a:moveTo>
                  <a:cubicBezTo>
                    <a:pt x="-10251" y="138242"/>
                    <a:pt x="-10251" y="71759"/>
                    <a:pt x="30754" y="30753"/>
                  </a:cubicBezTo>
                  <a:cubicBezTo>
                    <a:pt x="71759" y="-10251"/>
                    <a:pt x="138242" y="-10251"/>
                    <a:pt x="179246" y="30753"/>
                  </a:cubicBezTo>
                  <a:cubicBezTo>
                    <a:pt x="220251" y="71759"/>
                    <a:pt x="220251" y="138242"/>
                    <a:pt x="179246" y="179246"/>
                  </a:cubicBezTo>
                  <a:cubicBezTo>
                    <a:pt x="138242" y="220251"/>
                    <a:pt x="71759" y="220251"/>
                    <a:pt x="30754" y="179246"/>
                  </a:cubicBezTo>
                  <a:close/>
                  <a:moveTo>
                    <a:pt x="106664" y="187877"/>
                  </a:moveTo>
                  <a:cubicBezTo>
                    <a:pt x="152228" y="187877"/>
                    <a:pt x="189164" y="150941"/>
                    <a:pt x="189164" y="105377"/>
                  </a:cubicBezTo>
                  <a:cubicBezTo>
                    <a:pt x="189164" y="59813"/>
                    <a:pt x="152228" y="22877"/>
                    <a:pt x="106664" y="22877"/>
                  </a:cubicBezTo>
                  <a:cubicBezTo>
                    <a:pt x="61100" y="22877"/>
                    <a:pt x="24164" y="59813"/>
                    <a:pt x="24164" y="105377"/>
                  </a:cubicBezTo>
                  <a:cubicBezTo>
                    <a:pt x="24164" y="150941"/>
                    <a:pt x="61100" y="187877"/>
                    <a:pt x="106664" y="187877"/>
                  </a:cubicBezTo>
                  <a:close/>
                  <a:moveTo>
                    <a:pt x="106664" y="172877"/>
                  </a:moveTo>
                  <a:cubicBezTo>
                    <a:pt x="69384" y="172877"/>
                    <a:pt x="39164" y="142656"/>
                    <a:pt x="39164" y="105377"/>
                  </a:cubicBezTo>
                  <a:cubicBezTo>
                    <a:pt x="39164" y="68097"/>
                    <a:pt x="69384" y="37877"/>
                    <a:pt x="106664" y="37877"/>
                  </a:cubicBezTo>
                  <a:cubicBezTo>
                    <a:pt x="143943" y="37877"/>
                    <a:pt x="174164" y="68097"/>
                    <a:pt x="174164" y="105377"/>
                  </a:cubicBezTo>
                  <a:cubicBezTo>
                    <a:pt x="174164" y="142656"/>
                    <a:pt x="143943" y="172877"/>
                    <a:pt x="106664" y="172877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538" name="Рисунок 243">
            <a:extLst>
              <a:ext uri="{FF2B5EF4-FFF2-40B4-BE49-F238E27FC236}">
                <a16:creationId xmlns:a16="http://schemas.microsoft.com/office/drawing/2014/main" id="{10A5038E-C860-1845-993E-67D0B24A0437}"/>
              </a:ext>
            </a:extLst>
          </p:cNvPr>
          <p:cNvGrpSpPr/>
          <p:nvPr/>
        </p:nvGrpSpPr>
        <p:grpSpPr>
          <a:xfrm>
            <a:off x="6702935" y="5134477"/>
            <a:ext cx="360000" cy="360000"/>
            <a:chOff x="6736388" y="5451199"/>
            <a:chExt cx="360000" cy="360000"/>
          </a:xfrm>
        </p:grpSpPr>
        <p:sp>
          <p:nvSpPr>
            <p:cNvPr id="539" name="Полилиния 538">
              <a:extLst>
                <a:ext uri="{FF2B5EF4-FFF2-40B4-BE49-F238E27FC236}">
                  <a16:creationId xmlns:a16="http://schemas.microsoft.com/office/drawing/2014/main" id="{710A70A7-9D24-6A4E-98E4-20D2D73A14C1}"/>
                </a:ext>
              </a:extLst>
            </p:cNvPr>
            <p:cNvSpPr/>
            <p:nvPr/>
          </p:nvSpPr>
          <p:spPr>
            <a:xfrm>
              <a:off x="6736388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0" name="Полилиния 539">
              <a:extLst>
                <a:ext uri="{FF2B5EF4-FFF2-40B4-BE49-F238E27FC236}">
                  <a16:creationId xmlns:a16="http://schemas.microsoft.com/office/drawing/2014/main" id="{810126F9-5431-A045-A3F9-13CF14E6F6E6}"/>
                </a:ext>
              </a:extLst>
            </p:cNvPr>
            <p:cNvSpPr/>
            <p:nvPr/>
          </p:nvSpPr>
          <p:spPr>
            <a:xfrm>
              <a:off x="6781388" y="5586199"/>
              <a:ext cx="270000" cy="180000"/>
            </a:xfrm>
            <a:custGeom>
              <a:avLst/>
              <a:gdLst>
                <a:gd name="connsiteX0" fmla="*/ 120000 w 270000"/>
                <a:gd name="connsiteY0" fmla="*/ 105000 h 180000"/>
                <a:gd name="connsiteX1" fmla="*/ 120000 w 270000"/>
                <a:gd name="connsiteY1" fmla="*/ 15000 h 180000"/>
                <a:gd name="connsiteX2" fmla="*/ 135000 w 270000"/>
                <a:gd name="connsiteY2" fmla="*/ 0 h 180000"/>
                <a:gd name="connsiteX3" fmla="*/ 150000 w 270000"/>
                <a:gd name="connsiteY3" fmla="*/ 15000 h 180000"/>
                <a:gd name="connsiteX4" fmla="*/ 150000 w 270000"/>
                <a:gd name="connsiteY4" fmla="*/ 105000 h 180000"/>
                <a:gd name="connsiteX5" fmla="*/ 240000 w 270000"/>
                <a:gd name="connsiteY5" fmla="*/ 105000 h 180000"/>
                <a:gd name="connsiteX6" fmla="*/ 270000 w 270000"/>
                <a:gd name="connsiteY6" fmla="*/ 135000 h 180000"/>
                <a:gd name="connsiteX7" fmla="*/ 270000 w 270000"/>
                <a:gd name="connsiteY7" fmla="*/ 150000 h 180000"/>
                <a:gd name="connsiteX8" fmla="*/ 240000 w 270000"/>
                <a:gd name="connsiteY8" fmla="*/ 180000 h 180000"/>
                <a:gd name="connsiteX9" fmla="*/ 30000 w 270000"/>
                <a:gd name="connsiteY9" fmla="*/ 180000 h 180000"/>
                <a:gd name="connsiteX10" fmla="*/ 0 w 270000"/>
                <a:gd name="connsiteY10" fmla="*/ 150000 h 180000"/>
                <a:gd name="connsiteX11" fmla="*/ 0 w 270000"/>
                <a:gd name="connsiteY11" fmla="*/ 135000 h 180000"/>
                <a:gd name="connsiteX12" fmla="*/ 30000 w 270000"/>
                <a:gd name="connsiteY12" fmla="*/ 105000 h 180000"/>
                <a:gd name="connsiteX13" fmla="*/ 120000 w 270000"/>
                <a:gd name="connsiteY13" fmla="*/ 105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0000" h="180000">
                  <a:moveTo>
                    <a:pt x="120000" y="105000"/>
                  </a:moveTo>
                  <a:lnTo>
                    <a:pt x="120000" y="15000"/>
                  </a:lnTo>
                  <a:cubicBezTo>
                    <a:pt x="120000" y="6716"/>
                    <a:pt x="126715" y="0"/>
                    <a:pt x="135000" y="0"/>
                  </a:cubicBezTo>
                  <a:cubicBezTo>
                    <a:pt x="143285" y="0"/>
                    <a:pt x="150000" y="6716"/>
                    <a:pt x="150000" y="15000"/>
                  </a:cubicBezTo>
                  <a:lnTo>
                    <a:pt x="150000" y="105000"/>
                  </a:lnTo>
                  <a:lnTo>
                    <a:pt x="240000" y="105000"/>
                  </a:lnTo>
                  <a:cubicBezTo>
                    <a:pt x="256569" y="105000"/>
                    <a:pt x="270000" y="118431"/>
                    <a:pt x="270000" y="135000"/>
                  </a:cubicBezTo>
                  <a:lnTo>
                    <a:pt x="270000" y="150000"/>
                  </a:lnTo>
                  <a:cubicBezTo>
                    <a:pt x="270000" y="166569"/>
                    <a:pt x="256569" y="180000"/>
                    <a:pt x="240000" y="180000"/>
                  </a:cubicBezTo>
                  <a:lnTo>
                    <a:pt x="30000" y="180000"/>
                  </a:lnTo>
                  <a:cubicBezTo>
                    <a:pt x="13431" y="180000"/>
                    <a:pt x="0" y="166569"/>
                    <a:pt x="0" y="150000"/>
                  </a:cubicBezTo>
                  <a:lnTo>
                    <a:pt x="0" y="135000"/>
                  </a:lnTo>
                  <a:cubicBezTo>
                    <a:pt x="0" y="118431"/>
                    <a:pt x="13431" y="105000"/>
                    <a:pt x="30000" y="105000"/>
                  </a:cubicBezTo>
                  <a:lnTo>
                    <a:pt x="120000" y="10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1" name="Полилиния 540">
              <a:extLst>
                <a:ext uri="{FF2B5EF4-FFF2-40B4-BE49-F238E27FC236}">
                  <a16:creationId xmlns:a16="http://schemas.microsoft.com/office/drawing/2014/main" id="{F6DB3B64-1D7A-B542-9149-85D4BB825786}"/>
                </a:ext>
              </a:extLst>
            </p:cNvPr>
            <p:cNvSpPr/>
            <p:nvPr/>
          </p:nvSpPr>
          <p:spPr>
            <a:xfrm>
              <a:off x="6871388" y="5511199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42" name="Рисунок 244">
            <a:extLst>
              <a:ext uri="{FF2B5EF4-FFF2-40B4-BE49-F238E27FC236}">
                <a16:creationId xmlns:a16="http://schemas.microsoft.com/office/drawing/2014/main" id="{CDB31545-92BD-ED45-9F22-0D7C305672AC}"/>
              </a:ext>
            </a:extLst>
          </p:cNvPr>
          <p:cNvGrpSpPr/>
          <p:nvPr/>
        </p:nvGrpSpPr>
        <p:grpSpPr>
          <a:xfrm>
            <a:off x="2172137" y="5134477"/>
            <a:ext cx="360000" cy="360000"/>
            <a:chOff x="2205590" y="5451199"/>
            <a:chExt cx="360000" cy="360000"/>
          </a:xfrm>
        </p:grpSpPr>
        <p:sp>
          <p:nvSpPr>
            <p:cNvPr id="543" name="Полилиния 542">
              <a:extLst>
                <a:ext uri="{FF2B5EF4-FFF2-40B4-BE49-F238E27FC236}">
                  <a16:creationId xmlns:a16="http://schemas.microsoft.com/office/drawing/2014/main" id="{73904178-21B4-7245-BB6A-80396EA460E8}"/>
                </a:ext>
              </a:extLst>
            </p:cNvPr>
            <p:cNvSpPr/>
            <p:nvPr/>
          </p:nvSpPr>
          <p:spPr>
            <a:xfrm>
              <a:off x="2205590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4" name="Полилиния 543">
              <a:extLst>
                <a:ext uri="{FF2B5EF4-FFF2-40B4-BE49-F238E27FC236}">
                  <a16:creationId xmlns:a16="http://schemas.microsoft.com/office/drawing/2014/main" id="{244A5F42-E54E-2949-BFE6-0FF77E0314D8}"/>
                </a:ext>
              </a:extLst>
            </p:cNvPr>
            <p:cNvSpPr/>
            <p:nvPr/>
          </p:nvSpPr>
          <p:spPr>
            <a:xfrm>
              <a:off x="2371359" y="5481199"/>
              <a:ext cx="119230" cy="109743"/>
            </a:xfrm>
            <a:custGeom>
              <a:avLst/>
              <a:gdLst>
                <a:gd name="connsiteX0" fmla="*/ 28461 w 119230"/>
                <a:gd name="connsiteY0" fmla="*/ 109743 h 109743"/>
                <a:gd name="connsiteX1" fmla="*/ 0 w 119230"/>
                <a:gd name="connsiteY1" fmla="*/ 100257 h 109743"/>
                <a:gd name="connsiteX2" fmla="*/ 55593 w 119230"/>
                <a:gd name="connsiteY2" fmla="*/ 37948 h 109743"/>
                <a:gd name="connsiteX3" fmla="*/ 89231 w 119230"/>
                <a:gd name="connsiteY3" fmla="*/ 0 h 109743"/>
                <a:gd name="connsiteX4" fmla="*/ 119231 w 119230"/>
                <a:gd name="connsiteY4" fmla="*/ 0 h 109743"/>
                <a:gd name="connsiteX5" fmla="*/ 62868 w 119230"/>
                <a:gd name="connsiteY5" fmla="*/ 67052 h 109743"/>
                <a:gd name="connsiteX6" fmla="*/ 28461 w 119230"/>
                <a:gd name="connsiteY6" fmla="*/ 109743 h 10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230" h="109743">
                  <a:moveTo>
                    <a:pt x="28461" y="109743"/>
                  </a:moveTo>
                  <a:lnTo>
                    <a:pt x="0" y="100257"/>
                  </a:lnTo>
                  <a:cubicBezTo>
                    <a:pt x="11470" y="65845"/>
                    <a:pt x="29871" y="44378"/>
                    <a:pt x="55593" y="37948"/>
                  </a:cubicBezTo>
                  <a:cubicBezTo>
                    <a:pt x="68985" y="34600"/>
                    <a:pt x="89231" y="13043"/>
                    <a:pt x="89231" y="0"/>
                  </a:cubicBezTo>
                  <a:lnTo>
                    <a:pt x="119231" y="0"/>
                  </a:lnTo>
                  <a:cubicBezTo>
                    <a:pt x="119231" y="26957"/>
                    <a:pt x="89476" y="60400"/>
                    <a:pt x="62868" y="67052"/>
                  </a:cubicBezTo>
                  <a:cubicBezTo>
                    <a:pt x="48591" y="70622"/>
                    <a:pt x="36990" y="84155"/>
                    <a:pt x="28461" y="109743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5" name="Полилиния 544">
              <a:extLst>
                <a:ext uri="{FF2B5EF4-FFF2-40B4-BE49-F238E27FC236}">
                  <a16:creationId xmlns:a16="http://schemas.microsoft.com/office/drawing/2014/main" id="{5004D939-516C-4643-9B2F-5A6E826DC8BC}"/>
                </a:ext>
              </a:extLst>
            </p:cNvPr>
            <p:cNvSpPr/>
            <p:nvPr/>
          </p:nvSpPr>
          <p:spPr>
            <a:xfrm>
              <a:off x="2220590" y="5571199"/>
              <a:ext cx="330000" cy="165000"/>
            </a:xfrm>
            <a:custGeom>
              <a:avLst/>
              <a:gdLst>
                <a:gd name="connsiteX0" fmla="*/ 90849 w 330000"/>
                <a:gd name="connsiteY0" fmla="*/ 417 h 165000"/>
                <a:gd name="connsiteX1" fmla="*/ 97500 w 330000"/>
                <a:gd name="connsiteY1" fmla="*/ 0 h 165000"/>
                <a:gd name="connsiteX2" fmla="*/ 232500 w 330000"/>
                <a:gd name="connsiteY2" fmla="*/ 0 h 165000"/>
                <a:gd name="connsiteX3" fmla="*/ 239151 w 330000"/>
                <a:gd name="connsiteY3" fmla="*/ 417 h 165000"/>
                <a:gd name="connsiteX4" fmla="*/ 247500 w 330000"/>
                <a:gd name="connsiteY4" fmla="*/ 0 h 165000"/>
                <a:gd name="connsiteX5" fmla="*/ 330000 w 330000"/>
                <a:gd name="connsiteY5" fmla="*/ 82500 h 165000"/>
                <a:gd name="connsiteX6" fmla="*/ 247500 w 330000"/>
                <a:gd name="connsiteY6" fmla="*/ 165000 h 165000"/>
                <a:gd name="connsiteX7" fmla="*/ 183858 w 330000"/>
                <a:gd name="connsiteY7" fmla="*/ 135000 h 165000"/>
                <a:gd name="connsiteX8" fmla="*/ 146142 w 330000"/>
                <a:gd name="connsiteY8" fmla="*/ 135000 h 165000"/>
                <a:gd name="connsiteX9" fmla="*/ 82500 w 330000"/>
                <a:gd name="connsiteY9" fmla="*/ 165000 h 165000"/>
                <a:gd name="connsiteX10" fmla="*/ 0 w 330000"/>
                <a:gd name="connsiteY10" fmla="*/ 82500 h 165000"/>
                <a:gd name="connsiteX11" fmla="*/ 82500 w 330000"/>
                <a:gd name="connsiteY11" fmla="*/ 0 h 165000"/>
                <a:gd name="connsiteX12" fmla="*/ 90849 w 330000"/>
                <a:gd name="connsiteY12" fmla="*/ 417 h 165000"/>
                <a:gd name="connsiteX13" fmla="*/ 67500 w 330000"/>
                <a:gd name="connsiteY13" fmla="*/ 30000 h 165000"/>
                <a:gd name="connsiteX14" fmla="*/ 60000 w 330000"/>
                <a:gd name="connsiteY14" fmla="*/ 37500 h 165000"/>
                <a:gd name="connsiteX15" fmla="*/ 60000 w 330000"/>
                <a:gd name="connsiteY15" fmla="*/ 52500 h 165000"/>
                <a:gd name="connsiteX16" fmla="*/ 67500 w 330000"/>
                <a:gd name="connsiteY16" fmla="*/ 60000 h 165000"/>
                <a:gd name="connsiteX17" fmla="*/ 82500 w 330000"/>
                <a:gd name="connsiteY17" fmla="*/ 60000 h 165000"/>
                <a:gd name="connsiteX18" fmla="*/ 90000 w 330000"/>
                <a:gd name="connsiteY18" fmla="*/ 52500 h 165000"/>
                <a:gd name="connsiteX19" fmla="*/ 90000 w 330000"/>
                <a:gd name="connsiteY19" fmla="*/ 37500 h 165000"/>
                <a:gd name="connsiteX20" fmla="*/ 82500 w 330000"/>
                <a:gd name="connsiteY20" fmla="*/ 30000 h 165000"/>
                <a:gd name="connsiteX21" fmla="*/ 67500 w 330000"/>
                <a:gd name="connsiteY21" fmla="*/ 30000 h 165000"/>
                <a:gd name="connsiteX22" fmla="*/ 97500 w 330000"/>
                <a:gd name="connsiteY22" fmla="*/ 60000 h 165000"/>
                <a:gd name="connsiteX23" fmla="*/ 90000 w 330000"/>
                <a:gd name="connsiteY23" fmla="*/ 67500 h 165000"/>
                <a:gd name="connsiteX24" fmla="*/ 90000 w 330000"/>
                <a:gd name="connsiteY24" fmla="*/ 82500 h 165000"/>
                <a:gd name="connsiteX25" fmla="*/ 97500 w 330000"/>
                <a:gd name="connsiteY25" fmla="*/ 90000 h 165000"/>
                <a:gd name="connsiteX26" fmla="*/ 112500 w 330000"/>
                <a:gd name="connsiteY26" fmla="*/ 90000 h 165000"/>
                <a:gd name="connsiteX27" fmla="*/ 120000 w 330000"/>
                <a:gd name="connsiteY27" fmla="*/ 82500 h 165000"/>
                <a:gd name="connsiteX28" fmla="*/ 120000 w 330000"/>
                <a:gd name="connsiteY28" fmla="*/ 67500 h 165000"/>
                <a:gd name="connsiteX29" fmla="*/ 112500 w 330000"/>
                <a:gd name="connsiteY29" fmla="*/ 60000 h 165000"/>
                <a:gd name="connsiteX30" fmla="*/ 97500 w 330000"/>
                <a:gd name="connsiteY30" fmla="*/ 60000 h 165000"/>
                <a:gd name="connsiteX31" fmla="*/ 270000 w 330000"/>
                <a:gd name="connsiteY31" fmla="*/ 60000 h 165000"/>
                <a:gd name="connsiteX32" fmla="*/ 285000 w 330000"/>
                <a:gd name="connsiteY32" fmla="*/ 45000 h 165000"/>
                <a:gd name="connsiteX33" fmla="*/ 270000 w 330000"/>
                <a:gd name="connsiteY33" fmla="*/ 30000 h 165000"/>
                <a:gd name="connsiteX34" fmla="*/ 255000 w 330000"/>
                <a:gd name="connsiteY34" fmla="*/ 45000 h 165000"/>
                <a:gd name="connsiteX35" fmla="*/ 270000 w 330000"/>
                <a:gd name="connsiteY35" fmla="*/ 60000 h 165000"/>
                <a:gd name="connsiteX36" fmla="*/ 255000 w 330000"/>
                <a:gd name="connsiteY36" fmla="*/ 105000 h 165000"/>
                <a:gd name="connsiteX37" fmla="*/ 270000 w 330000"/>
                <a:gd name="connsiteY37" fmla="*/ 90000 h 165000"/>
                <a:gd name="connsiteX38" fmla="*/ 255000 w 330000"/>
                <a:gd name="connsiteY38" fmla="*/ 75000 h 165000"/>
                <a:gd name="connsiteX39" fmla="*/ 240000 w 330000"/>
                <a:gd name="connsiteY39" fmla="*/ 90000 h 165000"/>
                <a:gd name="connsiteX40" fmla="*/ 255000 w 330000"/>
                <a:gd name="connsiteY40" fmla="*/ 105000 h 165000"/>
                <a:gd name="connsiteX41" fmla="*/ 67500 w 330000"/>
                <a:gd name="connsiteY41" fmla="*/ 90000 h 165000"/>
                <a:gd name="connsiteX42" fmla="*/ 60000 w 330000"/>
                <a:gd name="connsiteY42" fmla="*/ 97500 h 165000"/>
                <a:gd name="connsiteX43" fmla="*/ 60000 w 330000"/>
                <a:gd name="connsiteY43" fmla="*/ 112500 h 165000"/>
                <a:gd name="connsiteX44" fmla="*/ 67500 w 330000"/>
                <a:gd name="connsiteY44" fmla="*/ 120000 h 165000"/>
                <a:gd name="connsiteX45" fmla="*/ 82500 w 330000"/>
                <a:gd name="connsiteY45" fmla="*/ 120000 h 165000"/>
                <a:gd name="connsiteX46" fmla="*/ 90000 w 330000"/>
                <a:gd name="connsiteY46" fmla="*/ 112500 h 165000"/>
                <a:gd name="connsiteX47" fmla="*/ 90000 w 330000"/>
                <a:gd name="connsiteY47" fmla="*/ 97500 h 165000"/>
                <a:gd name="connsiteX48" fmla="*/ 82500 w 330000"/>
                <a:gd name="connsiteY48" fmla="*/ 90000 h 165000"/>
                <a:gd name="connsiteX49" fmla="*/ 67500 w 330000"/>
                <a:gd name="connsiteY49" fmla="*/ 90000 h 165000"/>
                <a:gd name="connsiteX50" fmla="*/ 37500 w 330000"/>
                <a:gd name="connsiteY50" fmla="*/ 60000 h 165000"/>
                <a:gd name="connsiteX51" fmla="*/ 30000 w 330000"/>
                <a:gd name="connsiteY51" fmla="*/ 67500 h 165000"/>
                <a:gd name="connsiteX52" fmla="*/ 30000 w 330000"/>
                <a:gd name="connsiteY52" fmla="*/ 82500 h 165000"/>
                <a:gd name="connsiteX53" fmla="*/ 37500 w 330000"/>
                <a:gd name="connsiteY53" fmla="*/ 90000 h 165000"/>
                <a:gd name="connsiteX54" fmla="*/ 52500 w 330000"/>
                <a:gd name="connsiteY54" fmla="*/ 90000 h 165000"/>
                <a:gd name="connsiteX55" fmla="*/ 60000 w 330000"/>
                <a:gd name="connsiteY55" fmla="*/ 82500 h 165000"/>
                <a:gd name="connsiteX56" fmla="*/ 60000 w 330000"/>
                <a:gd name="connsiteY56" fmla="*/ 67500 h 165000"/>
                <a:gd name="connsiteX57" fmla="*/ 52500 w 330000"/>
                <a:gd name="connsiteY57" fmla="*/ 60000 h 165000"/>
                <a:gd name="connsiteX58" fmla="*/ 37500 w 330000"/>
                <a:gd name="connsiteY58" fmla="*/ 60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0000" h="165000">
                  <a:moveTo>
                    <a:pt x="90849" y="417"/>
                  </a:moveTo>
                  <a:cubicBezTo>
                    <a:pt x="93027" y="142"/>
                    <a:pt x="95247" y="0"/>
                    <a:pt x="97500" y="0"/>
                  </a:cubicBezTo>
                  <a:lnTo>
                    <a:pt x="232500" y="0"/>
                  </a:lnTo>
                  <a:cubicBezTo>
                    <a:pt x="234753" y="0"/>
                    <a:pt x="236973" y="142"/>
                    <a:pt x="239151" y="417"/>
                  </a:cubicBezTo>
                  <a:cubicBezTo>
                    <a:pt x="241896" y="141"/>
                    <a:pt x="244681" y="0"/>
                    <a:pt x="247500" y="0"/>
                  </a:cubicBezTo>
                  <a:cubicBezTo>
                    <a:pt x="293064" y="0"/>
                    <a:pt x="330000" y="36936"/>
                    <a:pt x="330000" y="82500"/>
                  </a:cubicBezTo>
                  <a:cubicBezTo>
                    <a:pt x="330000" y="128064"/>
                    <a:pt x="293064" y="165000"/>
                    <a:pt x="247500" y="165000"/>
                  </a:cubicBezTo>
                  <a:cubicBezTo>
                    <a:pt x="221882" y="165000"/>
                    <a:pt x="198990" y="153323"/>
                    <a:pt x="183858" y="135000"/>
                  </a:cubicBezTo>
                  <a:lnTo>
                    <a:pt x="146142" y="135000"/>
                  </a:lnTo>
                  <a:cubicBezTo>
                    <a:pt x="131011" y="153323"/>
                    <a:pt x="108119" y="165000"/>
                    <a:pt x="82500" y="165000"/>
                  </a:cubicBezTo>
                  <a:cubicBezTo>
                    <a:pt x="36936" y="165000"/>
                    <a:pt x="0" y="128064"/>
                    <a:pt x="0" y="82500"/>
                  </a:cubicBezTo>
                  <a:cubicBezTo>
                    <a:pt x="0" y="36936"/>
                    <a:pt x="36936" y="0"/>
                    <a:pt x="82500" y="0"/>
                  </a:cubicBezTo>
                  <a:cubicBezTo>
                    <a:pt x="85318" y="0"/>
                    <a:pt x="88104" y="141"/>
                    <a:pt x="90849" y="417"/>
                  </a:cubicBezTo>
                  <a:close/>
                  <a:moveTo>
                    <a:pt x="67500" y="30000"/>
                  </a:moveTo>
                  <a:cubicBezTo>
                    <a:pt x="63358" y="30000"/>
                    <a:pt x="60000" y="33358"/>
                    <a:pt x="60000" y="37500"/>
                  </a:cubicBezTo>
                  <a:lnTo>
                    <a:pt x="60000" y="52500"/>
                  </a:lnTo>
                  <a:cubicBezTo>
                    <a:pt x="60000" y="56642"/>
                    <a:pt x="63358" y="60000"/>
                    <a:pt x="67500" y="60000"/>
                  </a:cubicBezTo>
                  <a:lnTo>
                    <a:pt x="82500" y="60000"/>
                  </a:lnTo>
                  <a:cubicBezTo>
                    <a:pt x="86642" y="60000"/>
                    <a:pt x="90000" y="56642"/>
                    <a:pt x="90000" y="52500"/>
                  </a:cubicBezTo>
                  <a:lnTo>
                    <a:pt x="90000" y="37500"/>
                  </a:lnTo>
                  <a:cubicBezTo>
                    <a:pt x="90000" y="33358"/>
                    <a:pt x="86642" y="30000"/>
                    <a:pt x="82500" y="30000"/>
                  </a:cubicBezTo>
                  <a:lnTo>
                    <a:pt x="67500" y="30000"/>
                  </a:lnTo>
                  <a:close/>
                  <a:moveTo>
                    <a:pt x="97500" y="60000"/>
                  </a:moveTo>
                  <a:cubicBezTo>
                    <a:pt x="93358" y="60000"/>
                    <a:pt x="90000" y="63358"/>
                    <a:pt x="90000" y="67500"/>
                  </a:cubicBezTo>
                  <a:lnTo>
                    <a:pt x="90000" y="82500"/>
                  </a:lnTo>
                  <a:cubicBezTo>
                    <a:pt x="90000" y="86642"/>
                    <a:pt x="93358" y="90000"/>
                    <a:pt x="97500" y="90000"/>
                  </a:cubicBezTo>
                  <a:lnTo>
                    <a:pt x="112500" y="90000"/>
                  </a:lnTo>
                  <a:cubicBezTo>
                    <a:pt x="116642" y="90000"/>
                    <a:pt x="120000" y="86642"/>
                    <a:pt x="120000" y="82500"/>
                  </a:cubicBezTo>
                  <a:lnTo>
                    <a:pt x="120000" y="67500"/>
                  </a:lnTo>
                  <a:cubicBezTo>
                    <a:pt x="120000" y="63358"/>
                    <a:pt x="116642" y="60000"/>
                    <a:pt x="112500" y="60000"/>
                  </a:cubicBezTo>
                  <a:lnTo>
                    <a:pt x="97500" y="60000"/>
                  </a:lnTo>
                  <a:close/>
                  <a:moveTo>
                    <a:pt x="270000" y="60000"/>
                  </a:moveTo>
                  <a:cubicBezTo>
                    <a:pt x="278285" y="60000"/>
                    <a:pt x="285000" y="53285"/>
                    <a:pt x="285000" y="45000"/>
                  </a:cubicBezTo>
                  <a:cubicBezTo>
                    <a:pt x="285000" y="36715"/>
                    <a:pt x="278285" y="30000"/>
                    <a:pt x="270000" y="30000"/>
                  </a:cubicBezTo>
                  <a:cubicBezTo>
                    <a:pt x="261716" y="30000"/>
                    <a:pt x="255000" y="36715"/>
                    <a:pt x="255000" y="45000"/>
                  </a:cubicBezTo>
                  <a:cubicBezTo>
                    <a:pt x="255000" y="53285"/>
                    <a:pt x="261716" y="60000"/>
                    <a:pt x="270000" y="60000"/>
                  </a:cubicBezTo>
                  <a:close/>
                  <a:moveTo>
                    <a:pt x="255000" y="105000"/>
                  </a:moveTo>
                  <a:cubicBezTo>
                    <a:pt x="263285" y="105000"/>
                    <a:pt x="270000" y="98285"/>
                    <a:pt x="270000" y="90000"/>
                  </a:cubicBezTo>
                  <a:cubicBezTo>
                    <a:pt x="270000" y="81715"/>
                    <a:pt x="263285" y="75000"/>
                    <a:pt x="255000" y="75000"/>
                  </a:cubicBezTo>
                  <a:cubicBezTo>
                    <a:pt x="246716" y="75000"/>
                    <a:pt x="240000" y="81715"/>
                    <a:pt x="240000" y="90000"/>
                  </a:cubicBezTo>
                  <a:cubicBezTo>
                    <a:pt x="240000" y="98285"/>
                    <a:pt x="246716" y="105000"/>
                    <a:pt x="255000" y="105000"/>
                  </a:cubicBezTo>
                  <a:close/>
                  <a:moveTo>
                    <a:pt x="67500" y="90000"/>
                  </a:moveTo>
                  <a:cubicBezTo>
                    <a:pt x="63358" y="90000"/>
                    <a:pt x="60000" y="93359"/>
                    <a:pt x="60000" y="97500"/>
                  </a:cubicBezTo>
                  <a:lnTo>
                    <a:pt x="60000" y="112500"/>
                  </a:lnTo>
                  <a:cubicBezTo>
                    <a:pt x="60000" y="116642"/>
                    <a:pt x="63358" y="120000"/>
                    <a:pt x="67500" y="120000"/>
                  </a:cubicBezTo>
                  <a:lnTo>
                    <a:pt x="82500" y="120000"/>
                  </a:lnTo>
                  <a:cubicBezTo>
                    <a:pt x="86642" y="120000"/>
                    <a:pt x="90000" y="116642"/>
                    <a:pt x="90000" y="112500"/>
                  </a:cubicBezTo>
                  <a:lnTo>
                    <a:pt x="90000" y="97500"/>
                  </a:lnTo>
                  <a:cubicBezTo>
                    <a:pt x="90000" y="93359"/>
                    <a:pt x="86642" y="90000"/>
                    <a:pt x="82500" y="90000"/>
                  </a:cubicBezTo>
                  <a:lnTo>
                    <a:pt x="67500" y="90000"/>
                  </a:lnTo>
                  <a:close/>
                  <a:moveTo>
                    <a:pt x="37500" y="60000"/>
                  </a:moveTo>
                  <a:cubicBezTo>
                    <a:pt x="33358" y="60000"/>
                    <a:pt x="30000" y="63358"/>
                    <a:pt x="30000" y="67500"/>
                  </a:cubicBezTo>
                  <a:lnTo>
                    <a:pt x="30000" y="82500"/>
                  </a:lnTo>
                  <a:cubicBezTo>
                    <a:pt x="30000" y="86642"/>
                    <a:pt x="33358" y="90000"/>
                    <a:pt x="37500" y="90000"/>
                  </a:cubicBezTo>
                  <a:lnTo>
                    <a:pt x="52500" y="90000"/>
                  </a:lnTo>
                  <a:cubicBezTo>
                    <a:pt x="56642" y="90000"/>
                    <a:pt x="60000" y="86642"/>
                    <a:pt x="60000" y="82500"/>
                  </a:cubicBezTo>
                  <a:lnTo>
                    <a:pt x="60000" y="67500"/>
                  </a:lnTo>
                  <a:cubicBezTo>
                    <a:pt x="60000" y="63358"/>
                    <a:pt x="56642" y="60000"/>
                    <a:pt x="52500" y="60000"/>
                  </a:cubicBezTo>
                  <a:lnTo>
                    <a:pt x="37500" y="6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46" name="Рисунок 245">
            <a:extLst>
              <a:ext uri="{FF2B5EF4-FFF2-40B4-BE49-F238E27FC236}">
                <a16:creationId xmlns:a16="http://schemas.microsoft.com/office/drawing/2014/main" id="{B95463DF-600C-1148-BCF3-4F43BC544EE4}"/>
              </a:ext>
            </a:extLst>
          </p:cNvPr>
          <p:cNvGrpSpPr/>
          <p:nvPr/>
        </p:nvGrpSpPr>
        <p:grpSpPr>
          <a:xfrm>
            <a:off x="5192669" y="5134477"/>
            <a:ext cx="360000" cy="360000"/>
            <a:chOff x="5226122" y="5451199"/>
            <a:chExt cx="360000" cy="360000"/>
          </a:xfrm>
        </p:grpSpPr>
        <p:sp>
          <p:nvSpPr>
            <p:cNvPr id="547" name="Полилиния 546">
              <a:extLst>
                <a:ext uri="{FF2B5EF4-FFF2-40B4-BE49-F238E27FC236}">
                  <a16:creationId xmlns:a16="http://schemas.microsoft.com/office/drawing/2014/main" id="{26CD2ACF-D0C9-474D-A723-A5367460FBF9}"/>
                </a:ext>
              </a:extLst>
            </p:cNvPr>
            <p:cNvSpPr/>
            <p:nvPr/>
          </p:nvSpPr>
          <p:spPr>
            <a:xfrm>
              <a:off x="5226122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8" name="Полилиния 547">
              <a:extLst>
                <a:ext uri="{FF2B5EF4-FFF2-40B4-BE49-F238E27FC236}">
                  <a16:creationId xmlns:a16="http://schemas.microsoft.com/office/drawing/2014/main" id="{DD6BFBF7-CAF3-DE4A-AEEB-DB4D4380FBA2}"/>
                </a:ext>
              </a:extLst>
            </p:cNvPr>
            <p:cNvSpPr/>
            <p:nvPr/>
          </p:nvSpPr>
          <p:spPr>
            <a:xfrm>
              <a:off x="5391891" y="5466199"/>
              <a:ext cx="119230" cy="109743"/>
            </a:xfrm>
            <a:custGeom>
              <a:avLst/>
              <a:gdLst>
                <a:gd name="connsiteX0" fmla="*/ 28461 w 119230"/>
                <a:gd name="connsiteY0" fmla="*/ 109743 h 109743"/>
                <a:gd name="connsiteX1" fmla="*/ 0 w 119230"/>
                <a:gd name="connsiteY1" fmla="*/ 100257 h 109743"/>
                <a:gd name="connsiteX2" fmla="*/ 55593 w 119230"/>
                <a:gd name="connsiteY2" fmla="*/ 37948 h 109743"/>
                <a:gd name="connsiteX3" fmla="*/ 89231 w 119230"/>
                <a:gd name="connsiteY3" fmla="*/ 0 h 109743"/>
                <a:gd name="connsiteX4" fmla="*/ 119231 w 119230"/>
                <a:gd name="connsiteY4" fmla="*/ 0 h 109743"/>
                <a:gd name="connsiteX5" fmla="*/ 62868 w 119230"/>
                <a:gd name="connsiteY5" fmla="*/ 67052 h 109743"/>
                <a:gd name="connsiteX6" fmla="*/ 28461 w 119230"/>
                <a:gd name="connsiteY6" fmla="*/ 109743 h 10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230" h="109743">
                  <a:moveTo>
                    <a:pt x="28461" y="109743"/>
                  </a:moveTo>
                  <a:lnTo>
                    <a:pt x="0" y="100257"/>
                  </a:lnTo>
                  <a:cubicBezTo>
                    <a:pt x="11470" y="65845"/>
                    <a:pt x="29871" y="44378"/>
                    <a:pt x="55593" y="37948"/>
                  </a:cubicBezTo>
                  <a:cubicBezTo>
                    <a:pt x="68985" y="34600"/>
                    <a:pt x="89231" y="13043"/>
                    <a:pt x="89231" y="0"/>
                  </a:cubicBezTo>
                  <a:lnTo>
                    <a:pt x="119231" y="0"/>
                  </a:lnTo>
                  <a:cubicBezTo>
                    <a:pt x="119231" y="26957"/>
                    <a:pt x="89476" y="60400"/>
                    <a:pt x="62868" y="67052"/>
                  </a:cubicBezTo>
                  <a:cubicBezTo>
                    <a:pt x="48591" y="70622"/>
                    <a:pt x="36990" y="84155"/>
                    <a:pt x="28461" y="109743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9" name="Полилиния 548">
              <a:extLst>
                <a:ext uri="{FF2B5EF4-FFF2-40B4-BE49-F238E27FC236}">
                  <a16:creationId xmlns:a16="http://schemas.microsoft.com/office/drawing/2014/main" id="{D27669BA-A14F-624C-92C0-76EDC018C672}"/>
                </a:ext>
              </a:extLst>
            </p:cNvPr>
            <p:cNvSpPr/>
            <p:nvPr/>
          </p:nvSpPr>
          <p:spPr>
            <a:xfrm>
              <a:off x="5240083" y="5555284"/>
              <a:ext cx="334196" cy="210045"/>
            </a:xfrm>
            <a:custGeom>
              <a:avLst/>
              <a:gdLst>
                <a:gd name="connsiteX0" fmla="*/ 103308 w 334196"/>
                <a:gd name="connsiteY0" fmla="*/ 914 h 210045"/>
                <a:gd name="connsiteX1" fmla="*/ 229077 w 334196"/>
                <a:gd name="connsiteY1" fmla="*/ 914 h 210045"/>
                <a:gd name="connsiteX2" fmla="*/ 278936 w 334196"/>
                <a:gd name="connsiteY2" fmla="*/ 26721 h 210045"/>
                <a:gd name="connsiteX3" fmla="*/ 330290 w 334196"/>
                <a:gd name="connsiteY3" fmla="*/ 141824 h 210045"/>
                <a:gd name="connsiteX4" fmla="*/ 320292 w 334196"/>
                <a:gd name="connsiteY4" fmla="*/ 192685 h 210045"/>
                <a:gd name="connsiteX5" fmla="*/ 313626 w 334196"/>
                <a:gd name="connsiteY5" fmla="*/ 199058 h 210045"/>
                <a:gd name="connsiteX6" fmla="*/ 312693 w 334196"/>
                <a:gd name="connsiteY6" fmla="*/ 199922 h 210045"/>
                <a:gd name="connsiteX7" fmla="*/ 256727 w 334196"/>
                <a:gd name="connsiteY7" fmla="*/ 196868 h 210045"/>
                <a:gd name="connsiteX8" fmla="*/ 215531 w 334196"/>
                <a:gd name="connsiteY8" fmla="*/ 150914 h 210045"/>
                <a:gd name="connsiteX9" fmla="*/ 119007 w 334196"/>
                <a:gd name="connsiteY9" fmla="*/ 150914 h 210045"/>
                <a:gd name="connsiteX10" fmla="*/ 77809 w 334196"/>
                <a:gd name="connsiteY10" fmla="*/ 196868 h 210045"/>
                <a:gd name="connsiteX11" fmla="*/ 21843 w 334196"/>
                <a:gd name="connsiteY11" fmla="*/ 199922 h 210045"/>
                <a:gd name="connsiteX12" fmla="*/ 20910 w 334196"/>
                <a:gd name="connsiteY12" fmla="*/ 199058 h 210045"/>
                <a:gd name="connsiteX13" fmla="*/ 13904 w 334196"/>
                <a:gd name="connsiteY13" fmla="*/ 192359 h 210045"/>
                <a:gd name="connsiteX14" fmla="*/ 3653 w 334196"/>
                <a:gd name="connsiteY14" fmla="*/ 142078 h 210045"/>
                <a:gd name="connsiteX15" fmla="*/ 52960 w 334196"/>
                <a:gd name="connsiteY15" fmla="*/ 27253 h 210045"/>
                <a:gd name="connsiteX16" fmla="*/ 103308 w 334196"/>
                <a:gd name="connsiteY16" fmla="*/ 914 h 210045"/>
                <a:gd name="connsiteX17" fmla="*/ 106038 w 334196"/>
                <a:gd name="connsiteY17" fmla="*/ 105914 h 210045"/>
                <a:gd name="connsiteX18" fmla="*/ 136038 w 334196"/>
                <a:gd name="connsiteY18" fmla="*/ 75914 h 210045"/>
                <a:gd name="connsiteX19" fmla="*/ 106038 w 334196"/>
                <a:gd name="connsiteY19" fmla="*/ 45914 h 210045"/>
                <a:gd name="connsiteX20" fmla="*/ 76038 w 334196"/>
                <a:gd name="connsiteY20" fmla="*/ 75914 h 210045"/>
                <a:gd name="connsiteX21" fmla="*/ 106038 w 334196"/>
                <a:gd name="connsiteY21" fmla="*/ 105914 h 210045"/>
                <a:gd name="connsiteX22" fmla="*/ 241038 w 334196"/>
                <a:gd name="connsiteY22" fmla="*/ 75914 h 210045"/>
                <a:gd name="connsiteX23" fmla="*/ 256038 w 334196"/>
                <a:gd name="connsiteY23" fmla="*/ 60914 h 210045"/>
                <a:gd name="connsiteX24" fmla="*/ 241038 w 334196"/>
                <a:gd name="connsiteY24" fmla="*/ 45914 h 210045"/>
                <a:gd name="connsiteX25" fmla="*/ 226038 w 334196"/>
                <a:gd name="connsiteY25" fmla="*/ 60914 h 210045"/>
                <a:gd name="connsiteX26" fmla="*/ 241038 w 334196"/>
                <a:gd name="connsiteY26" fmla="*/ 75914 h 210045"/>
                <a:gd name="connsiteX27" fmla="*/ 211038 w 334196"/>
                <a:gd name="connsiteY27" fmla="*/ 105914 h 210045"/>
                <a:gd name="connsiteX28" fmla="*/ 226038 w 334196"/>
                <a:gd name="connsiteY28" fmla="*/ 90914 h 210045"/>
                <a:gd name="connsiteX29" fmla="*/ 211038 w 334196"/>
                <a:gd name="connsiteY29" fmla="*/ 75914 h 210045"/>
                <a:gd name="connsiteX30" fmla="*/ 196038 w 334196"/>
                <a:gd name="connsiteY30" fmla="*/ 90914 h 210045"/>
                <a:gd name="connsiteX31" fmla="*/ 211038 w 334196"/>
                <a:gd name="connsiteY31" fmla="*/ 105914 h 210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4196" h="210045">
                  <a:moveTo>
                    <a:pt x="103308" y="914"/>
                  </a:moveTo>
                  <a:lnTo>
                    <a:pt x="229077" y="914"/>
                  </a:lnTo>
                  <a:cubicBezTo>
                    <a:pt x="249419" y="-3143"/>
                    <a:pt x="270281" y="7323"/>
                    <a:pt x="278936" y="26721"/>
                  </a:cubicBezTo>
                  <a:lnTo>
                    <a:pt x="330290" y="141824"/>
                  </a:lnTo>
                  <a:cubicBezTo>
                    <a:pt x="338037" y="159187"/>
                    <a:pt x="334035" y="179546"/>
                    <a:pt x="320292" y="192685"/>
                  </a:cubicBezTo>
                  <a:lnTo>
                    <a:pt x="313626" y="199058"/>
                  </a:lnTo>
                  <a:cubicBezTo>
                    <a:pt x="313320" y="199351"/>
                    <a:pt x="313010" y="199639"/>
                    <a:pt x="312693" y="199922"/>
                  </a:cubicBezTo>
                  <a:cubicBezTo>
                    <a:pt x="296396" y="214534"/>
                    <a:pt x="271338" y="213166"/>
                    <a:pt x="256727" y="196868"/>
                  </a:cubicBezTo>
                  <a:lnTo>
                    <a:pt x="215531" y="150914"/>
                  </a:lnTo>
                  <a:lnTo>
                    <a:pt x="119007" y="150914"/>
                  </a:lnTo>
                  <a:lnTo>
                    <a:pt x="77809" y="196868"/>
                  </a:lnTo>
                  <a:cubicBezTo>
                    <a:pt x="63198" y="213166"/>
                    <a:pt x="38141" y="214534"/>
                    <a:pt x="21843" y="199922"/>
                  </a:cubicBezTo>
                  <a:cubicBezTo>
                    <a:pt x="21528" y="199639"/>
                    <a:pt x="21216" y="199351"/>
                    <a:pt x="20910" y="199058"/>
                  </a:cubicBezTo>
                  <a:lnTo>
                    <a:pt x="13904" y="192359"/>
                  </a:lnTo>
                  <a:cubicBezTo>
                    <a:pt x="329" y="179381"/>
                    <a:pt x="-3758" y="159335"/>
                    <a:pt x="3653" y="142078"/>
                  </a:cubicBezTo>
                  <a:lnTo>
                    <a:pt x="52960" y="27253"/>
                  </a:lnTo>
                  <a:cubicBezTo>
                    <a:pt x="61465" y="7447"/>
                    <a:pt x="82653" y="-3321"/>
                    <a:pt x="103308" y="914"/>
                  </a:cubicBezTo>
                  <a:close/>
                  <a:moveTo>
                    <a:pt x="106038" y="105914"/>
                  </a:moveTo>
                  <a:cubicBezTo>
                    <a:pt x="122607" y="105914"/>
                    <a:pt x="136038" y="92483"/>
                    <a:pt x="136038" y="75914"/>
                  </a:cubicBezTo>
                  <a:cubicBezTo>
                    <a:pt x="136038" y="59345"/>
                    <a:pt x="122607" y="45914"/>
                    <a:pt x="106038" y="45914"/>
                  </a:cubicBezTo>
                  <a:cubicBezTo>
                    <a:pt x="89470" y="45914"/>
                    <a:pt x="76038" y="59345"/>
                    <a:pt x="76038" y="75914"/>
                  </a:cubicBezTo>
                  <a:cubicBezTo>
                    <a:pt x="76038" y="92483"/>
                    <a:pt x="89470" y="105914"/>
                    <a:pt x="106038" y="105914"/>
                  </a:cubicBezTo>
                  <a:close/>
                  <a:moveTo>
                    <a:pt x="241038" y="75914"/>
                  </a:moveTo>
                  <a:cubicBezTo>
                    <a:pt x="249323" y="75914"/>
                    <a:pt x="256038" y="69199"/>
                    <a:pt x="256038" y="60914"/>
                  </a:cubicBezTo>
                  <a:cubicBezTo>
                    <a:pt x="256038" y="52630"/>
                    <a:pt x="249323" y="45914"/>
                    <a:pt x="241038" y="45914"/>
                  </a:cubicBezTo>
                  <a:cubicBezTo>
                    <a:pt x="232754" y="45914"/>
                    <a:pt x="226038" y="52630"/>
                    <a:pt x="226038" y="60914"/>
                  </a:cubicBezTo>
                  <a:cubicBezTo>
                    <a:pt x="226038" y="69199"/>
                    <a:pt x="232754" y="75914"/>
                    <a:pt x="241038" y="75914"/>
                  </a:cubicBezTo>
                  <a:close/>
                  <a:moveTo>
                    <a:pt x="211038" y="105914"/>
                  </a:moveTo>
                  <a:cubicBezTo>
                    <a:pt x="219323" y="105914"/>
                    <a:pt x="226038" y="99199"/>
                    <a:pt x="226038" y="90914"/>
                  </a:cubicBezTo>
                  <a:cubicBezTo>
                    <a:pt x="226038" y="82630"/>
                    <a:pt x="219323" y="75914"/>
                    <a:pt x="211038" y="75914"/>
                  </a:cubicBezTo>
                  <a:cubicBezTo>
                    <a:pt x="202754" y="75914"/>
                    <a:pt x="196038" y="82630"/>
                    <a:pt x="196038" y="90914"/>
                  </a:cubicBezTo>
                  <a:cubicBezTo>
                    <a:pt x="196038" y="99199"/>
                    <a:pt x="202754" y="105914"/>
                    <a:pt x="211038" y="105914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50" name="Рисунок 246">
            <a:extLst>
              <a:ext uri="{FF2B5EF4-FFF2-40B4-BE49-F238E27FC236}">
                <a16:creationId xmlns:a16="http://schemas.microsoft.com/office/drawing/2014/main" id="{7B3551A6-9E25-B548-9155-587D1441EA99}"/>
              </a:ext>
            </a:extLst>
          </p:cNvPr>
          <p:cNvGrpSpPr/>
          <p:nvPr/>
        </p:nvGrpSpPr>
        <p:grpSpPr>
          <a:xfrm>
            <a:off x="10478600" y="5134477"/>
            <a:ext cx="360000" cy="360000"/>
            <a:chOff x="10512053" y="5451199"/>
            <a:chExt cx="360000" cy="360000"/>
          </a:xfrm>
        </p:grpSpPr>
        <p:sp>
          <p:nvSpPr>
            <p:cNvPr id="551" name="Полилиния 550">
              <a:extLst>
                <a:ext uri="{FF2B5EF4-FFF2-40B4-BE49-F238E27FC236}">
                  <a16:creationId xmlns:a16="http://schemas.microsoft.com/office/drawing/2014/main" id="{67886E04-E888-5A48-9D71-F2EDF6AA49C4}"/>
                </a:ext>
              </a:extLst>
            </p:cNvPr>
            <p:cNvSpPr/>
            <p:nvPr/>
          </p:nvSpPr>
          <p:spPr>
            <a:xfrm>
              <a:off x="10512053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2" name="Полилиния 551">
              <a:extLst>
                <a:ext uri="{FF2B5EF4-FFF2-40B4-BE49-F238E27FC236}">
                  <a16:creationId xmlns:a16="http://schemas.microsoft.com/office/drawing/2014/main" id="{A4B53828-A285-324D-A0DF-150BB0D4D03B}"/>
                </a:ext>
              </a:extLst>
            </p:cNvPr>
            <p:cNvSpPr/>
            <p:nvPr/>
          </p:nvSpPr>
          <p:spPr>
            <a:xfrm>
              <a:off x="10557053" y="5511199"/>
              <a:ext cx="270000" cy="270000"/>
            </a:xfrm>
            <a:custGeom>
              <a:avLst/>
              <a:gdLst>
                <a:gd name="connsiteX0" fmla="*/ 270000 w 270000"/>
                <a:gd name="connsiteY0" fmla="*/ 90000 h 270000"/>
                <a:gd name="connsiteX1" fmla="*/ 0 w 270000"/>
                <a:gd name="connsiteY1" fmla="*/ 90000 h 270000"/>
                <a:gd name="connsiteX2" fmla="*/ 0 w 270000"/>
                <a:gd name="connsiteY2" fmla="*/ 15000 h 270000"/>
                <a:gd name="connsiteX3" fmla="*/ 15000 w 270000"/>
                <a:gd name="connsiteY3" fmla="*/ 0 h 270000"/>
                <a:gd name="connsiteX4" fmla="*/ 255000 w 270000"/>
                <a:gd name="connsiteY4" fmla="*/ 0 h 270000"/>
                <a:gd name="connsiteX5" fmla="*/ 270000 w 270000"/>
                <a:gd name="connsiteY5" fmla="*/ 15000 h 270000"/>
                <a:gd name="connsiteX6" fmla="*/ 270000 w 270000"/>
                <a:gd name="connsiteY6" fmla="*/ 90000 h 270000"/>
                <a:gd name="connsiteX7" fmla="*/ 195000 w 270000"/>
                <a:gd name="connsiteY7" fmla="*/ 30000 h 270000"/>
                <a:gd name="connsiteX8" fmla="*/ 180000 w 270000"/>
                <a:gd name="connsiteY8" fmla="*/ 45000 h 270000"/>
                <a:gd name="connsiteX9" fmla="*/ 195000 w 270000"/>
                <a:gd name="connsiteY9" fmla="*/ 60000 h 270000"/>
                <a:gd name="connsiteX10" fmla="*/ 210000 w 270000"/>
                <a:gd name="connsiteY10" fmla="*/ 45000 h 270000"/>
                <a:gd name="connsiteX11" fmla="*/ 195000 w 270000"/>
                <a:gd name="connsiteY11" fmla="*/ 30000 h 270000"/>
                <a:gd name="connsiteX12" fmla="*/ 75000 w 270000"/>
                <a:gd name="connsiteY12" fmla="*/ 30000 h 270000"/>
                <a:gd name="connsiteX13" fmla="*/ 90000 w 270000"/>
                <a:gd name="connsiteY13" fmla="*/ 45000 h 270000"/>
                <a:gd name="connsiteX14" fmla="*/ 75000 w 270000"/>
                <a:gd name="connsiteY14" fmla="*/ 60000 h 270000"/>
                <a:gd name="connsiteX15" fmla="*/ 60000 w 270000"/>
                <a:gd name="connsiteY15" fmla="*/ 45000 h 270000"/>
                <a:gd name="connsiteX16" fmla="*/ 75000 w 270000"/>
                <a:gd name="connsiteY16" fmla="*/ 30000 h 270000"/>
                <a:gd name="connsiteX17" fmla="*/ 270000 w 270000"/>
                <a:gd name="connsiteY17" fmla="*/ 105000 h 270000"/>
                <a:gd name="connsiteX18" fmla="*/ 270000 w 270000"/>
                <a:gd name="connsiteY18" fmla="*/ 255000 h 270000"/>
                <a:gd name="connsiteX19" fmla="*/ 255000 w 270000"/>
                <a:gd name="connsiteY19" fmla="*/ 270000 h 270000"/>
                <a:gd name="connsiteX20" fmla="*/ 15000 w 270000"/>
                <a:gd name="connsiteY20" fmla="*/ 270000 h 270000"/>
                <a:gd name="connsiteX21" fmla="*/ 0 w 270000"/>
                <a:gd name="connsiteY21" fmla="*/ 255000 h 270000"/>
                <a:gd name="connsiteX22" fmla="*/ 0 w 270000"/>
                <a:gd name="connsiteY22" fmla="*/ 105000 h 270000"/>
                <a:gd name="connsiteX23" fmla="*/ 270000 w 270000"/>
                <a:gd name="connsiteY23" fmla="*/ 105000 h 270000"/>
                <a:gd name="connsiteX24" fmla="*/ 75000 w 270000"/>
                <a:gd name="connsiteY24" fmla="*/ 135000 h 270000"/>
                <a:gd name="connsiteX25" fmla="*/ 60000 w 270000"/>
                <a:gd name="connsiteY25" fmla="*/ 152501 h 270000"/>
                <a:gd name="connsiteX26" fmla="*/ 60000 w 270000"/>
                <a:gd name="connsiteY26" fmla="*/ 222500 h 270000"/>
                <a:gd name="connsiteX27" fmla="*/ 75000 w 270000"/>
                <a:gd name="connsiteY27" fmla="*/ 240000 h 270000"/>
                <a:gd name="connsiteX28" fmla="*/ 195000 w 270000"/>
                <a:gd name="connsiteY28" fmla="*/ 240000 h 270000"/>
                <a:gd name="connsiteX29" fmla="*/ 210000 w 270000"/>
                <a:gd name="connsiteY29" fmla="*/ 222500 h 270000"/>
                <a:gd name="connsiteX30" fmla="*/ 210000 w 270000"/>
                <a:gd name="connsiteY30" fmla="*/ 152501 h 270000"/>
                <a:gd name="connsiteX31" fmla="*/ 195000 w 270000"/>
                <a:gd name="connsiteY31" fmla="*/ 135000 h 270000"/>
                <a:gd name="connsiteX32" fmla="*/ 75000 w 270000"/>
                <a:gd name="connsiteY32" fmla="*/ 135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70000" h="270000">
                  <a:moveTo>
                    <a:pt x="270000" y="90000"/>
                  </a:moveTo>
                  <a:lnTo>
                    <a:pt x="0" y="90000"/>
                  </a:ln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255000" y="0"/>
                  </a:lnTo>
                  <a:cubicBezTo>
                    <a:pt x="263285" y="0"/>
                    <a:pt x="270000" y="6716"/>
                    <a:pt x="270000" y="15000"/>
                  </a:cubicBezTo>
                  <a:lnTo>
                    <a:pt x="270000" y="90000"/>
                  </a:lnTo>
                  <a:close/>
                  <a:moveTo>
                    <a:pt x="195000" y="30000"/>
                  </a:moveTo>
                  <a:cubicBezTo>
                    <a:pt x="186716" y="30000"/>
                    <a:pt x="180000" y="36716"/>
                    <a:pt x="180000" y="45000"/>
                  </a:cubicBezTo>
                  <a:cubicBezTo>
                    <a:pt x="180000" y="53284"/>
                    <a:pt x="186716" y="60000"/>
                    <a:pt x="195000" y="60000"/>
                  </a:cubicBezTo>
                  <a:cubicBezTo>
                    <a:pt x="203285" y="60000"/>
                    <a:pt x="210000" y="53284"/>
                    <a:pt x="210000" y="45000"/>
                  </a:cubicBezTo>
                  <a:cubicBezTo>
                    <a:pt x="210000" y="36716"/>
                    <a:pt x="203285" y="30000"/>
                    <a:pt x="195000" y="30000"/>
                  </a:cubicBezTo>
                  <a:close/>
                  <a:moveTo>
                    <a:pt x="75000" y="30000"/>
                  </a:moveTo>
                  <a:cubicBezTo>
                    <a:pt x="83284" y="30000"/>
                    <a:pt x="90000" y="36716"/>
                    <a:pt x="90000" y="45000"/>
                  </a:cubicBezTo>
                  <a:cubicBezTo>
                    <a:pt x="90000" y="53284"/>
                    <a:pt x="83284" y="60000"/>
                    <a:pt x="75000" y="60000"/>
                  </a:cubicBezTo>
                  <a:cubicBezTo>
                    <a:pt x="66716" y="60000"/>
                    <a:pt x="60000" y="53284"/>
                    <a:pt x="60000" y="45000"/>
                  </a:cubicBezTo>
                  <a:cubicBezTo>
                    <a:pt x="60000" y="36716"/>
                    <a:pt x="66716" y="30000"/>
                    <a:pt x="75000" y="30000"/>
                  </a:cubicBezTo>
                  <a:close/>
                  <a:moveTo>
                    <a:pt x="270000" y="105000"/>
                  </a:moveTo>
                  <a:lnTo>
                    <a:pt x="270000" y="255000"/>
                  </a:lnTo>
                  <a:cubicBezTo>
                    <a:pt x="270000" y="263285"/>
                    <a:pt x="263285" y="270000"/>
                    <a:pt x="255000" y="270000"/>
                  </a:cubicBezTo>
                  <a:lnTo>
                    <a:pt x="15000" y="270000"/>
                  </a:lnTo>
                  <a:cubicBezTo>
                    <a:pt x="6716" y="270000"/>
                    <a:pt x="0" y="263285"/>
                    <a:pt x="0" y="255000"/>
                  </a:cubicBezTo>
                  <a:lnTo>
                    <a:pt x="0" y="105000"/>
                  </a:lnTo>
                  <a:lnTo>
                    <a:pt x="270000" y="105000"/>
                  </a:lnTo>
                  <a:close/>
                  <a:moveTo>
                    <a:pt x="75000" y="135000"/>
                  </a:moveTo>
                  <a:cubicBezTo>
                    <a:pt x="66716" y="135000"/>
                    <a:pt x="60000" y="142835"/>
                    <a:pt x="60000" y="152501"/>
                  </a:cubicBezTo>
                  <a:lnTo>
                    <a:pt x="60000" y="222500"/>
                  </a:lnTo>
                  <a:cubicBezTo>
                    <a:pt x="60000" y="232165"/>
                    <a:pt x="66716" y="240000"/>
                    <a:pt x="75000" y="240000"/>
                  </a:cubicBezTo>
                  <a:lnTo>
                    <a:pt x="195000" y="240000"/>
                  </a:lnTo>
                  <a:cubicBezTo>
                    <a:pt x="203285" y="240000"/>
                    <a:pt x="210000" y="232165"/>
                    <a:pt x="210000" y="222500"/>
                  </a:cubicBezTo>
                  <a:lnTo>
                    <a:pt x="210000" y="152501"/>
                  </a:lnTo>
                  <a:cubicBezTo>
                    <a:pt x="210000" y="142835"/>
                    <a:pt x="203285" y="135000"/>
                    <a:pt x="195000" y="135000"/>
                  </a:cubicBezTo>
                  <a:lnTo>
                    <a:pt x="75000" y="13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3" name="Полилиния 552">
              <a:extLst>
                <a:ext uri="{FF2B5EF4-FFF2-40B4-BE49-F238E27FC236}">
                  <a16:creationId xmlns:a16="http://schemas.microsoft.com/office/drawing/2014/main" id="{BCF82C8D-01E5-DB47-BCCD-D660E145A0DF}"/>
                </a:ext>
              </a:extLst>
            </p:cNvPr>
            <p:cNvSpPr/>
            <p:nvPr/>
          </p:nvSpPr>
          <p:spPr>
            <a:xfrm>
              <a:off x="10587053" y="5496199"/>
              <a:ext cx="210000" cy="15000"/>
            </a:xfrm>
            <a:custGeom>
              <a:avLst/>
              <a:gdLst>
                <a:gd name="connsiteX0" fmla="*/ 15000 w 210000"/>
                <a:gd name="connsiteY0" fmla="*/ 0 h 15000"/>
                <a:gd name="connsiteX1" fmla="*/ 75000 w 210000"/>
                <a:gd name="connsiteY1" fmla="*/ 0 h 15000"/>
                <a:gd name="connsiteX2" fmla="*/ 90000 w 210000"/>
                <a:gd name="connsiteY2" fmla="*/ 15000 h 15000"/>
                <a:gd name="connsiteX3" fmla="*/ 0 w 210000"/>
                <a:gd name="connsiteY3" fmla="*/ 15000 h 15000"/>
                <a:gd name="connsiteX4" fmla="*/ 15000 w 210000"/>
                <a:gd name="connsiteY4" fmla="*/ 0 h 15000"/>
                <a:gd name="connsiteX5" fmla="*/ 165000 w 210000"/>
                <a:gd name="connsiteY5" fmla="*/ 0 h 15000"/>
                <a:gd name="connsiteX6" fmla="*/ 195000 w 210000"/>
                <a:gd name="connsiteY6" fmla="*/ 0 h 15000"/>
                <a:gd name="connsiteX7" fmla="*/ 210000 w 210000"/>
                <a:gd name="connsiteY7" fmla="*/ 15000 h 15000"/>
                <a:gd name="connsiteX8" fmla="*/ 150000 w 210000"/>
                <a:gd name="connsiteY8" fmla="*/ 15000 h 15000"/>
                <a:gd name="connsiteX9" fmla="*/ 165000 w 210000"/>
                <a:gd name="connsiteY9" fmla="*/ 0 h 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0000" h="15000">
                  <a:moveTo>
                    <a:pt x="15000" y="0"/>
                  </a:moveTo>
                  <a:lnTo>
                    <a:pt x="75000" y="0"/>
                  </a:lnTo>
                  <a:cubicBezTo>
                    <a:pt x="83285" y="0"/>
                    <a:pt x="90000" y="6716"/>
                    <a:pt x="90000" y="1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65000" y="0"/>
                  </a:moveTo>
                  <a:lnTo>
                    <a:pt x="195000" y="0"/>
                  </a:lnTo>
                  <a:cubicBezTo>
                    <a:pt x="203285" y="0"/>
                    <a:pt x="210000" y="6716"/>
                    <a:pt x="210000" y="15000"/>
                  </a:cubicBezTo>
                  <a:lnTo>
                    <a:pt x="150000" y="15000"/>
                  </a:lnTo>
                  <a:cubicBezTo>
                    <a:pt x="150000" y="6716"/>
                    <a:pt x="156716" y="0"/>
                    <a:pt x="16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54" name="Рисунок 247">
            <a:extLst>
              <a:ext uri="{FF2B5EF4-FFF2-40B4-BE49-F238E27FC236}">
                <a16:creationId xmlns:a16="http://schemas.microsoft.com/office/drawing/2014/main" id="{4897C750-AFA3-C947-95B4-241FE4A8A137}"/>
              </a:ext>
            </a:extLst>
          </p:cNvPr>
          <p:cNvGrpSpPr/>
          <p:nvPr/>
        </p:nvGrpSpPr>
        <p:grpSpPr>
          <a:xfrm>
            <a:off x="7458068" y="5134477"/>
            <a:ext cx="360000" cy="360000"/>
            <a:chOff x="7491521" y="5451199"/>
            <a:chExt cx="360000" cy="360000"/>
          </a:xfrm>
        </p:grpSpPr>
        <p:sp>
          <p:nvSpPr>
            <p:cNvPr id="555" name="Полилиния 554">
              <a:extLst>
                <a:ext uri="{FF2B5EF4-FFF2-40B4-BE49-F238E27FC236}">
                  <a16:creationId xmlns:a16="http://schemas.microsoft.com/office/drawing/2014/main" id="{0CE5F3A7-505A-7547-8772-F2A7FB433FBB}"/>
                </a:ext>
              </a:extLst>
            </p:cNvPr>
            <p:cNvSpPr/>
            <p:nvPr/>
          </p:nvSpPr>
          <p:spPr>
            <a:xfrm>
              <a:off x="7491521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6" name="Скругленный прямоугольник 555">
              <a:extLst>
                <a:ext uri="{FF2B5EF4-FFF2-40B4-BE49-F238E27FC236}">
                  <a16:creationId xmlns:a16="http://schemas.microsoft.com/office/drawing/2014/main" id="{190069C8-E944-794D-9D3C-E27E14F0C36E}"/>
                </a:ext>
              </a:extLst>
            </p:cNvPr>
            <p:cNvSpPr/>
            <p:nvPr/>
          </p:nvSpPr>
          <p:spPr>
            <a:xfrm>
              <a:off x="7521521" y="5541199"/>
              <a:ext cx="300000" cy="21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7" name="Полилиния 556">
              <a:extLst>
                <a:ext uri="{FF2B5EF4-FFF2-40B4-BE49-F238E27FC236}">
                  <a16:creationId xmlns:a16="http://schemas.microsoft.com/office/drawing/2014/main" id="{517061F4-F9B6-1B40-B883-C415A5AC22BD}"/>
                </a:ext>
              </a:extLst>
            </p:cNvPr>
            <p:cNvSpPr/>
            <p:nvPr/>
          </p:nvSpPr>
          <p:spPr>
            <a:xfrm>
              <a:off x="7551521" y="5511199"/>
              <a:ext cx="240000" cy="30000"/>
            </a:xfrm>
            <a:custGeom>
              <a:avLst/>
              <a:gdLst>
                <a:gd name="connsiteX0" fmla="*/ 15000 w 240000"/>
                <a:gd name="connsiteY0" fmla="*/ 0 h 30000"/>
                <a:gd name="connsiteX1" fmla="*/ 45000 w 240000"/>
                <a:gd name="connsiteY1" fmla="*/ 0 h 30000"/>
                <a:gd name="connsiteX2" fmla="*/ 60000 w 240000"/>
                <a:gd name="connsiteY2" fmla="*/ 15000 h 30000"/>
                <a:gd name="connsiteX3" fmla="*/ 60000 w 240000"/>
                <a:gd name="connsiteY3" fmla="*/ 30000 h 30000"/>
                <a:gd name="connsiteX4" fmla="*/ 0 w 240000"/>
                <a:gd name="connsiteY4" fmla="*/ 30000 h 30000"/>
                <a:gd name="connsiteX5" fmla="*/ 0 w 240000"/>
                <a:gd name="connsiteY5" fmla="*/ 15000 h 30000"/>
                <a:gd name="connsiteX6" fmla="*/ 15000 w 240000"/>
                <a:gd name="connsiteY6" fmla="*/ 0 h 30000"/>
                <a:gd name="connsiteX7" fmla="*/ 195000 w 240000"/>
                <a:gd name="connsiteY7" fmla="*/ 0 h 30000"/>
                <a:gd name="connsiteX8" fmla="*/ 225000 w 240000"/>
                <a:gd name="connsiteY8" fmla="*/ 0 h 30000"/>
                <a:gd name="connsiteX9" fmla="*/ 240000 w 240000"/>
                <a:gd name="connsiteY9" fmla="*/ 15000 h 30000"/>
                <a:gd name="connsiteX10" fmla="*/ 240000 w 240000"/>
                <a:gd name="connsiteY10" fmla="*/ 30000 h 30000"/>
                <a:gd name="connsiteX11" fmla="*/ 180000 w 240000"/>
                <a:gd name="connsiteY11" fmla="*/ 30000 h 30000"/>
                <a:gd name="connsiteX12" fmla="*/ 180000 w 240000"/>
                <a:gd name="connsiteY12" fmla="*/ 15000 h 30000"/>
                <a:gd name="connsiteX13" fmla="*/ 195000 w 240000"/>
                <a:gd name="connsiteY13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30000">
                  <a:moveTo>
                    <a:pt x="15000" y="0"/>
                  </a:moveTo>
                  <a:lnTo>
                    <a:pt x="45000" y="0"/>
                  </a:lnTo>
                  <a:cubicBezTo>
                    <a:pt x="53284" y="0"/>
                    <a:pt x="60000" y="6716"/>
                    <a:pt x="60000" y="15000"/>
                  </a:cubicBezTo>
                  <a:lnTo>
                    <a:pt x="60000" y="30000"/>
                  </a:lnTo>
                  <a:lnTo>
                    <a:pt x="0" y="30000"/>
                  </a:ln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95000" y="0"/>
                  </a:moveTo>
                  <a:lnTo>
                    <a:pt x="225000" y="0"/>
                  </a:lnTo>
                  <a:cubicBezTo>
                    <a:pt x="233285" y="0"/>
                    <a:pt x="240000" y="6716"/>
                    <a:pt x="240000" y="15000"/>
                  </a:cubicBezTo>
                  <a:lnTo>
                    <a:pt x="240000" y="30000"/>
                  </a:lnTo>
                  <a:lnTo>
                    <a:pt x="180000" y="30000"/>
                  </a:lnTo>
                  <a:lnTo>
                    <a:pt x="180000" y="15000"/>
                  </a:lnTo>
                  <a:cubicBezTo>
                    <a:pt x="180000" y="6716"/>
                    <a:pt x="186716" y="0"/>
                    <a:pt x="19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8" name="Полилиния 557">
              <a:extLst>
                <a:ext uri="{FF2B5EF4-FFF2-40B4-BE49-F238E27FC236}">
                  <a16:creationId xmlns:a16="http://schemas.microsoft.com/office/drawing/2014/main" id="{12EA8E7B-A3AF-8041-A963-8834FE7035D2}"/>
                </a:ext>
              </a:extLst>
            </p:cNvPr>
            <p:cNvSpPr/>
            <p:nvPr/>
          </p:nvSpPr>
          <p:spPr>
            <a:xfrm>
              <a:off x="7566521" y="5601199"/>
              <a:ext cx="90000" cy="90000"/>
            </a:xfrm>
            <a:custGeom>
              <a:avLst/>
              <a:gdLst>
                <a:gd name="connsiteX0" fmla="*/ 30000 w 90000"/>
                <a:gd name="connsiteY0" fmla="*/ 30000 h 90000"/>
                <a:gd name="connsiteX1" fmla="*/ 30000 w 90000"/>
                <a:gd name="connsiteY1" fmla="*/ 15000 h 90000"/>
                <a:gd name="connsiteX2" fmla="*/ 45000 w 90000"/>
                <a:gd name="connsiteY2" fmla="*/ 0 h 90000"/>
                <a:gd name="connsiteX3" fmla="*/ 60000 w 90000"/>
                <a:gd name="connsiteY3" fmla="*/ 15000 h 90000"/>
                <a:gd name="connsiteX4" fmla="*/ 60000 w 90000"/>
                <a:gd name="connsiteY4" fmla="*/ 30000 h 90000"/>
                <a:gd name="connsiteX5" fmla="*/ 75000 w 90000"/>
                <a:gd name="connsiteY5" fmla="*/ 30000 h 90000"/>
                <a:gd name="connsiteX6" fmla="*/ 90000 w 90000"/>
                <a:gd name="connsiteY6" fmla="*/ 45000 h 90000"/>
                <a:gd name="connsiteX7" fmla="*/ 75000 w 90000"/>
                <a:gd name="connsiteY7" fmla="*/ 60000 h 90000"/>
                <a:gd name="connsiteX8" fmla="*/ 60000 w 90000"/>
                <a:gd name="connsiteY8" fmla="*/ 60000 h 90000"/>
                <a:gd name="connsiteX9" fmla="*/ 60000 w 90000"/>
                <a:gd name="connsiteY9" fmla="*/ 75000 h 90000"/>
                <a:gd name="connsiteX10" fmla="*/ 45000 w 90000"/>
                <a:gd name="connsiteY10" fmla="*/ 90000 h 90000"/>
                <a:gd name="connsiteX11" fmla="*/ 30000 w 90000"/>
                <a:gd name="connsiteY11" fmla="*/ 75000 h 90000"/>
                <a:gd name="connsiteX12" fmla="*/ 30000 w 90000"/>
                <a:gd name="connsiteY12" fmla="*/ 60000 h 90000"/>
                <a:gd name="connsiteX13" fmla="*/ 15000 w 90000"/>
                <a:gd name="connsiteY13" fmla="*/ 60000 h 90000"/>
                <a:gd name="connsiteX14" fmla="*/ 0 w 90000"/>
                <a:gd name="connsiteY14" fmla="*/ 45000 h 90000"/>
                <a:gd name="connsiteX15" fmla="*/ 15000 w 90000"/>
                <a:gd name="connsiteY15" fmla="*/ 30000 h 90000"/>
                <a:gd name="connsiteX16" fmla="*/ 30000 w 90000"/>
                <a:gd name="connsiteY16" fmla="*/ 3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0000" h="90000">
                  <a:moveTo>
                    <a:pt x="30000" y="30000"/>
                  </a:moveTo>
                  <a:lnTo>
                    <a:pt x="30000" y="15000"/>
                  </a:lnTo>
                  <a:cubicBezTo>
                    <a:pt x="30000" y="6715"/>
                    <a:pt x="36716" y="0"/>
                    <a:pt x="45000" y="0"/>
                  </a:cubicBezTo>
                  <a:cubicBezTo>
                    <a:pt x="53284" y="0"/>
                    <a:pt x="60000" y="6715"/>
                    <a:pt x="60000" y="15000"/>
                  </a:cubicBezTo>
                  <a:lnTo>
                    <a:pt x="60000" y="30000"/>
                  </a:lnTo>
                  <a:lnTo>
                    <a:pt x="75000" y="30000"/>
                  </a:lnTo>
                  <a:cubicBezTo>
                    <a:pt x="83285" y="30000"/>
                    <a:pt x="90000" y="36715"/>
                    <a:pt x="90000" y="45000"/>
                  </a:cubicBezTo>
                  <a:cubicBezTo>
                    <a:pt x="90000" y="53285"/>
                    <a:pt x="83285" y="60000"/>
                    <a:pt x="75000" y="60000"/>
                  </a:cubicBezTo>
                  <a:lnTo>
                    <a:pt x="60000" y="60000"/>
                  </a:lnTo>
                  <a:lnTo>
                    <a:pt x="60000" y="75000"/>
                  </a:lnTo>
                  <a:cubicBezTo>
                    <a:pt x="60000" y="83285"/>
                    <a:pt x="53284" y="90000"/>
                    <a:pt x="45000" y="90000"/>
                  </a:cubicBezTo>
                  <a:cubicBezTo>
                    <a:pt x="36716" y="90000"/>
                    <a:pt x="30000" y="83285"/>
                    <a:pt x="30000" y="75000"/>
                  </a:cubicBezTo>
                  <a:lnTo>
                    <a:pt x="30000" y="60000"/>
                  </a:lnTo>
                  <a:lnTo>
                    <a:pt x="15000" y="60000"/>
                  </a:lnTo>
                  <a:cubicBezTo>
                    <a:pt x="6716" y="60000"/>
                    <a:pt x="0" y="53285"/>
                    <a:pt x="0" y="45000"/>
                  </a:cubicBezTo>
                  <a:cubicBezTo>
                    <a:pt x="0" y="36715"/>
                    <a:pt x="6716" y="30000"/>
                    <a:pt x="15000" y="30000"/>
                  </a:cubicBezTo>
                  <a:lnTo>
                    <a:pt x="30000" y="3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9" name="Полилиния 558">
              <a:extLst>
                <a:ext uri="{FF2B5EF4-FFF2-40B4-BE49-F238E27FC236}">
                  <a16:creationId xmlns:a16="http://schemas.microsoft.com/office/drawing/2014/main" id="{B814C66E-655A-C84A-9BB0-9CF27946F131}"/>
                </a:ext>
              </a:extLst>
            </p:cNvPr>
            <p:cNvSpPr/>
            <p:nvPr/>
          </p:nvSpPr>
          <p:spPr>
            <a:xfrm>
              <a:off x="7701521" y="5631199"/>
              <a:ext cx="60000" cy="30000"/>
            </a:xfrm>
            <a:custGeom>
              <a:avLst/>
              <a:gdLst>
                <a:gd name="connsiteX0" fmla="*/ 45000 w 60000"/>
                <a:gd name="connsiteY0" fmla="*/ 0 h 30000"/>
                <a:gd name="connsiteX1" fmla="*/ 60000 w 60000"/>
                <a:gd name="connsiteY1" fmla="*/ 0 h 30000"/>
                <a:gd name="connsiteX2" fmla="*/ 60000 w 60000"/>
                <a:gd name="connsiteY2" fmla="*/ 30000 h 30000"/>
                <a:gd name="connsiteX3" fmla="*/ 45000 w 60000"/>
                <a:gd name="connsiteY3" fmla="*/ 30000 h 30000"/>
                <a:gd name="connsiteX4" fmla="*/ 15000 w 60000"/>
                <a:gd name="connsiteY4" fmla="*/ 30000 h 30000"/>
                <a:gd name="connsiteX5" fmla="*/ 0 w 60000"/>
                <a:gd name="connsiteY5" fmla="*/ 30000 h 30000"/>
                <a:gd name="connsiteX6" fmla="*/ 0 w 60000"/>
                <a:gd name="connsiteY6" fmla="*/ 0 h 30000"/>
                <a:gd name="connsiteX7" fmla="*/ 15000 w 6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000" h="30000">
                  <a:moveTo>
                    <a:pt x="45000" y="0"/>
                  </a:moveTo>
                  <a:cubicBezTo>
                    <a:pt x="53284" y="0"/>
                    <a:pt x="60000" y="0"/>
                    <a:pt x="60000" y="0"/>
                  </a:cubicBezTo>
                  <a:lnTo>
                    <a:pt x="60000" y="30000"/>
                  </a:lnTo>
                  <a:cubicBezTo>
                    <a:pt x="60000" y="30000"/>
                    <a:pt x="53284" y="30000"/>
                    <a:pt x="45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60" name="Рисунок 248">
            <a:extLst>
              <a:ext uri="{FF2B5EF4-FFF2-40B4-BE49-F238E27FC236}">
                <a16:creationId xmlns:a16="http://schemas.microsoft.com/office/drawing/2014/main" id="{8830F835-DAEF-7442-BB85-0AAEBE6E2B40}"/>
              </a:ext>
            </a:extLst>
          </p:cNvPr>
          <p:cNvGrpSpPr/>
          <p:nvPr/>
        </p:nvGrpSpPr>
        <p:grpSpPr>
          <a:xfrm>
            <a:off x="2927270" y="5134477"/>
            <a:ext cx="360000" cy="360000"/>
            <a:chOff x="2960723" y="5451199"/>
            <a:chExt cx="360000" cy="360000"/>
          </a:xfrm>
        </p:grpSpPr>
        <p:sp>
          <p:nvSpPr>
            <p:cNvPr id="561" name="Полилиния 560">
              <a:extLst>
                <a:ext uri="{FF2B5EF4-FFF2-40B4-BE49-F238E27FC236}">
                  <a16:creationId xmlns:a16="http://schemas.microsoft.com/office/drawing/2014/main" id="{202C4C9B-698F-964D-B6A0-7E517BF2355F}"/>
                </a:ext>
              </a:extLst>
            </p:cNvPr>
            <p:cNvSpPr/>
            <p:nvPr/>
          </p:nvSpPr>
          <p:spPr>
            <a:xfrm>
              <a:off x="2960723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2" name="Полилиния 561">
              <a:extLst>
                <a:ext uri="{FF2B5EF4-FFF2-40B4-BE49-F238E27FC236}">
                  <a16:creationId xmlns:a16="http://schemas.microsoft.com/office/drawing/2014/main" id="{60F971C5-AB90-F946-9148-D5C641A60167}"/>
                </a:ext>
              </a:extLst>
            </p:cNvPr>
            <p:cNvSpPr/>
            <p:nvPr/>
          </p:nvSpPr>
          <p:spPr>
            <a:xfrm>
              <a:off x="3005723" y="5541199"/>
              <a:ext cx="270000" cy="210000"/>
            </a:xfrm>
            <a:custGeom>
              <a:avLst/>
              <a:gdLst>
                <a:gd name="connsiteX0" fmla="*/ 15000 w 270000"/>
                <a:gd name="connsiteY0" fmla="*/ 0 h 210000"/>
                <a:gd name="connsiteX1" fmla="*/ 255000 w 270000"/>
                <a:gd name="connsiteY1" fmla="*/ 0 h 210000"/>
                <a:gd name="connsiteX2" fmla="*/ 270000 w 270000"/>
                <a:gd name="connsiteY2" fmla="*/ 15000 h 210000"/>
                <a:gd name="connsiteX3" fmla="*/ 270000 w 270000"/>
                <a:gd name="connsiteY3" fmla="*/ 30000 h 210000"/>
                <a:gd name="connsiteX4" fmla="*/ 255000 w 270000"/>
                <a:gd name="connsiteY4" fmla="*/ 45000 h 210000"/>
                <a:gd name="connsiteX5" fmla="*/ 15000 w 270000"/>
                <a:gd name="connsiteY5" fmla="*/ 45000 h 210000"/>
                <a:gd name="connsiteX6" fmla="*/ 0 w 270000"/>
                <a:gd name="connsiteY6" fmla="*/ 30000 h 210000"/>
                <a:gd name="connsiteX7" fmla="*/ 0 w 270000"/>
                <a:gd name="connsiteY7" fmla="*/ 15000 h 210000"/>
                <a:gd name="connsiteX8" fmla="*/ 15000 w 270000"/>
                <a:gd name="connsiteY8" fmla="*/ 0 h 210000"/>
                <a:gd name="connsiteX9" fmla="*/ 30000 w 270000"/>
                <a:gd name="connsiteY9" fmla="*/ 75000 h 210000"/>
                <a:gd name="connsiteX10" fmla="*/ 105000 w 270000"/>
                <a:gd name="connsiteY10" fmla="*/ 75000 h 210000"/>
                <a:gd name="connsiteX11" fmla="*/ 120000 w 270000"/>
                <a:gd name="connsiteY11" fmla="*/ 90000 h 210000"/>
                <a:gd name="connsiteX12" fmla="*/ 120000 w 270000"/>
                <a:gd name="connsiteY12" fmla="*/ 195000 h 210000"/>
                <a:gd name="connsiteX13" fmla="*/ 105000 w 270000"/>
                <a:gd name="connsiteY13" fmla="*/ 210000 h 210000"/>
                <a:gd name="connsiteX14" fmla="*/ 30000 w 270000"/>
                <a:gd name="connsiteY14" fmla="*/ 210000 h 210000"/>
                <a:gd name="connsiteX15" fmla="*/ 15000 w 270000"/>
                <a:gd name="connsiteY15" fmla="*/ 195000 h 210000"/>
                <a:gd name="connsiteX16" fmla="*/ 15000 w 270000"/>
                <a:gd name="connsiteY16" fmla="*/ 90000 h 210000"/>
                <a:gd name="connsiteX17" fmla="*/ 30000 w 270000"/>
                <a:gd name="connsiteY17" fmla="*/ 75000 h 210000"/>
                <a:gd name="connsiteX18" fmla="*/ 165000 w 270000"/>
                <a:gd name="connsiteY18" fmla="*/ 75000 h 210000"/>
                <a:gd name="connsiteX19" fmla="*/ 240000 w 270000"/>
                <a:gd name="connsiteY19" fmla="*/ 75000 h 210000"/>
                <a:gd name="connsiteX20" fmla="*/ 255000 w 270000"/>
                <a:gd name="connsiteY20" fmla="*/ 90000 h 210000"/>
                <a:gd name="connsiteX21" fmla="*/ 255000 w 270000"/>
                <a:gd name="connsiteY21" fmla="*/ 195000 h 210000"/>
                <a:gd name="connsiteX22" fmla="*/ 240000 w 270000"/>
                <a:gd name="connsiteY22" fmla="*/ 210000 h 210000"/>
                <a:gd name="connsiteX23" fmla="*/ 165000 w 270000"/>
                <a:gd name="connsiteY23" fmla="*/ 210000 h 210000"/>
                <a:gd name="connsiteX24" fmla="*/ 150000 w 270000"/>
                <a:gd name="connsiteY24" fmla="*/ 195000 h 210000"/>
                <a:gd name="connsiteX25" fmla="*/ 150000 w 270000"/>
                <a:gd name="connsiteY25" fmla="*/ 90000 h 210000"/>
                <a:gd name="connsiteX26" fmla="*/ 165000 w 270000"/>
                <a:gd name="connsiteY26" fmla="*/ 75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70000" h="210000">
                  <a:moveTo>
                    <a:pt x="15000" y="0"/>
                  </a:moveTo>
                  <a:lnTo>
                    <a:pt x="255000" y="0"/>
                  </a:lnTo>
                  <a:cubicBezTo>
                    <a:pt x="263285" y="0"/>
                    <a:pt x="270000" y="6716"/>
                    <a:pt x="270000" y="15000"/>
                  </a:cubicBezTo>
                  <a:lnTo>
                    <a:pt x="270000" y="30000"/>
                  </a:lnTo>
                  <a:cubicBezTo>
                    <a:pt x="270000" y="38284"/>
                    <a:pt x="263285" y="45000"/>
                    <a:pt x="255000" y="45000"/>
                  </a:cubicBezTo>
                  <a:lnTo>
                    <a:pt x="15000" y="45000"/>
                  </a:lnTo>
                  <a:cubicBezTo>
                    <a:pt x="6716" y="45000"/>
                    <a:pt x="0" y="38284"/>
                    <a:pt x="0" y="30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30000" y="75000"/>
                  </a:moveTo>
                  <a:lnTo>
                    <a:pt x="105000" y="75000"/>
                  </a:lnTo>
                  <a:cubicBezTo>
                    <a:pt x="113285" y="75000"/>
                    <a:pt x="120000" y="81715"/>
                    <a:pt x="120000" y="90000"/>
                  </a:cubicBezTo>
                  <a:lnTo>
                    <a:pt x="120000" y="195000"/>
                  </a:lnTo>
                  <a:cubicBezTo>
                    <a:pt x="120000" y="203285"/>
                    <a:pt x="113285" y="210000"/>
                    <a:pt x="105000" y="210000"/>
                  </a:cubicBezTo>
                  <a:lnTo>
                    <a:pt x="30000" y="210000"/>
                  </a:lnTo>
                  <a:cubicBezTo>
                    <a:pt x="21716" y="210000"/>
                    <a:pt x="15000" y="203285"/>
                    <a:pt x="15000" y="195000"/>
                  </a:cubicBezTo>
                  <a:lnTo>
                    <a:pt x="15000" y="90000"/>
                  </a:lnTo>
                  <a:cubicBezTo>
                    <a:pt x="15000" y="81715"/>
                    <a:pt x="21716" y="75000"/>
                    <a:pt x="30000" y="75000"/>
                  </a:cubicBezTo>
                  <a:close/>
                  <a:moveTo>
                    <a:pt x="165000" y="75000"/>
                  </a:moveTo>
                  <a:lnTo>
                    <a:pt x="240000" y="75000"/>
                  </a:lnTo>
                  <a:cubicBezTo>
                    <a:pt x="248285" y="75000"/>
                    <a:pt x="255000" y="81715"/>
                    <a:pt x="255000" y="90000"/>
                  </a:cubicBezTo>
                  <a:lnTo>
                    <a:pt x="255000" y="195000"/>
                  </a:lnTo>
                  <a:cubicBezTo>
                    <a:pt x="255000" y="203285"/>
                    <a:pt x="248285" y="210000"/>
                    <a:pt x="240000" y="210000"/>
                  </a:cubicBezTo>
                  <a:lnTo>
                    <a:pt x="165000" y="210000"/>
                  </a:lnTo>
                  <a:cubicBezTo>
                    <a:pt x="156716" y="210000"/>
                    <a:pt x="150000" y="203285"/>
                    <a:pt x="150000" y="195000"/>
                  </a:cubicBezTo>
                  <a:lnTo>
                    <a:pt x="150000" y="90000"/>
                  </a:lnTo>
                  <a:cubicBezTo>
                    <a:pt x="150000" y="81715"/>
                    <a:pt x="156716" y="75000"/>
                    <a:pt x="165000" y="7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3" name="Полилиния 562">
              <a:extLst>
                <a:ext uri="{FF2B5EF4-FFF2-40B4-BE49-F238E27FC236}">
                  <a16:creationId xmlns:a16="http://schemas.microsoft.com/office/drawing/2014/main" id="{2461BCA8-7E46-8646-B37B-34F9A1CFAC17}"/>
                </a:ext>
              </a:extLst>
            </p:cNvPr>
            <p:cNvSpPr/>
            <p:nvPr/>
          </p:nvSpPr>
          <p:spPr>
            <a:xfrm>
              <a:off x="3080721" y="5481197"/>
              <a:ext cx="120003" cy="63029"/>
            </a:xfrm>
            <a:custGeom>
              <a:avLst/>
              <a:gdLst>
                <a:gd name="connsiteX0" fmla="*/ 96681 w 120003"/>
                <a:gd name="connsiteY0" fmla="*/ 2521 h 63029"/>
                <a:gd name="connsiteX1" fmla="*/ 117483 w 120003"/>
                <a:gd name="connsiteY1" fmla="*/ 6681 h 63029"/>
                <a:gd name="connsiteX2" fmla="*/ 113322 w 120003"/>
                <a:gd name="connsiteY2" fmla="*/ 27482 h 63029"/>
                <a:gd name="connsiteX3" fmla="*/ 60002 w 120003"/>
                <a:gd name="connsiteY3" fmla="*/ 63029 h 63029"/>
                <a:gd name="connsiteX4" fmla="*/ 6681 w 120003"/>
                <a:gd name="connsiteY4" fmla="*/ 27482 h 63029"/>
                <a:gd name="connsiteX5" fmla="*/ 2521 w 120003"/>
                <a:gd name="connsiteY5" fmla="*/ 6681 h 63029"/>
                <a:gd name="connsiteX6" fmla="*/ 23322 w 120003"/>
                <a:gd name="connsiteY6" fmla="*/ 2521 h 63029"/>
                <a:gd name="connsiteX7" fmla="*/ 60002 w 120003"/>
                <a:gd name="connsiteY7" fmla="*/ 26974 h 63029"/>
                <a:gd name="connsiteX8" fmla="*/ 96681 w 120003"/>
                <a:gd name="connsiteY8" fmla="*/ 2521 h 63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003" h="63029">
                  <a:moveTo>
                    <a:pt x="96681" y="2521"/>
                  </a:moveTo>
                  <a:cubicBezTo>
                    <a:pt x="103574" y="-2074"/>
                    <a:pt x="112887" y="-212"/>
                    <a:pt x="117483" y="6681"/>
                  </a:cubicBezTo>
                  <a:cubicBezTo>
                    <a:pt x="122078" y="13574"/>
                    <a:pt x="120215" y="22887"/>
                    <a:pt x="113322" y="27482"/>
                  </a:cubicBezTo>
                  <a:lnTo>
                    <a:pt x="60002" y="63029"/>
                  </a:lnTo>
                  <a:lnTo>
                    <a:pt x="6681" y="27482"/>
                  </a:lnTo>
                  <a:cubicBezTo>
                    <a:pt x="-212" y="22887"/>
                    <a:pt x="-2074" y="13574"/>
                    <a:pt x="2521" y="6681"/>
                  </a:cubicBezTo>
                  <a:cubicBezTo>
                    <a:pt x="7116" y="-212"/>
                    <a:pt x="16429" y="-2074"/>
                    <a:pt x="23322" y="2521"/>
                  </a:cubicBezTo>
                  <a:lnTo>
                    <a:pt x="60002" y="26974"/>
                  </a:lnTo>
                  <a:lnTo>
                    <a:pt x="96681" y="252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64" name="Рисунок 249">
            <a:extLst>
              <a:ext uri="{FF2B5EF4-FFF2-40B4-BE49-F238E27FC236}">
                <a16:creationId xmlns:a16="http://schemas.microsoft.com/office/drawing/2014/main" id="{450ED5ED-DC60-1B4F-9358-2959A3D316D2}"/>
              </a:ext>
            </a:extLst>
          </p:cNvPr>
          <p:cNvGrpSpPr/>
          <p:nvPr/>
        </p:nvGrpSpPr>
        <p:grpSpPr>
          <a:xfrm>
            <a:off x="9723467" y="5134477"/>
            <a:ext cx="360000" cy="360000"/>
            <a:chOff x="9756920" y="5451199"/>
            <a:chExt cx="360000" cy="360000"/>
          </a:xfrm>
        </p:grpSpPr>
        <p:sp>
          <p:nvSpPr>
            <p:cNvPr id="565" name="Полилиния 564">
              <a:extLst>
                <a:ext uri="{FF2B5EF4-FFF2-40B4-BE49-F238E27FC236}">
                  <a16:creationId xmlns:a16="http://schemas.microsoft.com/office/drawing/2014/main" id="{58602F03-241C-AA40-A7EC-2D0EACB075BB}"/>
                </a:ext>
              </a:extLst>
            </p:cNvPr>
            <p:cNvSpPr/>
            <p:nvPr/>
          </p:nvSpPr>
          <p:spPr>
            <a:xfrm>
              <a:off x="9756920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6" name="Полилиния 565">
              <a:extLst>
                <a:ext uri="{FF2B5EF4-FFF2-40B4-BE49-F238E27FC236}">
                  <a16:creationId xmlns:a16="http://schemas.microsoft.com/office/drawing/2014/main" id="{2CD9B119-E060-5243-8704-77C89F2736B7}"/>
                </a:ext>
              </a:extLst>
            </p:cNvPr>
            <p:cNvSpPr/>
            <p:nvPr/>
          </p:nvSpPr>
          <p:spPr>
            <a:xfrm>
              <a:off x="9921920" y="5571199"/>
              <a:ext cx="30000" cy="135000"/>
            </a:xfrm>
            <a:custGeom>
              <a:avLst/>
              <a:gdLst>
                <a:gd name="connsiteX0" fmla="*/ 15000 w 30000"/>
                <a:gd name="connsiteY0" fmla="*/ 0 h 135000"/>
                <a:gd name="connsiteX1" fmla="*/ 30000 w 30000"/>
                <a:gd name="connsiteY1" fmla="*/ 0 h 135000"/>
                <a:gd name="connsiteX2" fmla="*/ 30000 w 30000"/>
                <a:gd name="connsiteY2" fmla="*/ 135000 h 135000"/>
                <a:gd name="connsiteX3" fmla="*/ 15000 w 30000"/>
                <a:gd name="connsiteY3" fmla="*/ 135000 h 135000"/>
                <a:gd name="connsiteX4" fmla="*/ 15000 w 30000"/>
                <a:gd name="connsiteY4" fmla="*/ 135000 h 135000"/>
                <a:gd name="connsiteX5" fmla="*/ 0 w 30000"/>
                <a:gd name="connsiteY5" fmla="*/ 135000 h 135000"/>
                <a:gd name="connsiteX6" fmla="*/ 0 w 30000"/>
                <a:gd name="connsiteY6" fmla="*/ 0 h 135000"/>
                <a:gd name="connsiteX7" fmla="*/ 15000 w 30000"/>
                <a:gd name="connsiteY7" fmla="*/ 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135000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135000"/>
                  </a:lnTo>
                  <a:cubicBezTo>
                    <a:pt x="30000" y="135000"/>
                    <a:pt x="23284" y="135000"/>
                    <a:pt x="15000" y="135000"/>
                  </a:cubicBezTo>
                  <a:lnTo>
                    <a:pt x="15000" y="135000"/>
                  </a:lnTo>
                  <a:cubicBezTo>
                    <a:pt x="6716" y="135000"/>
                    <a:pt x="0" y="135000"/>
                    <a:pt x="0" y="135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7" name="Полилиния 566">
              <a:extLst>
                <a:ext uri="{FF2B5EF4-FFF2-40B4-BE49-F238E27FC236}">
                  <a16:creationId xmlns:a16="http://schemas.microsoft.com/office/drawing/2014/main" id="{54B610F7-3235-D54D-8F5E-2D50188B1351}"/>
                </a:ext>
              </a:extLst>
            </p:cNvPr>
            <p:cNvSpPr/>
            <p:nvPr/>
          </p:nvSpPr>
          <p:spPr>
            <a:xfrm>
              <a:off x="9876920" y="567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8" name="Полилиния 567">
              <a:extLst>
                <a:ext uri="{FF2B5EF4-FFF2-40B4-BE49-F238E27FC236}">
                  <a16:creationId xmlns:a16="http://schemas.microsoft.com/office/drawing/2014/main" id="{6E726E0C-1674-8543-BC91-1B25632C942C}"/>
                </a:ext>
              </a:extLst>
            </p:cNvPr>
            <p:cNvSpPr/>
            <p:nvPr/>
          </p:nvSpPr>
          <p:spPr>
            <a:xfrm>
              <a:off x="9876920" y="546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99" name="Рисунок 250">
            <a:extLst>
              <a:ext uri="{FF2B5EF4-FFF2-40B4-BE49-F238E27FC236}">
                <a16:creationId xmlns:a16="http://schemas.microsoft.com/office/drawing/2014/main" id="{B9538FCF-A3B7-6A4D-A8B4-F0D4864FFDA0}"/>
              </a:ext>
            </a:extLst>
          </p:cNvPr>
          <p:cNvGrpSpPr/>
          <p:nvPr/>
        </p:nvGrpSpPr>
        <p:grpSpPr>
          <a:xfrm>
            <a:off x="4437536" y="5134477"/>
            <a:ext cx="360000" cy="360000"/>
            <a:chOff x="4470989" y="5451199"/>
            <a:chExt cx="360000" cy="360000"/>
          </a:xfrm>
        </p:grpSpPr>
        <p:sp>
          <p:nvSpPr>
            <p:cNvPr id="1100" name="Полилиния 1099">
              <a:extLst>
                <a:ext uri="{FF2B5EF4-FFF2-40B4-BE49-F238E27FC236}">
                  <a16:creationId xmlns:a16="http://schemas.microsoft.com/office/drawing/2014/main" id="{6E69E962-42E6-5D42-860A-B9681647ABE4}"/>
                </a:ext>
              </a:extLst>
            </p:cNvPr>
            <p:cNvSpPr/>
            <p:nvPr/>
          </p:nvSpPr>
          <p:spPr>
            <a:xfrm>
              <a:off x="4470989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1" name="Полилиния 1100">
              <a:extLst>
                <a:ext uri="{FF2B5EF4-FFF2-40B4-BE49-F238E27FC236}">
                  <a16:creationId xmlns:a16="http://schemas.microsoft.com/office/drawing/2014/main" id="{F0D0675F-1924-CD41-ACF4-042FB6BAF6E2}"/>
                </a:ext>
              </a:extLst>
            </p:cNvPr>
            <p:cNvSpPr/>
            <p:nvPr/>
          </p:nvSpPr>
          <p:spPr>
            <a:xfrm>
              <a:off x="4545989" y="5571199"/>
              <a:ext cx="30000" cy="120000"/>
            </a:xfrm>
            <a:custGeom>
              <a:avLst/>
              <a:gdLst>
                <a:gd name="connsiteX0" fmla="*/ 15000 w 30000"/>
                <a:gd name="connsiteY0" fmla="*/ 0 h 120000"/>
                <a:gd name="connsiteX1" fmla="*/ 30000 w 30000"/>
                <a:gd name="connsiteY1" fmla="*/ 0 h 120000"/>
                <a:gd name="connsiteX2" fmla="*/ 30000 w 30000"/>
                <a:gd name="connsiteY2" fmla="*/ 120000 h 120000"/>
                <a:gd name="connsiteX3" fmla="*/ 15000 w 30000"/>
                <a:gd name="connsiteY3" fmla="*/ 120000 h 120000"/>
                <a:gd name="connsiteX4" fmla="*/ 15000 w 30000"/>
                <a:gd name="connsiteY4" fmla="*/ 120000 h 120000"/>
                <a:gd name="connsiteX5" fmla="*/ 0 w 30000"/>
                <a:gd name="connsiteY5" fmla="*/ 120000 h 120000"/>
                <a:gd name="connsiteX6" fmla="*/ 0 w 30000"/>
                <a:gd name="connsiteY6" fmla="*/ 0 h 120000"/>
                <a:gd name="connsiteX7" fmla="*/ 15000 w 30000"/>
                <a:gd name="connsiteY7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120000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120000"/>
                  </a:lnTo>
                  <a:cubicBezTo>
                    <a:pt x="30000" y="120000"/>
                    <a:pt x="23284" y="120000"/>
                    <a:pt x="15000" y="120000"/>
                  </a:cubicBezTo>
                  <a:lnTo>
                    <a:pt x="15000" y="120000"/>
                  </a:lnTo>
                  <a:cubicBezTo>
                    <a:pt x="6716" y="120000"/>
                    <a:pt x="0" y="120000"/>
                    <a:pt x="0" y="12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2" name="Полилиния 1101">
              <a:extLst>
                <a:ext uri="{FF2B5EF4-FFF2-40B4-BE49-F238E27FC236}">
                  <a16:creationId xmlns:a16="http://schemas.microsoft.com/office/drawing/2014/main" id="{41A28F9D-2883-A04D-8D83-588D510932B0}"/>
                </a:ext>
              </a:extLst>
            </p:cNvPr>
            <p:cNvSpPr/>
            <p:nvPr/>
          </p:nvSpPr>
          <p:spPr>
            <a:xfrm>
              <a:off x="4500989" y="567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3" name="Полилиния 1102">
              <a:extLst>
                <a:ext uri="{FF2B5EF4-FFF2-40B4-BE49-F238E27FC236}">
                  <a16:creationId xmlns:a16="http://schemas.microsoft.com/office/drawing/2014/main" id="{8808B60F-81B3-9A4E-9E85-F35356483995}"/>
                </a:ext>
              </a:extLst>
            </p:cNvPr>
            <p:cNvSpPr/>
            <p:nvPr/>
          </p:nvSpPr>
          <p:spPr>
            <a:xfrm>
              <a:off x="4725989" y="5571199"/>
              <a:ext cx="30000" cy="120000"/>
            </a:xfrm>
            <a:custGeom>
              <a:avLst/>
              <a:gdLst>
                <a:gd name="connsiteX0" fmla="*/ 15000 w 30000"/>
                <a:gd name="connsiteY0" fmla="*/ 0 h 120000"/>
                <a:gd name="connsiteX1" fmla="*/ 30000 w 30000"/>
                <a:gd name="connsiteY1" fmla="*/ 0 h 120000"/>
                <a:gd name="connsiteX2" fmla="*/ 30000 w 30000"/>
                <a:gd name="connsiteY2" fmla="*/ 120000 h 120000"/>
                <a:gd name="connsiteX3" fmla="*/ 15000 w 30000"/>
                <a:gd name="connsiteY3" fmla="*/ 120000 h 120000"/>
                <a:gd name="connsiteX4" fmla="*/ 15000 w 30000"/>
                <a:gd name="connsiteY4" fmla="*/ 120000 h 120000"/>
                <a:gd name="connsiteX5" fmla="*/ 0 w 30000"/>
                <a:gd name="connsiteY5" fmla="*/ 120000 h 120000"/>
                <a:gd name="connsiteX6" fmla="*/ 0 w 30000"/>
                <a:gd name="connsiteY6" fmla="*/ 0 h 120000"/>
                <a:gd name="connsiteX7" fmla="*/ 15000 w 30000"/>
                <a:gd name="connsiteY7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120000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120000"/>
                  </a:lnTo>
                  <a:cubicBezTo>
                    <a:pt x="30000" y="120000"/>
                    <a:pt x="23284" y="120000"/>
                    <a:pt x="15000" y="120000"/>
                  </a:cubicBezTo>
                  <a:lnTo>
                    <a:pt x="15000" y="120000"/>
                  </a:lnTo>
                  <a:cubicBezTo>
                    <a:pt x="6716" y="120000"/>
                    <a:pt x="0" y="120000"/>
                    <a:pt x="0" y="12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4" name="Полилиния 1103">
              <a:extLst>
                <a:ext uri="{FF2B5EF4-FFF2-40B4-BE49-F238E27FC236}">
                  <a16:creationId xmlns:a16="http://schemas.microsoft.com/office/drawing/2014/main" id="{FEB44CCE-197B-5D43-8B9B-E34E8D410348}"/>
                </a:ext>
              </a:extLst>
            </p:cNvPr>
            <p:cNvSpPr/>
            <p:nvPr/>
          </p:nvSpPr>
          <p:spPr>
            <a:xfrm>
              <a:off x="4680989" y="567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4" y="120000"/>
                    <a:pt x="0" y="93137"/>
                    <a:pt x="0" y="60000"/>
                  </a:cubicBezTo>
                  <a:cubicBezTo>
                    <a:pt x="0" y="26863"/>
                    <a:pt x="26864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5" name="Полилиния 1104">
              <a:extLst>
                <a:ext uri="{FF2B5EF4-FFF2-40B4-BE49-F238E27FC236}">
                  <a16:creationId xmlns:a16="http://schemas.microsoft.com/office/drawing/2014/main" id="{A1366394-8D81-6C41-9DD6-7072C535B4AD}"/>
                </a:ext>
              </a:extLst>
            </p:cNvPr>
            <p:cNvSpPr/>
            <p:nvPr/>
          </p:nvSpPr>
          <p:spPr>
            <a:xfrm>
              <a:off x="4500989" y="546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6" name="Полилиния 1105">
              <a:extLst>
                <a:ext uri="{FF2B5EF4-FFF2-40B4-BE49-F238E27FC236}">
                  <a16:creationId xmlns:a16="http://schemas.microsoft.com/office/drawing/2014/main" id="{3DA62941-2FFA-D647-8C26-D70C9B69F4AC}"/>
                </a:ext>
              </a:extLst>
            </p:cNvPr>
            <p:cNvSpPr/>
            <p:nvPr/>
          </p:nvSpPr>
          <p:spPr>
            <a:xfrm>
              <a:off x="4680989" y="546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4" y="120000"/>
                    <a:pt x="0" y="93137"/>
                    <a:pt x="0" y="60000"/>
                  </a:cubicBezTo>
                  <a:cubicBezTo>
                    <a:pt x="0" y="26863"/>
                    <a:pt x="26864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07" name="Рисунок 251">
            <a:extLst>
              <a:ext uri="{FF2B5EF4-FFF2-40B4-BE49-F238E27FC236}">
                <a16:creationId xmlns:a16="http://schemas.microsoft.com/office/drawing/2014/main" id="{B4AEBF67-DF4A-6547-9C2E-5F55AE9B6E62}"/>
              </a:ext>
            </a:extLst>
          </p:cNvPr>
          <p:cNvGrpSpPr/>
          <p:nvPr/>
        </p:nvGrpSpPr>
        <p:grpSpPr>
          <a:xfrm>
            <a:off x="5947802" y="5134477"/>
            <a:ext cx="360000" cy="360000"/>
            <a:chOff x="5981255" y="5451199"/>
            <a:chExt cx="360000" cy="360000"/>
          </a:xfrm>
        </p:grpSpPr>
        <p:sp>
          <p:nvSpPr>
            <p:cNvPr id="1108" name="Полилиния 1107">
              <a:extLst>
                <a:ext uri="{FF2B5EF4-FFF2-40B4-BE49-F238E27FC236}">
                  <a16:creationId xmlns:a16="http://schemas.microsoft.com/office/drawing/2014/main" id="{4831F5DF-3C25-FB4A-8091-C5B3869B0619}"/>
                </a:ext>
              </a:extLst>
            </p:cNvPr>
            <p:cNvSpPr/>
            <p:nvPr/>
          </p:nvSpPr>
          <p:spPr>
            <a:xfrm>
              <a:off x="5981255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9" name="Полилиния 1108">
              <a:extLst>
                <a:ext uri="{FF2B5EF4-FFF2-40B4-BE49-F238E27FC236}">
                  <a16:creationId xmlns:a16="http://schemas.microsoft.com/office/drawing/2014/main" id="{CEF0734B-B367-064B-B12B-C3C22E3428D4}"/>
                </a:ext>
              </a:extLst>
            </p:cNvPr>
            <p:cNvSpPr/>
            <p:nvPr/>
          </p:nvSpPr>
          <p:spPr>
            <a:xfrm>
              <a:off x="6056255" y="5571199"/>
              <a:ext cx="210000" cy="120000"/>
            </a:xfrm>
            <a:custGeom>
              <a:avLst/>
              <a:gdLst>
                <a:gd name="connsiteX0" fmla="*/ 30000 w 210000"/>
                <a:gd name="connsiteY0" fmla="*/ 45000 h 120000"/>
                <a:gd name="connsiteX1" fmla="*/ 150000 w 210000"/>
                <a:gd name="connsiteY1" fmla="*/ 45000 h 120000"/>
                <a:gd name="connsiteX2" fmla="*/ 180000 w 210000"/>
                <a:gd name="connsiteY2" fmla="*/ 15000 h 120000"/>
                <a:gd name="connsiteX3" fmla="*/ 180000 w 210000"/>
                <a:gd name="connsiteY3" fmla="*/ 0 h 120000"/>
                <a:gd name="connsiteX4" fmla="*/ 210000 w 210000"/>
                <a:gd name="connsiteY4" fmla="*/ 0 h 120000"/>
                <a:gd name="connsiteX5" fmla="*/ 210000 w 210000"/>
                <a:gd name="connsiteY5" fmla="*/ 15000 h 120000"/>
                <a:gd name="connsiteX6" fmla="*/ 150000 w 210000"/>
                <a:gd name="connsiteY6" fmla="*/ 75000 h 120000"/>
                <a:gd name="connsiteX7" fmla="*/ 30000 w 210000"/>
                <a:gd name="connsiteY7" fmla="*/ 75000 h 120000"/>
                <a:gd name="connsiteX8" fmla="*/ 30000 w 210000"/>
                <a:gd name="connsiteY8" fmla="*/ 105000 h 120000"/>
                <a:gd name="connsiteX9" fmla="*/ 15000 w 210000"/>
                <a:gd name="connsiteY9" fmla="*/ 120000 h 120000"/>
                <a:gd name="connsiteX10" fmla="*/ 0 w 210000"/>
                <a:gd name="connsiteY10" fmla="*/ 105000 h 120000"/>
                <a:gd name="connsiteX11" fmla="*/ 0 w 210000"/>
                <a:gd name="connsiteY11" fmla="*/ 15000 h 120000"/>
                <a:gd name="connsiteX12" fmla="*/ 15000 w 210000"/>
                <a:gd name="connsiteY12" fmla="*/ 0 h 120000"/>
                <a:gd name="connsiteX13" fmla="*/ 30000 w 210000"/>
                <a:gd name="connsiteY13" fmla="*/ 15000 h 120000"/>
                <a:gd name="connsiteX14" fmla="*/ 30000 w 210000"/>
                <a:gd name="connsiteY14" fmla="*/ 4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0000" h="120000">
                  <a:moveTo>
                    <a:pt x="30000" y="45000"/>
                  </a:moveTo>
                  <a:lnTo>
                    <a:pt x="150000" y="45000"/>
                  </a:lnTo>
                  <a:cubicBezTo>
                    <a:pt x="166569" y="45000"/>
                    <a:pt x="180000" y="31569"/>
                    <a:pt x="180000" y="15000"/>
                  </a:cubicBezTo>
                  <a:lnTo>
                    <a:pt x="180000" y="0"/>
                  </a:lnTo>
                  <a:lnTo>
                    <a:pt x="210000" y="0"/>
                  </a:lnTo>
                  <a:lnTo>
                    <a:pt x="210000" y="15000"/>
                  </a:lnTo>
                  <a:cubicBezTo>
                    <a:pt x="210000" y="48136"/>
                    <a:pt x="183137" y="75000"/>
                    <a:pt x="150000" y="75000"/>
                  </a:cubicBezTo>
                  <a:lnTo>
                    <a:pt x="30000" y="75000"/>
                  </a:lnTo>
                  <a:lnTo>
                    <a:pt x="30000" y="105000"/>
                  </a:lnTo>
                  <a:cubicBezTo>
                    <a:pt x="30000" y="113285"/>
                    <a:pt x="23284" y="120000"/>
                    <a:pt x="15000" y="120000"/>
                  </a:cubicBezTo>
                  <a:cubicBezTo>
                    <a:pt x="6716" y="120000"/>
                    <a:pt x="0" y="113285"/>
                    <a:pt x="0" y="10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ubicBezTo>
                    <a:pt x="23284" y="0"/>
                    <a:pt x="30000" y="6716"/>
                    <a:pt x="30000" y="15000"/>
                  </a:cubicBezTo>
                  <a:lnTo>
                    <a:pt x="30000" y="4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0" name="Полилиния 1109">
              <a:extLst>
                <a:ext uri="{FF2B5EF4-FFF2-40B4-BE49-F238E27FC236}">
                  <a16:creationId xmlns:a16="http://schemas.microsoft.com/office/drawing/2014/main" id="{DAE20EF6-1780-BF47-90FB-54DC4E8A5345}"/>
                </a:ext>
              </a:extLst>
            </p:cNvPr>
            <p:cNvSpPr/>
            <p:nvPr/>
          </p:nvSpPr>
          <p:spPr>
            <a:xfrm>
              <a:off x="6011255" y="567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1" name="Полилиния 1110">
              <a:extLst>
                <a:ext uri="{FF2B5EF4-FFF2-40B4-BE49-F238E27FC236}">
                  <a16:creationId xmlns:a16="http://schemas.microsoft.com/office/drawing/2014/main" id="{BEA59B10-9051-AC4F-BDAB-7CB99CFFF53B}"/>
                </a:ext>
              </a:extLst>
            </p:cNvPr>
            <p:cNvSpPr/>
            <p:nvPr/>
          </p:nvSpPr>
          <p:spPr>
            <a:xfrm>
              <a:off x="6191255" y="546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4" y="120000"/>
                    <a:pt x="0" y="93137"/>
                    <a:pt x="0" y="60000"/>
                  </a:cubicBezTo>
                  <a:cubicBezTo>
                    <a:pt x="0" y="26863"/>
                    <a:pt x="26864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2" name="Полилиния 1111">
              <a:extLst>
                <a:ext uri="{FF2B5EF4-FFF2-40B4-BE49-F238E27FC236}">
                  <a16:creationId xmlns:a16="http://schemas.microsoft.com/office/drawing/2014/main" id="{54A8B98D-B6E1-134E-8C15-AA2BBB7EF568}"/>
                </a:ext>
              </a:extLst>
            </p:cNvPr>
            <p:cNvSpPr/>
            <p:nvPr/>
          </p:nvSpPr>
          <p:spPr>
            <a:xfrm>
              <a:off x="6011255" y="546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13" name="Рисунок 252">
            <a:extLst>
              <a:ext uri="{FF2B5EF4-FFF2-40B4-BE49-F238E27FC236}">
                <a16:creationId xmlns:a16="http://schemas.microsoft.com/office/drawing/2014/main" id="{98BE3DD8-D8BA-AD48-A494-E413A5D4082D}"/>
              </a:ext>
            </a:extLst>
          </p:cNvPr>
          <p:cNvGrpSpPr/>
          <p:nvPr/>
        </p:nvGrpSpPr>
        <p:grpSpPr>
          <a:xfrm>
            <a:off x="1417004" y="5134477"/>
            <a:ext cx="360000" cy="360000"/>
            <a:chOff x="1450457" y="5451199"/>
            <a:chExt cx="360000" cy="360000"/>
          </a:xfrm>
        </p:grpSpPr>
        <p:sp>
          <p:nvSpPr>
            <p:cNvPr id="1114" name="Полилиния 1113">
              <a:extLst>
                <a:ext uri="{FF2B5EF4-FFF2-40B4-BE49-F238E27FC236}">
                  <a16:creationId xmlns:a16="http://schemas.microsoft.com/office/drawing/2014/main" id="{085A6BAA-3FC4-C247-85E5-9C93C402C97A}"/>
                </a:ext>
              </a:extLst>
            </p:cNvPr>
            <p:cNvSpPr/>
            <p:nvPr/>
          </p:nvSpPr>
          <p:spPr>
            <a:xfrm>
              <a:off x="1450457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5" name="Полилиния 1114">
              <a:extLst>
                <a:ext uri="{FF2B5EF4-FFF2-40B4-BE49-F238E27FC236}">
                  <a16:creationId xmlns:a16="http://schemas.microsoft.com/office/drawing/2014/main" id="{B8F3D534-7152-B74D-9544-A57AB95B97C0}"/>
                </a:ext>
              </a:extLst>
            </p:cNvPr>
            <p:cNvSpPr/>
            <p:nvPr/>
          </p:nvSpPr>
          <p:spPr>
            <a:xfrm>
              <a:off x="1480457" y="546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6" name="Полилиния 1115">
              <a:extLst>
                <a:ext uri="{FF2B5EF4-FFF2-40B4-BE49-F238E27FC236}">
                  <a16:creationId xmlns:a16="http://schemas.microsoft.com/office/drawing/2014/main" id="{CBF3EB4D-E227-264B-9D77-3A0443542A09}"/>
                </a:ext>
              </a:extLst>
            </p:cNvPr>
            <p:cNvSpPr/>
            <p:nvPr/>
          </p:nvSpPr>
          <p:spPr>
            <a:xfrm>
              <a:off x="1525457" y="5556199"/>
              <a:ext cx="150000" cy="210000"/>
            </a:xfrm>
            <a:custGeom>
              <a:avLst/>
              <a:gdLst>
                <a:gd name="connsiteX0" fmla="*/ 30000 w 150000"/>
                <a:gd name="connsiteY0" fmla="*/ 66974 h 210000"/>
                <a:gd name="connsiteX1" fmla="*/ 30000 w 150000"/>
                <a:gd name="connsiteY1" fmla="*/ 150000 h 210000"/>
                <a:gd name="connsiteX2" fmla="*/ 60000 w 150000"/>
                <a:gd name="connsiteY2" fmla="*/ 180000 h 210000"/>
                <a:gd name="connsiteX3" fmla="*/ 150000 w 150000"/>
                <a:gd name="connsiteY3" fmla="*/ 180000 h 210000"/>
                <a:gd name="connsiteX4" fmla="*/ 150000 w 150000"/>
                <a:gd name="connsiteY4" fmla="*/ 210000 h 210000"/>
                <a:gd name="connsiteX5" fmla="*/ 60000 w 150000"/>
                <a:gd name="connsiteY5" fmla="*/ 210000 h 210000"/>
                <a:gd name="connsiteX6" fmla="*/ 0 w 150000"/>
                <a:gd name="connsiteY6" fmla="*/ 150000 h 210000"/>
                <a:gd name="connsiteX7" fmla="*/ 0 w 150000"/>
                <a:gd name="connsiteY7" fmla="*/ 15000 h 210000"/>
                <a:gd name="connsiteX8" fmla="*/ 0 w 150000"/>
                <a:gd name="connsiteY8" fmla="*/ 0 h 210000"/>
                <a:gd name="connsiteX9" fmla="*/ 30000 w 150000"/>
                <a:gd name="connsiteY9" fmla="*/ 0 h 210000"/>
                <a:gd name="connsiteX10" fmla="*/ 30000 w 150000"/>
                <a:gd name="connsiteY10" fmla="*/ 15000 h 210000"/>
                <a:gd name="connsiteX11" fmla="*/ 60000 w 150000"/>
                <a:gd name="connsiteY11" fmla="*/ 45000 h 210000"/>
                <a:gd name="connsiteX12" fmla="*/ 150000 w 150000"/>
                <a:gd name="connsiteY12" fmla="*/ 45000 h 210000"/>
                <a:gd name="connsiteX13" fmla="*/ 150000 w 150000"/>
                <a:gd name="connsiteY13" fmla="*/ 75000 h 210000"/>
                <a:gd name="connsiteX14" fmla="*/ 60000 w 150000"/>
                <a:gd name="connsiteY14" fmla="*/ 75000 h 210000"/>
                <a:gd name="connsiteX15" fmla="*/ 30000 w 150000"/>
                <a:gd name="connsiteY15" fmla="*/ 66974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0000" h="210000">
                  <a:moveTo>
                    <a:pt x="30000" y="66974"/>
                  </a:moveTo>
                  <a:lnTo>
                    <a:pt x="30000" y="150000"/>
                  </a:lnTo>
                  <a:cubicBezTo>
                    <a:pt x="30000" y="166569"/>
                    <a:pt x="43431" y="180000"/>
                    <a:pt x="60000" y="180000"/>
                  </a:cubicBezTo>
                  <a:lnTo>
                    <a:pt x="150000" y="180000"/>
                  </a:lnTo>
                  <a:lnTo>
                    <a:pt x="150000" y="210000"/>
                  </a:lnTo>
                  <a:lnTo>
                    <a:pt x="60000" y="210000"/>
                  </a:lnTo>
                  <a:cubicBezTo>
                    <a:pt x="26863" y="210000"/>
                    <a:pt x="0" y="183137"/>
                    <a:pt x="0" y="150000"/>
                  </a:cubicBezTo>
                  <a:lnTo>
                    <a:pt x="0" y="15000"/>
                  </a:lnTo>
                  <a:lnTo>
                    <a:pt x="0" y="0"/>
                  </a:lnTo>
                  <a:lnTo>
                    <a:pt x="30000" y="0"/>
                  </a:lnTo>
                  <a:lnTo>
                    <a:pt x="30000" y="15000"/>
                  </a:lnTo>
                  <a:cubicBezTo>
                    <a:pt x="30000" y="31569"/>
                    <a:pt x="43431" y="45000"/>
                    <a:pt x="60000" y="45000"/>
                  </a:cubicBezTo>
                  <a:lnTo>
                    <a:pt x="150000" y="45000"/>
                  </a:lnTo>
                  <a:lnTo>
                    <a:pt x="150000" y="75000"/>
                  </a:lnTo>
                  <a:lnTo>
                    <a:pt x="60000" y="75000"/>
                  </a:lnTo>
                  <a:cubicBezTo>
                    <a:pt x="49071" y="75000"/>
                    <a:pt x="38825" y="72078"/>
                    <a:pt x="30000" y="66974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7" name="Полилиния 1116">
              <a:extLst>
                <a:ext uri="{FF2B5EF4-FFF2-40B4-BE49-F238E27FC236}">
                  <a16:creationId xmlns:a16="http://schemas.microsoft.com/office/drawing/2014/main" id="{4F89EA51-874D-FC4F-8302-D9BAAB459F16}"/>
                </a:ext>
              </a:extLst>
            </p:cNvPr>
            <p:cNvSpPr/>
            <p:nvPr/>
          </p:nvSpPr>
          <p:spPr>
            <a:xfrm>
              <a:off x="1660457" y="5691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4" y="120000"/>
                    <a:pt x="0" y="93137"/>
                    <a:pt x="0" y="60000"/>
                  </a:cubicBezTo>
                  <a:cubicBezTo>
                    <a:pt x="0" y="26863"/>
                    <a:pt x="26864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8" name="Полилиния 1117">
              <a:extLst>
                <a:ext uri="{FF2B5EF4-FFF2-40B4-BE49-F238E27FC236}">
                  <a16:creationId xmlns:a16="http://schemas.microsoft.com/office/drawing/2014/main" id="{A0057896-4BDB-744A-B562-519860F1562F}"/>
                </a:ext>
              </a:extLst>
            </p:cNvPr>
            <p:cNvSpPr/>
            <p:nvPr/>
          </p:nvSpPr>
          <p:spPr>
            <a:xfrm>
              <a:off x="1660457" y="555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4" y="120000"/>
                    <a:pt x="0" y="93137"/>
                    <a:pt x="0" y="60000"/>
                  </a:cubicBezTo>
                  <a:cubicBezTo>
                    <a:pt x="0" y="26863"/>
                    <a:pt x="26864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119" name="Рисунок 253">
            <a:extLst>
              <a:ext uri="{FF2B5EF4-FFF2-40B4-BE49-F238E27FC236}">
                <a16:creationId xmlns:a16="http://schemas.microsoft.com/office/drawing/2014/main" id="{77C2A876-DFB1-C043-8528-A1A3D5E5FC80}"/>
              </a:ext>
            </a:extLst>
          </p:cNvPr>
          <p:cNvGrpSpPr/>
          <p:nvPr/>
        </p:nvGrpSpPr>
        <p:grpSpPr>
          <a:xfrm>
            <a:off x="8213201" y="5134477"/>
            <a:ext cx="360000" cy="360000"/>
            <a:chOff x="8246654" y="5451199"/>
            <a:chExt cx="360000" cy="360000"/>
          </a:xfrm>
        </p:grpSpPr>
        <p:sp>
          <p:nvSpPr>
            <p:cNvPr id="1120" name="Полилиния 1119">
              <a:extLst>
                <a:ext uri="{FF2B5EF4-FFF2-40B4-BE49-F238E27FC236}">
                  <a16:creationId xmlns:a16="http://schemas.microsoft.com/office/drawing/2014/main" id="{37E3C1F8-A5D4-E54C-A372-280137465DFD}"/>
                </a:ext>
              </a:extLst>
            </p:cNvPr>
            <p:cNvSpPr/>
            <p:nvPr/>
          </p:nvSpPr>
          <p:spPr>
            <a:xfrm>
              <a:off x="8246654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1" name="Полилиния 1120">
              <a:extLst>
                <a:ext uri="{FF2B5EF4-FFF2-40B4-BE49-F238E27FC236}">
                  <a16:creationId xmlns:a16="http://schemas.microsoft.com/office/drawing/2014/main" id="{F5DCE098-49F3-AE41-ABB3-487844C5BF65}"/>
                </a:ext>
              </a:extLst>
            </p:cNvPr>
            <p:cNvSpPr/>
            <p:nvPr/>
          </p:nvSpPr>
          <p:spPr>
            <a:xfrm>
              <a:off x="8291653" y="5489199"/>
              <a:ext cx="270000" cy="291999"/>
            </a:xfrm>
            <a:custGeom>
              <a:avLst/>
              <a:gdLst>
                <a:gd name="connsiteX0" fmla="*/ 150000 w 270000"/>
                <a:gd name="connsiteY0" fmla="*/ 246176 h 291999"/>
                <a:gd name="connsiteX1" fmla="*/ 150000 w 270000"/>
                <a:gd name="connsiteY1" fmla="*/ 261999 h 291999"/>
                <a:gd name="connsiteX2" fmla="*/ 165000 w 270000"/>
                <a:gd name="connsiteY2" fmla="*/ 261999 h 291999"/>
                <a:gd name="connsiteX3" fmla="*/ 195000 w 270000"/>
                <a:gd name="connsiteY3" fmla="*/ 291999 h 291999"/>
                <a:gd name="connsiteX4" fmla="*/ 75000 w 270000"/>
                <a:gd name="connsiteY4" fmla="*/ 291999 h 291999"/>
                <a:gd name="connsiteX5" fmla="*/ 105000 w 270000"/>
                <a:gd name="connsiteY5" fmla="*/ 261999 h 291999"/>
                <a:gd name="connsiteX6" fmla="*/ 120000 w 270000"/>
                <a:gd name="connsiteY6" fmla="*/ 261999 h 291999"/>
                <a:gd name="connsiteX7" fmla="*/ 120000 w 270000"/>
                <a:gd name="connsiteY7" fmla="*/ 246171 h 291999"/>
                <a:gd name="connsiteX8" fmla="*/ 41906 w 270000"/>
                <a:gd name="connsiteY8" fmla="*/ 209774 h 291999"/>
                <a:gd name="connsiteX9" fmla="*/ 26078 w 270000"/>
                <a:gd name="connsiteY9" fmla="*/ 227112 h 291999"/>
                <a:gd name="connsiteX10" fmla="*/ 4887 w 270000"/>
                <a:gd name="connsiteY10" fmla="*/ 228078 h 291999"/>
                <a:gd name="connsiteX11" fmla="*/ 3922 w 270000"/>
                <a:gd name="connsiteY11" fmla="*/ 206886 h 291999"/>
                <a:gd name="connsiteX12" fmla="*/ 30741 w 270000"/>
                <a:gd name="connsiteY12" fmla="*/ 177506 h 291999"/>
                <a:gd name="connsiteX13" fmla="*/ 53461 w 270000"/>
                <a:gd name="connsiteY13" fmla="*/ 178160 h 291999"/>
                <a:gd name="connsiteX14" fmla="*/ 135000 w 270000"/>
                <a:gd name="connsiteY14" fmla="*/ 216999 h 291999"/>
                <a:gd name="connsiteX15" fmla="*/ 240000 w 270000"/>
                <a:gd name="connsiteY15" fmla="*/ 111999 h 291999"/>
                <a:gd name="connsiteX16" fmla="*/ 196821 w 270000"/>
                <a:gd name="connsiteY16" fmla="*/ 27118 h 291999"/>
                <a:gd name="connsiteX17" fmla="*/ 193547 w 270000"/>
                <a:gd name="connsiteY17" fmla="*/ 6159 h 291999"/>
                <a:gd name="connsiteX18" fmla="*/ 214506 w 270000"/>
                <a:gd name="connsiteY18" fmla="*/ 2884 h 291999"/>
                <a:gd name="connsiteX19" fmla="*/ 270000 w 270000"/>
                <a:gd name="connsiteY19" fmla="*/ 111999 h 291999"/>
                <a:gd name="connsiteX20" fmla="*/ 150000 w 270000"/>
                <a:gd name="connsiteY20" fmla="*/ 246176 h 29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000" h="291999">
                  <a:moveTo>
                    <a:pt x="150000" y="246176"/>
                  </a:moveTo>
                  <a:lnTo>
                    <a:pt x="150000" y="261999"/>
                  </a:lnTo>
                  <a:lnTo>
                    <a:pt x="165000" y="261999"/>
                  </a:lnTo>
                  <a:cubicBezTo>
                    <a:pt x="181569" y="261999"/>
                    <a:pt x="195000" y="275430"/>
                    <a:pt x="195000" y="291999"/>
                  </a:cubicBezTo>
                  <a:lnTo>
                    <a:pt x="75000" y="291999"/>
                  </a:lnTo>
                  <a:cubicBezTo>
                    <a:pt x="75000" y="275430"/>
                    <a:pt x="88432" y="261999"/>
                    <a:pt x="105000" y="261999"/>
                  </a:cubicBezTo>
                  <a:lnTo>
                    <a:pt x="120000" y="261999"/>
                  </a:lnTo>
                  <a:lnTo>
                    <a:pt x="120000" y="246171"/>
                  </a:lnTo>
                  <a:cubicBezTo>
                    <a:pt x="90431" y="242892"/>
                    <a:pt x="63124" y="229995"/>
                    <a:pt x="41906" y="209774"/>
                  </a:cubicBezTo>
                  <a:lnTo>
                    <a:pt x="26078" y="227112"/>
                  </a:lnTo>
                  <a:cubicBezTo>
                    <a:pt x="20493" y="233231"/>
                    <a:pt x="11006" y="233663"/>
                    <a:pt x="4887" y="228078"/>
                  </a:cubicBezTo>
                  <a:cubicBezTo>
                    <a:pt x="-1231" y="222492"/>
                    <a:pt x="-1663" y="213005"/>
                    <a:pt x="3922" y="206886"/>
                  </a:cubicBezTo>
                  <a:lnTo>
                    <a:pt x="30741" y="177506"/>
                  </a:lnTo>
                  <a:cubicBezTo>
                    <a:pt x="36923" y="170735"/>
                    <a:pt x="47679" y="171044"/>
                    <a:pt x="53461" y="178160"/>
                  </a:cubicBezTo>
                  <a:cubicBezTo>
                    <a:pt x="73294" y="202568"/>
                    <a:pt x="102948" y="216999"/>
                    <a:pt x="135000" y="216999"/>
                  </a:cubicBezTo>
                  <a:cubicBezTo>
                    <a:pt x="192990" y="216999"/>
                    <a:pt x="240000" y="169989"/>
                    <a:pt x="240000" y="111999"/>
                  </a:cubicBezTo>
                  <a:cubicBezTo>
                    <a:pt x="240000" y="78020"/>
                    <a:pt x="223764" y="46779"/>
                    <a:pt x="196821" y="27118"/>
                  </a:cubicBezTo>
                  <a:cubicBezTo>
                    <a:pt x="190130" y="22234"/>
                    <a:pt x="188664" y="12851"/>
                    <a:pt x="193547" y="6159"/>
                  </a:cubicBezTo>
                  <a:cubicBezTo>
                    <a:pt x="198431" y="-533"/>
                    <a:pt x="207815" y="-1999"/>
                    <a:pt x="214506" y="2884"/>
                  </a:cubicBezTo>
                  <a:cubicBezTo>
                    <a:pt x="249107" y="28135"/>
                    <a:pt x="270000" y="68335"/>
                    <a:pt x="270000" y="111999"/>
                  </a:cubicBezTo>
                  <a:cubicBezTo>
                    <a:pt x="270000" y="181488"/>
                    <a:pt x="217500" y="238713"/>
                    <a:pt x="150000" y="246176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2" name="Полилиния 1121">
              <a:extLst>
                <a:ext uri="{FF2B5EF4-FFF2-40B4-BE49-F238E27FC236}">
                  <a16:creationId xmlns:a16="http://schemas.microsoft.com/office/drawing/2014/main" id="{76608A36-7AAD-DB49-BF5F-7D8DB8556545}"/>
                </a:ext>
              </a:extLst>
            </p:cNvPr>
            <p:cNvSpPr/>
            <p:nvPr/>
          </p:nvSpPr>
          <p:spPr>
            <a:xfrm>
              <a:off x="8336654" y="5511199"/>
              <a:ext cx="180000" cy="180000"/>
            </a:xfrm>
            <a:custGeom>
              <a:avLst/>
              <a:gdLst>
                <a:gd name="connsiteX0" fmla="*/ 180000 w 180000"/>
                <a:gd name="connsiteY0" fmla="*/ 90000 h 180000"/>
                <a:gd name="connsiteX1" fmla="*/ 90000 w 180000"/>
                <a:gd name="connsiteY1" fmla="*/ 180000 h 180000"/>
                <a:gd name="connsiteX2" fmla="*/ 0 w 180000"/>
                <a:gd name="connsiteY2" fmla="*/ 90000 h 180000"/>
                <a:gd name="connsiteX3" fmla="*/ 90000 w 180000"/>
                <a:gd name="connsiteY3" fmla="*/ 0 h 180000"/>
                <a:gd name="connsiteX4" fmla="*/ 180000 w 180000"/>
                <a:gd name="connsiteY4" fmla="*/ 9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000" h="180000">
                  <a:moveTo>
                    <a:pt x="180000" y="90000"/>
                  </a:moveTo>
                  <a:cubicBezTo>
                    <a:pt x="180000" y="139706"/>
                    <a:pt x="139706" y="180000"/>
                    <a:pt x="90000" y="180000"/>
                  </a:cubicBezTo>
                  <a:cubicBezTo>
                    <a:pt x="40294" y="180000"/>
                    <a:pt x="0" y="139706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9706" y="0"/>
                    <a:pt x="180000" y="40294"/>
                    <a:pt x="180000" y="9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123" name="Рисунок 254">
            <a:extLst>
              <a:ext uri="{FF2B5EF4-FFF2-40B4-BE49-F238E27FC236}">
                <a16:creationId xmlns:a16="http://schemas.microsoft.com/office/drawing/2014/main" id="{4F09A971-A862-674A-828E-08A531ACEBFB}"/>
              </a:ext>
            </a:extLst>
          </p:cNvPr>
          <p:cNvGrpSpPr/>
          <p:nvPr/>
        </p:nvGrpSpPr>
        <p:grpSpPr>
          <a:xfrm>
            <a:off x="8968334" y="5134477"/>
            <a:ext cx="360000" cy="360000"/>
            <a:chOff x="9001787" y="5451199"/>
            <a:chExt cx="360000" cy="360000"/>
          </a:xfrm>
        </p:grpSpPr>
        <p:sp>
          <p:nvSpPr>
            <p:cNvPr id="1124" name="Полилиния 1123">
              <a:extLst>
                <a:ext uri="{FF2B5EF4-FFF2-40B4-BE49-F238E27FC236}">
                  <a16:creationId xmlns:a16="http://schemas.microsoft.com/office/drawing/2014/main" id="{1EEF9EB2-94F5-7248-B17E-B0B05ED16153}"/>
                </a:ext>
              </a:extLst>
            </p:cNvPr>
            <p:cNvSpPr/>
            <p:nvPr/>
          </p:nvSpPr>
          <p:spPr>
            <a:xfrm>
              <a:off x="9001787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5" name="Полилиния 1124">
              <a:extLst>
                <a:ext uri="{FF2B5EF4-FFF2-40B4-BE49-F238E27FC236}">
                  <a16:creationId xmlns:a16="http://schemas.microsoft.com/office/drawing/2014/main" id="{F70F6189-93CD-954E-93D1-EC42A70DD3C1}"/>
                </a:ext>
              </a:extLst>
            </p:cNvPr>
            <p:cNvSpPr/>
            <p:nvPr/>
          </p:nvSpPr>
          <p:spPr>
            <a:xfrm>
              <a:off x="9092859" y="5481199"/>
              <a:ext cx="177854" cy="95570"/>
            </a:xfrm>
            <a:custGeom>
              <a:avLst/>
              <a:gdLst>
                <a:gd name="connsiteX0" fmla="*/ 27854 w 177854"/>
                <a:gd name="connsiteY0" fmla="*/ 95571 h 95570"/>
                <a:gd name="connsiteX1" fmla="*/ 0 w 177854"/>
                <a:gd name="connsiteY1" fmla="*/ 84429 h 95570"/>
                <a:gd name="connsiteX2" fmla="*/ 13287 w 177854"/>
                <a:gd name="connsiteY2" fmla="*/ 51211 h 95570"/>
                <a:gd name="connsiteX3" fmla="*/ 88927 w 177854"/>
                <a:gd name="connsiteY3" fmla="*/ 0 h 95570"/>
                <a:gd name="connsiteX4" fmla="*/ 164566 w 177854"/>
                <a:gd name="connsiteY4" fmla="*/ 51211 h 95570"/>
                <a:gd name="connsiteX5" fmla="*/ 177855 w 177854"/>
                <a:gd name="connsiteY5" fmla="*/ 84429 h 95570"/>
                <a:gd name="connsiteX6" fmla="*/ 150000 w 177854"/>
                <a:gd name="connsiteY6" fmla="*/ 95571 h 95570"/>
                <a:gd name="connsiteX7" fmla="*/ 136713 w 177854"/>
                <a:gd name="connsiteY7" fmla="*/ 62352 h 95570"/>
                <a:gd name="connsiteX8" fmla="*/ 88927 w 177854"/>
                <a:gd name="connsiteY8" fmla="*/ 30000 h 95570"/>
                <a:gd name="connsiteX9" fmla="*/ 41142 w 177854"/>
                <a:gd name="connsiteY9" fmla="*/ 62352 h 95570"/>
                <a:gd name="connsiteX10" fmla="*/ 27854 w 177854"/>
                <a:gd name="connsiteY10" fmla="*/ 95571 h 95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854" h="95570">
                  <a:moveTo>
                    <a:pt x="27854" y="95571"/>
                  </a:moveTo>
                  <a:lnTo>
                    <a:pt x="0" y="84429"/>
                  </a:lnTo>
                  <a:lnTo>
                    <a:pt x="13287" y="51211"/>
                  </a:lnTo>
                  <a:cubicBezTo>
                    <a:pt x="25659" y="20281"/>
                    <a:pt x="55615" y="0"/>
                    <a:pt x="88927" y="0"/>
                  </a:cubicBezTo>
                  <a:cubicBezTo>
                    <a:pt x="122239" y="0"/>
                    <a:pt x="152196" y="20281"/>
                    <a:pt x="164566" y="51211"/>
                  </a:cubicBezTo>
                  <a:lnTo>
                    <a:pt x="177855" y="84429"/>
                  </a:lnTo>
                  <a:lnTo>
                    <a:pt x="150000" y="95571"/>
                  </a:lnTo>
                  <a:lnTo>
                    <a:pt x="136713" y="62352"/>
                  </a:lnTo>
                  <a:cubicBezTo>
                    <a:pt x="128896" y="42813"/>
                    <a:pt x="109972" y="30000"/>
                    <a:pt x="88927" y="30000"/>
                  </a:cubicBezTo>
                  <a:cubicBezTo>
                    <a:pt x="67882" y="30000"/>
                    <a:pt x="48958" y="42813"/>
                    <a:pt x="41142" y="62352"/>
                  </a:cubicBezTo>
                  <a:lnTo>
                    <a:pt x="27854" y="9557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6" name="Полилиния 1125">
              <a:extLst>
                <a:ext uri="{FF2B5EF4-FFF2-40B4-BE49-F238E27FC236}">
                  <a16:creationId xmlns:a16="http://schemas.microsoft.com/office/drawing/2014/main" id="{7D927942-5A05-9647-A628-28797A614DE3}"/>
                </a:ext>
              </a:extLst>
            </p:cNvPr>
            <p:cNvSpPr/>
            <p:nvPr/>
          </p:nvSpPr>
          <p:spPr>
            <a:xfrm>
              <a:off x="9053896" y="5556199"/>
              <a:ext cx="255786" cy="210000"/>
            </a:xfrm>
            <a:custGeom>
              <a:avLst/>
              <a:gdLst>
                <a:gd name="connsiteX0" fmla="*/ 62143 w 255786"/>
                <a:gd name="connsiteY0" fmla="*/ 0 h 210000"/>
                <a:gd name="connsiteX1" fmla="*/ 193638 w 255786"/>
                <a:gd name="connsiteY1" fmla="*/ 0 h 210000"/>
                <a:gd name="connsiteX2" fmla="*/ 222972 w 255786"/>
                <a:gd name="connsiteY2" fmla="*/ 23714 h 210000"/>
                <a:gd name="connsiteX3" fmla="*/ 255114 w 255786"/>
                <a:gd name="connsiteY3" fmla="*/ 173714 h 210000"/>
                <a:gd name="connsiteX4" fmla="*/ 232067 w 255786"/>
                <a:gd name="connsiteY4" fmla="*/ 209334 h 210000"/>
                <a:gd name="connsiteX5" fmla="*/ 225780 w 255786"/>
                <a:gd name="connsiteY5" fmla="*/ 210000 h 210000"/>
                <a:gd name="connsiteX6" fmla="*/ 30000 w 255786"/>
                <a:gd name="connsiteY6" fmla="*/ 210000 h 210000"/>
                <a:gd name="connsiteX7" fmla="*/ 0 w 255786"/>
                <a:gd name="connsiteY7" fmla="*/ 180000 h 210000"/>
                <a:gd name="connsiteX8" fmla="*/ 666 w 255786"/>
                <a:gd name="connsiteY8" fmla="*/ 173714 h 210000"/>
                <a:gd name="connsiteX9" fmla="*/ 32809 w 255786"/>
                <a:gd name="connsiteY9" fmla="*/ 23714 h 210000"/>
                <a:gd name="connsiteX10" fmla="*/ 62143 w 255786"/>
                <a:gd name="connsiteY10" fmla="*/ 0 h 210000"/>
                <a:gd name="connsiteX11" fmla="*/ 37890 w 255786"/>
                <a:gd name="connsiteY11" fmla="*/ 180000 h 210000"/>
                <a:gd name="connsiteX12" fmla="*/ 52890 w 255786"/>
                <a:gd name="connsiteY12" fmla="*/ 165000 h 210000"/>
                <a:gd name="connsiteX13" fmla="*/ 37890 w 255786"/>
                <a:gd name="connsiteY13" fmla="*/ 150000 h 210000"/>
                <a:gd name="connsiteX14" fmla="*/ 22890 w 255786"/>
                <a:gd name="connsiteY14" fmla="*/ 165000 h 210000"/>
                <a:gd name="connsiteX15" fmla="*/ 37890 w 255786"/>
                <a:gd name="connsiteY15" fmla="*/ 180000 h 210000"/>
                <a:gd name="connsiteX16" fmla="*/ 67890 w 255786"/>
                <a:gd name="connsiteY16" fmla="*/ 120000 h 210000"/>
                <a:gd name="connsiteX17" fmla="*/ 82890 w 255786"/>
                <a:gd name="connsiteY17" fmla="*/ 105000 h 210000"/>
                <a:gd name="connsiteX18" fmla="*/ 67890 w 255786"/>
                <a:gd name="connsiteY18" fmla="*/ 90000 h 210000"/>
                <a:gd name="connsiteX19" fmla="*/ 52890 w 255786"/>
                <a:gd name="connsiteY19" fmla="*/ 105000 h 210000"/>
                <a:gd name="connsiteX20" fmla="*/ 67890 w 255786"/>
                <a:gd name="connsiteY20" fmla="*/ 120000 h 210000"/>
                <a:gd name="connsiteX21" fmla="*/ 97890 w 255786"/>
                <a:gd name="connsiteY21" fmla="*/ 60000 h 210000"/>
                <a:gd name="connsiteX22" fmla="*/ 112890 w 255786"/>
                <a:gd name="connsiteY22" fmla="*/ 45000 h 210000"/>
                <a:gd name="connsiteX23" fmla="*/ 97890 w 255786"/>
                <a:gd name="connsiteY23" fmla="*/ 30000 h 210000"/>
                <a:gd name="connsiteX24" fmla="*/ 82890 w 255786"/>
                <a:gd name="connsiteY24" fmla="*/ 45000 h 210000"/>
                <a:gd name="connsiteX25" fmla="*/ 97890 w 255786"/>
                <a:gd name="connsiteY25" fmla="*/ 60000 h 210000"/>
                <a:gd name="connsiteX26" fmla="*/ 157890 w 255786"/>
                <a:gd name="connsiteY26" fmla="*/ 60000 h 210000"/>
                <a:gd name="connsiteX27" fmla="*/ 172890 w 255786"/>
                <a:gd name="connsiteY27" fmla="*/ 45000 h 210000"/>
                <a:gd name="connsiteX28" fmla="*/ 157890 w 255786"/>
                <a:gd name="connsiteY28" fmla="*/ 30000 h 210000"/>
                <a:gd name="connsiteX29" fmla="*/ 142890 w 255786"/>
                <a:gd name="connsiteY29" fmla="*/ 45000 h 210000"/>
                <a:gd name="connsiteX30" fmla="*/ 157890 w 255786"/>
                <a:gd name="connsiteY30" fmla="*/ 60000 h 210000"/>
                <a:gd name="connsiteX31" fmla="*/ 127890 w 255786"/>
                <a:gd name="connsiteY31" fmla="*/ 120000 h 210000"/>
                <a:gd name="connsiteX32" fmla="*/ 142890 w 255786"/>
                <a:gd name="connsiteY32" fmla="*/ 105000 h 210000"/>
                <a:gd name="connsiteX33" fmla="*/ 127890 w 255786"/>
                <a:gd name="connsiteY33" fmla="*/ 90000 h 210000"/>
                <a:gd name="connsiteX34" fmla="*/ 112890 w 255786"/>
                <a:gd name="connsiteY34" fmla="*/ 105000 h 210000"/>
                <a:gd name="connsiteX35" fmla="*/ 127890 w 255786"/>
                <a:gd name="connsiteY35" fmla="*/ 120000 h 210000"/>
                <a:gd name="connsiteX36" fmla="*/ 187890 w 255786"/>
                <a:gd name="connsiteY36" fmla="*/ 120000 h 210000"/>
                <a:gd name="connsiteX37" fmla="*/ 202890 w 255786"/>
                <a:gd name="connsiteY37" fmla="*/ 105000 h 210000"/>
                <a:gd name="connsiteX38" fmla="*/ 187890 w 255786"/>
                <a:gd name="connsiteY38" fmla="*/ 90000 h 210000"/>
                <a:gd name="connsiteX39" fmla="*/ 172890 w 255786"/>
                <a:gd name="connsiteY39" fmla="*/ 105000 h 210000"/>
                <a:gd name="connsiteX40" fmla="*/ 187890 w 255786"/>
                <a:gd name="connsiteY40" fmla="*/ 120000 h 210000"/>
                <a:gd name="connsiteX41" fmla="*/ 97890 w 255786"/>
                <a:gd name="connsiteY41" fmla="*/ 180000 h 210000"/>
                <a:gd name="connsiteX42" fmla="*/ 112890 w 255786"/>
                <a:gd name="connsiteY42" fmla="*/ 165000 h 210000"/>
                <a:gd name="connsiteX43" fmla="*/ 97890 w 255786"/>
                <a:gd name="connsiteY43" fmla="*/ 150000 h 210000"/>
                <a:gd name="connsiteX44" fmla="*/ 82890 w 255786"/>
                <a:gd name="connsiteY44" fmla="*/ 165000 h 210000"/>
                <a:gd name="connsiteX45" fmla="*/ 97890 w 255786"/>
                <a:gd name="connsiteY45" fmla="*/ 180000 h 210000"/>
                <a:gd name="connsiteX46" fmla="*/ 157890 w 255786"/>
                <a:gd name="connsiteY46" fmla="*/ 180000 h 210000"/>
                <a:gd name="connsiteX47" fmla="*/ 172890 w 255786"/>
                <a:gd name="connsiteY47" fmla="*/ 165000 h 210000"/>
                <a:gd name="connsiteX48" fmla="*/ 157890 w 255786"/>
                <a:gd name="connsiteY48" fmla="*/ 150000 h 210000"/>
                <a:gd name="connsiteX49" fmla="*/ 142890 w 255786"/>
                <a:gd name="connsiteY49" fmla="*/ 165000 h 210000"/>
                <a:gd name="connsiteX50" fmla="*/ 157890 w 255786"/>
                <a:gd name="connsiteY50" fmla="*/ 180000 h 210000"/>
                <a:gd name="connsiteX51" fmla="*/ 217890 w 255786"/>
                <a:gd name="connsiteY51" fmla="*/ 180000 h 210000"/>
                <a:gd name="connsiteX52" fmla="*/ 232890 w 255786"/>
                <a:gd name="connsiteY52" fmla="*/ 165000 h 210000"/>
                <a:gd name="connsiteX53" fmla="*/ 217890 w 255786"/>
                <a:gd name="connsiteY53" fmla="*/ 150000 h 210000"/>
                <a:gd name="connsiteX54" fmla="*/ 202890 w 255786"/>
                <a:gd name="connsiteY54" fmla="*/ 165000 h 210000"/>
                <a:gd name="connsiteX55" fmla="*/ 217890 w 255786"/>
                <a:gd name="connsiteY55" fmla="*/ 18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55786" h="210000">
                  <a:moveTo>
                    <a:pt x="62143" y="0"/>
                  </a:moveTo>
                  <a:lnTo>
                    <a:pt x="193638" y="0"/>
                  </a:lnTo>
                  <a:cubicBezTo>
                    <a:pt x="207783" y="0"/>
                    <a:pt x="220008" y="9882"/>
                    <a:pt x="222972" y="23714"/>
                  </a:cubicBezTo>
                  <a:lnTo>
                    <a:pt x="255114" y="173714"/>
                  </a:lnTo>
                  <a:cubicBezTo>
                    <a:pt x="258587" y="189915"/>
                    <a:pt x="248267" y="205863"/>
                    <a:pt x="232067" y="209334"/>
                  </a:cubicBezTo>
                  <a:cubicBezTo>
                    <a:pt x="230001" y="209777"/>
                    <a:pt x="227894" y="210000"/>
                    <a:pt x="225780" y="210000"/>
                  </a:cubicBezTo>
                  <a:lnTo>
                    <a:pt x="30000" y="210000"/>
                  </a:lnTo>
                  <a:cubicBezTo>
                    <a:pt x="13431" y="210000"/>
                    <a:pt x="0" y="196569"/>
                    <a:pt x="0" y="180000"/>
                  </a:cubicBezTo>
                  <a:cubicBezTo>
                    <a:pt x="0" y="177887"/>
                    <a:pt x="223" y="175781"/>
                    <a:pt x="666" y="173714"/>
                  </a:cubicBezTo>
                  <a:lnTo>
                    <a:pt x="32809" y="23714"/>
                  </a:lnTo>
                  <a:cubicBezTo>
                    <a:pt x="35773" y="9882"/>
                    <a:pt x="47997" y="0"/>
                    <a:pt x="62143" y="0"/>
                  </a:cubicBezTo>
                  <a:close/>
                  <a:moveTo>
                    <a:pt x="37890" y="180000"/>
                  </a:moveTo>
                  <a:cubicBezTo>
                    <a:pt x="46175" y="180000"/>
                    <a:pt x="52890" y="173285"/>
                    <a:pt x="52890" y="165000"/>
                  </a:cubicBezTo>
                  <a:cubicBezTo>
                    <a:pt x="52890" y="156716"/>
                    <a:pt x="46175" y="150000"/>
                    <a:pt x="37890" y="150000"/>
                  </a:cubicBezTo>
                  <a:cubicBezTo>
                    <a:pt x="29606" y="150000"/>
                    <a:pt x="22890" y="156716"/>
                    <a:pt x="22890" y="165000"/>
                  </a:cubicBezTo>
                  <a:cubicBezTo>
                    <a:pt x="22890" y="173285"/>
                    <a:pt x="29606" y="180000"/>
                    <a:pt x="37890" y="180000"/>
                  </a:cubicBezTo>
                  <a:close/>
                  <a:moveTo>
                    <a:pt x="67890" y="120000"/>
                  </a:moveTo>
                  <a:cubicBezTo>
                    <a:pt x="76175" y="120000"/>
                    <a:pt x="82890" y="113285"/>
                    <a:pt x="82890" y="105000"/>
                  </a:cubicBezTo>
                  <a:cubicBezTo>
                    <a:pt x="82890" y="96715"/>
                    <a:pt x="76175" y="90000"/>
                    <a:pt x="67890" y="90000"/>
                  </a:cubicBezTo>
                  <a:cubicBezTo>
                    <a:pt x="59606" y="90000"/>
                    <a:pt x="52890" y="96715"/>
                    <a:pt x="52890" y="105000"/>
                  </a:cubicBezTo>
                  <a:cubicBezTo>
                    <a:pt x="52890" y="113285"/>
                    <a:pt x="59606" y="120000"/>
                    <a:pt x="67890" y="120000"/>
                  </a:cubicBezTo>
                  <a:close/>
                  <a:moveTo>
                    <a:pt x="97890" y="60000"/>
                  </a:moveTo>
                  <a:cubicBezTo>
                    <a:pt x="106175" y="60000"/>
                    <a:pt x="112890" y="53285"/>
                    <a:pt x="112890" y="45000"/>
                  </a:cubicBezTo>
                  <a:cubicBezTo>
                    <a:pt x="112890" y="36716"/>
                    <a:pt x="106175" y="30000"/>
                    <a:pt x="97890" y="30000"/>
                  </a:cubicBezTo>
                  <a:cubicBezTo>
                    <a:pt x="89606" y="30000"/>
                    <a:pt x="82890" y="36716"/>
                    <a:pt x="82890" y="45000"/>
                  </a:cubicBezTo>
                  <a:cubicBezTo>
                    <a:pt x="82890" y="53285"/>
                    <a:pt x="89606" y="60000"/>
                    <a:pt x="97890" y="60000"/>
                  </a:cubicBezTo>
                  <a:close/>
                  <a:moveTo>
                    <a:pt x="157890" y="60000"/>
                  </a:moveTo>
                  <a:cubicBezTo>
                    <a:pt x="166175" y="60000"/>
                    <a:pt x="172890" y="53285"/>
                    <a:pt x="172890" y="45000"/>
                  </a:cubicBezTo>
                  <a:cubicBezTo>
                    <a:pt x="172890" y="36716"/>
                    <a:pt x="166175" y="30000"/>
                    <a:pt x="157890" y="30000"/>
                  </a:cubicBezTo>
                  <a:cubicBezTo>
                    <a:pt x="149606" y="30000"/>
                    <a:pt x="142890" y="36716"/>
                    <a:pt x="142890" y="45000"/>
                  </a:cubicBezTo>
                  <a:cubicBezTo>
                    <a:pt x="142890" y="53285"/>
                    <a:pt x="149606" y="60000"/>
                    <a:pt x="157890" y="60000"/>
                  </a:cubicBezTo>
                  <a:close/>
                  <a:moveTo>
                    <a:pt x="127890" y="120000"/>
                  </a:moveTo>
                  <a:cubicBezTo>
                    <a:pt x="136175" y="120000"/>
                    <a:pt x="142890" y="113285"/>
                    <a:pt x="142890" y="105000"/>
                  </a:cubicBezTo>
                  <a:cubicBezTo>
                    <a:pt x="142890" y="96715"/>
                    <a:pt x="136175" y="90000"/>
                    <a:pt x="127890" y="90000"/>
                  </a:cubicBezTo>
                  <a:cubicBezTo>
                    <a:pt x="119606" y="90000"/>
                    <a:pt x="112890" y="96715"/>
                    <a:pt x="112890" y="105000"/>
                  </a:cubicBezTo>
                  <a:cubicBezTo>
                    <a:pt x="112890" y="113285"/>
                    <a:pt x="119606" y="120000"/>
                    <a:pt x="127890" y="120000"/>
                  </a:cubicBezTo>
                  <a:close/>
                  <a:moveTo>
                    <a:pt x="187890" y="120000"/>
                  </a:moveTo>
                  <a:cubicBezTo>
                    <a:pt x="196175" y="120000"/>
                    <a:pt x="202890" y="113285"/>
                    <a:pt x="202890" y="105000"/>
                  </a:cubicBezTo>
                  <a:cubicBezTo>
                    <a:pt x="202890" y="96715"/>
                    <a:pt x="196175" y="90000"/>
                    <a:pt x="187890" y="90000"/>
                  </a:cubicBezTo>
                  <a:cubicBezTo>
                    <a:pt x="179606" y="90000"/>
                    <a:pt x="172890" y="96715"/>
                    <a:pt x="172890" y="105000"/>
                  </a:cubicBezTo>
                  <a:cubicBezTo>
                    <a:pt x="172890" y="113285"/>
                    <a:pt x="179606" y="120000"/>
                    <a:pt x="187890" y="120000"/>
                  </a:cubicBezTo>
                  <a:close/>
                  <a:moveTo>
                    <a:pt x="97890" y="180000"/>
                  </a:moveTo>
                  <a:cubicBezTo>
                    <a:pt x="106175" y="180000"/>
                    <a:pt x="112890" y="173285"/>
                    <a:pt x="112890" y="165000"/>
                  </a:cubicBezTo>
                  <a:cubicBezTo>
                    <a:pt x="112890" y="156716"/>
                    <a:pt x="106175" y="150000"/>
                    <a:pt x="97890" y="150000"/>
                  </a:cubicBezTo>
                  <a:cubicBezTo>
                    <a:pt x="89606" y="150000"/>
                    <a:pt x="82890" y="156716"/>
                    <a:pt x="82890" y="165000"/>
                  </a:cubicBezTo>
                  <a:cubicBezTo>
                    <a:pt x="82890" y="173285"/>
                    <a:pt x="89606" y="180000"/>
                    <a:pt x="97890" y="180000"/>
                  </a:cubicBezTo>
                  <a:close/>
                  <a:moveTo>
                    <a:pt x="157890" y="180000"/>
                  </a:moveTo>
                  <a:cubicBezTo>
                    <a:pt x="166175" y="180000"/>
                    <a:pt x="172890" y="173285"/>
                    <a:pt x="172890" y="165000"/>
                  </a:cubicBezTo>
                  <a:cubicBezTo>
                    <a:pt x="172890" y="156716"/>
                    <a:pt x="166175" y="150000"/>
                    <a:pt x="157890" y="150000"/>
                  </a:cubicBezTo>
                  <a:cubicBezTo>
                    <a:pt x="149606" y="150000"/>
                    <a:pt x="142890" y="156716"/>
                    <a:pt x="142890" y="165000"/>
                  </a:cubicBezTo>
                  <a:cubicBezTo>
                    <a:pt x="142890" y="173285"/>
                    <a:pt x="149606" y="180000"/>
                    <a:pt x="157890" y="180000"/>
                  </a:cubicBezTo>
                  <a:close/>
                  <a:moveTo>
                    <a:pt x="217890" y="180000"/>
                  </a:moveTo>
                  <a:cubicBezTo>
                    <a:pt x="226175" y="180000"/>
                    <a:pt x="232890" y="173285"/>
                    <a:pt x="232890" y="165000"/>
                  </a:cubicBezTo>
                  <a:cubicBezTo>
                    <a:pt x="232890" y="156716"/>
                    <a:pt x="226175" y="150000"/>
                    <a:pt x="217890" y="150000"/>
                  </a:cubicBezTo>
                  <a:cubicBezTo>
                    <a:pt x="209606" y="150000"/>
                    <a:pt x="202890" y="156716"/>
                    <a:pt x="202890" y="165000"/>
                  </a:cubicBezTo>
                  <a:cubicBezTo>
                    <a:pt x="202890" y="173285"/>
                    <a:pt x="209606" y="180000"/>
                    <a:pt x="217890" y="18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27" name="Рисунок 255">
            <a:extLst>
              <a:ext uri="{FF2B5EF4-FFF2-40B4-BE49-F238E27FC236}">
                <a16:creationId xmlns:a16="http://schemas.microsoft.com/office/drawing/2014/main" id="{76B40F33-E709-F040-BCD2-D3504EE4FFB5}"/>
              </a:ext>
            </a:extLst>
          </p:cNvPr>
          <p:cNvGrpSpPr/>
          <p:nvPr/>
        </p:nvGrpSpPr>
        <p:grpSpPr>
          <a:xfrm>
            <a:off x="3682402" y="5134477"/>
            <a:ext cx="360000" cy="360000"/>
            <a:chOff x="3715855" y="5451199"/>
            <a:chExt cx="360000" cy="360000"/>
          </a:xfrm>
        </p:grpSpPr>
        <p:sp>
          <p:nvSpPr>
            <p:cNvPr id="1128" name="Полилиния 1127">
              <a:extLst>
                <a:ext uri="{FF2B5EF4-FFF2-40B4-BE49-F238E27FC236}">
                  <a16:creationId xmlns:a16="http://schemas.microsoft.com/office/drawing/2014/main" id="{40C675C5-1BA1-1643-97F7-62674AAA21DE}"/>
                </a:ext>
              </a:extLst>
            </p:cNvPr>
            <p:cNvSpPr/>
            <p:nvPr/>
          </p:nvSpPr>
          <p:spPr>
            <a:xfrm>
              <a:off x="3715856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9" name="Полилиния 1128">
              <a:extLst>
                <a:ext uri="{FF2B5EF4-FFF2-40B4-BE49-F238E27FC236}">
                  <a16:creationId xmlns:a16="http://schemas.microsoft.com/office/drawing/2014/main" id="{EE066091-6B46-8F42-A61D-4A6DA9DE1342}"/>
                </a:ext>
              </a:extLst>
            </p:cNvPr>
            <p:cNvSpPr/>
            <p:nvPr/>
          </p:nvSpPr>
          <p:spPr>
            <a:xfrm>
              <a:off x="3790856" y="5496199"/>
              <a:ext cx="240000" cy="165000"/>
            </a:xfrm>
            <a:custGeom>
              <a:avLst/>
              <a:gdLst>
                <a:gd name="connsiteX0" fmla="*/ 195000 w 240000"/>
                <a:gd name="connsiteY0" fmla="*/ 165000 h 165000"/>
                <a:gd name="connsiteX1" fmla="*/ 150000 w 240000"/>
                <a:gd name="connsiteY1" fmla="*/ 120000 h 165000"/>
                <a:gd name="connsiteX2" fmla="*/ 195000 w 240000"/>
                <a:gd name="connsiteY2" fmla="*/ 75000 h 165000"/>
                <a:gd name="connsiteX3" fmla="*/ 240000 w 240000"/>
                <a:gd name="connsiteY3" fmla="*/ 120000 h 165000"/>
                <a:gd name="connsiteX4" fmla="*/ 195000 w 240000"/>
                <a:gd name="connsiteY4" fmla="*/ 165000 h 165000"/>
                <a:gd name="connsiteX5" fmla="*/ 60000 w 240000"/>
                <a:gd name="connsiteY5" fmla="*/ 120000 h 165000"/>
                <a:gd name="connsiteX6" fmla="*/ 0 w 240000"/>
                <a:gd name="connsiteY6" fmla="*/ 60000 h 165000"/>
                <a:gd name="connsiteX7" fmla="*/ 60000 w 240000"/>
                <a:gd name="connsiteY7" fmla="*/ 0 h 165000"/>
                <a:gd name="connsiteX8" fmla="*/ 120000 w 240000"/>
                <a:gd name="connsiteY8" fmla="*/ 60000 h 165000"/>
                <a:gd name="connsiteX9" fmla="*/ 60000 w 240000"/>
                <a:gd name="connsiteY9" fmla="*/ 120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0000" h="165000">
                  <a:moveTo>
                    <a:pt x="195000" y="165000"/>
                  </a:moveTo>
                  <a:cubicBezTo>
                    <a:pt x="170147" y="165000"/>
                    <a:pt x="150000" y="144854"/>
                    <a:pt x="150000" y="120000"/>
                  </a:cubicBezTo>
                  <a:cubicBezTo>
                    <a:pt x="150000" y="95147"/>
                    <a:pt x="170147" y="75000"/>
                    <a:pt x="195000" y="75000"/>
                  </a:cubicBezTo>
                  <a:cubicBezTo>
                    <a:pt x="219854" y="75000"/>
                    <a:pt x="240000" y="95147"/>
                    <a:pt x="240000" y="120000"/>
                  </a:cubicBezTo>
                  <a:cubicBezTo>
                    <a:pt x="240000" y="144854"/>
                    <a:pt x="219854" y="165000"/>
                    <a:pt x="195000" y="165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130" name="Полилиния 1129">
              <a:extLst>
                <a:ext uri="{FF2B5EF4-FFF2-40B4-BE49-F238E27FC236}">
                  <a16:creationId xmlns:a16="http://schemas.microsoft.com/office/drawing/2014/main" id="{F1C57CB0-2472-B84B-89F8-E715FC660FA4}"/>
                </a:ext>
              </a:extLst>
            </p:cNvPr>
            <p:cNvSpPr/>
            <p:nvPr/>
          </p:nvSpPr>
          <p:spPr>
            <a:xfrm>
              <a:off x="3715855" y="5646199"/>
              <a:ext cx="359999" cy="120000"/>
            </a:xfrm>
            <a:custGeom>
              <a:avLst/>
              <a:gdLst>
                <a:gd name="connsiteX0" fmla="*/ 264018 w 359999"/>
                <a:gd name="connsiteY0" fmla="*/ 30009 h 120000"/>
                <a:gd name="connsiteX1" fmla="*/ 359978 w 359999"/>
                <a:gd name="connsiteY1" fmla="*/ 111000 h 120000"/>
                <a:gd name="connsiteX2" fmla="*/ 351839 w 359999"/>
                <a:gd name="connsiteY2" fmla="*/ 120000 h 120000"/>
                <a:gd name="connsiteX3" fmla="*/ 294000 w 359999"/>
                <a:gd name="connsiteY3" fmla="*/ 120000 h 120000"/>
                <a:gd name="connsiteX4" fmla="*/ 264018 w 359999"/>
                <a:gd name="connsiteY4" fmla="*/ 30009 h 120000"/>
                <a:gd name="connsiteX5" fmla="*/ 10 w 359999"/>
                <a:gd name="connsiteY5" fmla="*/ 107988 h 120000"/>
                <a:gd name="connsiteX6" fmla="*/ 134750 w 359999"/>
                <a:gd name="connsiteY6" fmla="*/ 0 h 120000"/>
                <a:gd name="connsiteX7" fmla="*/ 269969 w 359999"/>
                <a:gd name="connsiteY7" fmla="*/ 108000 h 120000"/>
                <a:gd name="connsiteX8" fmla="*/ 258701 w 359999"/>
                <a:gd name="connsiteY8" fmla="*/ 120000 h 120000"/>
                <a:gd name="connsiteX9" fmla="*/ 10913 w 359999"/>
                <a:gd name="connsiteY9" fmla="*/ 120000 h 120000"/>
                <a:gd name="connsiteX10" fmla="*/ 10 w 359999"/>
                <a:gd name="connsiteY10" fmla="*/ 107988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9999" h="120000">
                  <a:moveTo>
                    <a:pt x="264018" y="30009"/>
                  </a:moveTo>
                  <a:cubicBezTo>
                    <a:pt x="315116" y="30569"/>
                    <a:pt x="356838" y="56401"/>
                    <a:pt x="359978" y="111000"/>
                  </a:cubicBezTo>
                  <a:cubicBezTo>
                    <a:pt x="360104" y="113199"/>
                    <a:pt x="359978" y="120000"/>
                    <a:pt x="351839" y="120000"/>
                  </a:cubicBezTo>
                  <a:lnTo>
                    <a:pt x="294000" y="120000"/>
                  </a:lnTo>
                  <a:cubicBezTo>
                    <a:pt x="294000" y="86236"/>
                    <a:pt x="282845" y="55077"/>
                    <a:pt x="264018" y="30009"/>
                  </a:cubicBezTo>
                  <a:close/>
                  <a:moveTo>
                    <a:pt x="10" y="107988"/>
                  </a:moveTo>
                  <a:cubicBezTo>
                    <a:pt x="5824" y="36398"/>
                    <a:pt x="63929" y="0"/>
                    <a:pt x="134750" y="0"/>
                  </a:cubicBezTo>
                  <a:cubicBezTo>
                    <a:pt x="206568" y="0"/>
                    <a:pt x="265574" y="34398"/>
                    <a:pt x="269969" y="108000"/>
                  </a:cubicBezTo>
                  <a:cubicBezTo>
                    <a:pt x="270144" y="110933"/>
                    <a:pt x="269969" y="120000"/>
                    <a:pt x="258701" y="120000"/>
                  </a:cubicBezTo>
                  <a:cubicBezTo>
                    <a:pt x="203117" y="120000"/>
                    <a:pt x="120521" y="120000"/>
                    <a:pt x="10913" y="120000"/>
                  </a:cubicBezTo>
                  <a:cubicBezTo>
                    <a:pt x="7151" y="120000"/>
                    <a:pt x="-307" y="111888"/>
                    <a:pt x="10" y="107988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31" name="Рисунок 256">
            <a:extLst>
              <a:ext uri="{FF2B5EF4-FFF2-40B4-BE49-F238E27FC236}">
                <a16:creationId xmlns:a16="http://schemas.microsoft.com/office/drawing/2014/main" id="{53F41047-506F-BA49-B0E6-9BE82635F8F9}"/>
              </a:ext>
            </a:extLst>
          </p:cNvPr>
          <p:cNvGrpSpPr/>
          <p:nvPr/>
        </p:nvGrpSpPr>
        <p:grpSpPr>
          <a:xfrm>
            <a:off x="661871" y="5134477"/>
            <a:ext cx="360000" cy="360000"/>
            <a:chOff x="695324" y="5451199"/>
            <a:chExt cx="360000" cy="360000"/>
          </a:xfrm>
        </p:grpSpPr>
        <p:sp>
          <p:nvSpPr>
            <p:cNvPr id="1132" name="Полилиния 1131">
              <a:extLst>
                <a:ext uri="{FF2B5EF4-FFF2-40B4-BE49-F238E27FC236}">
                  <a16:creationId xmlns:a16="http://schemas.microsoft.com/office/drawing/2014/main" id="{A49E526D-5D6A-8948-B773-BEDA2138AC35}"/>
                </a:ext>
              </a:extLst>
            </p:cNvPr>
            <p:cNvSpPr/>
            <p:nvPr/>
          </p:nvSpPr>
          <p:spPr>
            <a:xfrm>
              <a:off x="695324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3" name="Полилиния 1132">
              <a:extLst>
                <a:ext uri="{FF2B5EF4-FFF2-40B4-BE49-F238E27FC236}">
                  <a16:creationId xmlns:a16="http://schemas.microsoft.com/office/drawing/2014/main" id="{02BDA12D-1343-0546-A8D9-30F542D15370}"/>
                </a:ext>
              </a:extLst>
            </p:cNvPr>
            <p:cNvSpPr/>
            <p:nvPr/>
          </p:nvSpPr>
          <p:spPr>
            <a:xfrm>
              <a:off x="787751" y="5496199"/>
              <a:ext cx="252881" cy="229329"/>
            </a:xfrm>
            <a:custGeom>
              <a:avLst/>
              <a:gdLst>
                <a:gd name="connsiteX0" fmla="*/ 147573 w 252881"/>
                <a:gd name="connsiteY0" fmla="*/ 189474 h 229329"/>
                <a:gd name="connsiteX1" fmla="*/ 147573 w 252881"/>
                <a:gd name="connsiteY1" fmla="*/ 135000 h 229329"/>
                <a:gd name="connsiteX2" fmla="*/ 102573 w 252881"/>
                <a:gd name="connsiteY2" fmla="*/ 90000 h 229329"/>
                <a:gd name="connsiteX3" fmla="*/ 0 w 252881"/>
                <a:gd name="connsiteY3" fmla="*/ 90000 h 229329"/>
                <a:gd name="connsiteX4" fmla="*/ 0 w 252881"/>
                <a:gd name="connsiteY4" fmla="*/ 37895 h 229329"/>
                <a:gd name="connsiteX5" fmla="*/ 37895 w 252881"/>
                <a:gd name="connsiteY5" fmla="*/ 0 h 229329"/>
                <a:gd name="connsiteX6" fmla="*/ 214737 w 252881"/>
                <a:gd name="connsiteY6" fmla="*/ 0 h 229329"/>
                <a:gd name="connsiteX7" fmla="*/ 252631 w 252881"/>
                <a:gd name="connsiteY7" fmla="*/ 37895 h 229329"/>
                <a:gd name="connsiteX8" fmla="*/ 252631 w 252881"/>
                <a:gd name="connsiteY8" fmla="*/ 151580 h 229329"/>
                <a:gd name="connsiteX9" fmla="*/ 252882 w 252881"/>
                <a:gd name="connsiteY9" fmla="*/ 221802 h 229329"/>
                <a:gd name="connsiteX10" fmla="*/ 245409 w 252881"/>
                <a:gd name="connsiteY10" fmla="*/ 229329 h 229329"/>
                <a:gd name="connsiteX11" fmla="*/ 240079 w 252881"/>
                <a:gd name="connsiteY11" fmla="*/ 227131 h 229329"/>
                <a:gd name="connsiteX12" fmla="*/ 202420 w 252881"/>
                <a:gd name="connsiteY12" fmla="*/ 189474 h 229329"/>
                <a:gd name="connsiteX13" fmla="*/ 147573 w 252881"/>
                <a:gd name="connsiteY13" fmla="*/ 189474 h 229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2881" h="229329">
                  <a:moveTo>
                    <a:pt x="147573" y="189474"/>
                  </a:moveTo>
                  <a:lnTo>
                    <a:pt x="147573" y="135000"/>
                  </a:lnTo>
                  <a:cubicBezTo>
                    <a:pt x="147573" y="110146"/>
                    <a:pt x="127426" y="90000"/>
                    <a:pt x="102573" y="90000"/>
                  </a:cubicBezTo>
                  <a:lnTo>
                    <a:pt x="0" y="90000"/>
                  </a:lnTo>
                  <a:lnTo>
                    <a:pt x="0" y="37895"/>
                  </a:lnTo>
                  <a:cubicBezTo>
                    <a:pt x="0" y="16966"/>
                    <a:pt x="16966" y="0"/>
                    <a:pt x="37895" y="0"/>
                  </a:cubicBezTo>
                  <a:lnTo>
                    <a:pt x="214737" y="0"/>
                  </a:lnTo>
                  <a:cubicBezTo>
                    <a:pt x="235666" y="0"/>
                    <a:pt x="252631" y="16966"/>
                    <a:pt x="252631" y="37895"/>
                  </a:cubicBezTo>
                  <a:lnTo>
                    <a:pt x="252631" y="151580"/>
                  </a:lnTo>
                  <a:lnTo>
                    <a:pt x="252882" y="221802"/>
                  </a:lnTo>
                  <a:cubicBezTo>
                    <a:pt x="252897" y="225944"/>
                    <a:pt x="249550" y="229314"/>
                    <a:pt x="245409" y="229329"/>
                  </a:cubicBezTo>
                  <a:cubicBezTo>
                    <a:pt x="243411" y="229335"/>
                    <a:pt x="241492" y="228545"/>
                    <a:pt x="240079" y="227131"/>
                  </a:cubicBezTo>
                  <a:lnTo>
                    <a:pt x="202420" y="189474"/>
                  </a:lnTo>
                  <a:lnTo>
                    <a:pt x="147573" y="18947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4" name="Полилиния 1133">
              <a:extLst>
                <a:ext uri="{FF2B5EF4-FFF2-40B4-BE49-F238E27FC236}">
                  <a16:creationId xmlns:a16="http://schemas.microsoft.com/office/drawing/2014/main" id="{463A4497-62A6-5E4A-AAED-46434D10A016}"/>
                </a:ext>
              </a:extLst>
            </p:cNvPr>
            <p:cNvSpPr/>
            <p:nvPr/>
          </p:nvSpPr>
          <p:spPr>
            <a:xfrm>
              <a:off x="725099" y="5616199"/>
              <a:ext cx="180000" cy="154939"/>
            </a:xfrm>
            <a:custGeom>
              <a:avLst/>
              <a:gdLst>
                <a:gd name="connsiteX0" fmla="*/ 0 w 180000"/>
                <a:gd name="connsiteY0" fmla="*/ 105000 h 154939"/>
                <a:gd name="connsiteX1" fmla="*/ 0 w 180000"/>
                <a:gd name="connsiteY1" fmla="*/ 30000 h 154939"/>
                <a:gd name="connsiteX2" fmla="*/ 30000 w 180000"/>
                <a:gd name="connsiteY2" fmla="*/ 0 h 154939"/>
                <a:gd name="connsiteX3" fmla="*/ 150001 w 180000"/>
                <a:gd name="connsiteY3" fmla="*/ 0 h 154939"/>
                <a:gd name="connsiteX4" fmla="*/ 180001 w 180000"/>
                <a:gd name="connsiteY4" fmla="*/ 30000 h 154939"/>
                <a:gd name="connsiteX5" fmla="*/ 180001 w 180000"/>
                <a:gd name="connsiteY5" fmla="*/ 105000 h 154939"/>
                <a:gd name="connsiteX6" fmla="*/ 150001 w 180000"/>
                <a:gd name="connsiteY6" fmla="*/ 135000 h 154939"/>
                <a:gd name="connsiteX7" fmla="*/ 31736 w 180000"/>
                <a:gd name="connsiteY7" fmla="*/ 135000 h 154939"/>
                <a:gd name="connsiteX8" fmla="*/ 13078 w 180000"/>
                <a:gd name="connsiteY8" fmla="*/ 152858 h 154939"/>
                <a:gd name="connsiteX9" fmla="*/ 2474 w 180000"/>
                <a:gd name="connsiteY9" fmla="*/ 152625 h 154939"/>
                <a:gd name="connsiteX10" fmla="*/ 392 w 180000"/>
                <a:gd name="connsiteY10" fmla="*/ 147440 h 154939"/>
                <a:gd name="connsiteX11" fmla="*/ 392 w 180000"/>
                <a:gd name="connsiteY11" fmla="*/ 109865 h 154939"/>
                <a:gd name="connsiteX12" fmla="*/ 0 w 180000"/>
                <a:gd name="connsiteY12" fmla="*/ 105000 h 154939"/>
                <a:gd name="connsiteX13" fmla="*/ 67724 w 180000"/>
                <a:gd name="connsiteY13" fmla="*/ 45000 h 154939"/>
                <a:gd name="connsiteX14" fmla="*/ 60224 w 180000"/>
                <a:gd name="connsiteY14" fmla="*/ 52500 h 154939"/>
                <a:gd name="connsiteX15" fmla="*/ 67724 w 180000"/>
                <a:gd name="connsiteY15" fmla="*/ 60000 h 154939"/>
                <a:gd name="connsiteX16" fmla="*/ 142724 w 180000"/>
                <a:gd name="connsiteY16" fmla="*/ 60000 h 154939"/>
                <a:gd name="connsiteX17" fmla="*/ 150224 w 180000"/>
                <a:gd name="connsiteY17" fmla="*/ 52500 h 154939"/>
                <a:gd name="connsiteX18" fmla="*/ 142724 w 180000"/>
                <a:gd name="connsiteY18" fmla="*/ 45000 h 154939"/>
                <a:gd name="connsiteX19" fmla="*/ 67724 w 180000"/>
                <a:gd name="connsiteY19" fmla="*/ 45000 h 154939"/>
                <a:gd name="connsiteX20" fmla="*/ 112724 w 180000"/>
                <a:gd name="connsiteY20" fmla="*/ 75000 h 154939"/>
                <a:gd name="connsiteX21" fmla="*/ 105224 w 180000"/>
                <a:gd name="connsiteY21" fmla="*/ 82500 h 154939"/>
                <a:gd name="connsiteX22" fmla="*/ 112724 w 180000"/>
                <a:gd name="connsiteY22" fmla="*/ 90000 h 154939"/>
                <a:gd name="connsiteX23" fmla="*/ 142724 w 180000"/>
                <a:gd name="connsiteY23" fmla="*/ 90000 h 154939"/>
                <a:gd name="connsiteX24" fmla="*/ 150224 w 180000"/>
                <a:gd name="connsiteY24" fmla="*/ 82500 h 154939"/>
                <a:gd name="connsiteX25" fmla="*/ 142724 w 180000"/>
                <a:gd name="connsiteY25" fmla="*/ 75000 h 154939"/>
                <a:gd name="connsiteX26" fmla="*/ 112724 w 180000"/>
                <a:gd name="connsiteY26" fmla="*/ 75000 h 15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0000" h="154939">
                  <a:moveTo>
                    <a:pt x="0" y="105000"/>
                  </a:move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150001" y="0"/>
                  </a:lnTo>
                  <a:cubicBezTo>
                    <a:pt x="166568" y="0"/>
                    <a:pt x="180001" y="13431"/>
                    <a:pt x="180001" y="30000"/>
                  </a:cubicBezTo>
                  <a:lnTo>
                    <a:pt x="180001" y="105000"/>
                  </a:lnTo>
                  <a:cubicBezTo>
                    <a:pt x="180001" y="121569"/>
                    <a:pt x="166568" y="135000"/>
                    <a:pt x="150001" y="135000"/>
                  </a:cubicBezTo>
                  <a:lnTo>
                    <a:pt x="31736" y="135000"/>
                  </a:lnTo>
                  <a:lnTo>
                    <a:pt x="13078" y="152858"/>
                  </a:lnTo>
                  <a:cubicBezTo>
                    <a:pt x="10086" y="155723"/>
                    <a:pt x="5338" y="155618"/>
                    <a:pt x="2474" y="152625"/>
                  </a:cubicBezTo>
                  <a:cubicBezTo>
                    <a:pt x="1138" y="151230"/>
                    <a:pt x="392" y="149371"/>
                    <a:pt x="392" y="147440"/>
                  </a:cubicBezTo>
                  <a:lnTo>
                    <a:pt x="392" y="109865"/>
                  </a:lnTo>
                  <a:cubicBezTo>
                    <a:pt x="134" y="108281"/>
                    <a:pt x="0" y="106656"/>
                    <a:pt x="0" y="105000"/>
                  </a:cubicBezTo>
                  <a:close/>
                  <a:moveTo>
                    <a:pt x="67724" y="45000"/>
                  </a:moveTo>
                  <a:cubicBezTo>
                    <a:pt x="63582" y="45000"/>
                    <a:pt x="60224" y="48358"/>
                    <a:pt x="60224" y="52500"/>
                  </a:cubicBezTo>
                  <a:cubicBezTo>
                    <a:pt x="60224" y="56642"/>
                    <a:pt x="63582" y="60000"/>
                    <a:pt x="67724" y="60000"/>
                  </a:cubicBezTo>
                  <a:lnTo>
                    <a:pt x="142724" y="60000"/>
                  </a:lnTo>
                  <a:cubicBezTo>
                    <a:pt x="146866" y="60000"/>
                    <a:pt x="150224" y="56642"/>
                    <a:pt x="150224" y="52500"/>
                  </a:cubicBezTo>
                  <a:cubicBezTo>
                    <a:pt x="150224" y="48358"/>
                    <a:pt x="146866" y="45000"/>
                    <a:pt x="142724" y="45000"/>
                  </a:cubicBezTo>
                  <a:lnTo>
                    <a:pt x="67724" y="45000"/>
                  </a:lnTo>
                  <a:close/>
                  <a:moveTo>
                    <a:pt x="112724" y="75000"/>
                  </a:moveTo>
                  <a:cubicBezTo>
                    <a:pt x="108582" y="75000"/>
                    <a:pt x="105224" y="78359"/>
                    <a:pt x="105224" y="82500"/>
                  </a:cubicBezTo>
                  <a:cubicBezTo>
                    <a:pt x="105224" y="86642"/>
                    <a:pt x="108582" y="90000"/>
                    <a:pt x="112724" y="90000"/>
                  </a:cubicBezTo>
                  <a:lnTo>
                    <a:pt x="142724" y="90000"/>
                  </a:lnTo>
                  <a:cubicBezTo>
                    <a:pt x="146866" y="90000"/>
                    <a:pt x="150224" y="86642"/>
                    <a:pt x="150224" y="82500"/>
                  </a:cubicBezTo>
                  <a:cubicBezTo>
                    <a:pt x="150224" y="78359"/>
                    <a:pt x="146866" y="75000"/>
                    <a:pt x="142724" y="75000"/>
                  </a:cubicBezTo>
                  <a:lnTo>
                    <a:pt x="112724" y="7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35" name="Рисунок 257">
            <a:extLst>
              <a:ext uri="{FF2B5EF4-FFF2-40B4-BE49-F238E27FC236}">
                <a16:creationId xmlns:a16="http://schemas.microsoft.com/office/drawing/2014/main" id="{071D3FB6-E43C-B243-A488-D2433DCE059E}"/>
              </a:ext>
            </a:extLst>
          </p:cNvPr>
          <p:cNvGrpSpPr/>
          <p:nvPr/>
        </p:nvGrpSpPr>
        <p:grpSpPr>
          <a:xfrm>
            <a:off x="11233735" y="4461423"/>
            <a:ext cx="360000" cy="360000"/>
            <a:chOff x="11267188" y="4778145"/>
            <a:chExt cx="360000" cy="360000"/>
          </a:xfrm>
        </p:grpSpPr>
        <p:sp>
          <p:nvSpPr>
            <p:cNvPr id="1136" name="Полилиния 1135">
              <a:extLst>
                <a:ext uri="{FF2B5EF4-FFF2-40B4-BE49-F238E27FC236}">
                  <a16:creationId xmlns:a16="http://schemas.microsoft.com/office/drawing/2014/main" id="{B177E7A7-1467-264A-98E7-19D5E835D759}"/>
                </a:ext>
              </a:extLst>
            </p:cNvPr>
            <p:cNvSpPr/>
            <p:nvPr/>
          </p:nvSpPr>
          <p:spPr>
            <a:xfrm>
              <a:off x="11267188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7" name="Полилиния 1136">
              <a:extLst>
                <a:ext uri="{FF2B5EF4-FFF2-40B4-BE49-F238E27FC236}">
                  <a16:creationId xmlns:a16="http://schemas.microsoft.com/office/drawing/2014/main" id="{D467A3DF-10CA-CC40-9885-DB5A35BFE7BE}"/>
                </a:ext>
              </a:extLst>
            </p:cNvPr>
            <p:cNvSpPr/>
            <p:nvPr/>
          </p:nvSpPr>
          <p:spPr>
            <a:xfrm>
              <a:off x="11312188" y="4838145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8" name="Полилиния 1137">
              <a:extLst>
                <a:ext uri="{FF2B5EF4-FFF2-40B4-BE49-F238E27FC236}">
                  <a16:creationId xmlns:a16="http://schemas.microsoft.com/office/drawing/2014/main" id="{4DD88B06-0FF7-E44C-8ECA-20DCBA9AF61B}"/>
                </a:ext>
              </a:extLst>
            </p:cNvPr>
            <p:cNvSpPr/>
            <p:nvPr/>
          </p:nvSpPr>
          <p:spPr>
            <a:xfrm>
              <a:off x="11282188" y="4808145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39" name="Рисунок 258">
            <a:extLst>
              <a:ext uri="{FF2B5EF4-FFF2-40B4-BE49-F238E27FC236}">
                <a16:creationId xmlns:a16="http://schemas.microsoft.com/office/drawing/2014/main" id="{452649C0-DF27-9D47-A1DA-1D86C7A1ED0A}"/>
              </a:ext>
            </a:extLst>
          </p:cNvPr>
          <p:cNvGrpSpPr/>
          <p:nvPr/>
        </p:nvGrpSpPr>
        <p:grpSpPr>
          <a:xfrm>
            <a:off x="10478600" y="4461423"/>
            <a:ext cx="360000" cy="360000"/>
            <a:chOff x="10512053" y="4778145"/>
            <a:chExt cx="360000" cy="360000"/>
          </a:xfrm>
        </p:grpSpPr>
        <p:sp>
          <p:nvSpPr>
            <p:cNvPr id="1140" name="Полилиния 1139">
              <a:extLst>
                <a:ext uri="{FF2B5EF4-FFF2-40B4-BE49-F238E27FC236}">
                  <a16:creationId xmlns:a16="http://schemas.microsoft.com/office/drawing/2014/main" id="{3E9C5259-4064-054D-83DC-794743C37EC2}"/>
                </a:ext>
              </a:extLst>
            </p:cNvPr>
            <p:cNvSpPr/>
            <p:nvPr/>
          </p:nvSpPr>
          <p:spPr>
            <a:xfrm>
              <a:off x="1051205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1" name="Полилиния 1140">
              <a:extLst>
                <a:ext uri="{FF2B5EF4-FFF2-40B4-BE49-F238E27FC236}">
                  <a16:creationId xmlns:a16="http://schemas.microsoft.com/office/drawing/2014/main" id="{880B655D-6704-E74C-8BD1-4AE6D6EF9240}"/>
                </a:ext>
              </a:extLst>
            </p:cNvPr>
            <p:cNvSpPr/>
            <p:nvPr/>
          </p:nvSpPr>
          <p:spPr>
            <a:xfrm>
              <a:off x="10581562" y="4860795"/>
              <a:ext cx="163590" cy="202349"/>
            </a:xfrm>
            <a:custGeom>
              <a:avLst/>
              <a:gdLst>
                <a:gd name="connsiteX0" fmla="*/ 0 w 163590"/>
                <a:gd name="connsiteY0" fmla="*/ 202350 h 202349"/>
                <a:gd name="connsiteX1" fmla="*/ 0 w 163590"/>
                <a:gd name="connsiteY1" fmla="*/ 0 h 202349"/>
                <a:gd name="connsiteX2" fmla="*/ 25935 w 163590"/>
                <a:gd name="connsiteY2" fmla="*/ 0 h 202349"/>
                <a:gd name="connsiteX3" fmla="*/ 25935 w 163590"/>
                <a:gd name="connsiteY3" fmla="*/ 86355 h 202349"/>
                <a:gd name="connsiteX4" fmla="*/ 137655 w 163590"/>
                <a:gd name="connsiteY4" fmla="*/ 86355 h 202349"/>
                <a:gd name="connsiteX5" fmla="*/ 137655 w 163590"/>
                <a:gd name="connsiteY5" fmla="*/ 0 h 202349"/>
                <a:gd name="connsiteX6" fmla="*/ 163590 w 163590"/>
                <a:gd name="connsiteY6" fmla="*/ 0 h 202349"/>
                <a:gd name="connsiteX7" fmla="*/ 163590 w 163590"/>
                <a:gd name="connsiteY7" fmla="*/ 202350 h 202349"/>
                <a:gd name="connsiteX8" fmla="*/ 137655 w 163590"/>
                <a:gd name="connsiteY8" fmla="*/ 202350 h 202349"/>
                <a:gd name="connsiteX9" fmla="*/ 137655 w 163590"/>
                <a:gd name="connsiteY9" fmla="*/ 111435 h 202349"/>
                <a:gd name="connsiteX10" fmla="*/ 25935 w 163590"/>
                <a:gd name="connsiteY10" fmla="*/ 111435 h 202349"/>
                <a:gd name="connsiteX11" fmla="*/ 25935 w 163590"/>
                <a:gd name="connsiteY11" fmla="*/ 202350 h 202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3590" h="202349">
                  <a:moveTo>
                    <a:pt x="0" y="202350"/>
                  </a:moveTo>
                  <a:lnTo>
                    <a:pt x="0" y="0"/>
                  </a:lnTo>
                  <a:lnTo>
                    <a:pt x="25935" y="0"/>
                  </a:lnTo>
                  <a:lnTo>
                    <a:pt x="25935" y="86355"/>
                  </a:lnTo>
                  <a:lnTo>
                    <a:pt x="137655" y="86355"/>
                  </a:lnTo>
                  <a:lnTo>
                    <a:pt x="137655" y="0"/>
                  </a:lnTo>
                  <a:lnTo>
                    <a:pt x="163590" y="0"/>
                  </a:lnTo>
                  <a:lnTo>
                    <a:pt x="163590" y="202350"/>
                  </a:lnTo>
                  <a:lnTo>
                    <a:pt x="137655" y="202350"/>
                  </a:lnTo>
                  <a:lnTo>
                    <a:pt x="137655" y="111435"/>
                  </a:lnTo>
                  <a:lnTo>
                    <a:pt x="25935" y="111435"/>
                  </a:lnTo>
                  <a:lnTo>
                    <a:pt x="25935" y="20235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2" name="Полилиния 1141">
              <a:extLst>
                <a:ext uri="{FF2B5EF4-FFF2-40B4-BE49-F238E27FC236}">
                  <a16:creationId xmlns:a16="http://schemas.microsoft.com/office/drawing/2014/main" id="{1B971299-27FE-D548-A119-F794FE2AA74A}"/>
                </a:ext>
              </a:extLst>
            </p:cNvPr>
            <p:cNvSpPr/>
            <p:nvPr/>
          </p:nvSpPr>
          <p:spPr>
            <a:xfrm>
              <a:off x="10797022" y="4858514"/>
              <a:ext cx="24510" cy="204630"/>
            </a:xfrm>
            <a:custGeom>
              <a:avLst/>
              <a:gdLst>
                <a:gd name="connsiteX0" fmla="*/ 0 w 24510"/>
                <a:gd name="connsiteY0" fmla="*/ 204630 h 204630"/>
                <a:gd name="connsiteX1" fmla="*/ 0 w 24510"/>
                <a:gd name="connsiteY1" fmla="*/ 24510 h 204630"/>
                <a:gd name="connsiteX2" fmla="*/ 24510 w 24510"/>
                <a:gd name="connsiteY2" fmla="*/ 0 h 204630"/>
                <a:gd name="connsiteX3" fmla="*/ 24510 w 24510"/>
                <a:gd name="connsiteY3" fmla="*/ 204630 h 20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10" h="204630">
                  <a:moveTo>
                    <a:pt x="0" y="204630"/>
                  </a:moveTo>
                  <a:lnTo>
                    <a:pt x="0" y="24510"/>
                  </a:lnTo>
                  <a:lnTo>
                    <a:pt x="24510" y="0"/>
                  </a:lnTo>
                  <a:lnTo>
                    <a:pt x="24510" y="20463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43" name="Рисунок 259">
            <a:extLst>
              <a:ext uri="{FF2B5EF4-FFF2-40B4-BE49-F238E27FC236}">
                <a16:creationId xmlns:a16="http://schemas.microsoft.com/office/drawing/2014/main" id="{17A5E001-D302-994C-9C1C-73C5418192CB}"/>
              </a:ext>
            </a:extLst>
          </p:cNvPr>
          <p:cNvGrpSpPr/>
          <p:nvPr/>
        </p:nvGrpSpPr>
        <p:grpSpPr>
          <a:xfrm>
            <a:off x="9723467" y="4461423"/>
            <a:ext cx="360000" cy="360000"/>
            <a:chOff x="9756920" y="4778145"/>
            <a:chExt cx="360000" cy="360000"/>
          </a:xfrm>
        </p:grpSpPr>
        <p:sp>
          <p:nvSpPr>
            <p:cNvPr id="1144" name="Полилиния 1143">
              <a:extLst>
                <a:ext uri="{FF2B5EF4-FFF2-40B4-BE49-F238E27FC236}">
                  <a16:creationId xmlns:a16="http://schemas.microsoft.com/office/drawing/2014/main" id="{BC57B097-5763-A34E-904F-9DA5E29298F0}"/>
                </a:ext>
              </a:extLst>
            </p:cNvPr>
            <p:cNvSpPr/>
            <p:nvPr/>
          </p:nvSpPr>
          <p:spPr>
            <a:xfrm>
              <a:off x="9756920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5" name="Полилиния 1144">
              <a:extLst>
                <a:ext uri="{FF2B5EF4-FFF2-40B4-BE49-F238E27FC236}">
                  <a16:creationId xmlns:a16="http://schemas.microsoft.com/office/drawing/2014/main" id="{CAFB46A8-DCE8-F346-8E58-F2E60D741D79}"/>
                </a:ext>
              </a:extLst>
            </p:cNvPr>
            <p:cNvSpPr/>
            <p:nvPr/>
          </p:nvSpPr>
          <p:spPr>
            <a:xfrm>
              <a:off x="9781429" y="4860795"/>
              <a:ext cx="163590" cy="202349"/>
            </a:xfrm>
            <a:custGeom>
              <a:avLst/>
              <a:gdLst>
                <a:gd name="connsiteX0" fmla="*/ 0 w 163590"/>
                <a:gd name="connsiteY0" fmla="*/ 202350 h 202349"/>
                <a:gd name="connsiteX1" fmla="*/ 0 w 163590"/>
                <a:gd name="connsiteY1" fmla="*/ 0 h 202349"/>
                <a:gd name="connsiteX2" fmla="*/ 25935 w 163590"/>
                <a:gd name="connsiteY2" fmla="*/ 0 h 202349"/>
                <a:gd name="connsiteX3" fmla="*/ 25935 w 163590"/>
                <a:gd name="connsiteY3" fmla="*/ 86355 h 202349"/>
                <a:gd name="connsiteX4" fmla="*/ 137655 w 163590"/>
                <a:gd name="connsiteY4" fmla="*/ 86355 h 202349"/>
                <a:gd name="connsiteX5" fmla="*/ 137655 w 163590"/>
                <a:gd name="connsiteY5" fmla="*/ 0 h 202349"/>
                <a:gd name="connsiteX6" fmla="*/ 163590 w 163590"/>
                <a:gd name="connsiteY6" fmla="*/ 0 h 202349"/>
                <a:gd name="connsiteX7" fmla="*/ 163590 w 163590"/>
                <a:gd name="connsiteY7" fmla="*/ 202350 h 202349"/>
                <a:gd name="connsiteX8" fmla="*/ 137655 w 163590"/>
                <a:gd name="connsiteY8" fmla="*/ 202350 h 202349"/>
                <a:gd name="connsiteX9" fmla="*/ 137655 w 163590"/>
                <a:gd name="connsiteY9" fmla="*/ 111435 h 202349"/>
                <a:gd name="connsiteX10" fmla="*/ 25935 w 163590"/>
                <a:gd name="connsiteY10" fmla="*/ 111435 h 202349"/>
                <a:gd name="connsiteX11" fmla="*/ 25935 w 163590"/>
                <a:gd name="connsiteY11" fmla="*/ 202350 h 202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3590" h="202349">
                  <a:moveTo>
                    <a:pt x="0" y="202350"/>
                  </a:moveTo>
                  <a:lnTo>
                    <a:pt x="0" y="0"/>
                  </a:lnTo>
                  <a:lnTo>
                    <a:pt x="25935" y="0"/>
                  </a:lnTo>
                  <a:lnTo>
                    <a:pt x="25935" y="86355"/>
                  </a:lnTo>
                  <a:lnTo>
                    <a:pt x="137655" y="86355"/>
                  </a:lnTo>
                  <a:lnTo>
                    <a:pt x="137655" y="0"/>
                  </a:lnTo>
                  <a:lnTo>
                    <a:pt x="163590" y="0"/>
                  </a:lnTo>
                  <a:lnTo>
                    <a:pt x="163590" y="202350"/>
                  </a:lnTo>
                  <a:lnTo>
                    <a:pt x="137655" y="202350"/>
                  </a:lnTo>
                  <a:lnTo>
                    <a:pt x="137655" y="111435"/>
                  </a:lnTo>
                  <a:lnTo>
                    <a:pt x="25935" y="111435"/>
                  </a:lnTo>
                  <a:lnTo>
                    <a:pt x="25935" y="20235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6" name="Полилиния 1145">
              <a:extLst>
                <a:ext uri="{FF2B5EF4-FFF2-40B4-BE49-F238E27FC236}">
                  <a16:creationId xmlns:a16="http://schemas.microsoft.com/office/drawing/2014/main" id="{6395FDDB-167B-A640-8CA7-8D78600B68AB}"/>
                </a:ext>
              </a:extLst>
            </p:cNvPr>
            <p:cNvSpPr/>
            <p:nvPr/>
          </p:nvSpPr>
          <p:spPr>
            <a:xfrm>
              <a:off x="9976655" y="4858514"/>
              <a:ext cx="133094" cy="204630"/>
            </a:xfrm>
            <a:custGeom>
              <a:avLst/>
              <a:gdLst>
                <a:gd name="connsiteX0" fmla="*/ 0 w 133094"/>
                <a:gd name="connsiteY0" fmla="*/ 204630 h 204630"/>
                <a:gd name="connsiteX1" fmla="*/ 78375 w 133094"/>
                <a:gd name="connsiteY1" fmla="*/ 119415 h 204630"/>
                <a:gd name="connsiteX2" fmla="*/ 68970 w 133094"/>
                <a:gd name="connsiteY2" fmla="*/ 120270 h 204630"/>
                <a:gd name="connsiteX3" fmla="*/ 10260 w 133094"/>
                <a:gd name="connsiteY3" fmla="*/ 60705 h 204630"/>
                <a:gd name="connsiteX4" fmla="*/ 71535 w 133094"/>
                <a:gd name="connsiteY4" fmla="*/ 0 h 204630"/>
                <a:gd name="connsiteX5" fmla="*/ 133095 w 133094"/>
                <a:gd name="connsiteY5" fmla="*/ 60705 h 204630"/>
                <a:gd name="connsiteX6" fmla="*/ 98040 w 133094"/>
                <a:gd name="connsiteY6" fmla="*/ 129960 h 204630"/>
                <a:gd name="connsiteX7" fmla="*/ 51300 w 133094"/>
                <a:gd name="connsiteY7" fmla="*/ 181830 h 204630"/>
                <a:gd name="connsiteX8" fmla="*/ 133095 w 133094"/>
                <a:gd name="connsiteY8" fmla="*/ 181830 h 204630"/>
                <a:gd name="connsiteX9" fmla="*/ 133095 w 133094"/>
                <a:gd name="connsiteY9" fmla="*/ 204630 h 204630"/>
                <a:gd name="connsiteX10" fmla="*/ 0 w 133094"/>
                <a:gd name="connsiteY10" fmla="*/ 204630 h 204630"/>
                <a:gd name="connsiteX11" fmla="*/ 71535 w 133094"/>
                <a:gd name="connsiteY11" fmla="*/ 98895 h 204630"/>
                <a:gd name="connsiteX12" fmla="*/ 108870 w 133094"/>
                <a:gd name="connsiteY12" fmla="*/ 60705 h 204630"/>
                <a:gd name="connsiteX13" fmla="*/ 71535 w 133094"/>
                <a:gd name="connsiteY13" fmla="*/ 22515 h 204630"/>
                <a:gd name="connsiteX14" fmla="*/ 34485 w 133094"/>
                <a:gd name="connsiteY14" fmla="*/ 60705 h 204630"/>
                <a:gd name="connsiteX15" fmla="*/ 71535 w 133094"/>
                <a:gd name="connsiteY15" fmla="*/ 98895 h 20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094" h="204630">
                  <a:moveTo>
                    <a:pt x="0" y="204630"/>
                  </a:moveTo>
                  <a:lnTo>
                    <a:pt x="78375" y="119415"/>
                  </a:lnTo>
                  <a:cubicBezTo>
                    <a:pt x="74955" y="119985"/>
                    <a:pt x="72390" y="120270"/>
                    <a:pt x="68970" y="120270"/>
                  </a:cubicBezTo>
                  <a:cubicBezTo>
                    <a:pt x="34485" y="119415"/>
                    <a:pt x="10260" y="92910"/>
                    <a:pt x="10260" y="60705"/>
                  </a:cubicBezTo>
                  <a:cubicBezTo>
                    <a:pt x="10260" y="26505"/>
                    <a:pt x="37050" y="0"/>
                    <a:pt x="71535" y="0"/>
                  </a:cubicBezTo>
                  <a:cubicBezTo>
                    <a:pt x="106020" y="0"/>
                    <a:pt x="133095" y="26505"/>
                    <a:pt x="133095" y="60705"/>
                  </a:cubicBezTo>
                  <a:cubicBezTo>
                    <a:pt x="133095" y="84645"/>
                    <a:pt x="122550" y="103455"/>
                    <a:pt x="98040" y="129960"/>
                  </a:cubicBezTo>
                  <a:lnTo>
                    <a:pt x="51300" y="181830"/>
                  </a:lnTo>
                  <a:lnTo>
                    <a:pt x="133095" y="181830"/>
                  </a:lnTo>
                  <a:lnTo>
                    <a:pt x="133095" y="204630"/>
                  </a:lnTo>
                  <a:lnTo>
                    <a:pt x="0" y="204630"/>
                  </a:lnTo>
                  <a:close/>
                  <a:moveTo>
                    <a:pt x="71535" y="98895"/>
                  </a:moveTo>
                  <a:cubicBezTo>
                    <a:pt x="93195" y="98895"/>
                    <a:pt x="108870" y="82650"/>
                    <a:pt x="108870" y="60705"/>
                  </a:cubicBezTo>
                  <a:cubicBezTo>
                    <a:pt x="108870" y="39045"/>
                    <a:pt x="93195" y="22515"/>
                    <a:pt x="71535" y="22515"/>
                  </a:cubicBezTo>
                  <a:cubicBezTo>
                    <a:pt x="49590" y="22515"/>
                    <a:pt x="34485" y="39045"/>
                    <a:pt x="34485" y="60705"/>
                  </a:cubicBezTo>
                  <a:cubicBezTo>
                    <a:pt x="34485" y="82650"/>
                    <a:pt x="49590" y="98895"/>
                    <a:pt x="71535" y="98895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47" name="Рисунок 260">
            <a:extLst>
              <a:ext uri="{FF2B5EF4-FFF2-40B4-BE49-F238E27FC236}">
                <a16:creationId xmlns:a16="http://schemas.microsoft.com/office/drawing/2014/main" id="{5EFE3259-D3F8-C249-9237-C62C9E3E4E22}"/>
              </a:ext>
            </a:extLst>
          </p:cNvPr>
          <p:cNvGrpSpPr/>
          <p:nvPr/>
        </p:nvGrpSpPr>
        <p:grpSpPr>
          <a:xfrm>
            <a:off x="8968334" y="4461423"/>
            <a:ext cx="360000" cy="360000"/>
            <a:chOff x="9001787" y="4778145"/>
            <a:chExt cx="360000" cy="360000"/>
          </a:xfrm>
        </p:grpSpPr>
        <p:sp>
          <p:nvSpPr>
            <p:cNvPr id="1148" name="Полилиния 1147">
              <a:extLst>
                <a:ext uri="{FF2B5EF4-FFF2-40B4-BE49-F238E27FC236}">
                  <a16:creationId xmlns:a16="http://schemas.microsoft.com/office/drawing/2014/main" id="{D3059EB8-5174-8E4B-BE58-BC3E5C8A315B}"/>
                </a:ext>
              </a:extLst>
            </p:cNvPr>
            <p:cNvSpPr/>
            <p:nvPr/>
          </p:nvSpPr>
          <p:spPr>
            <a:xfrm>
              <a:off x="9001787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9" name="Полилиния 1148">
              <a:extLst>
                <a:ext uri="{FF2B5EF4-FFF2-40B4-BE49-F238E27FC236}">
                  <a16:creationId xmlns:a16="http://schemas.microsoft.com/office/drawing/2014/main" id="{B775F333-860C-A842-BCE5-FCD8B826EF12}"/>
                </a:ext>
              </a:extLst>
            </p:cNvPr>
            <p:cNvSpPr/>
            <p:nvPr/>
          </p:nvSpPr>
          <p:spPr>
            <a:xfrm>
              <a:off x="9046787" y="4845645"/>
              <a:ext cx="270000" cy="225000"/>
            </a:xfrm>
            <a:custGeom>
              <a:avLst/>
              <a:gdLst>
                <a:gd name="connsiteX0" fmla="*/ 202500 w 270000"/>
                <a:gd name="connsiteY0" fmla="*/ 0 h 225000"/>
                <a:gd name="connsiteX1" fmla="*/ 135000 w 270000"/>
                <a:gd name="connsiteY1" fmla="*/ 45000 h 225000"/>
                <a:gd name="connsiteX2" fmla="*/ 67500 w 270000"/>
                <a:gd name="connsiteY2" fmla="*/ 0 h 225000"/>
                <a:gd name="connsiteX3" fmla="*/ 0 w 270000"/>
                <a:gd name="connsiteY3" fmla="*/ 75756 h 225000"/>
                <a:gd name="connsiteX4" fmla="*/ 135000 w 270000"/>
                <a:gd name="connsiteY4" fmla="*/ 225000 h 225000"/>
                <a:gd name="connsiteX5" fmla="*/ 270000 w 270000"/>
                <a:gd name="connsiteY5" fmla="*/ 78750 h 225000"/>
                <a:gd name="connsiteX6" fmla="*/ 202500 w 270000"/>
                <a:gd name="connsiteY6" fmla="*/ 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000" h="225000">
                  <a:moveTo>
                    <a:pt x="202500" y="0"/>
                  </a:moveTo>
                  <a:cubicBezTo>
                    <a:pt x="178358" y="0"/>
                    <a:pt x="150125" y="27369"/>
                    <a:pt x="135000" y="45000"/>
                  </a:cubicBezTo>
                  <a:cubicBezTo>
                    <a:pt x="119876" y="27369"/>
                    <a:pt x="91643" y="0"/>
                    <a:pt x="67500" y="0"/>
                  </a:cubicBezTo>
                  <a:cubicBezTo>
                    <a:pt x="24765" y="0"/>
                    <a:pt x="0" y="33333"/>
                    <a:pt x="0" y="75756"/>
                  </a:cubicBezTo>
                  <a:cubicBezTo>
                    <a:pt x="0" y="122753"/>
                    <a:pt x="45000" y="172500"/>
                    <a:pt x="135000" y="225000"/>
                  </a:cubicBezTo>
                  <a:cubicBezTo>
                    <a:pt x="225000" y="172500"/>
                    <a:pt x="270000" y="123750"/>
                    <a:pt x="270000" y="78750"/>
                  </a:cubicBezTo>
                  <a:cubicBezTo>
                    <a:pt x="270000" y="36327"/>
                    <a:pt x="245235" y="0"/>
                    <a:pt x="202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0" name="Полилиния 1149">
              <a:extLst>
                <a:ext uri="{FF2B5EF4-FFF2-40B4-BE49-F238E27FC236}">
                  <a16:creationId xmlns:a16="http://schemas.microsoft.com/office/drawing/2014/main" id="{039646E5-7BBA-A54C-AA35-C33173B6AAED}"/>
                </a:ext>
              </a:extLst>
            </p:cNvPr>
            <p:cNvSpPr/>
            <p:nvPr/>
          </p:nvSpPr>
          <p:spPr>
            <a:xfrm>
              <a:off x="9046787" y="4845645"/>
              <a:ext cx="135000" cy="225000"/>
            </a:xfrm>
            <a:custGeom>
              <a:avLst/>
              <a:gdLst>
                <a:gd name="connsiteX0" fmla="*/ 135000 w 135000"/>
                <a:gd name="connsiteY0" fmla="*/ 225000 h 225000"/>
                <a:gd name="connsiteX1" fmla="*/ 0 w 135000"/>
                <a:gd name="connsiteY1" fmla="*/ 75756 h 225000"/>
                <a:gd name="connsiteX2" fmla="*/ 67500 w 135000"/>
                <a:gd name="connsiteY2" fmla="*/ 0 h 225000"/>
                <a:gd name="connsiteX3" fmla="*/ 135000 w 135000"/>
                <a:gd name="connsiteY3" fmla="*/ 45000 h 225000"/>
                <a:gd name="connsiteX4" fmla="*/ 135000 w 135000"/>
                <a:gd name="connsiteY4" fmla="*/ 225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000" h="225000">
                  <a:moveTo>
                    <a:pt x="135000" y="225000"/>
                  </a:moveTo>
                  <a:cubicBezTo>
                    <a:pt x="45000" y="172500"/>
                    <a:pt x="0" y="122753"/>
                    <a:pt x="0" y="75756"/>
                  </a:cubicBezTo>
                  <a:cubicBezTo>
                    <a:pt x="0" y="33333"/>
                    <a:pt x="24765" y="0"/>
                    <a:pt x="67500" y="0"/>
                  </a:cubicBezTo>
                  <a:cubicBezTo>
                    <a:pt x="91643" y="0"/>
                    <a:pt x="119876" y="27369"/>
                    <a:pt x="135000" y="45000"/>
                  </a:cubicBezTo>
                  <a:lnTo>
                    <a:pt x="135000" y="22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51" name="Рисунок 261">
            <a:extLst>
              <a:ext uri="{FF2B5EF4-FFF2-40B4-BE49-F238E27FC236}">
                <a16:creationId xmlns:a16="http://schemas.microsoft.com/office/drawing/2014/main" id="{8079BD11-3D71-A246-87B9-BEE75A9DAA36}"/>
              </a:ext>
            </a:extLst>
          </p:cNvPr>
          <p:cNvGrpSpPr/>
          <p:nvPr/>
        </p:nvGrpSpPr>
        <p:grpSpPr>
          <a:xfrm>
            <a:off x="6702935" y="4461423"/>
            <a:ext cx="360000" cy="360000"/>
            <a:chOff x="6736388" y="4778145"/>
            <a:chExt cx="360000" cy="360000"/>
          </a:xfrm>
        </p:grpSpPr>
        <p:sp>
          <p:nvSpPr>
            <p:cNvPr id="1152" name="Полилиния 1151">
              <a:extLst>
                <a:ext uri="{FF2B5EF4-FFF2-40B4-BE49-F238E27FC236}">
                  <a16:creationId xmlns:a16="http://schemas.microsoft.com/office/drawing/2014/main" id="{5B846D85-93A6-834E-B563-66DECE4A3F10}"/>
                </a:ext>
              </a:extLst>
            </p:cNvPr>
            <p:cNvSpPr/>
            <p:nvPr/>
          </p:nvSpPr>
          <p:spPr>
            <a:xfrm>
              <a:off x="6736388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3" name="Полилиния 1152">
              <a:extLst>
                <a:ext uri="{FF2B5EF4-FFF2-40B4-BE49-F238E27FC236}">
                  <a16:creationId xmlns:a16="http://schemas.microsoft.com/office/drawing/2014/main" id="{7D0EFB95-405C-6947-A28E-598A5BB7EFA0}"/>
                </a:ext>
              </a:extLst>
            </p:cNvPr>
            <p:cNvSpPr/>
            <p:nvPr/>
          </p:nvSpPr>
          <p:spPr>
            <a:xfrm>
              <a:off x="6916388" y="4842034"/>
              <a:ext cx="125425" cy="240042"/>
            </a:xfrm>
            <a:custGeom>
              <a:avLst/>
              <a:gdLst>
                <a:gd name="connsiteX0" fmla="*/ 0 w 125425"/>
                <a:gd name="connsiteY0" fmla="*/ 0 h 240042"/>
                <a:gd name="connsiteX1" fmla="*/ 6639 w 125425"/>
                <a:gd name="connsiteY1" fmla="*/ 1552 h 240042"/>
                <a:gd name="connsiteX2" fmla="*/ 13450 w 125425"/>
                <a:gd name="connsiteY2" fmla="*/ 8365 h 240042"/>
                <a:gd name="connsiteX3" fmla="*/ 44084 w 125425"/>
                <a:gd name="connsiteY3" fmla="*/ 70434 h 240042"/>
                <a:gd name="connsiteX4" fmla="*/ 112581 w 125425"/>
                <a:gd name="connsiteY4" fmla="*/ 80387 h 240042"/>
                <a:gd name="connsiteX5" fmla="*/ 125268 w 125425"/>
                <a:gd name="connsiteY5" fmla="*/ 97389 h 240042"/>
                <a:gd name="connsiteX6" fmla="*/ 120894 w 125425"/>
                <a:gd name="connsiteY6" fmla="*/ 105973 h 240042"/>
                <a:gd name="connsiteX7" fmla="*/ 71330 w 125425"/>
                <a:gd name="connsiteY7" fmla="*/ 154287 h 240042"/>
                <a:gd name="connsiteX8" fmla="*/ 83029 w 125425"/>
                <a:gd name="connsiteY8" fmla="*/ 222507 h 240042"/>
                <a:gd name="connsiteX9" fmla="*/ 70782 w 125425"/>
                <a:gd name="connsiteY9" fmla="*/ 239827 h 240042"/>
                <a:gd name="connsiteX10" fmla="*/ 61266 w 125425"/>
                <a:gd name="connsiteY10" fmla="*/ 238320 h 240042"/>
                <a:gd name="connsiteX11" fmla="*/ 0 w 125425"/>
                <a:gd name="connsiteY11" fmla="*/ 206110 h 240042"/>
                <a:gd name="connsiteX12" fmla="*/ 0 w 125425"/>
                <a:gd name="connsiteY12" fmla="*/ 0 h 24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5425" h="240042">
                  <a:moveTo>
                    <a:pt x="0" y="0"/>
                  </a:moveTo>
                  <a:cubicBezTo>
                    <a:pt x="2234" y="-2"/>
                    <a:pt x="4500" y="497"/>
                    <a:pt x="6639" y="1552"/>
                  </a:cubicBezTo>
                  <a:cubicBezTo>
                    <a:pt x="9597" y="3012"/>
                    <a:pt x="11991" y="5407"/>
                    <a:pt x="13450" y="8365"/>
                  </a:cubicBezTo>
                  <a:lnTo>
                    <a:pt x="44084" y="70434"/>
                  </a:lnTo>
                  <a:lnTo>
                    <a:pt x="112581" y="80387"/>
                  </a:lnTo>
                  <a:cubicBezTo>
                    <a:pt x="120779" y="81578"/>
                    <a:pt x="126459" y="89190"/>
                    <a:pt x="125268" y="97389"/>
                  </a:cubicBezTo>
                  <a:cubicBezTo>
                    <a:pt x="124794" y="100653"/>
                    <a:pt x="123257" y="103669"/>
                    <a:pt x="120894" y="105973"/>
                  </a:cubicBezTo>
                  <a:lnTo>
                    <a:pt x="71330" y="154287"/>
                  </a:lnTo>
                  <a:lnTo>
                    <a:pt x="83029" y="222507"/>
                  </a:lnTo>
                  <a:cubicBezTo>
                    <a:pt x="84431" y="230671"/>
                    <a:pt x="78946" y="238426"/>
                    <a:pt x="70782" y="239827"/>
                  </a:cubicBezTo>
                  <a:cubicBezTo>
                    <a:pt x="67530" y="240384"/>
                    <a:pt x="64185" y="239854"/>
                    <a:pt x="61266" y="238320"/>
                  </a:cubicBezTo>
                  <a:lnTo>
                    <a:pt x="0" y="2061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4" name="Полилиния 1153">
              <a:extLst>
                <a:ext uri="{FF2B5EF4-FFF2-40B4-BE49-F238E27FC236}">
                  <a16:creationId xmlns:a16="http://schemas.microsoft.com/office/drawing/2014/main" id="{06DAE324-4BD1-2946-AFE8-A6966A04D2D6}"/>
                </a:ext>
              </a:extLst>
            </p:cNvPr>
            <p:cNvSpPr/>
            <p:nvPr/>
          </p:nvSpPr>
          <p:spPr>
            <a:xfrm>
              <a:off x="6790963" y="4842034"/>
              <a:ext cx="125424" cy="240045"/>
            </a:xfrm>
            <a:custGeom>
              <a:avLst/>
              <a:gdLst>
                <a:gd name="connsiteX0" fmla="*/ 125424 w 125424"/>
                <a:gd name="connsiteY0" fmla="*/ 0 h 240045"/>
                <a:gd name="connsiteX1" fmla="*/ 125424 w 125424"/>
                <a:gd name="connsiteY1" fmla="*/ 206110 h 240045"/>
                <a:gd name="connsiteX2" fmla="*/ 64158 w 125424"/>
                <a:gd name="connsiteY2" fmla="*/ 238320 h 240045"/>
                <a:gd name="connsiteX3" fmla="*/ 43901 w 125424"/>
                <a:gd name="connsiteY3" fmla="*/ 232023 h 240045"/>
                <a:gd name="connsiteX4" fmla="*/ 42394 w 125424"/>
                <a:gd name="connsiteY4" fmla="*/ 222507 h 240045"/>
                <a:gd name="connsiteX5" fmla="*/ 54095 w 125424"/>
                <a:gd name="connsiteY5" fmla="*/ 154287 h 240045"/>
                <a:gd name="connsiteX6" fmla="*/ 4530 w 125424"/>
                <a:gd name="connsiteY6" fmla="*/ 105973 h 240045"/>
                <a:gd name="connsiteX7" fmla="*/ 4259 w 125424"/>
                <a:gd name="connsiteY7" fmla="*/ 84761 h 240045"/>
                <a:gd name="connsiteX8" fmla="*/ 12843 w 125424"/>
                <a:gd name="connsiteY8" fmla="*/ 80387 h 240045"/>
                <a:gd name="connsiteX9" fmla="*/ 81340 w 125424"/>
                <a:gd name="connsiteY9" fmla="*/ 70434 h 240045"/>
                <a:gd name="connsiteX10" fmla="*/ 111974 w 125424"/>
                <a:gd name="connsiteY10" fmla="*/ 8365 h 240045"/>
                <a:gd name="connsiteX11" fmla="*/ 125424 w 125424"/>
                <a:gd name="connsiteY11" fmla="*/ 0 h 240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5424" h="240045">
                  <a:moveTo>
                    <a:pt x="125424" y="0"/>
                  </a:moveTo>
                  <a:lnTo>
                    <a:pt x="125424" y="206110"/>
                  </a:lnTo>
                  <a:lnTo>
                    <a:pt x="64158" y="238320"/>
                  </a:lnTo>
                  <a:cubicBezTo>
                    <a:pt x="56826" y="242175"/>
                    <a:pt x="47756" y="239355"/>
                    <a:pt x="43901" y="232023"/>
                  </a:cubicBezTo>
                  <a:cubicBezTo>
                    <a:pt x="42366" y="229102"/>
                    <a:pt x="41836" y="225759"/>
                    <a:pt x="42394" y="222507"/>
                  </a:cubicBezTo>
                  <a:lnTo>
                    <a:pt x="54095" y="154287"/>
                  </a:lnTo>
                  <a:lnTo>
                    <a:pt x="4530" y="105973"/>
                  </a:lnTo>
                  <a:cubicBezTo>
                    <a:pt x="-1402" y="100191"/>
                    <a:pt x="-1524" y="90693"/>
                    <a:pt x="4259" y="84761"/>
                  </a:cubicBezTo>
                  <a:cubicBezTo>
                    <a:pt x="6561" y="82399"/>
                    <a:pt x="9578" y="80861"/>
                    <a:pt x="12843" y="80387"/>
                  </a:cubicBezTo>
                  <a:lnTo>
                    <a:pt x="81340" y="70434"/>
                  </a:lnTo>
                  <a:lnTo>
                    <a:pt x="111974" y="8365"/>
                  </a:lnTo>
                  <a:cubicBezTo>
                    <a:pt x="114584" y="3074"/>
                    <a:pt x="119898" y="4"/>
                    <a:pt x="125424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55" name="Рисунок 262">
            <a:extLst>
              <a:ext uri="{FF2B5EF4-FFF2-40B4-BE49-F238E27FC236}">
                <a16:creationId xmlns:a16="http://schemas.microsoft.com/office/drawing/2014/main" id="{2706E4BF-3680-3648-A758-76B8C7C0709F}"/>
              </a:ext>
            </a:extLst>
          </p:cNvPr>
          <p:cNvGrpSpPr/>
          <p:nvPr/>
        </p:nvGrpSpPr>
        <p:grpSpPr>
          <a:xfrm>
            <a:off x="7458068" y="4461423"/>
            <a:ext cx="360000" cy="360000"/>
            <a:chOff x="7491521" y="4778145"/>
            <a:chExt cx="360000" cy="360000"/>
          </a:xfrm>
        </p:grpSpPr>
        <p:sp>
          <p:nvSpPr>
            <p:cNvPr id="1156" name="Полилиния 1155">
              <a:extLst>
                <a:ext uri="{FF2B5EF4-FFF2-40B4-BE49-F238E27FC236}">
                  <a16:creationId xmlns:a16="http://schemas.microsoft.com/office/drawing/2014/main" id="{987E7191-9039-1749-9D0B-C2020870273C}"/>
                </a:ext>
              </a:extLst>
            </p:cNvPr>
            <p:cNvSpPr/>
            <p:nvPr/>
          </p:nvSpPr>
          <p:spPr>
            <a:xfrm>
              <a:off x="7491521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7" name="Полилиния 1156">
              <a:extLst>
                <a:ext uri="{FF2B5EF4-FFF2-40B4-BE49-F238E27FC236}">
                  <a16:creationId xmlns:a16="http://schemas.microsoft.com/office/drawing/2014/main" id="{D55C15F4-9B96-8A4F-8D3C-BFA6E2B9C24E}"/>
                </a:ext>
              </a:extLst>
            </p:cNvPr>
            <p:cNvSpPr/>
            <p:nvPr/>
          </p:nvSpPr>
          <p:spPr>
            <a:xfrm>
              <a:off x="7529429" y="4838050"/>
              <a:ext cx="279073" cy="240094"/>
            </a:xfrm>
            <a:custGeom>
              <a:avLst/>
              <a:gdLst>
                <a:gd name="connsiteX0" fmla="*/ 236053 w 279073"/>
                <a:gd name="connsiteY0" fmla="*/ 210095 h 240094"/>
                <a:gd name="connsiteX1" fmla="*/ 110733 w 279073"/>
                <a:gd name="connsiteY1" fmla="*/ 104355 h 240094"/>
                <a:gd name="connsiteX2" fmla="*/ 103669 w 279073"/>
                <a:gd name="connsiteY2" fmla="*/ 20998 h 240094"/>
                <a:gd name="connsiteX3" fmla="*/ 144810 w 279073"/>
                <a:gd name="connsiteY3" fmla="*/ 130 h 240094"/>
                <a:gd name="connsiteX4" fmla="*/ 202552 w 279073"/>
                <a:gd name="connsiteY4" fmla="*/ 50422 h 240094"/>
                <a:gd name="connsiteX5" fmla="*/ 185773 w 279073"/>
                <a:gd name="connsiteY5" fmla="*/ 93453 h 240094"/>
                <a:gd name="connsiteX6" fmla="*/ 165141 w 279073"/>
                <a:gd name="connsiteY6" fmla="*/ 71676 h 240094"/>
                <a:gd name="connsiteX7" fmla="*/ 172623 w 279073"/>
                <a:gd name="connsiteY7" fmla="*/ 52486 h 240094"/>
                <a:gd name="connsiteX8" fmla="*/ 146874 w 279073"/>
                <a:gd name="connsiteY8" fmla="*/ 30059 h 240094"/>
                <a:gd name="connsiteX9" fmla="*/ 126597 w 279073"/>
                <a:gd name="connsiteY9" fmla="*/ 40344 h 240094"/>
                <a:gd name="connsiteX10" fmla="*/ 130078 w 279073"/>
                <a:gd name="connsiteY10" fmla="*/ 81427 h 240094"/>
                <a:gd name="connsiteX11" fmla="*/ 271083 w 279073"/>
                <a:gd name="connsiteY11" fmla="*/ 200399 h 240094"/>
                <a:gd name="connsiteX12" fmla="*/ 279073 w 279073"/>
                <a:gd name="connsiteY12" fmla="*/ 217595 h 240094"/>
                <a:gd name="connsiteX13" fmla="*/ 256573 w 279073"/>
                <a:gd name="connsiteY13" fmla="*/ 240095 h 240094"/>
                <a:gd name="connsiteX14" fmla="*/ 22502 w 279073"/>
                <a:gd name="connsiteY14" fmla="*/ 240095 h 240094"/>
                <a:gd name="connsiteX15" fmla="*/ 4357 w 279073"/>
                <a:gd name="connsiteY15" fmla="*/ 230900 h 240094"/>
                <a:gd name="connsiteX16" fmla="*/ 9196 w 279073"/>
                <a:gd name="connsiteY16" fmla="*/ 199451 h 240094"/>
                <a:gd name="connsiteX17" fmla="*/ 103221 w 279073"/>
                <a:gd name="connsiteY17" fmla="*/ 130499 h 240094"/>
                <a:gd name="connsiteX18" fmla="*/ 120963 w 279073"/>
                <a:gd name="connsiteY18" fmla="*/ 154691 h 240094"/>
                <a:gd name="connsiteX19" fmla="*/ 45411 w 279073"/>
                <a:gd name="connsiteY19" fmla="*/ 210095 h 240094"/>
                <a:gd name="connsiteX20" fmla="*/ 236053 w 279073"/>
                <a:gd name="connsiteY20" fmla="*/ 210095 h 240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9073" h="240094">
                  <a:moveTo>
                    <a:pt x="236053" y="210095"/>
                  </a:moveTo>
                  <a:lnTo>
                    <a:pt x="110733" y="104355"/>
                  </a:lnTo>
                  <a:cubicBezTo>
                    <a:pt x="85763" y="83288"/>
                    <a:pt x="82601" y="45967"/>
                    <a:pt x="103669" y="20998"/>
                  </a:cubicBezTo>
                  <a:cubicBezTo>
                    <a:pt x="113994" y="8761"/>
                    <a:pt x="128838" y="1232"/>
                    <a:pt x="144810" y="130"/>
                  </a:cubicBezTo>
                  <a:cubicBezTo>
                    <a:pt x="174642" y="-1927"/>
                    <a:pt x="200494" y="20589"/>
                    <a:pt x="202552" y="50422"/>
                  </a:cubicBezTo>
                  <a:cubicBezTo>
                    <a:pt x="203664" y="66552"/>
                    <a:pt x="197511" y="82335"/>
                    <a:pt x="185773" y="93453"/>
                  </a:cubicBezTo>
                  <a:lnTo>
                    <a:pt x="165141" y="71676"/>
                  </a:lnTo>
                  <a:cubicBezTo>
                    <a:pt x="170374" y="66717"/>
                    <a:pt x="173119" y="59679"/>
                    <a:pt x="172623" y="52486"/>
                  </a:cubicBezTo>
                  <a:cubicBezTo>
                    <a:pt x="171705" y="39183"/>
                    <a:pt x="160177" y="29142"/>
                    <a:pt x="146874" y="30059"/>
                  </a:cubicBezTo>
                  <a:cubicBezTo>
                    <a:pt x="139002" y="30602"/>
                    <a:pt x="131686" y="34313"/>
                    <a:pt x="126597" y="40344"/>
                  </a:cubicBezTo>
                  <a:cubicBezTo>
                    <a:pt x="116214" y="52650"/>
                    <a:pt x="117772" y="71044"/>
                    <a:pt x="130078" y="81427"/>
                  </a:cubicBezTo>
                  <a:lnTo>
                    <a:pt x="271083" y="200399"/>
                  </a:lnTo>
                  <a:cubicBezTo>
                    <a:pt x="276150" y="204674"/>
                    <a:pt x="279073" y="210965"/>
                    <a:pt x="279073" y="217595"/>
                  </a:cubicBezTo>
                  <a:cubicBezTo>
                    <a:pt x="279073" y="230021"/>
                    <a:pt x="268999" y="240095"/>
                    <a:pt x="256573" y="240095"/>
                  </a:cubicBezTo>
                  <a:lnTo>
                    <a:pt x="22502" y="240095"/>
                  </a:lnTo>
                  <a:cubicBezTo>
                    <a:pt x="15334" y="240095"/>
                    <a:pt x="8596" y="236681"/>
                    <a:pt x="4357" y="230900"/>
                  </a:cubicBezTo>
                  <a:cubicBezTo>
                    <a:pt x="-2991" y="220880"/>
                    <a:pt x="-825" y="206799"/>
                    <a:pt x="9196" y="199451"/>
                  </a:cubicBezTo>
                  <a:lnTo>
                    <a:pt x="103221" y="130499"/>
                  </a:lnTo>
                  <a:lnTo>
                    <a:pt x="120963" y="154691"/>
                  </a:lnTo>
                  <a:lnTo>
                    <a:pt x="45411" y="210095"/>
                  </a:lnTo>
                  <a:lnTo>
                    <a:pt x="236053" y="210095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58" name="Рисунок 263">
            <a:extLst>
              <a:ext uri="{FF2B5EF4-FFF2-40B4-BE49-F238E27FC236}">
                <a16:creationId xmlns:a16="http://schemas.microsoft.com/office/drawing/2014/main" id="{2AE24F98-6229-B540-9B22-31CA4604765A}"/>
              </a:ext>
            </a:extLst>
          </p:cNvPr>
          <p:cNvGrpSpPr/>
          <p:nvPr/>
        </p:nvGrpSpPr>
        <p:grpSpPr>
          <a:xfrm>
            <a:off x="8213201" y="4461423"/>
            <a:ext cx="360000" cy="360000"/>
            <a:chOff x="8246654" y="4778145"/>
            <a:chExt cx="360000" cy="360000"/>
          </a:xfrm>
        </p:grpSpPr>
        <p:sp>
          <p:nvSpPr>
            <p:cNvPr id="1159" name="Полилиния 1158">
              <a:extLst>
                <a:ext uri="{FF2B5EF4-FFF2-40B4-BE49-F238E27FC236}">
                  <a16:creationId xmlns:a16="http://schemas.microsoft.com/office/drawing/2014/main" id="{BFCDAA9F-FA75-754C-BB68-565A827BAEAC}"/>
                </a:ext>
              </a:extLst>
            </p:cNvPr>
            <p:cNvSpPr/>
            <p:nvPr/>
          </p:nvSpPr>
          <p:spPr>
            <a:xfrm>
              <a:off x="8246654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0" name="Полилиния 1159">
              <a:extLst>
                <a:ext uri="{FF2B5EF4-FFF2-40B4-BE49-F238E27FC236}">
                  <a16:creationId xmlns:a16="http://schemas.microsoft.com/office/drawing/2014/main" id="{9C282097-07BD-7843-8D6C-D44BA14BA341}"/>
                </a:ext>
              </a:extLst>
            </p:cNvPr>
            <p:cNvSpPr/>
            <p:nvPr/>
          </p:nvSpPr>
          <p:spPr>
            <a:xfrm>
              <a:off x="8276654" y="4973145"/>
              <a:ext cx="300000" cy="105000"/>
            </a:xfrm>
            <a:custGeom>
              <a:avLst/>
              <a:gdLst>
                <a:gd name="connsiteX0" fmla="*/ 0 w 300000"/>
                <a:gd name="connsiteY0" fmla="*/ 0 h 105000"/>
                <a:gd name="connsiteX1" fmla="*/ 300000 w 300000"/>
                <a:gd name="connsiteY1" fmla="*/ 0 h 105000"/>
                <a:gd name="connsiteX2" fmla="*/ 300000 w 300000"/>
                <a:gd name="connsiteY2" fmla="*/ 75000 h 105000"/>
                <a:gd name="connsiteX3" fmla="*/ 270000 w 300000"/>
                <a:gd name="connsiteY3" fmla="*/ 105000 h 105000"/>
                <a:gd name="connsiteX4" fmla="*/ 30000 w 300000"/>
                <a:gd name="connsiteY4" fmla="*/ 105000 h 105000"/>
                <a:gd name="connsiteX5" fmla="*/ 0 w 300000"/>
                <a:gd name="connsiteY5" fmla="*/ 75000 h 105000"/>
                <a:gd name="connsiteX6" fmla="*/ 0 w 300000"/>
                <a:gd name="connsiteY6" fmla="*/ 0 h 105000"/>
                <a:gd name="connsiteX7" fmla="*/ 247500 w 300000"/>
                <a:gd name="connsiteY7" fmla="*/ 75000 h 105000"/>
                <a:gd name="connsiteX8" fmla="*/ 270000 w 300000"/>
                <a:gd name="connsiteY8" fmla="*/ 52500 h 105000"/>
                <a:gd name="connsiteX9" fmla="*/ 247500 w 300000"/>
                <a:gd name="connsiteY9" fmla="*/ 30000 h 105000"/>
                <a:gd name="connsiteX10" fmla="*/ 225000 w 300000"/>
                <a:gd name="connsiteY10" fmla="*/ 52500 h 105000"/>
                <a:gd name="connsiteX11" fmla="*/ 247500 w 300000"/>
                <a:gd name="connsiteY11" fmla="*/ 75000 h 105000"/>
                <a:gd name="connsiteX12" fmla="*/ 172500 w 300000"/>
                <a:gd name="connsiteY12" fmla="*/ 75000 h 105000"/>
                <a:gd name="connsiteX13" fmla="*/ 195000 w 300000"/>
                <a:gd name="connsiteY13" fmla="*/ 52500 h 105000"/>
                <a:gd name="connsiteX14" fmla="*/ 172500 w 300000"/>
                <a:gd name="connsiteY14" fmla="*/ 30000 h 105000"/>
                <a:gd name="connsiteX15" fmla="*/ 150000 w 300000"/>
                <a:gd name="connsiteY15" fmla="*/ 52500 h 105000"/>
                <a:gd name="connsiteX16" fmla="*/ 172500 w 300000"/>
                <a:gd name="connsiteY16" fmla="*/ 7500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0000" h="105000">
                  <a:moveTo>
                    <a:pt x="0" y="0"/>
                  </a:moveTo>
                  <a:lnTo>
                    <a:pt x="300000" y="0"/>
                  </a:lnTo>
                  <a:lnTo>
                    <a:pt x="300000" y="75000"/>
                  </a:lnTo>
                  <a:cubicBezTo>
                    <a:pt x="300000" y="91569"/>
                    <a:pt x="286569" y="105000"/>
                    <a:pt x="270000" y="105000"/>
                  </a:cubicBezTo>
                  <a:lnTo>
                    <a:pt x="30000" y="105000"/>
                  </a:lnTo>
                  <a:cubicBezTo>
                    <a:pt x="13431" y="105000"/>
                    <a:pt x="0" y="91569"/>
                    <a:pt x="0" y="75000"/>
                  </a:cubicBezTo>
                  <a:lnTo>
                    <a:pt x="0" y="0"/>
                  </a:lnTo>
                  <a:close/>
                  <a:moveTo>
                    <a:pt x="247500" y="75000"/>
                  </a:moveTo>
                  <a:cubicBezTo>
                    <a:pt x="259926" y="75000"/>
                    <a:pt x="270000" y="64926"/>
                    <a:pt x="270000" y="52500"/>
                  </a:cubicBezTo>
                  <a:cubicBezTo>
                    <a:pt x="270000" y="40074"/>
                    <a:pt x="259926" y="30000"/>
                    <a:pt x="247500" y="30000"/>
                  </a:cubicBezTo>
                  <a:cubicBezTo>
                    <a:pt x="235074" y="30000"/>
                    <a:pt x="225000" y="40074"/>
                    <a:pt x="225000" y="52500"/>
                  </a:cubicBezTo>
                  <a:cubicBezTo>
                    <a:pt x="225000" y="64926"/>
                    <a:pt x="235074" y="75000"/>
                    <a:pt x="247500" y="75000"/>
                  </a:cubicBezTo>
                  <a:close/>
                  <a:moveTo>
                    <a:pt x="172500" y="75000"/>
                  </a:moveTo>
                  <a:cubicBezTo>
                    <a:pt x="184926" y="75000"/>
                    <a:pt x="195000" y="64926"/>
                    <a:pt x="195000" y="52500"/>
                  </a:cubicBezTo>
                  <a:cubicBezTo>
                    <a:pt x="195000" y="40074"/>
                    <a:pt x="184926" y="30000"/>
                    <a:pt x="172500" y="30000"/>
                  </a:cubicBezTo>
                  <a:cubicBezTo>
                    <a:pt x="160074" y="30000"/>
                    <a:pt x="150000" y="40074"/>
                    <a:pt x="150000" y="52500"/>
                  </a:cubicBezTo>
                  <a:cubicBezTo>
                    <a:pt x="150000" y="64926"/>
                    <a:pt x="160074" y="75000"/>
                    <a:pt x="172500" y="7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1" name="Полилиния 1160">
              <a:extLst>
                <a:ext uri="{FF2B5EF4-FFF2-40B4-BE49-F238E27FC236}">
                  <a16:creationId xmlns:a16="http://schemas.microsoft.com/office/drawing/2014/main" id="{A1AB965D-0C75-ED4A-83F6-FBA41B5C5520}"/>
                </a:ext>
              </a:extLst>
            </p:cNvPr>
            <p:cNvSpPr/>
            <p:nvPr/>
          </p:nvSpPr>
          <p:spPr>
            <a:xfrm>
              <a:off x="8276654" y="4898145"/>
              <a:ext cx="300000" cy="75000"/>
            </a:xfrm>
            <a:custGeom>
              <a:avLst/>
              <a:gdLst>
                <a:gd name="connsiteX0" fmla="*/ 56890 w 300000"/>
                <a:gd name="connsiteY0" fmla="*/ 0 h 75000"/>
                <a:gd name="connsiteX1" fmla="*/ 243110 w 300000"/>
                <a:gd name="connsiteY1" fmla="*/ 0 h 75000"/>
                <a:gd name="connsiteX2" fmla="*/ 255687 w 300000"/>
                <a:gd name="connsiteY2" fmla="*/ 6825 h 75000"/>
                <a:gd name="connsiteX3" fmla="*/ 300000 w 300000"/>
                <a:gd name="connsiteY3" fmla="*/ 75000 h 75000"/>
                <a:gd name="connsiteX4" fmla="*/ 0 w 300000"/>
                <a:gd name="connsiteY4" fmla="*/ 75000 h 75000"/>
                <a:gd name="connsiteX5" fmla="*/ 44314 w 300000"/>
                <a:gd name="connsiteY5" fmla="*/ 6825 h 75000"/>
                <a:gd name="connsiteX6" fmla="*/ 56890 w 300000"/>
                <a:gd name="connsiteY6" fmla="*/ 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0" h="75000">
                  <a:moveTo>
                    <a:pt x="56890" y="0"/>
                  </a:moveTo>
                  <a:lnTo>
                    <a:pt x="243110" y="0"/>
                  </a:lnTo>
                  <a:cubicBezTo>
                    <a:pt x="248187" y="0"/>
                    <a:pt x="252920" y="2568"/>
                    <a:pt x="255687" y="6825"/>
                  </a:cubicBezTo>
                  <a:lnTo>
                    <a:pt x="300000" y="75000"/>
                  </a:lnTo>
                  <a:lnTo>
                    <a:pt x="0" y="75000"/>
                  </a:lnTo>
                  <a:lnTo>
                    <a:pt x="44314" y="6825"/>
                  </a:lnTo>
                  <a:cubicBezTo>
                    <a:pt x="47081" y="2568"/>
                    <a:pt x="51813" y="0"/>
                    <a:pt x="5689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62" name="Рисунок 264">
            <a:extLst>
              <a:ext uri="{FF2B5EF4-FFF2-40B4-BE49-F238E27FC236}">
                <a16:creationId xmlns:a16="http://schemas.microsoft.com/office/drawing/2014/main" id="{AB6D760E-7A0B-DE45-ADEB-19719C316CC5}"/>
              </a:ext>
            </a:extLst>
          </p:cNvPr>
          <p:cNvGrpSpPr/>
          <p:nvPr/>
        </p:nvGrpSpPr>
        <p:grpSpPr>
          <a:xfrm>
            <a:off x="5947802" y="4461423"/>
            <a:ext cx="360000" cy="360000"/>
            <a:chOff x="5981255" y="4778145"/>
            <a:chExt cx="360000" cy="360000"/>
          </a:xfrm>
        </p:grpSpPr>
        <p:sp>
          <p:nvSpPr>
            <p:cNvPr id="1163" name="Полилиния 1162">
              <a:extLst>
                <a:ext uri="{FF2B5EF4-FFF2-40B4-BE49-F238E27FC236}">
                  <a16:creationId xmlns:a16="http://schemas.microsoft.com/office/drawing/2014/main" id="{AEA93BAA-52D3-8B41-8F48-3D3A6B398D7C}"/>
                </a:ext>
              </a:extLst>
            </p:cNvPr>
            <p:cNvSpPr/>
            <p:nvPr/>
          </p:nvSpPr>
          <p:spPr>
            <a:xfrm>
              <a:off x="5981255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4" name="Полилиния 1163">
              <a:extLst>
                <a:ext uri="{FF2B5EF4-FFF2-40B4-BE49-F238E27FC236}">
                  <a16:creationId xmlns:a16="http://schemas.microsoft.com/office/drawing/2014/main" id="{F0DF3BD6-D0D0-0242-9DFD-281748C8D5A8}"/>
                </a:ext>
              </a:extLst>
            </p:cNvPr>
            <p:cNvSpPr/>
            <p:nvPr/>
          </p:nvSpPr>
          <p:spPr>
            <a:xfrm>
              <a:off x="6116255" y="4868145"/>
              <a:ext cx="135000" cy="111115"/>
            </a:xfrm>
            <a:custGeom>
              <a:avLst/>
              <a:gdLst>
                <a:gd name="connsiteX0" fmla="*/ 135000 w 135000"/>
                <a:gd name="connsiteY0" fmla="*/ 96444 h 111115"/>
                <a:gd name="connsiteX1" fmla="*/ 97700 w 135000"/>
                <a:gd name="connsiteY1" fmla="*/ 111115 h 111115"/>
                <a:gd name="connsiteX2" fmla="*/ 0 w 135000"/>
                <a:gd name="connsiteY2" fmla="*/ 72981 h 111115"/>
                <a:gd name="connsiteX3" fmla="*/ 0 w 135000"/>
                <a:gd name="connsiteY3" fmla="*/ 52500 h 111115"/>
                <a:gd name="connsiteX4" fmla="*/ 52500 w 135000"/>
                <a:gd name="connsiteY4" fmla="*/ 0 h 111115"/>
                <a:gd name="connsiteX5" fmla="*/ 82500 w 135000"/>
                <a:gd name="connsiteY5" fmla="*/ 0 h 111115"/>
                <a:gd name="connsiteX6" fmla="*/ 135000 w 135000"/>
                <a:gd name="connsiteY6" fmla="*/ 52500 h 111115"/>
                <a:gd name="connsiteX7" fmla="*/ 135000 w 135000"/>
                <a:gd name="connsiteY7" fmla="*/ 96444 h 111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000" h="111115">
                  <a:moveTo>
                    <a:pt x="135000" y="96444"/>
                  </a:moveTo>
                  <a:cubicBezTo>
                    <a:pt x="124003" y="100056"/>
                    <a:pt x="111619" y="104934"/>
                    <a:pt x="97700" y="111115"/>
                  </a:cubicBezTo>
                  <a:cubicBezTo>
                    <a:pt x="60098" y="94139"/>
                    <a:pt x="27621" y="81501"/>
                    <a:pt x="0" y="72981"/>
                  </a:cubicBezTo>
                  <a:lnTo>
                    <a:pt x="0" y="52500"/>
                  </a:lnTo>
                  <a:cubicBezTo>
                    <a:pt x="0" y="23505"/>
                    <a:pt x="23505" y="0"/>
                    <a:pt x="52500" y="0"/>
                  </a:cubicBezTo>
                  <a:lnTo>
                    <a:pt x="82500" y="0"/>
                  </a:lnTo>
                  <a:cubicBezTo>
                    <a:pt x="111495" y="0"/>
                    <a:pt x="135000" y="23505"/>
                    <a:pt x="135000" y="52500"/>
                  </a:cubicBezTo>
                  <a:lnTo>
                    <a:pt x="135000" y="9644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5" name="Полилиния 1164">
              <a:extLst>
                <a:ext uri="{FF2B5EF4-FFF2-40B4-BE49-F238E27FC236}">
                  <a16:creationId xmlns:a16="http://schemas.microsoft.com/office/drawing/2014/main" id="{07AD1433-1C8A-2F49-81FE-A15782895329}"/>
                </a:ext>
              </a:extLst>
            </p:cNvPr>
            <p:cNvSpPr/>
            <p:nvPr/>
          </p:nvSpPr>
          <p:spPr>
            <a:xfrm>
              <a:off x="6006310" y="4942729"/>
              <a:ext cx="304570" cy="111886"/>
            </a:xfrm>
            <a:custGeom>
              <a:avLst/>
              <a:gdLst>
                <a:gd name="connsiteX0" fmla="*/ 4570 w 304570"/>
                <a:gd name="connsiteY0" fmla="*/ 68430 h 111886"/>
                <a:gd name="connsiteX1" fmla="*/ 207445 w 304570"/>
                <a:gd name="connsiteY1" fmla="*/ 61108 h 111886"/>
                <a:gd name="connsiteX2" fmla="*/ 4570 w 304570"/>
                <a:gd name="connsiteY2" fmla="*/ 68430 h 111886"/>
                <a:gd name="connsiteX3" fmla="*/ 303380 w 304570"/>
                <a:gd name="connsiteY3" fmla="*/ 61290 h 111886"/>
                <a:gd name="connsiteX4" fmla="*/ 207445 w 304570"/>
                <a:gd name="connsiteY4" fmla="*/ 61290 h 111886"/>
                <a:gd name="connsiteX5" fmla="*/ 303380 w 304570"/>
                <a:gd name="connsiteY5" fmla="*/ 61290 h 111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4570" h="111886">
                  <a:moveTo>
                    <a:pt x="4570" y="68430"/>
                  </a:moveTo>
                  <a:cubicBezTo>
                    <a:pt x="-2216" y="37083"/>
                    <a:pt x="-30075" y="-64283"/>
                    <a:pt x="207445" y="61108"/>
                  </a:cubicBezTo>
                  <a:cubicBezTo>
                    <a:pt x="200659" y="61108"/>
                    <a:pt x="24929" y="170310"/>
                    <a:pt x="4570" y="68430"/>
                  </a:cubicBezTo>
                  <a:close/>
                  <a:moveTo>
                    <a:pt x="303380" y="61290"/>
                  </a:moveTo>
                  <a:cubicBezTo>
                    <a:pt x="306361" y="47526"/>
                    <a:pt x="311737" y="6234"/>
                    <a:pt x="207445" y="61290"/>
                  </a:cubicBezTo>
                  <a:cubicBezTo>
                    <a:pt x="210425" y="61290"/>
                    <a:pt x="294442" y="106024"/>
                    <a:pt x="303380" y="6129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66" name="Рисунок 265">
            <a:extLst>
              <a:ext uri="{FF2B5EF4-FFF2-40B4-BE49-F238E27FC236}">
                <a16:creationId xmlns:a16="http://schemas.microsoft.com/office/drawing/2014/main" id="{FEBF9B66-026A-7B47-BCE3-270E5B0E0C57}"/>
              </a:ext>
            </a:extLst>
          </p:cNvPr>
          <p:cNvGrpSpPr/>
          <p:nvPr/>
        </p:nvGrpSpPr>
        <p:grpSpPr>
          <a:xfrm>
            <a:off x="4437536" y="4461423"/>
            <a:ext cx="360000" cy="360000"/>
            <a:chOff x="4470989" y="4778145"/>
            <a:chExt cx="360000" cy="360000"/>
          </a:xfrm>
        </p:grpSpPr>
        <p:sp>
          <p:nvSpPr>
            <p:cNvPr id="1167" name="Полилиния 1166">
              <a:extLst>
                <a:ext uri="{FF2B5EF4-FFF2-40B4-BE49-F238E27FC236}">
                  <a16:creationId xmlns:a16="http://schemas.microsoft.com/office/drawing/2014/main" id="{924F7938-8F5E-C344-A024-596BF59DE1BA}"/>
                </a:ext>
              </a:extLst>
            </p:cNvPr>
            <p:cNvSpPr/>
            <p:nvPr/>
          </p:nvSpPr>
          <p:spPr>
            <a:xfrm>
              <a:off x="4470989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8" name="Полилиния 1167">
              <a:extLst>
                <a:ext uri="{FF2B5EF4-FFF2-40B4-BE49-F238E27FC236}">
                  <a16:creationId xmlns:a16="http://schemas.microsoft.com/office/drawing/2014/main" id="{C1C8974F-55C4-F349-A11A-3E93CE2E8FE4}"/>
                </a:ext>
              </a:extLst>
            </p:cNvPr>
            <p:cNvSpPr/>
            <p:nvPr/>
          </p:nvSpPr>
          <p:spPr>
            <a:xfrm>
              <a:off x="4515989" y="4823145"/>
              <a:ext cx="270000" cy="195000"/>
            </a:xfrm>
            <a:custGeom>
              <a:avLst/>
              <a:gdLst>
                <a:gd name="connsiteX0" fmla="*/ 240000 w 270000"/>
                <a:gd name="connsiteY0" fmla="*/ 195000 h 195000"/>
                <a:gd name="connsiteX1" fmla="*/ 240000 w 270000"/>
                <a:gd name="connsiteY1" fmla="*/ 135000 h 195000"/>
                <a:gd name="connsiteX2" fmla="*/ 135000 w 270000"/>
                <a:gd name="connsiteY2" fmla="*/ 30000 h 195000"/>
                <a:gd name="connsiteX3" fmla="*/ 30000 w 270000"/>
                <a:gd name="connsiteY3" fmla="*/ 135000 h 195000"/>
                <a:gd name="connsiteX4" fmla="*/ 30000 w 270000"/>
                <a:gd name="connsiteY4" fmla="*/ 195000 h 195000"/>
                <a:gd name="connsiteX5" fmla="*/ 240000 w 270000"/>
                <a:gd name="connsiteY5" fmla="*/ 195000 h 195000"/>
                <a:gd name="connsiteX6" fmla="*/ 270000 w 270000"/>
                <a:gd name="connsiteY6" fmla="*/ 195000 h 195000"/>
                <a:gd name="connsiteX7" fmla="*/ 0 w 270000"/>
                <a:gd name="connsiteY7" fmla="*/ 195000 h 195000"/>
                <a:gd name="connsiteX8" fmla="*/ 0 w 270000"/>
                <a:gd name="connsiteY8" fmla="*/ 135000 h 195000"/>
                <a:gd name="connsiteX9" fmla="*/ 135000 w 270000"/>
                <a:gd name="connsiteY9" fmla="*/ 0 h 195000"/>
                <a:gd name="connsiteX10" fmla="*/ 270000 w 270000"/>
                <a:gd name="connsiteY10" fmla="*/ 135000 h 195000"/>
                <a:gd name="connsiteX11" fmla="*/ 270000 w 270000"/>
                <a:gd name="connsiteY11" fmla="*/ 1950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0000" h="195000">
                  <a:moveTo>
                    <a:pt x="240000" y="195000"/>
                  </a:moveTo>
                  <a:lnTo>
                    <a:pt x="240000" y="135000"/>
                  </a:lnTo>
                  <a:cubicBezTo>
                    <a:pt x="240000" y="77010"/>
                    <a:pt x="192990" y="30000"/>
                    <a:pt x="135000" y="30000"/>
                  </a:cubicBezTo>
                  <a:cubicBezTo>
                    <a:pt x="77010" y="30000"/>
                    <a:pt x="30000" y="77010"/>
                    <a:pt x="30000" y="135000"/>
                  </a:cubicBezTo>
                  <a:lnTo>
                    <a:pt x="30000" y="195000"/>
                  </a:lnTo>
                  <a:lnTo>
                    <a:pt x="240000" y="195000"/>
                  </a:lnTo>
                  <a:close/>
                  <a:moveTo>
                    <a:pt x="270000" y="195000"/>
                  </a:moveTo>
                  <a:lnTo>
                    <a:pt x="0" y="195000"/>
                  </a:lnTo>
                  <a:lnTo>
                    <a:pt x="0" y="135000"/>
                  </a:lnTo>
                  <a:cubicBezTo>
                    <a:pt x="0" y="60442"/>
                    <a:pt x="60442" y="0"/>
                    <a:pt x="135000" y="0"/>
                  </a:cubicBezTo>
                  <a:cubicBezTo>
                    <a:pt x="209559" y="0"/>
                    <a:pt x="270000" y="60442"/>
                    <a:pt x="270000" y="135000"/>
                  </a:cubicBezTo>
                  <a:lnTo>
                    <a:pt x="270000" y="19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9" name="Полилиния 1168">
              <a:extLst>
                <a:ext uri="{FF2B5EF4-FFF2-40B4-BE49-F238E27FC236}">
                  <a16:creationId xmlns:a16="http://schemas.microsoft.com/office/drawing/2014/main" id="{D0362F17-55F0-254F-8F6E-BF6895C7FDDB}"/>
                </a:ext>
              </a:extLst>
            </p:cNvPr>
            <p:cNvSpPr/>
            <p:nvPr/>
          </p:nvSpPr>
          <p:spPr>
            <a:xfrm>
              <a:off x="4515989" y="4988145"/>
              <a:ext cx="270000" cy="105000"/>
            </a:xfrm>
            <a:custGeom>
              <a:avLst/>
              <a:gdLst>
                <a:gd name="connsiteX0" fmla="*/ 30000 w 270000"/>
                <a:gd name="connsiteY0" fmla="*/ 0 h 105000"/>
                <a:gd name="connsiteX1" fmla="*/ 45000 w 270000"/>
                <a:gd name="connsiteY1" fmla="*/ 0 h 105000"/>
                <a:gd name="connsiteX2" fmla="*/ 75000 w 270000"/>
                <a:gd name="connsiteY2" fmla="*/ 30000 h 105000"/>
                <a:gd name="connsiteX3" fmla="*/ 75000 w 270000"/>
                <a:gd name="connsiteY3" fmla="*/ 75000 h 105000"/>
                <a:gd name="connsiteX4" fmla="*/ 45000 w 270000"/>
                <a:gd name="connsiteY4" fmla="*/ 105000 h 105000"/>
                <a:gd name="connsiteX5" fmla="*/ 30000 w 270000"/>
                <a:gd name="connsiteY5" fmla="*/ 105000 h 105000"/>
                <a:gd name="connsiteX6" fmla="*/ 0 w 270000"/>
                <a:gd name="connsiteY6" fmla="*/ 75000 h 105000"/>
                <a:gd name="connsiteX7" fmla="*/ 0 w 270000"/>
                <a:gd name="connsiteY7" fmla="*/ 30000 h 105000"/>
                <a:gd name="connsiteX8" fmla="*/ 30000 w 270000"/>
                <a:gd name="connsiteY8" fmla="*/ 0 h 105000"/>
                <a:gd name="connsiteX9" fmla="*/ 225000 w 270000"/>
                <a:gd name="connsiteY9" fmla="*/ 0 h 105000"/>
                <a:gd name="connsiteX10" fmla="*/ 240000 w 270000"/>
                <a:gd name="connsiteY10" fmla="*/ 0 h 105000"/>
                <a:gd name="connsiteX11" fmla="*/ 270000 w 270000"/>
                <a:gd name="connsiteY11" fmla="*/ 30000 h 105000"/>
                <a:gd name="connsiteX12" fmla="*/ 270000 w 270000"/>
                <a:gd name="connsiteY12" fmla="*/ 75000 h 105000"/>
                <a:gd name="connsiteX13" fmla="*/ 240000 w 270000"/>
                <a:gd name="connsiteY13" fmla="*/ 105000 h 105000"/>
                <a:gd name="connsiteX14" fmla="*/ 225000 w 270000"/>
                <a:gd name="connsiteY14" fmla="*/ 105000 h 105000"/>
                <a:gd name="connsiteX15" fmla="*/ 195000 w 270000"/>
                <a:gd name="connsiteY15" fmla="*/ 75000 h 105000"/>
                <a:gd name="connsiteX16" fmla="*/ 195000 w 270000"/>
                <a:gd name="connsiteY16" fmla="*/ 30000 h 105000"/>
                <a:gd name="connsiteX17" fmla="*/ 225000 w 270000"/>
                <a:gd name="connsiteY17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0000" h="105000">
                  <a:moveTo>
                    <a:pt x="30000" y="0"/>
                  </a:moveTo>
                  <a:lnTo>
                    <a:pt x="45000" y="0"/>
                  </a:lnTo>
                  <a:cubicBezTo>
                    <a:pt x="61569" y="0"/>
                    <a:pt x="75000" y="13431"/>
                    <a:pt x="75000" y="30000"/>
                  </a:cubicBezTo>
                  <a:lnTo>
                    <a:pt x="75000" y="75000"/>
                  </a:lnTo>
                  <a:cubicBezTo>
                    <a:pt x="75000" y="91569"/>
                    <a:pt x="61569" y="105000"/>
                    <a:pt x="45000" y="105000"/>
                  </a:cubicBezTo>
                  <a:lnTo>
                    <a:pt x="30000" y="105000"/>
                  </a:lnTo>
                  <a:cubicBezTo>
                    <a:pt x="13431" y="105000"/>
                    <a:pt x="0" y="91569"/>
                    <a:pt x="0" y="75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225000" y="0"/>
                  </a:move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75000"/>
                  </a:lnTo>
                  <a:cubicBezTo>
                    <a:pt x="270000" y="91569"/>
                    <a:pt x="256569" y="105000"/>
                    <a:pt x="240000" y="105000"/>
                  </a:cubicBezTo>
                  <a:lnTo>
                    <a:pt x="225000" y="105000"/>
                  </a:lnTo>
                  <a:cubicBezTo>
                    <a:pt x="208431" y="105000"/>
                    <a:pt x="195000" y="91569"/>
                    <a:pt x="195000" y="75000"/>
                  </a:cubicBezTo>
                  <a:lnTo>
                    <a:pt x="195000" y="30000"/>
                  </a:lnTo>
                  <a:cubicBezTo>
                    <a:pt x="195000" y="13431"/>
                    <a:pt x="208431" y="0"/>
                    <a:pt x="22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170" name="Рисунок 266">
            <a:extLst>
              <a:ext uri="{FF2B5EF4-FFF2-40B4-BE49-F238E27FC236}">
                <a16:creationId xmlns:a16="http://schemas.microsoft.com/office/drawing/2014/main" id="{98F08C57-7E5D-7F4C-AD5E-74A0218E777D}"/>
              </a:ext>
            </a:extLst>
          </p:cNvPr>
          <p:cNvGrpSpPr/>
          <p:nvPr/>
        </p:nvGrpSpPr>
        <p:grpSpPr>
          <a:xfrm>
            <a:off x="5192669" y="4461423"/>
            <a:ext cx="360000" cy="360000"/>
            <a:chOff x="5226122" y="4778145"/>
            <a:chExt cx="360000" cy="360000"/>
          </a:xfrm>
        </p:grpSpPr>
        <p:sp>
          <p:nvSpPr>
            <p:cNvPr id="1171" name="Полилиния 1170">
              <a:extLst>
                <a:ext uri="{FF2B5EF4-FFF2-40B4-BE49-F238E27FC236}">
                  <a16:creationId xmlns:a16="http://schemas.microsoft.com/office/drawing/2014/main" id="{C09C93EE-AD76-EE4E-A43F-E921913390BF}"/>
                </a:ext>
              </a:extLst>
            </p:cNvPr>
            <p:cNvSpPr/>
            <p:nvPr/>
          </p:nvSpPr>
          <p:spPr>
            <a:xfrm>
              <a:off x="5271122" y="4845645"/>
              <a:ext cx="270000" cy="225000"/>
            </a:xfrm>
            <a:custGeom>
              <a:avLst/>
              <a:gdLst>
                <a:gd name="connsiteX0" fmla="*/ 202500 w 270000"/>
                <a:gd name="connsiteY0" fmla="*/ 0 h 225000"/>
                <a:gd name="connsiteX1" fmla="*/ 135000 w 270000"/>
                <a:gd name="connsiteY1" fmla="*/ 45000 h 225000"/>
                <a:gd name="connsiteX2" fmla="*/ 67500 w 270000"/>
                <a:gd name="connsiteY2" fmla="*/ 0 h 225000"/>
                <a:gd name="connsiteX3" fmla="*/ 0 w 270000"/>
                <a:gd name="connsiteY3" fmla="*/ 75756 h 225000"/>
                <a:gd name="connsiteX4" fmla="*/ 135000 w 270000"/>
                <a:gd name="connsiteY4" fmla="*/ 225000 h 225000"/>
                <a:gd name="connsiteX5" fmla="*/ 270000 w 270000"/>
                <a:gd name="connsiteY5" fmla="*/ 78750 h 225000"/>
                <a:gd name="connsiteX6" fmla="*/ 202500 w 270000"/>
                <a:gd name="connsiteY6" fmla="*/ 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000" h="225000">
                  <a:moveTo>
                    <a:pt x="202500" y="0"/>
                  </a:moveTo>
                  <a:cubicBezTo>
                    <a:pt x="178358" y="0"/>
                    <a:pt x="150125" y="27369"/>
                    <a:pt x="135000" y="45000"/>
                  </a:cubicBezTo>
                  <a:cubicBezTo>
                    <a:pt x="119876" y="27369"/>
                    <a:pt x="91643" y="0"/>
                    <a:pt x="67500" y="0"/>
                  </a:cubicBezTo>
                  <a:cubicBezTo>
                    <a:pt x="24765" y="0"/>
                    <a:pt x="0" y="33333"/>
                    <a:pt x="0" y="75756"/>
                  </a:cubicBezTo>
                  <a:cubicBezTo>
                    <a:pt x="0" y="122753"/>
                    <a:pt x="45000" y="172500"/>
                    <a:pt x="135000" y="225000"/>
                  </a:cubicBezTo>
                  <a:cubicBezTo>
                    <a:pt x="225000" y="172500"/>
                    <a:pt x="270000" y="123750"/>
                    <a:pt x="270000" y="78750"/>
                  </a:cubicBezTo>
                  <a:cubicBezTo>
                    <a:pt x="270000" y="36327"/>
                    <a:pt x="245235" y="0"/>
                    <a:pt x="2025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2" name="Полилиния 1171">
              <a:extLst>
                <a:ext uri="{FF2B5EF4-FFF2-40B4-BE49-F238E27FC236}">
                  <a16:creationId xmlns:a16="http://schemas.microsoft.com/office/drawing/2014/main" id="{9318450E-82BD-7548-BB13-0BD830069AB3}"/>
                </a:ext>
              </a:extLst>
            </p:cNvPr>
            <p:cNvSpPr/>
            <p:nvPr/>
          </p:nvSpPr>
          <p:spPr>
            <a:xfrm>
              <a:off x="5226122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73" name="Рисунок 267">
            <a:extLst>
              <a:ext uri="{FF2B5EF4-FFF2-40B4-BE49-F238E27FC236}">
                <a16:creationId xmlns:a16="http://schemas.microsoft.com/office/drawing/2014/main" id="{0AF3488D-05F2-5140-8FC3-A7822762E832}"/>
              </a:ext>
            </a:extLst>
          </p:cNvPr>
          <p:cNvGrpSpPr/>
          <p:nvPr/>
        </p:nvGrpSpPr>
        <p:grpSpPr>
          <a:xfrm>
            <a:off x="1417004" y="4461423"/>
            <a:ext cx="360000" cy="360000"/>
            <a:chOff x="1450457" y="4778145"/>
            <a:chExt cx="360000" cy="360000"/>
          </a:xfrm>
        </p:grpSpPr>
        <p:sp>
          <p:nvSpPr>
            <p:cNvPr id="1174" name="Полилиния 1173">
              <a:extLst>
                <a:ext uri="{FF2B5EF4-FFF2-40B4-BE49-F238E27FC236}">
                  <a16:creationId xmlns:a16="http://schemas.microsoft.com/office/drawing/2014/main" id="{27294617-9BBC-AE4A-AC3A-624012482623}"/>
                </a:ext>
              </a:extLst>
            </p:cNvPr>
            <p:cNvSpPr/>
            <p:nvPr/>
          </p:nvSpPr>
          <p:spPr>
            <a:xfrm>
              <a:off x="1450457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5" name="Полилиния 1174">
              <a:extLst>
                <a:ext uri="{FF2B5EF4-FFF2-40B4-BE49-F238E27FC236}">
                  <a16:creationId xmlns:a16="http://schemas.microsoft.com/office/drawing/2014/main" id="{2C1F9F29-3F5F-3A4D-B266-F411B349ED31}"/>
                </a:ext>
              </a:extLst>
            </p:cNvPr>
            <p:cNvSpPr/>
            <p:nvPr/>
          </p:nvSpPr>
          <p:spPr>
            <a:xfrm>
              <a:off x="1616889" y="4925870"/>
              <a:ext cx="148567" cy="122274"/>
            </a:xfrm>
            <a:custGeom>
              <a:avLst/>
              <a:gdLst>
                <a:gd name="connsiteX0" fmla="*/ 121686 w 148567"/>
                <a:gd name="connsiteY0" fmla="*/ 0 h 122274"/>
                <a:gd name="connsiteX1" fmla="*/ 148568 w 148567"/>
                <a:gd name="connsiteY1" fmla="*/ 32275 h 122274"/>
                <a:gd name="connsiteX2" fmla="*/ 13568 w 148567"/>
                <a:gd name="connsiteY2" fmla="*/ 122275 h 122274"/>
                <a:gd name="connsiteX3" fmla="*/ 0 w 148567"/>
                <a:gd name="connsiteY3" fmla="*/ 121685 h 122274"/>
                <a:gd name="connsiteX4" fmla="*/ 121686 w 148567"/>
                <a:gd name="connsiteY4" fmla="*/ 0 h 12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67" h="122274">
                  <a:moveTo>
                    <a:pt x="121686" y="0"/>
                  </a:moveTo>
                  <a:cubicBezTo>
                    <a:pt x="138524" y="17543"/>
                    <a:pt x="148568" y="32275"/>
                    <a:pt x="148568" y="32275"/>
                  </a:cubicBezTo>
                  <a:cubicBezTo>
                    <a:pt x="148568" y="32275"/>
                    <a:pt x="87204" y="122275"/>
                    <a:pt x="13568" y="122275"/>
                  </a:cubicBezTo>
                  <a:cubicBezTo>
                    <a:pt x="8907" y="122275"/>
                    <a:pt x="4386" y="122072"/>
                    <a:pt x="0" y="121685"/>
                  </a:cubicBezTo>
                  <a:lnTo>
                    <a:pt x="121686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176" name="Полилиния 1175">
              <a:extLst>
                <a:ext uri="{FF2B5EF4-FFF2-40B4-BE49-F238E27FC236}">
                  <a16:creationId xmlns:a16="http://schemas.microsoft.com/office/drawing/2014/main" id="{15C4A9AA-21B0-9C44-BBAC-39F03EAFC88B}"/>
                </a:ext>
              </a:extLst>
            </p:cNvPr>
            <p:cNvSpPr/>
            <p:nvPr/>
          </p:nvSpPr>
          <p:spPr>
            <a:xfrm>
              <a:off x="1495457" y="4868145"/>
              <a:ext cx="172576" cy="142101"/>
            </a:xfrm>
            <a:custGeom>
              <a:avLst/>
              <a:gdLst>
                <a:gd name="connsiteX0" fmla="*/ 172577 w 172576"/>
                <a:gd name="connsiteY0" fmla="*/ 7423 h 142101"/>
                <a:gd name="connsiteX1" fmla="*/ 135000 w 172576"/>
                <a:gd name="connsiteY1" fmla="*/ 45000 h 142101"/>
                <a:gd name="connsiteX2" fmla="*/ 90000 w 172576"/>
                <a:gd name="connsiteY2" fmla="*/ 90000 h 142101"/>
                <a:gd name="connsiteX3" fmla="*/ 37899 w 172576"/>
                <a:gd name="connsiteY3" fmla="*/ 142101 h 142101"/>
                <a:gd name="connsiteX4" fmla="*/ 0 w 172576"/>
                <a:gd name="connsiteY4" fmla="*/ 90000 h 142101"/>
                <a:gd name="connsiteX5" fmla="*/ 135000 w 172576"/>
                <a:gd name="connsiteY5" fmla="*/ 0 h 142101"/>
                <a:gd name="connsiteX6" fmla="*/ 172577 w 172576"/>
                <a:gd name="connsiteY6" fmla="*/ 7423 h 142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2576" h="142101">
                  <a:moveTo>
                    <a:pt x="172577" y="7423"/>
                  </a:moveTo>
                  <a:lnTo>
                    <a:pt x="135000" y="45000"/>
                  </a:lnTo>
                  <a:cubicBezTo>
                    <a:pt x="110146" y="45000"/>
                    <a:pt x="90000" y="65146"/>
                    <a:pt x="90000" y="90000"/>
                  </a:cubicBezTo>
                  <a:lnTo>
                    <a:pt x="37899" y="142101"/>
                  </a:lnTo>
                  <a:cubicBezTo>
                    <a:pt x="11251" y="117503"/>
                    <a:pt x="0" y="90000"/>
                    <a:pt x="0" y="90000"/>
                  </a:cubicBezTo>
                  <a:cubicBezTo>
                    <a:pt x="0" y="90000"/>
                    <a:pt x="36818" y="0"/>
                    <a:pt x="135000" y="0"/>
                  </a:cubicBezTo>
                  <a:cubicBezTo>
                    <a:pt x="147998" y="0"/>
                    <a:pt x="160614" y="2804"/>
                    <a:pt x="172577" y="742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7" name="Скругленный прямоугольник 1176">
              <a:extLst>
                <a:ext uri="{FF2B5EF4-FFF2-40B4-BE49-F238E27FC236}">
                  <a16:creationId xmlns:a16="http://schemas.microsoft.com/office/drawing/2014/main" id="{6FC714BC-1B24-6C4C-9BB3-7FE4DBBC9793}"/>
                </a:ext>
              </a:extLst>
            </p:cNvPr>
            <p:cNvSpPr/>
            <p:nvPr/>
          </p:nvSpPr>
          <p:spPr>
            <a:xfrm rot="-2700000">
              <a:off x="1495826" y="4949513"/>
              <a:ext cx="285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78" name="Рисунок 268">
            <a:extLst>
              <a:ext uri="{FF2B5EF4-FFF2-40B4-BE49-F238E27FC236}">
                <a16:creationId xmlns:a16="http://schemas.microsoft.com/office/drawing/2014/main" id="{A32D914F-C25A-D64F-86AA-E6F95654A943}"/>
              </a:ext>
            </a:extLst>
          </p:cNvPr>
          <p:cNvGrpSpPr/>
          <p:nvPr/>
        </p:nvGrpSpPr>
        <p:grpSpPr>
          <a:xfrm>
            <a:off x="2172137" y="4461423"/>
            <a:ext cx="360000" cy="360000"/>
            <a:chOff x="2205590" y="4778145"/>
            <a:chExt cx="360000" cy="360000"/>
          </a:xfrm>
        </p:grpSpPr>
        <p:sp>
          <p:nvSpPr>
            <p:cNvPr id="1179" name="Полилиния 1178">
              <a:extLst>
                <a:ext uri="{FF2B5EF4-FFF2-40B4-BE49-F238E27FC236}">
                  <a16:creationId xmlns:a16="http://schemas.microsoft.com/office/drawing/2014/main" id="{CF2FAD5F-FBA3-9D4B-A327-B15CF8538298}"/>
                </a:ext>
              </a:extLst>
            </p:cNvPr>
            <p:cNvSpPr/>
            <p:nvPr/>
          </p:nvSpPr>
          <p:spPr>
            <a:xfrm>
              <a:off x="2205590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0" name="Полилиния 1179">
              <a:extLst>
                <a:ext uri="{FF2B5EF4-FFF2-40B4-BE49-F238E27FC236}">
                  <a16:creationId xmlns:a16="http://schemas.microsoft.com/office/drawing/2014/main" id="{9145C5FB-1965-C74F-B3FB-DAFED1400174}"/>
                </a:ext>
              </a:extLst>
            </p:cNvPr>
            <p:cNvSpPr/>
            <p:nvPr/>
          </p:nvSpPr>
          <p:spPr>
            <a:xfrm>
              <a:off x="2232092" y="4807384"/>
              <a:ext cx="306993" cy="270760"/>
            </a:xfrm>
            <a:custGeom>
              <a:avLst/>
              <a:gdLst>
                <a:gd name="connsiteX0" fmla="*/ 15003 w 306993"/>
                <a:gd name="connsiteY0" fmla="*/ 270761 h 270760"/>
                <a:gd name="connsiteX1" fmla="*/ 7523 w 306993"/>
                <a:gd name="connsiteY1" fmla="*/ 268763 h 270760"/>
                <a:gd name="connsiteX2" fmla="*/ 2000 w 306993"/>
                <a:gd name="connsiteY2" fmla="*/ 248282 h 270760"/>
                <a:gd name="connsiteX3" fmla="*/ 140495 w 306993"/>
                <a:gd name="connsiteY3" fmla="*/ 7523 h 270760"/>
                <a:gd name="connsiteX4" fmla="*/ 146018 w 306993"/>
                <a:gd name="connsiteY4" fmla="*/ 2000 h 270760"/>
                <a:gd name="connsiteX5" fmla="*/ 166501 w 306993"/>
                <a:gd name="connsiteY5" fmla="*/ 7523 h 270760"/>
                <a:gd name="connsiteX6" fmla="*/ 304997 w 306993"/>
                <a:gd name="connsiteY6" fmla="*/ 248282 h 270760"/>
                <a:gd name="connsiteX7" fmla="*/ 306994 w 306993"/>
                <a:gd name="connsiteY7" fmla="*/ 255761 h 270760"/>
                <a:gd name="connsiteX8" fmla="*/ 291994 w 306993"/>
                <a:gd name="connsiteY8" fmla="*/ 270761 h 270760"/>
                <a:gd name="connsiteX9" fmla="*/ 15003 w 306993"/>
                <a:gd name="connsiteY9" fmla="*/ 270761 h 270760"/>
                <a:gd name="connsiteX10" fmla="*/ 138497 w 306993"/>
                <a:gd name="connsiteY10" fmla="*/ 240761 h 270760"/>
                <a:gd name="connsiteX11" fmla="*/ 198497 w 306993"/>
                <a:gd name="connsiteY11" fmla="*/ 150761 h 270760"/>
                <a:gd name="connsiteX12" fmla="*/ 167663 w 306993"/>
                <a:gd name="connsiteY12" fmla="*/ 150761 h 270760"/>
                <a:gd name="connsiteX13" fmla="*/ 167663 w 306993"/>
                <a:gd name="connsiteY13" fmla="*/ 90761 h 270760"/>
                <a:gd name="connsiteX14" fmla="*/ 108497 w 306993"/>
                <a:gd name="connsiteY14" fmla="*/ 180761 h 270760"/>
                <a:gd name="connsiteX15" fmla="*/ 138497 w 306993"/>
                <a:gd name="connsiteY15" fmla="*/ 180761 h 270760"/>
                <a:gd name="connsiteX16" fmla="*/ 138497 w 306993"/>
                <a:gd name="connsiteY16" fmla="*/ 240761 h 270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6993" h="270760">
                  <a:moveTo>
                    <a:pt x="15003" y="270761"/>
                  </a:moveTo>
                  <a:cubicBezTo>
                    <a:pt x="12378" y="270761"/>
                    <a:pt x="9798" y="270072"/>
                    <a:pt x="7523" y="268763"/>
                  </a:cubicBezTo>
                  <a:cubicBezTo>
                    <a:pt x="342" y="264632"/>
                    <a:pt x="-2130" y="255462"/>
                    <a:pt x="2000" y="248282"/>
                  </a:cubicBezTo>
                  <a:lnTo>
                    <a:pt x="140495" y="7523"/>
                  </a:lnTo>
                  <a:cubicBezTo>
                    <a:pt x="141817" y="5227"/>
                    <a:pt x="143722" y="3321"/>
                    <a:pt x="146018" y="2000"/>
                  </a:cubicBezTo>
                  <a:cubicBezTo>
                    <a:pt x="153199" y="-2130"/>
                    <a:pt x="162370" y="342"/>
                    <a:pt x="166501" y="7523"/>
                  </a:cubicBezTo>
                  <a:lnTo>
                    <a:pt x="304997" y="248282"/>
                  </a:lnTo>
                  <a:cubicBezTo>
                    <a:pt x="306305" y="250557"/>
                    <a:pt x="306994" y="253136"/>
                    <a:pt x="306994" y="255761"/>
                  </a:cubicBezTo>
                  <a:cubicBezTo>
                    <a:pt x="306994" y="264045"/>
                    <a:pt x="300278" y="270761"/>
                    <a:pt x="291994" y="270761"/>
                  </a:cubicBezTo>
                  <a:lnTo>
                    <a:pt x="15003" y="270761"/>
                  </a:lnTo>
                  <a:close/>
                  <a:moveTo>
                    <a:pt x="138497" y="240761"/>
                  </a:moveTo>
                  <a:lnTo>
                    <a:pt x="198497" y="150761"/>
                  </a:lnTo>
                  <a:lnTo>
                    <a:pt x="167663" y="150761"/>
                  </a:lnTo>
                  <a:lnTo>
                    <a:pt x="167663" y="90761"/>
                  </a:lnTo>
                  <a:lnTo>
                    <a:pt x="108497" y="180761"/>
                  </a:lnTo>
                  <a:lnTo>
                    <a:pt x="138497" y="180761"/>
                  </a:lnTo>
                  <a:lnTo>
                    <a:pt x="138497" y="240761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81" name="Рисунок 269">
            <a:extLst>
              <a:ext uri="{FF2B5EF4-FFF2-40B4-BE49-F238E27FC236}">
                <a16:creationId xmlns:a16="http://schemas.microsoft.com/office/drawing/2014/main" id="{58C06122-D5F8-384A-9680-1FE1E1D59088}"/>
              </a:ext>
            </a:extLst>
          </p:cNvPr>
          <p:cNvGrpSpPr/>
          <p:nvPr/>
        </p:nvGrpSpPr>
        <p:grpSpPr>
          <a:xfrm>
            <a:off x="2927270" y="4461423"/>
            <a:ext cx="360000" cy="360000"/>
            <a:chOff x="2960723" y="4778145"/>
            <a:chExt cx="360000" cy="360000"/>
          </a:xfrm>
        </p:grpSpPr>
        <p:sp>
          <p:nvSpPr>
            <p:cNvPr id="1182" name="Полилиния 1181">
              <a:extLst>
                <a:ext uri="{FF2B5EF4-FFF2-40B4-BE49-F238E27FC236}">
                  <a16:creationId xmlns:a16="http://schemas.microsoft.com/office/drawing/2014/main" id="{AC6BFDD3-A5ED-7A4D-979C-392A3FBC4D7E}"/>
                </a:ext>
              </a:extLst>
            </p:cNvPr>
            <p:cNvSpPr/>
            <p:nvPr/>
          </p:nvSpPr>
          <p:spPr>
            <a:xfrm>
              <a:off x="296072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3" name="Полилиния 1182">
              <a:extLst>
                <a:ext uri="{FF2B5EF4-FFF2-40B4-BE49-F238E27FC236}">
                  <a16:creationId xmlns:a16="http://schemas.microsoft.com/office/drawing/2014/main" id="{3A920AF9-B142-1342-8DA8-1634F0042ADA}"/>
                </a:ext>
              </a:extLst>
            </p:cNvPr>
            <p:cNvSpPr/>
            <p:nvPr/>
          </p:nvSpPr>
          <p:spPr>
            <a:xfrm>
              <a:off x="3005722" y="4833224"/>
              <a:ext cx="270000" cy="259922"/>
            </a:xfrm>
            <a:custGeom>
              <a:avLst/>
              <a:gdLst>
                <a:gd name="connsiteX0" fmla="*/ 14357 w 270000"/>
                <a:gd name="connsiteY0" fmla="*/ 71147 h 259922"/>
                <a:gd name="connsiteX1" fmla="*/ 127178 w 270000"/>
                <a:gd name="connsiteY1" fmla="*/ 2201 h 259922"/>
                <a:gd name="connsiteX2" fmla="*/ 142823 w 270000"/>
                <a:gd name="connsiteY2" fmla="*/ 2201 h 259922"/>
                <a:gd name="connsiteX3" fmla="*/ 255644 w 270000"/>
                <a:gd name="connsiteY3" fmla="*/ 71147 h 259922"/>
                <a:gd name="connsiteX4" fmla="*/ 270000 w 270000"/>
                <a:gd name="connsiteY4" fmla="*/ 96746 h 259922"/>
                <a:gd name="connsiteX5" fmla="*/ 270000 w 270000"/>
                <a:gd name="connsiteY5" fmla="*/ 229922 h 259922"/>
                <a:gd name="connsiteX6" fmla="*/ 240000 w 270000"/>
                <a:gd name="connsiteY6" fmla="*/ 259922 h 259922"/>
                <a:gd name="connsiteX7" fmla="*/ 30000 w 270000"/>
                <a:gd name="connsiteY7" fmla="*/ 259922 h 259922"/>
                <a:gd name="connsiteX8" fmla="*/ 0 w 270000"/>
                <a:gd name="connsiteY8" fmla="*/ 229922 h 259922"/>
                <a:gd name="connsiteX9" fmla="*/ 0 w 270000"/>
                <a:gd name="connsiteY9" fmla="*/ 96746 h 259922"/>
                <a:gd name="connsiteX10" fmla="*/ 14357 w 270000"/>
                <a:gd name="connsiteY10" fmla="*/ 71147 h 259922"/>
                <a:gd name="connsiteX11" fmla="*/ 105000 w 270000"/>
                <a:gd name="connsiteY11" fmla="*/ 139921 h 259922"/>
                <a:gd name="connsiteX12" fmla="*/ 90000 w 270000"/>
                <a:gd name="connsiteY12" fmla="*/ 154921 h 259922"/>
                <a:gd name="connsiteX13" fmla="*/ 90000 w 270000"/>
                <a:gd name="connsiteY13" fmla="*/ 199921 h 259922"/>
                <a:gd name="connsiteX14" fmla="*/ 105000 w 270000"/>
                <a:gd name="connsiteY14" fmla="*/ 214921 h 259922"/>
                <a:gd name="connsiteX15" fmla="*/ 165000 w 270000"/>
                <a:gd name="connsiteY15" fmla="*/ 214921 h 259922"/>
                <a:gd name="connsiteX16" fmla="*/ 180000 w 270000"/>
                <a:gd name="connsiteY16" fmla="*/ 199921 h 259922"/>
                <a:gd name="connsiteX17" fmla="*/ 180000 w 270000"/>
                <a:gd name="connsiteY17" fmla="*/ 154921 h 259922"/>
                <a:gd name="connsiteX18" fmla="*/ 165000 w 270000"/>
                <a:gd name="connsiteY18" fmla="*/ 139921 h 259922"/>
                <a:gd name="connsiteX19" fmla="*/ 105000 w 270000"/>
                <a:gd name="connsiteY19" fmla="*/ 139921 h 259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0000" h="259922">
                  <a:moveTo>
                    <a:pt x="14357" y="71147"/>
                  </a:moveTo>
                  <a:lnTo>
                    <a:pt x="127178" y="2201"/>
                  </a:lnTo>
                  <a:cubicBezTo>
                    <a:pt x="131981" y="-734"/>
                    <a:pt x="138020" y="-734"/>
                    <a:pt x="142823" y="2201"/>
                  </a:cubicBezTo>
                  <a:lnTo>
                    <a:pt x="255644" y="71147"/>
                  </a:lnTo>
                  <a:cubicBezTo>
                    <a:pt x="264561" y="76597"/>
                    <a:pt x="270000" y="86295"/>
                    <a:pt x="270000" y="96746"/>
                  </a:cubicBezTo>
                  <a:lnTo>
                    <a:pt x="270000" y="229922"/>
                  </a:lnTo>
                  <a:cubicBezTo>
                    <a:pt x="270000" y="246490"/>
                    <a:pt x="256569" y="259922"/>
                    <a:pt x="240000" y="259922"/>
                  </a:cubicBezTo>
                  <a:lnTo>
                    <a:pt x="30000" y="259922"/>
                  </a:lnTo>
                  <a:cubicBezTo>
                    <a:pt x="13431" y="259922"/>
                    <a:pt x="0" y="246490"/>
                    <a:pt x="0" y="229922"/>
                  </a:cubicBezTo>
                  <a:lnTo>
                    <a:pt x="0" y="96746"/>
                  </a:lnTo>
                  <a:cubicBezTo>
                    <a:pt x="0" y="86295"/>
                    <a:pt x="5439" y="76597"/>
                    <a:pt x="14357" y="71147"/>
                  </a:cubicBezTo>
                  <a:close/>
                  <a:moveTo>
                    <a:pt x="105000" y="139921"/>
                  </a:moveTo>
                  <a:cubicBezTo>
                    <a:pt x="96716" y="139921"/>
                    <a:pt x="90000" y="146636"/>
                    <a:pt x="90000" y="154921"/>
                  </a:cubicBezTo>
                  <a:lnTo>
                    <a:pt x="90000" y="199921"/>
                  </a:lnTo>
                  <a:cubicBezTo>
                    <a:pt x="90000" y="208205"/>
                    <a:pt x="96716" y="214921"/>
                    <a:pt x="105000" y="214921"/>
                  </a:cubicBezTo>
                  <a:lnTo>
                    <a:pt x="165000" y="214921"/>
                  </a:lnTo>
                  <a:cubicBezTo>
                    <a:pt x="173285" y="214921"/>
                    <a:pt x="180000" y="208205"/>
                    <a:pt x="180000" y="199921"/>
                  </a:cubicBezTo>
                  <a:lnTo>
                    <a:pt x="180000" y="154921"/>
                  </a:lnTo>
                  <a:cubicBezTo>
                    <a:pt x="180000" y="146636"/>
                    <a:pt x="173285" y="139921"/>
                    <a:pt x="165000" y="139921"/>
                  </a:cubicBezTo>
                  <a:lnTo>
                    <a:pt x="105000" y="139921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84" name="Рисунок 270">
            <a:extLst>
              <a:ext uri="{FF2B5EF4-FFF2-40B4-BE49-F238E27FC236}">
                <a16:creationId xmlns:a16="http://schemas.microsoft.com/office/drawing/2014/main" id="{7F0A4028-0D5C-F549-83DA-2FA4808C817A}"/>
              </a:ext>
            </a:extLst>
          </p:cNvPr>
          <p:cNvGrpSpPr/>
          <p:nvPr/>
        </p:nvGrpSpPr>
        <p:grpSpPr>
          <a:xfrm>
            <a:off x="3682403" y="4461423"/>
            <a:ext cx="360000" cy="360000"/>
            <a:chOff x="3715856" y="4778145"/>
            <a:chExt cx="360000" cy="360000"/>
          </a:xfrm>
        </p:grpSpPr>
        <p:sp>
          <p:nvSpPr>
            <p:cNvPr id="1185" name="Полилиния 1184">
              <a:extLst>
                <a:ext uri="{FF2B5EF4-FFF2-40B4-BE49-F238E27FC236}">
                  <a16:creationId xmlns:a16="http://schemas.microsoft.com/office/drawing/2014/main" id="{2E6FD34E-1DA9-5D4D-AA63-63E224CFC6B8}"/>
                </a:ext>
              </a:extLst>
            </p:cNvPr>
            <p:cNvSpPr/>
            <p:nvPr/>
          </p:nvSpPr>
          <p:spPr>
            <a:xfrm>
              <a:off x="3715856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6" name="Полилиния 1185">
              <a:extLst>
                <a:ext uri="{FF2B5EF4-FFF2-40B4-BE49-F238E27FC236}">
                  <a16:creationId xmlns:a16="http://schemas.microsoft.com/office/drawing/2014/main" id="{CF558BC9-4CDC-1E47-8772-A606F205520D}"/>
                </a:ext>
              </a:extLst>
            </p:cNvPr>
            <p:cNvSpPr/>
            <p:nvPr/>
          </p:nvSpPr>
          <p:spPr>
            <a:xfrm>
              <a:off x="3760855" y="4833224"/>
              <a:ext cx="270000" cy="259922"/>
            </a:xfrm>
            <a:custGeom>
              <a:avLst/>
              <a:gdLst>
                <a:gd name="connsiteX0" fmla="*/ 14357 w 270000"/>
                <a:gd name="connsiteY0" fmla="*/ 71147 h 259922"/>
                <a:gd name="connsiteX1" fmla="*/ 127178 w 270000"/>
                <a:gd name="connsiteY1" fmla="*/ 2201 h 259922"/>
                <a:gd name="connsiteX2" fmla="*/ 142823 w 270000"/>
                <a:gd name="connsiteY2" fmla="*/ 2201 h 259922"/>
                <a:gd name="connsiteX3" fmla="*/ 255644 w 270000"/>
                <a:gd name="connsiteY3" fmla="*/ 71147 h 259922"/>
                <a:gd name="connsiteX4" fmla="*/ 270000 w 270000"/>
                <a:gd name="connsiteY4" fmla="*/ 96746 h 259922"/>
                <a:gd name="connsiteX5" fmla="*/ 270000 w 270000"/>
                <a:gd name="connsiteY5" fmla="*/ 229922 h 259922"/>
                <a:gd name="connsiteX6" fmla="*/ 240000 w 270000"/>
                <a:gd name="connsiteY6" fmla="*/ 259922 h 259922"/>
                <a:gd name="connsiteX7" fmla="*/ 30000 w 270000"/>
                <a:gd name="connsiteY7" fmla="*/ 259922 h 259922"/>
                <a:gd name="connsiteX8" fmla="*/ 0 w 270000"/>
                <a:gd name="connsiteY8" fmla="*/ 229922 h 259922"/>
                <a:gd name="connsiteX9" fmla="*/ 0 w 270000"/>
                <a:gd name="connsiteY9" fmla="*/ 229922 h 259922"/>
                <a:gd name="connsiteX10" fmla="*/ 0 w 270000"/>
                <a:gd name="connsiteY10" fmla="*/ 96746 h 259922"/>
                <a:gd name="connsiteX11" fmla="*/ 14357 w 270000"/>
                <a:gd name="connsiteY11" fmla="*/ 71147 h 259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0000" h="259922">
                  <a:moveTo>
                    <a:pt x="14357" y="71147"/>
                  </a:moveTo>
                  <a:lnTo>
                    <a:pt x="127178" y="2201"/>
                  </a:lnTo>
                  <a:cubicBezTo>
                    <a:pt x="131981" y="-734"/>
                    <a:pt x="138020" y="-734"/>
                    <a:pt x="142823" y="2201"/>
                  </a:cubicBezTo>
                  <a:lnTo>
                    <a:pt x="255644" y="71147"/>
                  </a:lnTo>
                  <a:cubicBezTo>
                    <a:pt x="264561" y="76597"/>
                    <a:pt x="270000" y="86295"/>
                    <a:pt x="270000" y="96746"/>
                  </a:cubicBezTo>
                  <a:lnTo>
                    <a:pt x="270000" y="229922"/>
                  </a:lnTo>
                  <a:cubicBezTo>
                    <a:pt x="270000" y="246490"/>
                    <a:pt x="256569" y="259922"/>
                    <a:pt x="240000" y="259922"/>
                  </a:cubicBezTo>
                  <a:lnTo>
                    <a:pt x="30000" y="259922"/>
                  </a:lnTo>
                  <a:cubicBezTo>
                    <a:pt x="13431" y="259922"/>
                    <a:pt x="0" y="246490"/>
                    <a:pt x="0" y="229922"/>
                  </a:cubicBezTo>
                  <a:cubicBezTo>
                    <a:pt x="0" y="229922"/>
                    <a:pt x="0" y="229922"/>
                    <a:pt x="0" y="229922"/>
                  </a:cubicBezTo>
                  <a:lnTo>
                    <a:pt x="0" y="96746"/>
                  </a:lnTo>
                  <a:cubicBezTo>
                    <a:pt x="0" y="86295"/>
                    <a:pt x="5439" y="76597"/>
                    <a:pt x="14357" y="71147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7" name="Полилиния 1186">
              <a:extLst>
                <a:ext uri="{FF2B5EF4-FFF2-40B4-BE49-F238E27FC236}">
                  <a16:creationId xmlns:a16="http://schemas.microsoft.com/office/drawing/2014/main" id="{8B269757-D31B-3242-B6BF-0380E46D6DF5}"/>
                </a:ext>
              </a:extLst>
            </p:cNvPr>
            <p:cNvSpPr/>
            <p:nvPr/>
          </p:nvSpPr>
          <p:spPr>
            <a:xfrm>
              <a:off x="3841855" y="4958145"/>
              <a:ext cx="108000" cy="90000"/>
            </a:xfrm>
            <a:custGeom>
              <a:avLst/>
              <a:gdLst>
                <a:gd name="connsiteX0" fmla="*/ 81000 w 108000"/>
                <a:gd name="connsiteY0" fmla="*/ 0 h 90000"/>
                <a:gd name="connsiteX1" fmla="*/ 54000 w 108000"/>
                <a:gd name="connsiteY1" fmla="*/ 18000 h 90000"/>
                <a:gd name="connsiteX2" fmla="*/ 27000 w 108000"/>
                <a:gd name="connsiteY2" fmla="*/ 0 h 90000"/>
                <a:gd name="connsiteX3" fmla="*/ 0 w 108000"/>
                <a:gd name="connsiteY3" fmla="*/ 30303 h 90000"/>
                <a:gd name="connsiteX4" fmla="*/ 54000 w 108000"/>
                <a:gd name="connsiteY4" fmla="*/ 90000 h 90000"/>
                <a:gd name="connsiteX5" fmla="*/ 108000 w 108000"/>
                <a:gd name="connsiteY5" fmla="*/ 31500 h 90000"/>
                <a:gd name="connsiteX6" fmla="*/ 81000 w 108000"/>
                <a:gd name="connsiteY6" fmla="*/ 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000" h="90000">
                  <a:moveTo>
                    <a:pt x="81000" y="0"/>
                  </a:moveTo>
                  <a:cubicBezTo>
                    <a:pt x="71343" y="0"/>
                    <a:pt x="60050" y="10949"/>
                    <a:pt x="54000" y="18000"/>
                  </a:cubicBezTo>
                  <a:cubicBezTo>
                    <a:pt x="47951" y="10949"/>
                    <a:pt x="36657" y="0"/>
                    <a:pt x="27000" y="0"/>
                  </a:cubicBezTo>
                  <a:cubicBezTo>
                    <a:pt x="9906" y="0"/>
                    <a:pt x="0" y="13333"/>
                    <a:pt x="0" y="30303"/>
                  </a:cubicBezTo>
                  <a:cubicBezTo>
                    <a:pt x="0" y="49101"/>
                    <a:pt x="18000" y="69000"/>
                    <a:pt x="54000" y="90000"/>
                  </a:cubicBezTo>
                  <a:cubicBezTo>
                    <a:pt x="90000" y="69000"/>
                    <a:pt x="108000" y="49500"/>
                    <a:pt x="108000" y="31500"/>
                  </a:cubicBezTo>
                  <a:cubicBezTo>
                    <a:pt x="108000" y="14531"/>
                    <a:pt x="98094" y="0"/>
                    <a:pt x="81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88" name="Рисунок 271">
            <a:extLst>
              <a:ext uri="{FF2B5EF4-FFF2-40B4-BE49-F238E27FC236}">
                <a16:creationId xmlns:a16="http://schemas.microsoft.com/office/drawing/2014/main" id="{7EB261B2-BF6B-764C-BF99-6BAE577248F6}"/>
              </a:ext>
            </a:extLst>
          </p:cNvPr>
          <p:cNvGrpSpPr/>
          <p:nvPr/>
        </p:nvGrpSpPr>
        <p:grpSpPr>
          <a:xfrm>
            <a:off x="661871" y="4461423"/>
            <a:ext cx="360000" cy="360000"/>
            <a:chOff x="695324" y="4778145"/>
            <a:chExt cx="360000" cy="360000"/>
          </a:xfrm>
        </p:grpSpPr>
        <p:sp>
          <p:nvSpPr>
            <p:cNvPr id="1189" name="Полилиния 1188">
              <a:extLst>
                <a:ext uri="{FF2B5EF4-FFF2-40B4-BE49-F238E27FC236}">
                  <a16:creationId xmlns:a16="http://schemas.microsoft.com/office/drawing/2014/main" id="{8EE80891-9C3D-ED4A-AEF2-C05D61A9C1EE}"/>
                </a:ext>
              </a:extLst>
            </p:cNvPr>
            <p:cNvSpPr/>
            <p:nvPr/>
          </p:nvSpPr>
          <p:spPr>
            <a:xfrm>
              <a:off x="695324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0" name="Полилиния 1189">
              <a:extLst>
                <a:ext uri="{FF2B5EF4-FFF2-40B4-BE49-F238E27FC236}">
                  <a16:creationId xmlns:a16="http://schemas.microsoft.com/office/drawing/2014/main" id="{61315CC4-40D4-A542-837F-CEFA2DD238F2}"/>
                </a:ext>
              </a:extLst>
            </p:cNvPr>
            <p:cNvSpPr/>
            <p:nvPr/>
          </p:nvSpPr>
          <p:spPr>
            <a:xfrm>
              <a:off x="755324" y="4845116"/>
              <a:ext cx="240000" cy="263028"/>
            </a:xfrm>
            <a:custGeom>
              <a:avLst/>
              <a:gdLst>
                <a:gd name="connsiteX0" fmla="*/ 208926 w 240000"/>
                <a:gd name="connsiteY0" fmla="*/ 0 h 263028"/>
                <a:gd name="connsiteX1" fmla="*/ 240000 w 240000"/>
                <a:gd name="connsiteY1" fmla="*/ 68029 h 263028"/>
                <a:gd name="connsiteX2" fmla="*/ 240000 w 240000"/>
                <a:gd name="connsiteY2" fmla="*/ 173029 h 263028"/>
                <a:gd name="connsiteX3" fmla="*/ 150000 w 240000"/>
                <a:gd name="connsiteY3" fmla="*/ 263029 h 263028"/>
                <a:gd name="connsiteX4" fmla="*/ 90000 w 240000"/>
                <a:gd name="connsiteY4" fmla="*/ 263029 h 263028"/>
                <a:gd name="connsiteX5" fmla="*/ 0 w 240000"/>
                <a:gd name="connsiteY5" fmla="*/ 173029 h 263028"/>
                <a:gd name="connsiteX6" fmla="*/ 0 w 240000"/>
                <a:gd name="connsiteY6" fmla="*/ 68029 h 263028"/>
                <a:gd name="connsiteX7" fmla="*/ 31073 w 240000"/>
                <a:gd name="connsiteY7" fmla="*/ 0 h 263028"/>
                <a:gd name="connsiteX8" fmla="*/ 120000 w 240000"/>
                <a:gd name="connsiteY8" fmla="*/ 38029 h 263028"/>
                <a:gd name="connsiteX9" fmla="*/ 208926 w 240000"/>
                <a:gd name="connsiteY9" fmla="*/ 0 h 263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0000" h="263028">
                  <a:moveTo>
                    <a:pt x="208926" y="0"/>
                  </a:moveTo>
                  <a:cubicBezTo>
                    <a:pt x="227961" y="16502"/>
                    <a:pt x="240000" y="40859"/>
                    <a:pt x="240000" y="68029"/>
                  </a:cubicBezTo>
                  <a:lnTo>
                    <a:pt x="240000" y="173029"/>
                  </a:lnTo>
                  <a:cubicBezTo>
                    <a:pt x="240000" y="222734"/>
                    <a:pt x="199706" y="263029"/>
                    <a:pt x="150000" y="263029"/>
                  </a:cubicBezTo>
                  <a:lnTo>
                    <a:pt x="90000" y="263029"/>
                  </a:lnTo>
                  <a:cubicBezTo>
                    <a:pt x="40294" y="263029"/>
                    <a:pt x="0" y="222734"/>
                    <a:pt x="0" y="173029"/>
                  </a:cubicBezTo>
                  <a:lnTo>
                    <a:pt x="0" y="68029"/>
                  </a:lnTo>
                  <a:cubicBezTo>
                    <a:pt x="0" y="40859"/>
                    <a:pt x="12039" y="16502"/>
                    <a:pt x="31073" y="0"/>
                  </a:cubicBezTo>
                  <a:cubicBezTo>
                    <a:pt x="37774" y="21542"/>
                    <a:pt x="75036" y="38029"/>
                    <a:pt x="120000" y="38029"/>
                  </a:cubicBezTo>
                  <a:cubicBezTo>
                    <a:pt x="164964" y="38029"/>
                    <a:pt x="202226" y="21542"/>
                    <a:pt x="208926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1" name="Полилиния 1190">
              <a:extLst>
                <a:ext uri="{FF2B5EF4-FFF2-40B4-BE49-F238E27FC236}">
                  <a16:creationId xmlns:a16="http://schemas.microsoft.com/office/drawing/2014/main" id="{EE9E1FDF-7DFB-EF49-8C68-6D92CE815A77}"/>
                </a:ext>
              </a:extLst>
            </p:cNvPr>
            <p:cNvSpPr/>
            <p:nvPr/>
          </p:nvSpPr>
          <p:spPr>
            <a:xfrm>
              <a:off x="817202" y="4823145"/>
              <a:ext cx="116243" cy="30000"/>
            </a:xfrm>
            <a:custGeom>
              <a:avLst/>
              <a:gdLst>
                <a:gd name="connsiteX0" fmla="*/ 108345 w 116243"/>
                <a:gd name="connsiteY0" fmla="*/ 10013 h 30000"/>
                <a:gd name="connsiteX1" fmla="*/ 58122 w 116243"/>
                <a:gd name="connsiteY1" fmla="*/ 0 h 30000"/>
                <a:gd name="connsiteX2" fmla="*/ 7899 w 116243"/>
                <a:gd name="connsiteY2" fmla="*/ 10013 h 30000"/>
                <a:gd name="connsiteX3" fmla="*/ 0 w 116243"/>
                <a:gd name="connsiteY3" fmla="*/ 15000 h 30000"/>
                <a:gd name="connsiteX4" fmla="*/ 7899 w 116243"/>
                <a:gd name="connsiteY4" fmla="*/ 19987 h 30000"/>
                <a:gd name="connsiteX5" fmla="*/ 58122 w 116243"/>
                <a:gd name="connsiteY5" fmla="*/ 30000 h 30000"/>
                <a:gd name="connsiteX6" fmla="*/ 108345 w 116243"/>
                <a:gd name="connsiteY6" fmla="*/ 19987 h 30000"/>
                <a:gd name="connsiteX7" fmla="*/ 116244 w 116243"/>
                <a:gd name="connsiteY7" fmla="*/ 15000 h 30000"/>
                <a:gd name="connsiteX8" fmla="*/ 108345 w 116243"/>
                <a:gd name="connsiteY8" fmla="*/ 10013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243" h="30000">
                  <a:moveTo>
                    <a:pt x="108345" y="10013"/>
                  </a:moveTo>
                  <a:cubicBezTo>
                    <a:pt x="95976" y="3828"/>
                    <a:pt x="77872" y="0"/>
                    <a:pt x="58122" y="0"/>
                  </a:cubicBezTo>
                  <a:cubicBezTo>
                    <a:pt x="38371" y="0"/>
                    <a:pt x="20268" y="3828"/>
                    <a:pt x="7899" y="10013"/>
                  </a:cubicBezTo>
                  <a:cubicBezTo>
                    <a:pt x="4514" y="11705"/>
                    <a:pt x="1860" y="13431"/>
                    <a:pt x="0" y="15000"/>
                  </a:cubicBezTo>
                  <a:cubicBezTo>
                    <a:pt x="1860" y="16569"/>
                    <a:pt x="4514" y="18295"/>
                    <a:pt x="7899" y="19987"/>
                  </a:cubicBezTo>
                  <a:cubicBezTo>
                    <a:pt x="20268" y="26172"/>
                    <a:pt x="38371" y="30000"/>
                    <a:pt x="58122" y="30000"/>
                  </a:cubicBezTo>
                  <a:cubicBezTo>
                    <a:pt x="77872" y="30000"/>
                    <a:pt x="95976" y="26172"/>
                    <a:pt x="108345" y="19987"/>
                  </a:cubicBezTo>
                  <a:cubicBezTo>
                    <a:pt x="111729" y="18295"/>
                    <a:pt x="114384" y="16569"/>
                    <a:pt x="116244" y="15000"/>
                  </a:cubicBezTo>
                  <a:cubicBezTo>
                    <a:pt x="114384" y="13431"/>
                    <a:pt x="111729" y="11705"/>
                    <a:pt x="108345" y="1001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92" name="Рисунок 272">
            <a:extLst>
              <a:ext uri="{FF2B5EF4-FFF2-40B4-BE49-F238E27FC236}">
                <a16:creationId xmlns:a16="http://schemas.microsoft.com/office/drawing/2014/main" id="{18170060-0046-EB4D-912D-F9FD79E40ED2}"/>
              </a:ext>
            </a:extLst>
          </p:cNvPr>
          <p:cNvGrpSpPr/>
          <p:nvPr/>
        </p:nvGrpSpPr>
        <p:grpSpPr>
          <a:xfrm>
            <a:off x="11233735" y="3788369"/>
            <a:ext cx="360000" cy="360000"/>
            <a:chOff x="11267188" y="4105091"/>
            <a:chExt cx="360000" cy="360000"/>
          </a:xfrm>
        </p:grpSpPr>
        <p:sp>
          <p:nvSpPr>
            <p:cNvPr id="1193" name="Полилиния 1192">
              <a:extLst>
                <a:ext uri="{FF2B5EF4-FFF2-40B4-BE49-F238E27FC236}">
                  <a16:creationId xmlns:a16="http://schemas.microsoft.com/office/drawing/2014/main" id="{3EA66D19-AE7F-0441-B17F-D721FC43A11A}"/>
                </a:ext>
              </a:extLst>
            </p:cNvPr>
            <p:cNvSpPr/>
            <p:nvPr/>
          </p:nvSpPr>
          <p:spPr>
            <a:xfrm>
              <a:off x="11267188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4" name="Полилиния 1193">
              <a:extLst>
                <a:ext uri="{FF2B5EF4-FFF2-40B4-BE49-F238E27FC236}">
                  <a16:creationId xmlns:a16="http://schemas.microsoft.com/office/drawing/2014/main" id="{ADCB2167-408E-754F-8029-87A298D5D434}"/>
                </a:ext>
              </a:extLst>
            </p:cNvPr>
            <p:cNvSpPr/>
            <p:nvPr/>
          </p:nvSpPr>
          <p:spPr>
            <a:xfrm>
              <a:off x="11312188" y="4270091"/>
              <a:ext cx="270000" cy="30000"/>
            </a:xfrm>
            <a:custGeom>
              <a:avLst/>
              <a:gdLst>
                <a:gd name="connsiteX0" fmla="*/ 270000 w 270000"/>
                <a:gd name="connsiteY0" fmla="*/ 15000 h 30000"/>
                <a:gd name="connsiteX1" fmla="*/ 255000 w 270000"/>
                <a:gd name="connsiteY1" fmla="*/ 30000 h 30000"/>
                <a:gd name="connsiteX2" fmla="*/ 240000 w 270000"/>
                <a:gd name="connsiteY2" fmla="*/ 30000 h 30000"/>
                <a:gd name="connsiteX3" fmla="*/ 225000 w 270000"/>
                <a:gd name="connsiteY3" fmla="*/ 15000 h 30000"/>
                <a:gd name="connsiteX4" fmla="*/ 240000 w 270000"/>
                <a:gd name="connsiteY4" fmla="*/ 0 h 30000"/>
                <a:gd name="connsiteX5" fmla="*/ 255000 w 270000"/>
                <a:gd name="connsiteY5" fmla="*/ 0 h 30000"/>
                <a:gd name="connsiteX6" fmla="*/ 270000 w 270000"/>
                <a:gd name="connsiteY6" fmla="*/ 15000 h 30000"/>
                <a:gd name="connsiteX7" fmla="*/ 195000 w 270000"/>
                <a:gd name="connsiteY7" fmla="*/ 15000 h 30000"/>
                <a:gd name="connsiteX8" fmla="*/ 180000 w 270000"/>
                <a:gd name="connsiteY8" fmla="*/ 30000 h 30000"/>
                <a:gd name="connsiteX9" fmla="*/ 165000 w 270000"/>
                <a:gd name="connsiteY9" fmla="*/ 30000 h 30000"/>
                <a:gd name="connsiteX10" fmla="*/ 150000 w 270000"/>
                <a:gd name="connsiteY10" fmla="*/ 15000 h 30000"/>
                <a:gd name="connsiteX11" fmla="*/ 165000 w 270000"/>
                <a:gd name="connsiteY11" fmla="*/ 0 h 30000"/>
                <a:gd name="connsiteX12" fmla="*/ 180000 w 270000"/>
                <a:gd name="connsiteY12" fmla="*/ 0 h 30000"/>
                <a:gd name="connsiteX13" fmla="*/ 195000 w 270000"/>
                <a:gd name="connsiteY13" fmla="*/ 15000 h 30000"/>
                <a:gd name="connsiteX14" fmla="*/ 120000 w 270000"/>
                <a:gd name="connsiteY14" fmla="*/ 15000 h 30000"/>
                <a:gd name="connsiteX15" fmla="*/ 105000 w 270000"/>
                <a:gd name="connsiteY15" fmla="*/ 30000 h 30000"/>
                <a:gd name="connsiteX16" fmla="*/ 90000 w 270000"/>
                <a:gd name="connsiteY16" fmla="*/ 30000 h 30000"/>
                <a:gd name="connsiteX17" fmla="*/ 75000 w 270000"/>
                <a:gd name="connsiteY17" fmla="*/ 15000 h 30000"/>
                <a:gd name="connsiteX18" fmla="*/ 90000 w 270000"/>
                <a:gd name="connsiteY18" fmla="*/ 0 h 30000"/>
                <a:gd name="connsiteX19" fmla="*/ 105000 w 270000"/>
                <a:gd name="connsiteY19" fmla="*/ 0 h 30000"/>
                <a:gd name="connsiteX20" fmla="*/ 120000 w 270000"/>
                <a:gd name="connsiteY20" fmla="*/ 15000 h 30000"/>
                <a:gd name="connsiteX21" fmla="*/ 45000 w 270000"/>
                <a:gd name="connsiteY21" fmla="*/ 15000 h 30000"/>
                <a:gd name="connsiteX22" fmla="*/ 30000 w 270000"/>
                <a:gd name="connsiteY22" fmla="*/ 30000 h 30000"/>
                <a:gd name="connsiteX23" fmla="*/ 15000 w 270000"/>
                <a:gd name="connsiteY23" fmla="*/ 30000 h 30000"/>
                <a:gd name="connsiteX24" fmla="*/ 0 w 270000"/>
                <a:gd name="connsiteY24" fmla="*/ 15000 h 30000"/>
                <a:gd name="connsiteX25" fmla="*/ 15000 w 270000"/>
                <a:gd name="connsiteY25" fmla="*/ 0 h 30000"/>
                <a:gd name="connsiteX26" fmla="*/ 30000 w 270000"/>
                <a:gd name="connsiteY26" fmla="*/ 0 h 30000"/>
                <a:gd name="connsiteX27" fmla="*/ 45000 w 270000"/>
                <a:gd name="connsiteY27" fmla="*/ 1500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0000" h="30000">
                  <a:moveTo>
                    <a:pt x="270000" y="15000"/>
                  </a:moveTo>
                  <a:cubicBezTo>
                    <a:pt x="270000" y="23285"/>
                    <a:pt x="263285" y="30000"/>
                    <a:pt x="255000" y="30000"/>
                  </a:cubicBezTo>
                  <a:lnTo>
                    <a:pt x="240000" y="30000"/>
                  </a:lnTo>
                  <a:cubicBezTo>
                    <a:pt x="231716" y="30000"/>
                    <a:pt x="225000" y="23285"/>
                    <a:pt x="225000" y="15000"/>
                  </a:cubicBezTo>
                  <a:cubicBezTo>
                    <a:pt x="225000" y="6715"/>
                    <a:pt x="231716" y="0"/>
                    <a:pt x="240000" y="0"/>
                  </a:cubicBezTo>
                  <a:lnTo>
                    <a:pt x="255000" y="0"/>
                  </a:lnTo>
                  <a:cubicBezTo>
                    <a:pt x="263285" y="0"/>
                    <a:pt x="270000" y="6715"/>
                    <a:pt x="270000" y="15000"/>
                  </a:cubicBezTo>
                  <a:close/>
                  <a:moveTo>
                    <a:pt x="195000" y="15000"/>
                  </a:moveTo>
                  <a:cubicBezTo>
                    <a:pt x="195000" y="23285"/>
                    <a:pt x="188285" y="30000"/>
                    <a:pt x="180000" y="30000"/>
                  </a:cubicBezTo>
                  <a:lnTo>
                    <a:pt x="165000" y="30000"/>
                  </a:lnTo>
                  <a:cubicBezTo>
                    <a:pt x="156716" y="30000"/>
                    <a:pt x="150000" y="23285"/>
                    <a:pt x="150000" y="15000"/>
                  </a:cubicBezTo>
                  <a:cubicBezTo>
                    <a:pt x="150000" y="6715"/>
                    <a:pt x="156716" y="0"/>
                    <a:pt x="165000" y="0"/>
                  </a:cubicBezTo>
                  <a:lnTo>
                    <a:pt x="180000" y="0"/>
                  </a:lnTo>
                  <a:cubicBezTo>
                    <a:pt x="188285" y="0"/>
                    <a:pt x="195000" y="6715"/>
                    <a:pt x="195000" y="15000"/>
                  </a:cubicBezTo>
                  <a:close/>
                  <a:moveTo>
                    <a:pt x="120000" y="15000"/>
                  </a:moveTo>
                  <a:cubicBezTo>
                    <a:pt x="120000" y="23285"/>
                    <a:pt x="113285" y="30000"/>
                    <a:pt x="105000" y="30000"/>
                  </a:cubicBezTo>
                  <a:lnTo>
                    <a:pt x="90000" y="30000"/>
                  </a:lnTo>
                  <a:cubicBezTo>
                    <a:pt x="81716" y="30000"/>
                    <a:pt x="75000" y="23285"/>
                    <a:pt x="75000" y="15000"/>
                  </a:cubicBezTo>
                  <a:cubicBezTo>
                    <a:pt x="75000" y="6715"/>
                    <a:pt x="81716" y="0"/>
                    <a:pt x="90000" y="0"/>
                  </a:cubicBezTo>
                  <a:lnTo>
                    <a:pt x="105000" y="0"/>
                  </a:lnTo>
                  <a:cubicBezTo>
                    <a:pt x="113285" y="0"/>
                    <a:pt x="120000" y="6715"/>
                    <a:pt x="120000" y="15000"/>
                  </a:cubicBezTo>
                  <a:close/>
                  <a:moveTo>
                    <a:pt x="45000" y="15000"/>
                  </a:moveTo>
                  <a:cubicBezTo>
                    <a:pt x="45000" y="23285"/>
                    <a:pt x="38284" y="30000"/>
                    <a:pt x="30000" y="30000"/>
                  </a:cubicBezTo>
                  <a:lnTo>
                    <a:pt x="15000" y="30000"/>
                  </a:lnTo>
                  <a:cubicBezTo>
                    <a:pt x="6716" y="30000"/>
                    <a:pt x="0" y="23285"/>
                    <a:pt x="0" y="15000"/>
                  </a:cubicBezTo>
                  <a:cubicBezTo>
                    <a:pt x="0" y="6715"/>
                    <a:pt x="6716" y="0"/>
                    <a:pt x="15000" y="0"/>
                  </a:cubicBezTo>
                  <a:lnTo>
                    <a:pt x="30000" y="0"/>
                  </a:lnTo>
                  <a:cubicBezTo>
                    <a:pt x="38284" y="0"/>
                    <a:pt x="45000" y="6715"/>
                    <a:pt x="45000" y="1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5" name="Полилиния 1194">
              <a:extLst>
                <a:ext uri="{FF2B5EF4-FFF2-40B4-BE49-F238E27FC236}">
                  <a16:creationId xmlns:a16="http://schemas.microsoft.com/office/drawing/2014/main" id="{0C2EAC0A-5FDA-1345-80A2-935F36A11EA4}"/>
                </a:ext>
              </a:extLst>
            </p:cNvPr>
            <p:cNvSpPr/>
            <p:nvPr/>
          </p:nvSpPr>
          <p:spPr>
            <a:xfrm>
              <a:off x="11395292" y="4150091"/>
              <a:ext cx="103791" cy="270000"/>
            </a:xfrm>
            <a:custGeom>
              <a:avLst/>
              <a:gdLst>
                <a:gd name="connsiteX0" fmla="*/ 96291 w 103791"/>
                <a:gd name="connsiteY0" fmla="*/ 270000 h 270000"/>
                <a:gd name="connsiteX1" fmla="*/ 7500 w 103791"/>
                <a:gd name="connsiteY1" fmla="*/ 270000 h 270000"/>
                <a:gd name="connsiteX2" fmla="*/ 0 w 103791"/>
                <a:gd name="connsiteY2" fmla="*/ 262500 h 270000"/>
                <a:gd name="connsiteX3" fmla="*/ 1644 w 103791"/>
                <a:gd name="connsiteY3" fmla="*/ 257816 h 270000"/>
                <a:gd name="connsiteX4" fmla="*/ 46040 w 103791"/>
                <a:gd name="connsiteY4" fmla="*/ 202320 h 270000"/>
                <a:gd name="connsiteX5" fmla="*/ 56580 w 103791"/>
                <a:gd name="connsiteY5" fmla="*/ 201150 h 270000"/>
                <a:gd name="connsiteX6" fmla="*/ 57752 w 103791"/>
                <a:gd name="connsiteY6" fmla="*/ 202320 h 270000"/>
                <a:gd name="connsiteX7" fmla="*/ 102147 w 103791"/>
                <a:gd name="connsiteY7" fmla="*/ 257816 h 270000"/>
                <a:gd name="connsiteX8" fmla="*/ 100976 w 103791"/>
                <a:gd name="connsiteY8" fmla="*/ 268356 h 270000"/>
                <a:gd name="connsiteX9" fmla="*/ 96291 w 103791"/>
                <a:gd name="connsiteY9" fmla="*/ 270000 h 270000"/>
                <a:gd name="connsiteX10" fmla="*/ 7500 w 103791"/>
                <a:gd name="connsiteY10" fmla="*/ 0 h 270000"/>
                <a:gd name="connsiteX11" fmla="*/ 96291 w 103791"/>
                <a:gd name="connsiteY11" fmla="*/ 0 h 270000"/>
                <a:gd name="connsiteX12" fmla="*/ 103791 w 103791"/>
                <a:gd name="connsiteY12" fmla="*/ 7500 h 270000"/>
                <a:gd name="connsiteX13" fmla="*/ 102147 w 103791"/>
                <a:gd name="connsiteY13" fmla="*/ 12185 h 270000"/>
                <a:gd name="connsiteX14" fmla="*/ 57752 w 103791"/>
                <a:gd name="connsiteY14" fmla="*/ 67679 h 270000"/>
                <a:gd name="connsiteX15" fmla="*/ 47211 w 103791"/>
                <a:gd name="connsiteY15" fmla="*/ 68851 h 270000"/>
                <a:gd name="connsiteX16" fmla="*/ 46040 w 103791"/>
                <a:gd name="connsiteY16" fmla="*/ 67679 h 270000"/>
                <a:gd name="connsiteX17" fmla="*/ 1644 w 103791"/>
                <a:gd name="connsiteY17" fmla="*/ 12185 h 270000"/>
                <a:gd name="connsiteX18" fmla="*/ 2815 w 103791"/>
                <a:gd name="connsiteY18" fmla="*/ 1644 h 270000"/>
                <a:gd name="connsiteX19" fmla="*/ 7500 w 103791"/>
                <a:gd name="connsiteY19" fmla="*/ 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3791" h="270000">
                  <a:moveTo>
                    <a:pt x="96291" y="270000"/>
                  </a:moveTo>
                  <a:lnTo>
                    <a:pt x="7500" y="270000"/>
                  </a:lnTo>
                  <a:cubicBezTo>
                    <a:pt x="3358" y="270000"/>
                    <a:pt x="0" y="266642"/>
                    <a:pt x="0" y="262500"/>
                  </a:cubicBezTo>
                  <a:cubicBezTo>
                    <a:pt x="0" y="260797"/>
                    <a:pt x="580" y="259145"/>
                    <a:pt x="1644" y="257816"/>
                  </a:cubicBezTo>
                  <a:lnTo>
                    <a:pt x="46040" y="202320"/>
                  </a:lnTo>
                  <a:cubicBezTo>
                    <a:pt x="48627" y="199086"/>
                    <a:pt x="53346" y="198562"/>
                    <a:pt x="56580" y="201150"/>
                  </a:cubicBezTo>
                  <a:cubicBezTo>
                    <a:pt x="57014" y="201495"/>
                    <a:pt x="57407" y="201888"/>
                    <a:pt x="57752" y="202320"/>
                  </a:cubicBezTo>
                  <a:lnTo>
                    <a:pt x="102147" y="257816"/>
                  </a:lnTo>
                  <a:cubicBezTo>
                    <a:pt x="104735" y="261049"/>
                    <a:pt x="104211" y="265769"/>
                    <a:pt x="100976" y="268356"/>
                  </a:cubicBezTo>
                  <a:cubicBezTo>
                    <a:pt x="99647" y="269421"/>
                    <a:pt x="97994" y="270000"/>
                    <a:pt x="96291" y="270000"/>
                  </a:cubicBezTo>
                  <a:close/>
                  <a:moveTo>
                    <a:pt x="7500" y="0"/>
                  </a:moveTo>
                  <a:lnTo>
                    <a:pt x="96291" y="0"/>
                  </a:lnTo>
                  <a:cubicBezTo>
                    <a:pt x="100433" y="0"/>
                    <a:pt x="103791" y="3358"/>
                    <a:pt x="103791" y="7500"/>
                  </a:cubicBezTo>
                  <a:cubicBezTo>
                    <a:pt x="103791" y="9203"/>
                    <a:pt x="103211" y="10855"/>
                    <a:pt x="102147" y="12185"/>
                  </a:cubicBezTo>
                  <a:lnTo>
                    <a:pt x="57752" y="67679"/>
                  </a:lnTo>
                  <a:cubicBezTo>
                    <a:pt x="55164" y="70914"/>
                    <a:pt x="50445" y="71438"/>
                    <a:pt x="47211" y="68851"/>
                  </a:cubicBezTo>
                  <a:cubicBezTo>
                    <a:pt x="46778" y="68505"/>
                    <a:pt x="46385" y="68112"/>
                    <a:pt x="46040" y="67679"/>
                  </a:cubicBezTo>
                  <a:lnTo>
                    <a:pt x="1644" y="12185"/>
                  </a:lnTo>
                  <a:cubicBezTo>
                    <a:pt x="-944" y="8951"/>
                    <a:pt x="-419" y="4231"/>
                    <a:pt x="2815" y="1644"/>
                  </a:cubicBezTo>
                  <a:cubicBezTo>
                    <a:pt x="4145" y="580"/>
                    <a:pt x="5797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96" name="Рисунок 273">
            <a:extLst>
              <a:ext uri="{FF2B5EF4-FFF2-40B4-BE49-F238E27FC236}">
                <a16:creationId xmlns:a16="http://schemas.microsoft.com/office/drawing/2014/main" id="{8F564AC3-9CF9-9D4C-B129-3FBA1729BE9A}"/>
              </a:ext>
            </a:extLst>
          </p:cNvPr>
          <p:cNvGrpSpPr/>
          <p:nvPr/>
        </p:nvGrpSpPr>
        <p:grpSpPr>
          <a:xfrm>
            <a:off x="10478600" y="3788369"/>
            <a:ext cx="360000" cy="360000"/>
            <a:chOff x="10512053" y="4105091"/>
            <a:chExt cx="360000" cy="360000"/>
          </a:xfrm>
        </p:grpSpPr>
        <p:sp>
          <p:nvSpPr>
            <p:cNvPr id="1197" name="Полилиния 1196">
              <a:extLst>
                <a:ext uri="{FF2B5EF4-FFF2-40B4-BE49-F238E27FC236}">
                  <a16:creationId xmlns:a16="http://schemas.microsoft.com/office/drawing/2014/main" id="{0853191D-699A-AE4D-B5F5-67F9F48C1224}"/>
                </a:ext>
              </a:extLst>
            </p:cNvPr>
            <p:cNvSpPr/>
            <p:nvPr/>
          </p:nvSpPr>
          <p:spPr>
            <a:xfrm>
              <a:off x="10512053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8" name="Полилиния 1197">
              <a:extLst>
                <a:ext uri="{FF2B5EF4-FFF2-40B4-BE49-F238E27FC236}">
                  <a16:creationId xmlns:a16="http://schemas.microsoft.com/office/drawing/2014/main" id="{27E7808F-FEF6-BF4A-B3A2-F4618E1DFE7C}"/>
                </a:ext>
              </a:extLst>
            </p:cNvPr>
            <p:cNvSpPr/>
            <p:nvPr/>
          </p:nvSpPr>
          <p:spPr>
            <a:xfrm>
              <a:off x="10560380" y="4232057"/>
              <a:ext cx="199705" cy="199705"/>
            </a:xfrm>
            <a:custGeom>
              <a:avLst/>
              <a:gdLst>
                <a:gd name="connsiteX0" fmla="*/ 4393 w 199705"/>
                <a:gd name="connsiteY0" fmla="*/ 152887 h 199705"/>
                <a:gd name="connsiteX1" fmla="*/ 152886 w 199705"/>
                <a:gd name="connsiteY1" fmla="*/ 4393 h 199705"/>
                <a:gd name="connsiteX2" fmla="*/ 174099 w 199705"/>
                <a:gd name="connsiteY2" fmla="*/ 4393 h 199705"/>
                <a:gd name="connsiteX3" fmla="*/ 195312 w 199705"/>
                <a:gd name="connsiteY3" fmla="*/ 25607 h 199705"/>
                <a:gd name="connsiteX4" fmla="*/ 195312 w 199705"/>
                <a:gd name="connsiteY4" fmla="*/ 46820 h 199705"/>
                <a:gd name="connsiteX5" fmla="*/ 46820 w 199705"/>
                <a:gd name="connsiteY5" fmla="*/ 195313 h 199705"/>
                <a:gd name="connsiteX6" fmla="*/ 25607 w 199705"/>
                <a:gd name="connsiteY6" fmla="*/ 195313 h 199705"/>
                <a:gd name="connsiteX7" fmla="*/ 4393 w 199705"/>
                <a:gd name="connsiteY7" fmla="*/ 174100 h 199705"/>
                <a:gd name="connsiteX8" fmla="*/ 4393 w 199705"/>
                <a:gd name="connsiteY8" fmla="*/ 152887 h 19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9705" h="199705">
                  <a:moveTo>
                    <a:pt x="4393" y="152887"/>
                  </a:moveTo>
                  <a:lnTo>
                    <a:pt x="152886" y="4393"/>
                  </a:lnTo>
                  <a:cubicBezTo>
                    <a:pt x="158743" y="-1464"/>
                    <a:pt x="168241" y="-1464"/>
                    <a:pt x="174099" y="4393"/>
                  </a:cubicBezTo>
                  <a:lnTo>
                    <a:pt x="195312" y="25607"/>
                  </a:lnTo>
                  <a:cubicBezTo>
                    <a:pt x="201171" y="31465"/>
                    <a:pt x="201171" y="40963"/>
                    <a:pt x="195312" y="46820"/>
                  </a:cubicBezTo>
                  <a:lnTo>
                    <a:pt x="46820" y="195313"/>
                  </a:lnTo>
                  <a:cubicBezTo>
                    <a:pt x="40962" y="201170"/>
                    <a:pt x="31465" y="201170"/>
                    <a:pt x="25607" y="195313"/>
                  </a:cubicBezTo>
                  <a:lnTo>
                    <a:pt x="4393" y="174100"/>
                  </a:lnTo>
                  <a:cubicBezTo>
                    <a:pt x="-1464" y="168241"/>
                    <a:pt x="-1464" y="158744"/>
                    <a:pt x="4393" y="152887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9" name="Полилиния 1198">
              <a:extLst>
                <a:ext uri="{FF2B5EF4-FFF2-40B4-BE49-F238E27FC236}">
                  <a16:creationId xmlns:a16="http://schemas.microsoft.com/office/drawing/2014/main" id="{75602DB7-0226-2C40-B3F7-D7BAE7C9E3CE}"/>
                </a:ext>
              </a:extLst>
            </p:cNvPr>
            <p:cNvSpPr/>
            <p:nvPr/>
          </p:nvSpPr>
          <p:spPr>
            <a:xfrm>
              <a:off x="10655839" y="4147205"/>
              <a:ext cx="189098" cy="189098"/>
            </a:xfrm>
            <a:custGeom>
              <a:avLst/>
              <a:gdLst>
                <a:gd name="connsiteX0" fmla="*/ 4393 w 189098"/>
                <a:gd name="connsiteY0" fmla="*/ 57426 h 189098"/>
                <a:gd name="connsiteX1" fmla="*/ 57426 w 189098"/>
                <a:gd name="connsiteY1" fmla="*/ 4393 h 189098"/>
                <a:gd name="connsiteX2" fmla="*/ 78639 w 189098"/>
                <a:gd name="connsiteY2" fmla="*/ 4393 h 189098"/>
                <a:gd name="connsiteX3" fmla="*/ 184706 w 189098"/>
                <a:gd name="connsiteY3" fmla="*/ 110460 h 189098"/>
                <a:gd name="connsiteX4" fmla="*/ 184706 w 189098"/>
                <a:gd name="connsiteY4" fmla="*/ 131673 h 189098"/>
                <a:gd name="connsiteX5" fmla="*/ 131673 w 189098"/>
                <a:gd name="connsiteY5" fmla="*/ 184705 h 189098"/>
                <a:gd name="connsiteX6" fmla="*/ 110459 w 189098"/>
                <a:gd name="connsiteY6" fmla="*/ 184705 h 189098"/>
                <a:gd name="connsiteX7" fmla="*/ 4393 w 189098"/>
                <a:gd name="connsiteY7" fmla="*/ 78640 h 189098"/>
                <a:gd name="connsiteX8" fmla="*/ 4393 w 189098"/>
                <a:gd name="connsiteY8" fmla="*/ 57426 h 189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098" h="189098">
                  <a:moveTo>
                    <a:pt x="4393" y="57426"/>
                  </a:moveTo>
                  <a:lnTo>
                    <a:pt x="57426" y="4393"/>
                  </a:lnTo>
                  <a:cubicBezTo>
                    <a:pt x="63284" y="-1464"/>
                    <a:pt x="72782" y="-1464"/>
                    <a:pt x="78639" y="4393"/>
                  </a:cubicBezTo>
                  <a:lnTo>
                    <a:pt x="184706" y="110460"/>
                  </a:lnTo>
                  <a:cubicBezTo>
                    <a:pt x="190563" y="116317"/>
                    <a:pt x="190563" y="125815"/>
                    <a:pt x="184706" y="131673"/>
                  </a:cubicBezTo>
                  <a:lnTo>
                    <a:pt x="131673" y="184705"/>
                  </a:lnTo>
                  <a:cubicBezTo>
                    <a:pt x="125814" y="190563"/>
                    <a:pt x="116318" y="190563"/>
                    <a:pt x="110459" y="184705"/>
                  </a:cubicBezTo>
                  <a:lnTo>
                    <a:pt x="4393" y="78640"/>
                  </a:lnTo>
                  <a:cubicBezTo>
                    <a:pt x="-1464" y="72782"/>
                    <a:pt x="-1464" y="63284"/>
                    <a:pt x="4393" y="57426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0" name="Полилиния 1199">
              <a:extLst>
                <a:ext uri="{FF2B5EF4-FFF2-40B4-BE49-F238E27FC236}">
                  <a16:creationId xmlns:a16="http://schemas.microsoft.com/office/drawing/2014/main" id="{D67C49D9-A93F-844E-B165-BB8038F53DA1}"/>
                </a:ext>
              </a:extLst>
            </p:cNvPr>
            <p:cNvSpPr/>
            <p:nvPr/>
          </p:nvSpPr>
          <p:spPr>
            <a:xfrm>
              <a:off x="10769405" y="4165311"/>
              <a:ext cx="57426" cy="57426"/>
            </a:xfrm>
            <a:custGeom>
              <a:avLst/>
              <a:gdLst>
                <a:gd name="connsiteX0" fmla="*/ 2197 w 57426"/>
                <a:gd name="connsiteY0" fmla="*/ 12803 h 57426"/>
                <a:gd name="connsiteX1" fmla="*/ 12804 w 57426"/>
                <a:gd name="connsiteY1" fmla="*/ 2197 h 57426"/>
                <a:gd name="connsiteX2" fmla="*/ 23410 w 57426"/>
                <a:gd name="connsiteY2" fmla="*/ 2197 h 57426"/>
                <a:gd name="connsiteX3" fmla="*/ 55230 w 57426"/>
                <a:gd name="connsiteY3" fmla="*/ 34017 h 57426"/>
                <a:gd name="connsiteX4" fmla="*/ 55230 w 57426"/>
                <a:gd name="connsiteY4" fmla="*/ 44623 h 57426"/>
                <a:gd name="connsiteX5" fmla="*/ 44623 w 57426"/>
                <a:gd name="connsiteY5" fmla="*/ 55230 h 57426"/>
                <a:gd name="connsiteX6" fmla="*/ 34017 w 57426"/>
                <a:gd name="connsiteY6" fmla="*/ 55230 h 57426"/>
                <a:gd name="connsiteX7" fmla="*/ 2197 w 57426"/>
                <a:gd name="connsiteY7" fmla="*/ 23410 h 57426"/>
                <a:gd name="connsiteX8" fmla="*/ 2197 w 57426"/>
                <a:gd name="connsiteY8" fmla="*/ 12803 h 57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426" h="57426">
                  <a:moveTo>
                    <a:pt x="2197" y="12803"/>
                  </a:moveTo>
                  <a:lnTo>
                    <a:pt x="12804" y="2197"/>
                  </a:lnTo>
                  <a:cubicBezTo>
                    <a:pt x="15733" y="-732"/>
                    <a:pt x="20482" y="-732"/>
                    <a:pt x="23410" y="2197"/>
                  </a:cubicBezTo>
                  <a:lnTo>
                    <a:pt x="55230" y="34017"/>
                  </a:lnTo>
                  <a:cubicBezTo>
                    <a:pt x="58159" y="36945"/>
                    <a:pt x="58159" y="41694"/>
                    <a:pt x="55230" y="44623"/>
                  </a:cubicBezTo>
                  <a:lnTo>
                    <a:pt x="44623" y="55230"/>
                  </a:lnTo>
                  <a:cubicBezTo>
                    <a:pt x="41695" y="58159"/>
                    <a:pt x="36946" y="58159"/>
                    <a:pt x="34017" y="55230"/>
                  </a:cubicBezTo>
                  <a:lnTo>
                    <a:pt x="2197" y="23410"/>
                  </a:lnTo>
                  <a:cubicBezTo>
                    <a:pt x="-732" y="20481"/>
                    <a:pt x="-732" y="15732"/>
                    <a:pt x="2197" y="12803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01" name="Рисунок 274">
            <a:extLst>
              <a:ext uri="{FF2B5EF4-FFF2-40B4-BE49-F238E27FC236}">
                <a16:creationId xmlns:a16="http://schemas.microsoft.com/office/drawing/2014/main" id="{C1A8CDD1-C56B-4F40-8314-6DC2ED62F497}"/>
              </a:ext>
            </a:extLst>
          </p:cNvPr>
          <p:cNvGrpSpPr/>
          <p:nvPr/>
        </p:nvGrpSpPr>
        <p:grpSpPr>
          <a:xfrm>
            <a:off x="8968334" y="3788369"/>
            <a:ext cx="360000" cy="360000"/>
            <a:chOff x="9001787" y="4105091"/>
            <a:chExt cx="360000" cy="360000"/>
          </a:xfrm>
        </p:grpSpPr>
        <p:sp>
          <p:nvSpPr>
            <p:cNvPr id="1202" name="Полилиния 1201">
              <a:extLst>
                <a:ext uri="{FF2B5EF4-FFF2-40B4-BE49-F238E27FC236}">
                  <a16:creationId xmlns:a16="http://schemas.microsoft.com/office/drawing/2014/main" id="{B7455EB5-9C30-B743-972E-CEBDD402D128}"/>
                </a:ext>
              </a:extLst>
            </p:cNvPr>
            <p:cNvSpPr/>
            <p:nvPr/>
          </p:nvSpPr>
          <p:spPr>
            <a:xfrm>
              <a:off x="9001787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3" name="Полилиния 1202">
              <a:extLst>
                <a:ext uri="{FF2B5EF4-FFF2-40B4-BE49-F238E27FC236}">
                  <a16:creationId xmlns:a16="http://schemas.microsoft.com/office/drawing/2014/main" id="{2968841F-7933-874A-A3A1-64D83EF8C4D3}"/>
                </a:ext>
              </a:extLst>
            </p:cNvPr>
            <p:cNvSpPr/>
            <p:nvPr/>
          </p:nvSpPr>
          <p:spPr>
            <a:xfrm>
              <a:off x="9045720" y="4221451"/>
              <a:ext cx="298271" cy="199705"/>
            </a:xfrm>
            <a:custGeom>
              <a:avLst/>
              <a:gdLst>
                <a:gd name="connsiteX0" fmla="*/ 232435 w 298271"/>
                <a:gd name="connsiteY0" fmla="*/ 73336 h 199705"/>
                <a:gd name="connsiteX1" fmla="*/ 274861 w 298271"/>
                <a:gd name="connsiteY1" fmla="*/ 30910 h 199705"/>
                <a:gd name="connsiteX2" fmla="*/ 285469 w 298271"/>
                <a:gd name="connsiteY2" fmla="*/ 30910 h 199705"/>
                <a:gd name="connsiteX3" fmla="*/ 296076 w 298271"/>
                <a:gd name="connsiteY3" fmla="*/ 41516 h 199705"/>
                <a:gd name="connsiteX4" fmla="*/ 296076 w 298271"/>
                <a:gd name="connsiteY4" fmla="*/ 52123 h 199705"/>
                <a:gd name="connsiteX5" fmla="*/ 253648 w 298271"/>
                <a:gd name="connsiteY5" fmla="*/ 94550 h 199705"/>
                <a:gd name="connsiteX6" fmla="*/ 243042 w 298271"/>
                <a:gd name="connsiteY6" fmla="*/ 94550 h 199705"/>
                <a:gd name="connsiteX7" fmla="*/ 232435 w 298271"/>
                <a:gd name="connsiteY7" fmla="*/ 83944 h 199705"/>
                <a:gd name="connsiteX8" fmla="*/ 232435 w 298271"/>
                <a:gd name="connsiteY8" fmla="*/ 73336 h 199705"/>
                <a:gd name="connsiteX9" fmla="*/ 4393 w 298271"/>
                <a:gd name="connsiteY9" fmla="*/ 152885 h 199705"/>
                <a:gd name="connsiteX10" fmla="*/ 152886 w 298271"/>
                <a:gd name="connsiteY10" fmla="*/ 4393 h 199705"/>
                <a:gd name="connsiteX11" fmla="*/ 174099 w 298271"/>
                <a:gd name="connsiteY11" fmla="*/ 4393 h 199705"/>
                <a:gd name="connsiteX12" fmla="*/ 195312 w 298271"/>
                <a:gd name="connsiteY12" fmla="*/ 25607 h 199705"/>
                <a:gd name="connsiteX13" fmla="*/ 195312 w 298271"/>
                <a:gd name="connsiteY13" fmla="*/ 46820 h 199705"/>
                <a:gd name="connsiteX14" fmla="*/ 46820 w 298271"/>
                <a:gd name="connsiteY14" fmla="*/ 195313 h 199705"/>
                <a:gd name="connsiteX15" fmla="*/ 25607 w 298271"/>
                <a:gd name="connsiteY15" fmla="*/ 195313 h 199705"/>
                <a:gd name="connsiteX16" fmla="*/ 4393 w 298271"/>
                <a:gd name="connsiteY16" fmla="*/ 174100 h 199705"/>
                <a:gd name="connsiteX17" fmla="*/ 4393 w 298271"/>
                <a:gd name="connsiteY17" fmla="*/ 152885 h 19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8271" h="199705">
                  <a:moveTo>
                    <a:pt x="232435" y="73336"/>
                  </a:moveTo>
                  <a:lnTo>
                    <a:pt x="274861" y="30910"/>
                  </a:lnTo>
                  <a:cubicBezTo>
                    <a:pt x="277791" y="27981"/>
                    <a:pt x="282540" y="27981"/>
                    <a:pt x="285469" y="30910"/>
                  </a:cubicBezTo>
                  <a:lnTo>
                    <a:pt x="296076" y="41516"/>
                  </a:lnTo>
                  <a:cubicBezTo>
                    <a:pt x="299004" y="44446"/>
                    <a:pt x="299004" y="49195"/>
                    <a:pt x="296076" y="52123"/>
                  </a:cubicBezTo>
                  <a:lnTo>
                    <a:pt x="253648" y="94550"/>
                  </a:lnTo>
                  <a:cubicBezTo>
                    <a:pt x="250720" y="97478"/>
                    <a:pt x="245971" y="97478"/>
                    <a:pt x="243042" y="94550"/>
                  </a:cubicBezTo>
                  <a:lnTo>
                    <a:pt x="232435" y="83944"/>
                  </a:lnTo>
                  <a:cubicBezTo>
                    <a:pt x="229507" y="81014"/>
                    <a:pt x="229507" y="76265"/>
                    <a:pt x="232435" y="73336"/>
                  </a:cubicBezTo>
                  <a:close/>
                  <a:moveTo>
                    <a:pt x="4393" y="152885"/>
                  </a:moveTo>
                  <a:lnTo>
                    <a:pt x="152886" y="4393"/>
                  </a:lnTo>
                  <a:cubicBezTo>
                    <a:pt x="158743" y="-1464"/>
                    <a:pt x="168241" y="-1464"/>
                    <a:pt x="174099" y="4393"/>
                  </a:cubicBezTo>
                  <a:lnTo>
                    <a:pt x="195312" y="25607"/>
                  </a:lnTo>
                  <a:cubicBezTo>
                    <a:pt x="201171" y="31464"/>
                    <a:pt x="201171" y="40963"/>
                    <a:pt x="195312" y="46820"/>
                  </a:cubicBezTo>
                  <a:lnTo>
                    <a:pt x="46820" y="195313"/>
                  </a:lnTo>
                  <a:cubicBezTo>
                    <a:pt x="40962" y="201170"/>
                    <a:pt x="31464" y="201170"/>
                    <a:pt x="25607" y="195313"/>
                  </a:cubicBezTo>
                  <a:lnTo>
                    <a:pt x="4393" y="174100"/>
                  </a:lnTo>
                  <a:cubicBezTo>
                    <a:pt x="-1464" y="168241"/>
                    <a:pt x="-1464" y="158744"/>
                    <a:pt x="4393" y="152885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4" name="Полилиния 1203">
              <a:extLst>
                <a:ext uri="{FF2B5EF4-FFF2-40B4-BE49-F238E27FC236}">
                  <a16:creationId xmlns:a16="http://schemas.microsoft.com/office/drawing/2014/main" id="{C77A2C56-75BE-2146-B5CF-FDD28B9E449E}"/>
                </a:ext>
              </a:extLst>
            </p:cNvPr>
            <p:cNvSpPr/>
            <p:nvPr/>
          </p:nvSpPr>
          <p:spPr>
            <a:xfrm rot="-2700000">
              <a:off x="9187623" y="4124328"/>
              <a:ext cx="75000" cy="150000"/>
            </a:xfrm>
            <a:custGeom>
              <a:avLst/>
              <a:gdLst>
                <a:gd name="connsiteX0" fmla="*/ 0 w 75000"/>
                <a:gd name="connsiteY0" fmla="*/ 0 h 150000"/>
                <a:gd name="connsiteX1" fmla="*/ 0 w 75000"/>
                <a:gd name="connsiteY1" fmla="*/ 0 h 150000"/>
                <a:gd name="connsiteX2" fmla="*/ 75000 w 75000"/>
                <a:gd name="connsiteY2" fmla="*/ 75000 h 150000"/>
                <a:gd name="connsiteX3" fmla="*/ 75000 w 75000"/>
                <a:gd name="connsiteY3" fmla="*/ 142500 h 150000"/>
                <a:gd name="connsiteX4" fmla="*/ 67500 w 75000"/>
                <a:gd name="connsiteY4" fmla="*/ 150000 h 150000"/>
                <a:gd name="connsiteX5" fmla="*/ 7500 w 75000"/>
                <a:gd name="connsiteY5" fmla="*/ 150000 h 150000"/>
                <a:gd name="connsiteX6" fmla="*/ 0 w 75000"/>
                <a:gd name="connsiteY6" fmla="*/ 142500 h 150000"/>
                <a:gd name="connsiteX7" fmla="*/ 0 w 75000"/>
                <a:gd name="connsiteY7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000" h="150000">
                  <a:moveTo>
                    <a:pt x="0" y="0"/>
                  </a:moveTo>
                  <a:lnTo>
                    <a:pt x="0" y="0"/>
                  </a:lnTo>
                  <a:cubicBezTo>
                    <a:pt x="41421" y="0"/>
                    <a:pt x="75000" y="33579"/>
                    <a:pt x="75000" y="75000"/>
                  </a:cubicBezTo>
                  <a:lnTo>
                    <a:pt x="75000" y="142500"/>
                  </a:lnTo>
                  <a:cubicBezTo>
                    <a:pt x="75000" y="146642"/>
                    <a:pt x="71642" y="150000"/>
                    <a:pt x="67500" y="150000"/>
                  </a:cubicBezTo>
                  <a:lnTo>
                    <a:pt x="7500" y="150000"/>
                  </a:lnTo>
                  <a:cubicBezTo>
                    <a:pt x="3357" y="150000"/>
                    <a:pt x="0" y="146642"/>
                    <a:pt x="0" y="1425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05" name="Рисунок 275">
            <a:extLst>
              <a:ext uri="{FF2B5EF4-FFF2-40B4-BE49-F238E27FC236}">
                <a16:creationId xmlns:a16="http://schemas.microsoft.com/office/drawing/2014/main" id="{40885AD1-9B39-B942-BD29-2E4622B73B4F}"/>
              </a:ext>
            </a:extLst>
          </p:cNvPr>
          <p:cNvGrpSpPr/>
          <p:nvPr/>
        </p:nvGrpSpPr>
        <p:grpSpPr>
          <a:xfrm>
            <a:off x="7458068" y="3788369"/>
            <a:ext cx="360000" cy="360000"/>
            <a:chOff x="7491521" y="4105091"/>
            <a:chExt cx="360000" cy="360000"/>
          </a:xfrm>
        </p:grpSpPr>
        <p:sp>
          <p:nvSpPr>
            <p:cNvPr id="1206" name="Полилиния 1205">
              <a:extLst>
                <a:ext uri="{FF2B5EF4-FFF2-40B4-BE49-F238E27FC236}">
                  <a16:creationId xmlns:a16="http://schemas.microsoft.com/office/drawing/2014/main" id="{8035940A-9E1F-8E40-A4AC-51C179FB212D}"/>
                </a:ext>
              </a:extLst>
            </p:cNvPr>
            <p:cNvSpPr/>
            <p:nvPr/>
          </p:nvSpPr>
          <p:spPr>
            <a:xfrm>
              <a:off x="7491521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7" name="Полилиния 1206">
              <a:extLst>
                <a:ext uri="{FF2B5EF4-FFF2-40B4-BE49-F238E27FC236}">
                  <a16:creationId xmlns:a16="http://schemas.microsoft.com/office/drawing/2014/main" id="{71049C67-63ED-964E-8812-D521B8D7FB0E}"/>
                </a:ext>
              </a:extLst>
            </p:cNvPr>
            <p:cNvSpPr/>
            <p:nvPr/>
          </p:nvSpPr>
          <p:spPr>
            <a:xfrm>
              <a:off x="7536521" y="4150091"/>
              <a:ext cx="270000" cy="240000"/>
            </a:xfrm>
            <a:custGeom>
              <a:avLst/>
              <a:gdLst>
                <a:gd name="connsiteX0" fmla="*/ 30000 w 270000"/>
                <a:gd name="connsiteY0" fmla="*/ 30000 h 240000"/>
                <a:gd name="connsiteX1" fmla="*/ 30000 w 270000"/>
                <a:gd name="connsiteY1" fmla="*/ 195000 h 240000"/>
                <a:gd name="connsiteX2" fmla="*/ 240000 w 270000"/>
                <a:gd name="connsiteY2" fmla="*/ 195000 h 240000"/>
                <a:gd name="connsiteX3" fmla="*/ 240000 w 270000"/>
                <a:gd name="connsiteY3" fmla="*/ 30000 h 240000"/>
                <a:gd name="connsiteX4" fmla="*/ 30000 w 270000"/>
                <a:gd name="connsiteY4" fmla="*/ 30000 h 240000"/>
                <a:gd name="connsiteX5" fmla="*/ 30000 w 270000"/>
                <a:gd name="connsiteY5" fmla="*/ 0 h 240000"/>
                <a:gd name="connsiteX6" fmla="*/ 240000 w 270000"/>
                <a:gd name="connsiteY6" fmla="*/ 0 h 240000"/>
                <a:gd name="connsiteX7" fmla="*/ 270000 w 270000"/>
                <a:gd name="connsiteY7" fmla="*/ 24000 h 240000"/>
                <a:gd name="connsiteX8" fmla="*/ 270000 w 270000"/>
                <a:gd name="connsiteY8" fmla="*/ 216000 h 240000"/>
                <a:gd name="connsiteX9" fmla="*/ 240000 w 270000"/>
                <a:gd name="connsiteY9" fmla="*/ 240000 h 240000"/>
                <a:gd name="connsiteX10" fmla="*/ 30000 w 270000"/>
                <a:gd name="connsiteY10" fmla="*/ 240000 h 240000"/>
                <a:gd name="connsiteX11" fmla="*/ 0 w 270000"/>
                <a:gd name="connsiteY11" fmla="*/ 216000 h 240000"/>
                <a:gd name="connsiteX12" fmla="*/ 0 w 270000"/>
                <a:gd name="connsiteY12" fmla="*/ 24000 h 240000"/>
                <a:gd name="connsiteX13" fmla="*/ 30000 w 270000"/>
                <a:gd name="connsiteY13" fmla="*/ 0 h 240000"/>
                <a:gd name="connsiteX14" fmla="*/ 135000 w 270000"/>
                <a:gd name="connsiteY14" fmla="*/ 225000 h 240000"/>
                <a:gd name="connsiteX15" fmla="*/ 142500 w 270000"/>
                <a:gd name="connsiteY15" fmla="*/ 217500 h 240000"/>
                <a:gd name="connsiteX16" fmla="*/ 135000 w 270000"/>
                <a:gd name="connsiteY16" fmla="*/ 210000 h 240000"/>
                <a:gd name="connsiteX17" fmla="*/ 127500 w 270000"/>
                <a:gd name="connsiteY17" fmla="*/ 217500 h 240000"/>
                <a:gd name="connsiteX18" fmla="*/ 135000 w 270000"/>
                <a:gd name="connsiteY18" fmla="*/ 225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0000" h="240000">
                  <a:moveTo>
                    <a:pt x="30000" y="30000"/>
                  </a:moveTo>
                  <a:lnTo>
                    <a:pt x="30000" y="195000"/>
                  </a:lnTo>
                  <a:lnTo>
                    <a:pt x="240000" y="195000"/>
                  </a:lnTo>
                  <a:lnTo>
                    <a:pt x="240000" y="30000"/>
                  </a:lnTo>
                  <a:lnTo>
                    <a:pt x="30000" y="30000"/>
                  </a:lnTo>
                  <a:close/>
                  <a:moveTo>
                    <a:pt x="30000" y="0"/>
                  </a:moveTo>
                  <a:lnTo>
                    <a:pt x="240000" y="0"/>
                  </a:lnTo>
                  <a:cubicBezTo>
                    <a:pt x="261303" y="0"/>
                    <a:pt x="270000" y="10745"/>
                    <a:pt x="270000" y="24000"/>
                  </a:cubicBezTo>
                  <a:lnTo>
                    <a:pt x="270000" y="216000"/>
                  </a:lnTo>
                  <a:cubicBezTo>
                    <a:pt x="270000" y="229256"/>
                    <a:pt x="261303" y="240000"/>
                    <a:pt x="240000" y="240000"/>
                  </a:cubicBezTo>
                  <a:lnTo>
                    <a:pt x="30000" y="240000"/>
                  </a:lnTo>
                  <a:cubicBezTo>
                    <a:pt x="8698" y="240000"/>
                    <a:pt x="0" y="229256"/>
                    <a:pt x="0" y="216000"/>
                  </a:cubicBezTo>
                  <a:lnTo>
                    <a:pt x="0" y="24000"/>
                  </a:lnTo>
                  <a:cubicBezTo>
                    <a:pt x="0" y="10745"/>
                    <a:pt x="8698" y="0"/>
                    <a:pt x="30000" y="0"/>
                  </a:cubicBezTo>
                  <a:close/>
                  <a:moveTo>
                    <a:pt x="135000" y="225000"/>
                  </a:moveTo>
                  <a:cubicBezTo>
                    <a:pt x="139142" y="225000"/>
                    <a:pt x="142500" y="221642"/>
                    <a:pt x="142500" y="217500"/>
                  </a:cubicBezTo>
                  <a:cubicBezTo>
                    <a:pt x="142500" y="213359"/>
                    <a:pt x="139142" y="210000"/>
                    <a:pt x="135000" y="210000"/>
                  </a:cubicBezTo>
                  <a:cubicBezTo>
                    <a:pt x="130859" y="210000"/>
                    <a:pt x="127500" y="213359"/>
                    <a:pt x="127500" y="217500"/>
                  </a:cubicBezTo>
                  <a:cubicBezTo>
                    <a:pt x="127500" y="221642"/>
                    <a:pt x="130859" y="225000"/>
                    <a:pt x="135000" y="22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8" name="Полилиния 1207">
              <a:extLst>
                <a:ext uri="{FF2B5EF4-FFF2-40B4-BE49-F238E27FC236}">
                  <a16:creationId xmlns:a16="http://schemas.microsoft.com/office/drawing/2014/main" id="{571D002C-8F47-0744-A22B-C1C717D27223}"/>
                </a:ext>
              </a:extLst>
            </p:cNvPr>
            <p:cNvSpPr/>
            <p:nvPr/>
          </p:nvSpPr>
          <p:spPr>
            <a:xfrm>
              <a:off x="7566521" y="4180091"/>
              <a:ext cx="210000" cy="165000"/>
            </a:xfrm>
            <a:custGeom>
              <a:avLst/>
              <a:gdLst>
                <a:gd name="connsiteX0" fmla="*/ 0 w 210000"/>
                <a:gd name="connsiteY0" fmla="*/ 0 h 165000"/>
                <a:gd name="connsiteX1" fmla="*/ 0 w 210000"/>
                <a:gd name="connsiteY1" fmla="*/ 165000 h 165000"/>
                <a:gd name="connsiteX2" fmla="*/ 210000 w 210000"/>
                <a:gd name="connsiteY2" fmla="*/ 165000 h 165000"/>
                <a:gd name="connsiteX3" fmla="*/ 210000 w 210000"/>
                <a:gd name="connsiteY3" fmla="*/ 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000" h="165000">
                  <a:moveTo>
                    <a:pt x="0" y="0"/>
                  </a:moveTo>
                  <a:lnTo>
                    <a:pt x="0" y="165000"/>
                  </a:lnTo>
                  <a:lnTo>
                    <a:pt x="210000" y="165000"/>
                  </a:lnTo>
                  <a:lnTo>
                    <a:pt x="21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9" name="Полилиния 1208">
              <a:extLst>
                <a:ext uri="{FF2B5EF4-FFF2-40B4-BE49-F238E27FC236}">
                  <a16:creationId xmlns:a16="http://schemas.microsoft.com/office/drawing/2014/main" id="{E28CBD1F-E56E-B34F-965B-25ADCC0DA295}"/>
                </a:ext>
              </a:extLst>
            </p:cNvPr>
            <p:cNvSpPr/>
            <p:nvPr/>
          </p:nvSpPr>
          <p:spPr>
            <a:xfrm>
              <a:off x="7641521" y="4405091"/>
              <a:ext cx="60000" cy="15000"/>
            </a:xfrm>
            <a:custGeom>
              <a:avLst/>
              <a:gdLst>
                <a:gd name="connsiteX0" fmla="*/ 52500 w 60000"/>
                <a:gd name="connsiteY0" fmla="*/ 0 h 15000"/>
                <a:gd name="connsiteX1" fmla="*/ 60000 w 60000"/>
                <a:gd name="connsiteY1" fmla="*/ 0 h 15000"/>
                <a:gd name="connsiteX2" fmla="*/ 60000 w 60000"/>
                <a:gd name="connsiteY2" fmla="*/ 15000 h 15000"/>
                <a:gd name="connsiteX3" fmla="*/ 52500 w 60000"/>
                <a:gd name="connsiteY3" fmla="*/ 15000 h 15000"/>
                <a:gd name="connsiteX4" fmla="*/ 7500 w 60000"/>
                <a:gd name="connsiteY4" fmla="*/ 15000 h 15000"/>
                <a:gd name="connsiteX5" fmla="*/ 0 w 60000"/>
                <a:gd name="connsiteY5" fmla="*/ 15000 h 15000"/>
                <a:gd name="connsiteX6" fmla="*/ 0 w 60000"/>
                <a:gd name="connsiteY6" fmla="*/ 0 h 15000"/>
                <a:gd name="connsiteX7" fmla="*/ 7500 w 60000"/>
                <a:gd name="connsiteY7" fmla="*/ 0 h 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000" h="15000">
                  <a:moveTo>
                    <a:pt x="52500" y="0"/>
                  </a:moveTo>
                  <a:cubicBezTo>
                    <a:pt x="56642" y="0"/>
                    <a:pt x="60000" y="0"/>
                    <a:pt x="60000" y="0"/>
                  </a:cubicBezTo>
                  <a:lnTo>
                    <a:pt x="60000" y="15000"/>
                  </a:lnTo>
                  <a:cubicBezTo>
                    <a:pt x="60000" y="15000"/>
                    <a:pt x="56642" y="15000"/>
                    <a:pt x="52500" y="15000"/>
                  </a:cubicBezTo>
                  <a:lnTo>
                    <a:pt x="7500" y="15000"/>
                  </a:lnTo>
                  <a:cubicBezTo>
                    <a:pt x="3358" y="15000"/>
                    <a:pt x="0" y="15000"/>
                    <a:pt x="0" y="15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210" name="Рисунок 276">
            <a:extLst>
              <a:ext uri="{FF2B5EF4-FFF2-40B4-BE49-F238E27FC236}">
                <a16:creationId xmlns:a16="http://schemas.microsoft.com/office/drawing/2014/main" id="{E6CFA843-60C3-3E4C-B317-FB4973B2895C}"/>
              </a:ext>
            </a:extLst>
          </p:cNvPr>
          <p:cNvGrpSpPr/>
          <p:nvPr/>
        </p:nvGrpSpPr>
        <p:grpSpPr>
          <a:xfrm>
            <a:off x="5947802" y="3788369"/>
            <a:ext cx="360000" cy="360000"/>
            <a:chOff x="5981255" y="4105091"/>
            <a:chExt cx="360000" cy="360000"/>
          </a:xfrm>
        </p:grpSpPr>
        <p:sp>
          <p:nvSpPr>
            <p:cNvPr id="1211" name="Полилиния 1210">
              <a:extLst>
                <a:ext uri="{FF2B5EF4-FFF2-40B4-BE49-F238E27FC236}">
                  <a16:creationId xmlns:a16="http://schemas.microsoft.com/office/drawing/2014/main" id="{F5653534-EC04-3F45-8A1A-4CAEF4B5FB43}"/>
                </a:ext>
              </a:extLst>
            </p:cNvPr>
            <p:cNvSpPr/>
            <p:nvPr/>
          </p:nvSpPr>
          <p:spPr>
            <a:xfrm>
              <a:off x="5981255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2" name="Полилиния 1211">
              <a:extLst>
                <a:ext uri="{FF2B5EF4-FFF2-40B4-BE49-F238E27FC236}">
                  <a16:creationId xmlns:a16="http://schemas.microsoft.com/office/drawing/2014/main" id="{7E206E29-BE52-9B48-8775-28FE6A49A051}"/>
                </a:ext>
              </a:extLst>
            </p:cNvPr>
            <p:cNvSpPr/>
            <p:nvPr/>
          </p:nvSpPr>
          <p:spPr>
            <a:xfrm>
              <a:off x="6026255" y="4180091"/>
              <a:ext cx="270000" cy="225000"/>
            </a:xfrm>
            <a:custGeom>
              <a:avLst/>
              <a:gdLst>
                <a:gd name="connsiteX0" fmla="*/ 45000 w 270000"/>
                <a:gd name="connsiteY0" fmla="*/ 0 h 225000"/>
                <a:gd name="connsiteX1" fmla="*/ 225000 w 270000"/>
                <a:gd name="connsiteY1" fmla="*/ 0 h 225000"/>
                <a:gd name="connsiteX2" fmla="*/ 270000 w 270000"/>
                <a:gd name="connsiteY2" fmla="*/ 45000 h 225000"/>
                <a:gd name="connsiteX3" fmla="*/ 270000 w 270000"/>
                <a:gd name="connsiteY3" fmla="*/ 180000 h 225000"/>
                <a:gd name="connsiteX4" fmla="*/ 225000 w 270000"/>
                <a:gd name="connsiteY4" fmla="*/ 225000 h 225000"/>
                <a:gd name="connsiteX5" fmla="*/ 45000 w 270000"/>
                <a:gd name="connsiteY5" fmla="*/ 225000 h 225000"/>
                <a:gd name="connsiteX6" fmla="*/ 0 w 270000"/>
                <a:gd name="connsiteY6" fmla="*/ 180000 h 225000"/>
                <a:gd name="connsiteX7" fmla="*/ 0 w 270000"/>
                <a:gd name="connsiteY7" fmla="*/ 45000 h 225000"/>
                <a:gd name="connsiteX8" fmla="*/ 45000 w 270000"/>
                <a:gd name="connsiteY8" fmla="*/ 0 h 225000"/>
                <a:gd name="connsiteX9" fmla="*/ 30000 w 270000"/>
                <a:gd name="connsiteY9" fmla="*/ 180000 h 225000"/>
                <a:gd name="connsiteX10" fmla="*/ 165000 w 270000"/>
                <a:gd name="connsiteY10" fmla="*/ 180000 h 225000"/>
                <a:gd name="connsiteX11" fmla="*/ 97500 w 270000"/>
                <a:gd name="connsiteY11" fmla="*/ 90000 h 225000"/>
                <a:gd name="connsiteX12" fmla="*/ 30000 w 270000"/>
                <a:gd name="connsiteY12" fmla="*/ 180000 h 225000"/>
                <a:gd name="connsiteX13" fmla="*/ 195000 w 270000"/>
                <a:gd name="connsiteY13" fmla="*/ 135000 h 225000"/>
                <a:gd name="connsiteX14" fmla="*/ 240000 w 270000"/>
                <a:gd name="connsiteY14" fmla="*/ 90000 h 225000"/>
                <a:gd name="connsiteX15" fmla="*/ 195000 w 270000"/>
                <a:gd name="connsiteY15" fmla="*/ 45000 h 225000"/>
                <a:gd name="connsiteX16" fmla="*/ 150000 w 270000"/>
                <a:gd name="connsiteY16" fmla="*/ 90000 h 225000"/>
                <a:gd name="connsiteX17" fmla="*/ 195000 w 270000"/>
                <a:gd name="connsiteY17" fmla="*/ 135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0000" h="225000">
                  <a:moveTo>
                    <a:pt x="45000" y="0"/>
                  </a:moveTo>
                  <a:lnTo>
                    <a:pt x="225000" y="0"/>
                  </a:lnTo>
                  <a:cubicBezTo>
                    <a:pt x="249854" y="0"/>
                    <a:pt x="270000" y="20147"/>
                    <a:pt x="270000" y="45000"/>
                  </a:cubicBezTo>
                  <a:lnTo>
                    <a:pt x="270000" y="180000"/>
                  </a:lnTo>
                  <a:cubicBezTo>
                    <a:pt x="270000" y="204854"/>
                    <a:pt x="249854" y="225000"/>
                    <a:pt x="225000" y="225000"/>
                  </a:cubicBezTo>
                  <a:lnTo>
                    <a:pt x="45000" y="225000"/>
                  </a:lnTo>
                  <a:cubicBezTo>
                    <a:pt x="20147" y="225000"/>
                    <a:pt x="0" y="204854"/>
                    <a:pt x="0" y="180000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close/>
                  <a:moveTo>
                    <a:pt x="30000" y="180000"/>
                  </a:moveTo>
                  <a:lnTo>
                    <a:pt x="165000" y="180000"/>
                  </a:lnTo>
                  <a:lnTo>
                    <a:pt x="97500" y="90000"/>
                  </a:lnTo>
                  <a:lnTo>
                    <a:pt x="30000" y="180000"/>
                  </a:lnTo>
                  <a:close/>
                  <a:moveTo>
                    <a:pt x="195000" y="135000"/>
                  </a:moveTo>
                  <a:cubicBezTo>
                    <a:pt x="219854" y="135000"/>
                    <a:pt x="240000" y="114854"/>
                    <a:pt x="240000" y="90000"/>
                  </a:cubicBezTo>
                  <a:cubicBezTo>
                    <a:pt x="240000" y="65147"/>
                    <a:pt x="219854" y="45000"/>
                    <a:pt x="195000" y="45000"/>
                  </a:cubicBezTo>
                  <a:cubicBezTo>
                    <a:pt x="170147" y="45000"/>
                    <a:pt x="150000" y="65147"/>
                    <a:pt x="150000" y="90000"/>
                  </a:cubicBezTo>
                  <a:cubicBezTo>
                    <a:pt x="150000" y="114854"/>
                    <a:pt x="170147" y="135000"/>
                    <a:pt x="195000" y="13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13" name="Рисунок 277">
            <a:extLst>
              <a:ext uri="{FF2B5EF4-FFF2-40B4-BE49-F238E27FC236}">
                <a16:creationId xmlns:a16="http://schemas.microsoft.com/office/drawing/2014/main" id="{81F43950-5A19-2848-A3E6-6DA56B69603B}"/>
              </a:ext>
            </a:extLst>
          </p:cNvPr>
          <p:cNvGrpSpPr/>
          <p:nvPr/>
        </p:nvGrpSpPr>
        <p:grpSpPr>
          <a:xfrm>
            <a:off x="9723467" y="3788369"/>
            <a:ext cx="360000" cy="360000"/>
            <a:chOff x="9756920" y="4105091"/>
            <a:chExt cx="360000" cy="360000"/>
          </a:xfrm>
        </p:grpSpPr>
        <p:sp>
          <p:nvSpPr>
            <p:cNvPr id="1214" name="Полилиния 1213">
              <a:extLst>
                <a:ext uri="{FF2B5EF4-FFF2-40B4-BE49-F238E27FC236}">
                  <a16:creationId xmlns:a16="http://schemas.microsoft.com/office/drawing/2014/main" id="{8E257EFC-6D8C-154E-B6D1-B38B04EDDE61}"/>
                </a:ext>
              </a:extLst>
            </p:cNvPr>
            <p:cNvSpPr/>
            <p:nvPr/>
          </p:nvSpPr>
          <p:spPr>
            <a:xfrm>
              <a:off x="9756920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5" name="Скругленный прямоугольник 1214">
              <a:extLst>
                <a:ext uri="{FF2B5EF4-FFF2-40B4-BE49-F238E27FC236}">
                  <a16:creationId xmlns:a16="http://schemas.microsoft.com/office/drawing/2014/main" id="{2E950937-1418-A64A-8C98-8D78A7C2F85F}"/>
                </a:ext>
              </a:extLst>
            </p:cNvPr>
            <p:cNvSpPr/>
            <p:nvPr/>
          </p:nvSpPr>
          <p:spPr>
            <a:xfrm rot="-10800000">
              <a:off x="9921920" y="4120091"/>
              <a:ext cx="30000" cy="18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6" name="Полилиния 1215">
              <a:extLst>
                <a:ext uri="{FF2B5EF4-FFF2-40B4-BE49-F238E27FC236}">
                  <a16:creationId xmlns:a16="http://schemas.microsoft.com/office/drawing/2014/main" id="{1433D123-0648-EA4D-A967-3F134C803494}"/>
                </a:ext>
              </a:extLst>
            </p:cNvPr>
            <p:cNvSpPr/>
            <p:nvPr/>
          </p:nvSpPr>
          <p:spPr>
            <a:xfrm>
              <a:off x="9786920" y="4194986"/>
              <a:ext cx="300000" cy="240104"/>
            </a:xfrm>
            <a:custGeom>
              <a:avLst/>
              <a:gdLst>
                <a:gd name="connsiteX0" fmla="*/ 225000 w 300000"/>
                <a:gd name="connsiteY0" fmla="*/ 30104 h 240104"/>
                <a:gd name="connsiteX1" fmla="*/ 210000 w 300000"/>
                <a:gd name="connsiteY1" fmla="*/ 15104 h 240104"/>
                <a:gd name="connsiteX2" fmla="*/ 225000 w 300000"/>
                <a:gd name="connsiteY2" fmla="*/ 104 h 240104"/>
                <a:gd name="connsiteX3" fmla="*/ 240000 w 300000"/>
                <a:gd name="connsiteY3" fmla="*/ 104 h 240104"/>
                <a:gd name="connsiteX4" fmla="*/ 300000 w 300000"/>
                <a:gd name="connsiteY4" fmla="*/ 60104 h 240104"/>
                <a:gd name="connsiteX5" fmla="*/ 300000 w 300000"/>
                <a:gd name="connsiteY5" fmla="*/ 180104 h 240104"/>
                <a:gd name="connsiteX6" fmla="*/ 240000 w 300000"/>
                <a:gd name="connsiteY6" fmla="*/ 240104 h 240104"/>
                <a:gd name="connsiteX7" fmla="*/ 60000 w 300000"/>
                <a:gd name="connsiteY7" fmla="*/ 240104 h 240104"/>
                <a:gd name="connsiteX8" fmla="*/ 0 w 300000"/>
                <a:gd name="connsiteY8" fmla="*/ 180104 h 240104"/>
                <a:gd name="connsiteX9" fmla="*/ 0 w 300000"/>
                <a:gd name="connsiteY9" fmla="*/ 60000 h 240104"/>
                <a:gd name="connsiteX10" fmla="*/ 60000 w 300000"/>
                <a:gd name="connsiteY10" fmla="*/ 0 h 240104"/>
                <a:gd name="connsiteX11" fmla="*/ 75000 w 300000"/>
                <a:gd name="connsiteY11" fmla="*/ 0 h 240104"/>
                <a:gd name="connsiteX12" fmla="*/ 90000 w 300000"/>
                <a:gd name="connsiteY12" fmla="*/ 15000 h 240104"/>
                <a:gd name="connsiteX13" fmla="*/ 75000 w 300000"/>
                <a:gd name="connsiteY13" fmla="*/ 30000 h 240104"/>
                <a:gd name="connsiteX14" fmla="*/ 60000 w 300000"/>
                <a:gd name="connsiteY14" fmla="*/ 30000 h 240104"/>
                <a:gd name="connsiteX15" fmla="*/ 30000 w 300000"/>
                <a:gd name="connsiteY15" fmla="*/ 60000 h 240104"/>
                <a:gd name="connsiteX16" fmla="*/ 30000 w 300000"/>
                <a:gd name="connsiteY16" fmla="*/ 180104 h 240104"/>
                <a:gd name="connsiteX17" fmla="*/ 60000 w 300000"/>
                <a:gd name="connsiteY17" fmla="*/ 210104 h 240104"/>
                <a:gd name="connsiteX18" fmla="*/ 240000 w 300000"/>
                <a:gd name="connsiteY18" fmla="*/ 210104 h 240104"/>
                <a:gd name="connsiteX19" fmla="*/ 270000 w 300000"/>
                <a:gd name="connsiteY19" fmla="*/ 180104 h 240104"/>
                <a:gd name="connsiteX20" fmla="*/ 270000 w 300000"/>
                <a:gd name="connsiteY20" fmla="*/ 60104 h 240104"/>
                <a:gd name="connsiteX21" fmla="*/ 240000 w 300000"/>
                <a:gd name="connsiteY21" fmla="*/ 30104 h 240104"/>
                <a:gd name="connsiteX22" fmla="*/ 225000 w 300000"/>
                <a:gd name="connsiteY22" fmla="*/ 30104 h 24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0000" h="240104">
                  <a:moveTo>
                    <a:pt x="225000" y="30104"/>
                  </a:moveTo>
                  <a:cubicBezTo>
                    <a:pt x="216716" y="30104"/>
                    <a:pt x="210000" y="23388"/>
                    <a:pt x="210000" y="15104"/>
                  </a:cubicBezTo>
                  <a:cubicBezTo>
                    <a:pt x="210000" y="6820"/>
                    <a:pt x="216716" y="104"/>
                    <a:pt x="225000" y="104"/>
                  </a:cubicBezTo>
                  <a:lnTo>
                    <a:pt x="240000" y="104"/>
                  </a:lnTo>
                  <a:cubicBezTo>
                    <a:pt x="273137" y="104"/>
                    <a:pt x="300000" y="26967"/>
                    <a:pt x="300000" y="60104"/>
                  </a:cubicBezTo>
                  <a:lnTo>
                    <a:pt x="300000" y="180104"/>
                  </a:lnTo>
                  <a:cubicBezTo>
                    <a:pt x="300000" y="213241"/>
                    <a:pt x="273137" y="240104"/>
                    <a:pt x="240000" y="240104"/>
                  </a:cubicBezTo>
                  <a:lnTo>
                    <a:pt x="60000" y="240104"/>
                  </a:lnTo>
                  <a:cubicBezTo>
                    <a:pt x="26863" y="240104"/>
                    <a:pt x="0" y="213241"/>
                    <a:pt x="0" y="180104"/>
                  </a:cubicBezTo>
                  <a:lnTo>
                    <a:pt x="0" y="60000"/>
                  </a:lnTo>
                  <a:cubicBezTo>
                    <a:pt x="0" y="26863"/>
                    <a:pt x="26863" y="0"/>
                    <a:pt x="60000" y="0"/>
                  </a:cubicBezTo>
                  <a:lnTo>
                    <a:pt x="75000" y="0"/>
                  </a:lnTo>
                  <a:cubicBezTo>
                    <a:pt x="83284" y="0"/>
                    <a:pt x="90000" y="6716"/>
                    <a:pt x="90000" y="15000"/>
                  </a:cubicBezTo>
                  <a:cubicBezTo>
                    <a:pt x="90000" y="23284"/>
                    <a:pt x="83284" y="30000"/>
                    <a:pt x="75000" y="30000"/>
                  </a:cubicBezTo>
                  <a:lnTo>
                    <a:pt x="60000" y="30000"/>
                  </a:lnTo>
                  <a:cubicBezTo>
                    <a:pt x="43431" y="30000"/>
                    <a:pt x="30000" y="43431"/>
                    <a:pt x="30000" y="60000"/>
                  </a:cubicBezTo>
                  <a:lnTo>
                    <a:pt x="30000" y="180104"/>
                  </a:lnTo>
                  <a:cubicBezTo>
                    <a:pt x="30000" y="196673"/>
                    <a:pt x="43431" y="210104"/>
                    <a:pt x="60000" y="210104"/>
                  </a:cubicBezTo>
                  <a:lnTo>
                    <a:pt x="240000" y="210104"/>
                  </a:lnTo>
                  <a:cubicBezTo>
                    <a:pt x="256569" y="210104"/>
                    <a:pt x="270000" y="196673"/>
                    <a:pt x="270000" y="180104"/>
                  </a:cubicBezTo>
                  <a:lnTo>
                    <a:pt x="270000" y="60104"/>
                  </a:lnTo>
                  <a:cubicBezTo>
                    <a:pt x="270000" y="43536"/>
                    <a:pt x="256569" y="30104"/>
                    <a:pt x="240000" y="30104"/>
                  </a:cubicBezTo>
                  <a:lnTo>
                    <a:pt x="225000" y="30104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7" name="Полилиния 1216">
              <a:extLst>
                <a:ext uri="{FF2B5EF4-FFF2-40B4-BE49-F238E27FC236}">
                  <a16:creationId xmlns:a16="http://schemas.microsoft.com/office/drawing/2014/main" id="{29954A67-66D1-5746-B256-C45A998B7C12}"/>
                </a:ext>
              </a:extLst>
            </p:cNvPr>
            <p:cNvSpPr/>
            <p:nvPr/>
          </p:nvSpPr>
          <p:spPr>
            <a:xfrm>
              <a:off x="9876919" y="4255091"/>
              <a:ext cx="119999" cy="74999"/>
            </a:xfrm>
            <a:custGeom>
              <a:avLst/>
              <a:gdLst>
                <a:gd name="connsiteX0" fmla="*/ 94394 w 119999"/>
                <a:gd name="connsiteY0" fmla="*/ 4393 h 74999"/>
                <a:gd name="connsiteX1" fmla="*/ 115607 w 119999"/>
                <a:gd name="connsiteY1" fmla="*/ 4393 h 74999"/>
                <a:gd name="connsiteX2" fmla="*/ 115607 w 119999"/>
                <a:gd name="connsiteY2" fmla="*/ 25606 h 74999"/>
                <a:gd name="connsiteX3" fmla="*/ 70607 w 119999"/>
                <a:gd name="connsiteY3" fmla="*/ 70606 h 74999"/>
                <a:gd name="connsiteX4" fmla="*/ 49394 w 119999"/>
                <a:gd name="connsiteY4" fmla="*/ 70606 h 74999"/>
                <a:gd name="connsiteX5" fmla="*/ 4393 w 119999"/>
                <a:gd name="connsiteY5" fmla="*/ 25606 h 74999"/>
                <a:gd name="connsiteX6" fmla="*/ 4393 w 119999"/>
                <a:gd name="connsiteY6" fmla="*/ 4393 h 74999"/>
                <a:gd name="connsiteX7" fmla="*/ 25607 w 119999"/>
                <a:gd name="connsiteY7" fmla="*/ 4393 h 74999"/>
                <a:gd name="connsiteX8" fmla="*/ 60000 w 119999"/>
                <a:gd name="connsiteY8" fmla="*/ 38787 h 74999"/>
                <a:gd name="connsiteX9" fmla="*/ 94394 w 119999"/>
                <a:gd name="connsiteY9" fmla="*/ 4393 h 7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74999">
                  <a:moveTo>
                    <a:pt x="94394" y="4393"/>
                  </a:moveTo>
                  <a:cubicBezTo>
                    <a:pt x="100251" y="-1464"/>
                    <a:pt x="109749" y="-1464"/>
                    <a:pt x="115607" y="4393"/>
                  </a:cubicBezTo>
                  <a:cubicBezTo>
                    <a:pt x="121464" y="10251"/>
                    <a:pt x="121464" y="19749"/>
                    <a:pt x="115607" y="25606"/>
                  </a:cubicBezTo>
                  <a:lnTo>
                    <a:pt x="70607" y="70606"/>
                  </a:lnTo>
                  <a:cubicBezTo>
                    <a:pt x="64749" y="76464"/>
                    <a:pt x="55251" y="76464"/>
                    <a:pt x="49394" y="70606"/>
                  </a:cubicBezTo>
                  <a:lnTo>
                    <a:pt x="4393" y="25606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7" y="4393"/>
                  </a:cubicBezTo>
                  <a:lnTo>
                    <a:pt x="60000" y="38787"/>
                  </a:lnTo>
                  <a:lnTo>
                    <a:pt x="94394" y="439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18" name="Рисунок 278">
            <a:extLst>
              <a:ext uri="{FF2B5EF4-FFF2-40B4-BE49-F238E27FC236}">
                <a16:creationId xmlns:a16="http://schemas.microsoft.com/office/drawing/2014/main" id="{9B0FEE68-4F65-644B-BC50-7494F9917C90}"/>
              </a:ext>
            </a:extLst>
          </p:cNvPr>
          <p:cNvGrpSpPr/>
          <p:nvPr/>
        </p:nvGrpSpPr>
        <p:grpSpPr>
          <a:xfrm>
            <a:off x="6702935" y="3788369"/>
            <a:ext cx="360000" cy="360000"/>
            <a:chOff x="6736388" y="4105091"/>
            <a:chExt cx="360000" cy="360000"/>
          </a:xfrm>
        </p:grpSpPr>
        <p:sp>
          <p:nvSpPr>
            <p:cNvPr id="1219" name="Полилиния 1218">
              <a:extLst>
                <a:ext uri="{FF2B5EF4-FFF2-40B4-BE49-F238E27FC236}">
                  <a16:creationId xmlns:a16="http://schemas.microsoft.com/office/drawing/2014/main" id="{AEF60BCE-C3DF-9845-96F6-A0A61115853A}"/>
                </a:ext>
              </a:extLst>
            </p:cNvPr>
            <p:cNvSpPr/>
            <p:nvPr/>
          </p:nvSpPr>
          <p:spPr>
            <a:xfrm>
              <a:off x="6736388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0" name="Полилиния 1219">
              <a:extLst>
                <a:ext uri="{FF2B5EF4-FFF2-40B4-BE49-F238E27FC236}">
                  <a16:creationId xmlns:a16="http://schemas.microsoft.com/office/drawing/2014/main" id="{BBABC946-E977-9C4B-857C-EAB61B2A7791}"/>
                </a:ext>
              </a:extLst>
            </p:cNvPr>
            <p:cNvSpPr/>
            <p:nvPr/>
          </p:nvSpPr>
          <p:spPr>
            <a:xfrm>
              <a:off x="6766388" y="4360091"/>
              <a:ext cx="300000" cy="90000"/>
            </a:xfrm>
            <a:custGeom>
              <a:avLst/>
              <a:gdLst>
                <a:gd name="connsiteX0" fmla="*/ 300000 w 300000"/>
                <a:gd name="connsiteY0" fmla="*/ 0 h 90000"/>
                <a:gd name="connsiteX1" fmla="*/ 300000 w 300000"/>
                <a:gd name="connsiteY1" fmla="*/ 60000 h 90000"/>
                <a:gd name="connsiteX2" fmla="*/ 270000 w 300000"/>
                <a:gd name="connsiteY2" fmla="*/ 90000 h 90000"/>
                <a:gd name="connsiteX3" fmla="*/ 30000 w 300000"/>
                <a:gd name="connsiteY3" fmla="*/ 90000 h 90000"/>
                <a:gd name="connsiteX4" fmla="*/ 0 w 300000"/>
                <a:gd name="connsiteY4" fmla="*/ 60000 h 90000"/>
                <a:gd name="connsiteX5" fmla="*/ 0 w 300000"/>
                <a:gd name="connsiteY5" fmla="*/ 0 h 90000"/>
                <a:gd name="connsiteX6" fmla="*/ 64189 w 300000"/>
                <a:gd name="connsiteY6" fmla="*/ 0 h 90000"/>
                <a:gd name="connsiteX7" fmla="*/ 72351 w 300000"/>
                <a:gd name="connsiteY7" fmla="*/ 24487 h 90000"/>
                <a:gd name="connsiteX8" fmla="*/ 100811 w 300000"/>
                <a:gd name="connsiteY8" fmla="*/ 45000 h 90000"/>
                <a:gd name="connsiteX9" fmla="*/ 200730 w 300000"/>
                <a:gd name="connsiteY9" fmla="*/ 45000 h 90000"/>
                <a:gd name="connsiteX10" fmla="*/ 227562 w 300000"/>
                <a:gd name="connsiteY10" fmla="*/ 28416 h 90000"/>
                <a:gd name="connsiteX11" fmla="*/ 241770 w 300000"/>
                <a:gd name="connsiteY11" fmla="*/ 0 h 90000"/>
                <a:gd name="connsiteX12" fmla="*/ 300000 w 300000"/>
                <a:gd name="connsiteY12" fmla="*/ 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0000" h="90000">
                  <a:moveTo>
                    <a:pt x="300000" y="0"/>
                  </a:moveTo>
                  <a:lnTo>
                    <a:pt x="300000" y="60000"/>
                  </a:lnTo>
                  <a:cubicBezTo>
                    <a:pt x="300000" y="76569"/>
                    <a:pt x="286569" y="90000"/>
                    <a:pt x="270000" y="90000"/>
                  </a:cubicBezTo>
                  <a:lnTo>
                    <a:pt x="30000" y="90000"/>
                  </a:lnTo>
                  <a:cubicBezTo>
                    <a:pt x="13431" y="90000"/>
                    <a:pt x="0" y="76569"/>
                    <a:pt x="0" y="60000"/>
                  </a:cubicBezTo>
                  <a:lnTo>
                    <a:pt x="0" y="0"/>
                  </a:lnTo>
                  <a:lnTo>
                    <a:pt x="64189" y="0"/>
                  </a:lnTo>
                  <a:lnTo>
                    <a:pt x="72351" y="24487"/>
                  </a:lnTo>
                  <a:cubicBezTo>
                    <a:pt x="76434" y="36737"/>
                    <a:pt x="87899" y="45000"/>
                    <a:pt x="100811" y="45000"/>
                  </a:cubicBezTo>
                  <a:lnTo>
                    <a:pt x="200730" y="45000"/>
                  </a:lnTo>
                  <a:cubicBezTo>
                    <a:pt x="212093" y="45000"/>
                    <a:pt x="222480" y="38580"/>
                    <a:pt x="227562" y="28416"/>
                  </a:cubicBezTo>
                  <a:lnTo>
                    <a:pt x="241770" y="0"/>
                  </a:lnTo>
                  <a:lnTo>
                    <a:pt x="300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1" name="Полилиния 1220">
              <a:extLst>
                <a:ext uri="{FF2B5EF4-FFF2-40B4-BE49-F238E27FC236}">
                  <a16:creationId xmlns:a16="http://schemas.microsoft.com/office/drawing/2014/main" id="{112CB508-29FA-2D4F-9CCA-E3771C000D76}"/>
                </a:ext>
              </a:extLst>
            </p:cNvPr>
            <p:cNvSpPr/>
            <p:nvPr/>
          </p:nvSpPr>
          <p:spPr>
            <a:xfrm>
              <a:off x="6774825" y="4225091"/>
              <a:ext cx="283125" cy="150000"/>
            </a:xfrm>
            <a:custGeom>
              <a:avLst/>
              <a:gdLst>
                <a:gd name="connsiteX0" fmla="*/ 0 w 283125"/>
                <a:gd name="connsiteY0" fmla="*/ 105000 h 150000"/>
                <a:gd name="connsiteX1" fmla="*/ 50461 w 283125"/>
                <a:gd name="connsiteY1" fmla="*/ 15292 h 150000"/>
                <a:gd name="connsiteX2" fmla="*/ 76608 w 283125"/>
                <a:gd name="connsiteY2" fmla="*/ 0 h 150000"/>
                <a:gd name="connsiteX3" fmla="*/ 206517 w 283125"/>
                <a:gd name="connsiteY3" fmla="*/ 0 h 150000"/>
                <a:gd name="connsiteX4" fmla="*/ 232665 w 283125"/>
                <a:gd name="connsiteY4" fmla="*/ 15292 h 150000"/>
                <a:gd name="connsiteX5" fmla="*/ 283125 w 283125"/>
                <a:gd name="connsiteY5" fmla="*/ 105000 h 150000"/>
                <a:gd name="connsiteX6" fmla="*/ 233333 w 283125"/>
                <a:gd name="connsiteY6" fmla="*/ 105000 h 150000"/>
                <a:gd name="connsiteX7" fmla="*/ 206501 w 283125"/>
                <a:gd name="connsiteY7" fmla="*/ 121584 h 150000"/>
                <a:gd name="connsiteX8" fmla="*/ 192293 w 283125"/>
                <a:gd name="connsiteY8" fmla="*/ 150000 h 150000"/>
                <a:gd name="connsiteX9" fmla="*/ 92374 w 283125"/>
                <a:gd name="connsiteY9" fmla="*/ 150000 h 150000"/>
                <a:gd name="connsiteX10" fmla="*/ 84212 w 283125"/>
                <a:gd name="connsiteY10" fmla="*/ 125513 h 150000"/>
                <a:gd name="connsiteX11" fmla="*/ 55751 w 283125"/>
                <a:gd name="connsiteY11" fmla="*/ 105000 h 150000"/>
                <a:gd name="connsiteX12" fmla="*/ 0 w 283125"/>
                <a:gd name="connsiteY12" fmla="*/ 10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125" h="150000">
                  <a:moveTo>
                    <a:pt x="0" y="105000"/>
                  </a:moveTo>
                  <a:lnTo>
                    <a:pt x="50461" y="15292"/>
                  </a:lnTo>
                  <a:cubicBezTo>
                    <a:pt x="55774" y="5846"/>
                    <a:pt x="65770" y="0"/>
                    <a:pt x="76608" y="0"/>
                  </a:cubicBezTo>
                  <a:lnTo>
                    <a:pt x="206517" y="0"/>
                  </a:lnTo>
                  <a:cubicBezTo>
                    <a:pt x="217356" y="0"/>
                    <a:pt x="227351" y="5846"/>
                    <a:pt x="232665" y="15292"/>
                  </a:cubicBezTo>
                  <a:lnTo>
                    <a:pt x="283125" y="105000"/>
                  </a:lnTo>
                  <a:lnTo>
                    <a:pt x="233333" y="105000"/>
                  </a:lnTo>
                  <a:cubicBezTo>
                    <a:pt x="221970" y="105000"/>
                    <a:pt x="211582" y="111420"/>
                    <a:pt x="206501" y="121584"/>
                  </a:cubicBezTo>
                  <a:lnTo>
                    <a:pt x="192293" y="150000"/>
                  </a:lnTo>
                  <a:lnTo>
                    <a:pt x="92374" y="150000"/>
                  </a:lnTo>
                  <a:lnTo>
                    <a:pt x="84212" y="125513"/>
                  </a:lnTo>
                  <a:cubicBezTo>
                    <a:pt x="80128" y="113264"/>
                    <a:pt x="68664" y="105000"/>
                    <a:pt x="55751" y="105000"/>
                  </a:cubicBezTo>
                  <a:lnTo>
                    <a:pt x="0" y="10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2" name="Полилиния 1221">
              <a:extLst>
                <a:ext uri="{FF2B5EF4-FFF2-40B4-BE49-F238E27FC236}">
                  <a16:creationId xmlns:a16="http://schemas.microsoft.com/office/drawing/2014/main" id="{57A661A3-3922-0542-9F45-9ADFC700C974}"/>
                </a:ext>
              </a:extLst>
            </p:cNvPr>
            <p:cNvSpPr/>
            <p:nvPr/>
          </p:nvSpPr>
          <p:spPr>
            <a:xfrm rot="5400000">
              <a:off x="6862578" y="4110514"/>
              <a:ext cx="105200" cy="104043"/>
            </a:xfrm>
            <a:custGeom>
              <a:avLst/>
              <a:gdLst>
                <a:gd name="connsiteX0" fmla="*/ 37615 w 105200"/>
                <a:gd name="connsiteY0" fmla="*/ 7500 h 104043"/>
                <a:gd name="connsiteX1" fmla="*/ 37615 w 105200"/>
                <a:gd name="connsiteY1" fmla="*/ 36847 h 104043"/>
                <a:gd name="connsiteX2" fmla="*/ 7500 w 105200"/>
                <a:gd name="connsiteY2" fmla="*/ 36847 h 104043"/>
                <a:gd name="connsiteX3" fmla="*/ 0 w 105200"/>
                <a:gd name="connsiteY3" fmla="*/ 44347 h 104043"/>
                <a:gd name="connsiteX4" fmla="*/ 0 w 105200"/>
                <a:gd name="connsiteY4" fmla="*/ 59697 h 104043"/>
                <a:gd name="connsiteX5" fmla="*/ 7500 w 105200"/>
                <a:gd name="connsiteY5" fmla="*/ 67197 h 104043"/>
                <a:gd name="connsiteX6" fmla="*/ 37615 w 105200"/>
                <a:gd name="connsiteY6" fmla="*/ 67197 h 104043"/>
                <a:gd name="connsiteX7" fmla="*/ 37615 w 105200"/>
                <a:gd name="connsiteY7" fmla="*/ 96544 h 104043"/>
                <a:gd name="connsiteX8" fmla="*/ 45115 w 105200"/>
                <a:gd name="connsiteY8" fmla="*/ 104044 h 104043"/>
                <a:gd name="connsiteX9" fmla="*/ 49962 w 105200"/>
                <a:gd name="connsiteY9" fmla="*/ 102268 h 104043"/>
                <a:gd name="connsiteX10" fmla="*/ 102546 w 105200"/>
                <a:gd name="connsiteY10" fmla="*/ 57746 h 104043"/>
                <a:gd name="connsiteX11" fmla="*/ 103423 w 105200"/>
                <a:gd name="connsiteY11" fmla="*/ 47176 h 104043"/>
                <a:gd name="connsiteX12" fmla="*/ 102546 w 105200"/>
                <a:gd name="connsiteY12" fmla="*/ 46298 h 104043"/>
                <a:gd name="connsiteX13" fmla="*/ 49962 w 105200"/>
                <a:gd name="connsiteY13" fmla="*/ 1776 h 104043"/>
                <a:gd name="connsiteX14" fmla="*/ 39391 w 105200"/>
                <a:gd name="connsiteY14" fmla="*/ 2654 h 104043"/>
                <a:gd name="connsiteX15" fmla="*/ 37615 w 105200"/>
                <a:gd name="connsiteY15" fmla="*/ 7500 h 10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200" h="104043">
                  <a:moveTo>
                    <a:pt x="37615" y="7500"/>
                  </a:moveTo>
                  <a:lnTo>
                    <a:pt x="37615" y="36847"/>
                  </a:lnTo>
                  <a:lnTo>
                    <a:pt x="7500" y="36847"/>
                  </a:lnTo>
                  <a:cubicBezTo>
                    <a:pt x="3358" y="36847"/>
                    <a:pt x="0" y="40205"/>
                    <a:pt x="0" y="44347"/>
                  </a:cubicBezTo>
                  <a:lnTo>
                    <a:pt x="0" y="59697"/>
                  </a:lnTo>
                  <a:cubicBezTo>
                    <a:pt x="0" y="63839"/>
                    <a:pt x="3358" y="67197"/>
                    <a:pt x="7500" y="67197"/>
                  </a:cubicBezTo>
                  <a:lnTo>
                    <a:pt x="37615" y="67197"/>
                  </a:lnTo>
                  <a:lnTo>
                    <a:pt x="37615" y="96544"/>
                  </a:lnTo>
                  <a:cubicBezTo>
                    <a:pt x="37615" y="100686"/>
                    <a:pt x="40972" y="104044"/>
                    <a:pt x="45115" y="104044"/>
                  </a:cubicBezTo>
                  <a:cubicBezTo>
                    <a:pt x="46890" y="104044"/>
                    <a:pt x="48607" y="103415"/>
                    <a:pt x="49962" y="102268"/>
                  </a:cubicBezTo>
                  <a:lnTo>
                    <a:pt x="102546" y="57746"/>
                  </a:lnTo>
                  <a:cubicBezTo>
                    <a:pt x="105708" y="55070"/>
                    <a:pt x="106101" y="50337"/>
                    <a:pt x="103423" y="47176"/>
                  </a:cubicBezTo>
                  <a:cubicBezTo>
                    <a:pt x="103156" y="46860"/>
                    <a:pt x="102862" y="46566"/>
                    <a:pt x="102546" y="46298"/>
                  </a:cubicBezTo>
                  <a:lnTo>
                    <a:pt x="49962" y="1776"/>
                  </a:lnTo>
                  <a:cubicBezTo>
                    <a:pt x="46800" y="-900"/>
                    <a:pt x="42067" y="-507"/>
                    <a:pt x="39391" y="2654"/>
                  </a:cubicBezTo>
                  <a:cubicBezTo>
                    <a:pt x="38244" y="4008"/>
                    <a:pt x="37615" y="5726"/>
                    <a:pt x="37615" y="75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23" name="Рисунок 279">
            <a:extLst>
              <a:ext uri="{FF2B5EF4-FFF2-40B4-BE49-F238E27FC236}">
                <a16:creationId xmlns:a16="http://schemas.microsoft.com/office/drawing/2014/main" id="{790B03EC-A1F3-C445-8416-02658D013869}"/>
              </a:ext>
            </a:extLst>
          </p:cNvPr>
          <p:cNvGrpSpPr/>
          <p:nvPr/>
        </p:nvGrpSpPr>
        <p:grpSpPr>
          <a:xfrm>
            <a:off x="8213201" y="3788369"/>
            <a:ext cx="360000" cy="360000"/>
            <a:chOff x="8246654" y="4105091"/>
            <a:chExt cx="360000" cy="360000"/>
          </a:xfrm>
        </p:grpSpPr>
        <p:sp>
          <p:nvSpPr>
            <p:cNvPr id="1224" name="Полилиния 1223">
              <a:extLst>
                <a:ext uri="{FF2B5EF4-FFF2-40B4-BE49-F238E27FC236}">
                  <a16:creationId xmlns:a16="http://schemas.microsoft.com/office/drawing/2014/main" id="{1592C050-E90E-3142-9A65-41DA33D47C7F}"/>
                </a:ext>
              </a:extLst>
            </p:cNvPr>
            <p:cNvSpPr/>
            <p:nvPr/>
          </p:nvSpPr>
          <p:spPr>
            <a:xfrm>
              <a:off x="8246654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5" name="Полилиния 1224">
              <a:extLst>
                <a:ext uri="{FF2B5EF4-FFF2-40B4-BE49-F238E27FC236}">
                  <a16:creationId xmlns:a16="http://schemas.microsoft.com/office/drawing/2014/main" id="{613FD991-4A1A-324D-9866-BFE3F1BDF2C4}"/>
                </a:ext>
              </a:extLst>
            </p:cNvPr>
            <p:cNvSpPr/>
            <p:nvPr/>
          </p:nvSpPr>
          <p:spPr>
            <a:xfrm>
              <a:off x="8327843" y="4191332"/>
              <a:ext cx="87368" cy="87369"/>
            </a:xfrm>
            <a:custGeom>
              <a:avLst/>
              <a:gdLst>
                <a:gd name="connsiteX0" fmla="*/ 66717 w 87368"/>
                <a:gd name="connsiteY0" fmla="*/ 3933 h 87369"/>
                <a:gd name="connsiteX1" fmla="*/ 71193 w 87368"/>
                <a:gd name="connsiteY1" fmla="*/ 1782 h 87369"/>
                <a:gd name="connsiteX2" fmla="*/ 79474 w 87368"/>
                <a:gd name="connsiteY2" fmla="*/ 8408 h 87369"/>
                <a:gd name="connsiteX3" fmla="*/ 87324 w 87368"/>
                <a:gd name="connsiteY3" fmla="*/ 79041 h 87369"/>
                <a:gd name="connsiteX4" fmla="*/ 87324 w 87368"/>
                <a:gd name="connsiteY4" fmla="*/ 80697 h 87369"/>
                <a:gd name="connsiteX5" fmla="*/ 79041 w 87368"/>
                <a:gd name="connsiteY5" fmla="*/ 87324 h 87369"/>
                <a:gd name="connsiteX6" fmla="*/ 8408 w 87368"/>
                <a:gd name="connsiteY6" fmla="*/ 79474 h 87369"/>
                <a:gd name="connsiteX7" fmla="*/ 3933 w 87368"/>
                <a:gd name="connsiteY7" fmla="*/ 77325 h 87369"/>
                <a:gd name="connsiteX8" fmla="*/ 3933 w 87368"/>
                <a:gd name="connsiteY8" fmla="*/ 66718 h 87369"/>
                <a:gd name="connsiteX9" fmla="*/ 24719 w 87368"/>
                <a:gd name="connsiteY9" fmla="*/ 45932 h 87369"/>
                <a:gd name="connsiteX10" fmla="*/ 2197 w 87368"/>
                <a:gd name="connsiteY10" fmla="*/ 23410 h 87369"/>
                <a:gd name="connsiteX11" fmla="*/ 2197 w 87368"/>
                <a:gd name="connsiteY11" fmla="*/ 12803 h 87369"/>
                <a:gd name="connsiteX12" fmla="*/ 12803 w 87368"/>
                <a:gd name="connsiteY12" fmla="*/ 2197 h 87369"/>
                <a:gd name="connsiteX13" fmla="*/ 23410 w 87368"/>
                <a:gd name="connsiteY13" fmla="*/ 2197 h 87369"/>
                <a:gd name="connsiteX14" fmla="*/ 45932 w 87368"/>
                <a:gd name="connsiteY14" fmla="*/ 24719 h 87369"/>
                <a:gd name="connsiteX15" fmla="*/ 66717 w 87368"/>
                <a:gd name="connsiteY15" fmla="*/ 3933 h 8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7368" h="87369">
                  <a:moveTo>
                    <a:pt x="66717" y="3933"/>
                  </a:moveTo>
                  <a:cubicBezTo>
                    <a:pt x="67922" y="2729"/>
                    <a:pt x="69501" y="1970"/>
                    <a:pt x="71193" y="1782"/>
                  </a:cubicBezTo>
                  <a:cubicBezTo>
                    <a:pt x="75309" y="1325"/>
                    <a:pt x="79018" y="4291"/>
                    <a:pt x="79474" y="8408"/>
                  </a:cubicBezTo>
                  <a:lnTo>
                    <a:pt x="87324" y="79041"/>
                  </a:lnTo>
                  <a:cubicBezTo>
                    <a:pt x="87384" y="79591"/>
                    <a:pt x="87384" y="80146"/>
                    <a:pt x="87324" y="80697"/>
                  </a:cubicBezTo>
                  <a:cubicBezTo>
                    <a:pt x="86866" y="84814"/>
                    <a:pt x="83157" y="87780"/>
                    <a:pt x="79041" y="87324"/>
                  </a:cubicBezTo>
                  <a:lnTo>
                    <a:pt x="8408" y="79474"/>
                  </a:lnTo>
                  <a:cubicBezTo>
                    <a:pt x="6715" y="79287"/>
                    <a:pt x="5137" y="78528"/>
                    <a:pt x="3933" y="77325"/>
                  </a:cubicBezTo>
                  <a:cubicBezTo>
                    <a:pt x="1004" y="74395"/>
                    <a:pt x="1004" y="69646"/>
                    <a:pt x="3933" y="66718"/>
                  </a:cubicBezTo>
                  <a:lnTo>
                    <a:pt x="24719" y="45932"/>
                  </a:lnTo>
                  <a:lnTo>
                    <a:pt x="2197" y="23410"/>
                  </a:lnTo>
                  <a:cubicBezTo>
                    <a:pt x="-732" y="20481"/>
                    <a:pt x="-732" y="15732"/>
                    <a:pt x="2197" y="12803"/>
                  </a:cubicBezTo>
                  <a:lnTo>
                    <a:pt x="12803" y="2197"/>
                  </a:lnTo>
                  <a:cubicBezTo>
                    <a:pt x="15732" y="-732"/>
                    <a:pt x="20481" y="-732"/>
                    <a:pt x="23410" y="2197"/>
                  </a:cubicBezTo>
                  <a:lnTo>
                    <a:pt x="45932" y="24719"/>
                  </a:lnTo>
                  <a:lnTo>
                    <a:pt x="66717" y="3933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6" name="Полилиния 1225">
              <a:extLst>
                <a:ext uri="{FF2B5EF4-FFF2-40B4-BE49-F238E27FC236}">
                  <a16:creationId xmlns:a16="http://schemas.microsoft.com/office/drawing/2014/main" id="{961F5E67-D31C-5A44-BD8A-40C9E9CF2445}"/>
                </a:ext>
              </a:extLst>
            </p:cNvPr>
            <p:cNvSpPr/>
            <p:nvPr/>
          </p:nvSpPr>
          <p:spPr>
            <a:xfrm>
              <a:off x="8312880" y="4177596"/>
              <a:ext cx="233912" cy="227060"/>
            </a:xfrm>
            <a:custGeom>
              <a:avLst/>
              <a:gdLst>
                <a:gd name="connsiteX0" fmla="*/ 114974 w 233912"/>
                <a:gd name="connsiteY0" fmla="*/ 149255 h 227060"/>
                <a:gd name="connsiteX1" fmla="*/ 148034 w 233912"/>
                <a:gd name="connsiteY1" fmla="*/ 116195 h 227060"/>
                <a:gd name="connsiteX2" fmla="*/ 153653 w 233912"/>
                <a:gd name="connsiteY2" fmla="*/ 81564 h 227060"/>
                <a:gd name="connsiteX3" fmla="*/ 151781 w 233912"/>
                <a:gd name="connsiteY3" fmla="*/ 77819 h 227060"/>
                <a:gd name="connsiteX4" fmla="*/ 157400 w 233912"/>
                <a:gd name="connsiteY4" fmla="*/ 43189 h 227060"/>
                <a:gd name="connsiteX5" fmla="*/ 198392 w 233912"/>
                <a:gd name="connsiteY5" fmla="*/ 2197 h 227060"/>
                <a:gd name="connsiteX6" fmla="*/ 208998 w 233912"/>
                <a:gd name="connsiteY6" fmla="*/ 2197 h 227060"/>
                <a:gd name="connsiteX7" fmla="*/ 210404 w 233912"/>
                <a:gd name="connsiteY7" fmla="*/ 4146 h 227060"/>
                <a:gd name="connsiteX8" fmla="*/ 226962 w 233912"/>
                <a:gd name="connsiteY8" fmla="*/ 37265 h 227060"/>
                <a:gd name="connsiteX9" fmla="*/ 214635 w 233912"/>
                <a:gd name="connsiteY9" fmla="*/ 113232 h 227060"/>
                <a:gd name="connsiteX10" fmla="*/ 124653 w 233912"/>
                <a:gd name="connsiteY10" fmla="*/ 203214 h 227060"/>
                <a:gd name="connsiteX11" fmla="*/ 41347 w 233912"/>
                <a:gd name="connsiteY11" fmla="*/ 222881 h 227060"/>
                <a:gd name="connsiteX12" fmla="*/ 5130 w 233912"/>
                <a:gd name="connsiteY12" fmla="*/ 210809 h 227060"/>
                <a:gd name="connsiteX13" fmla="*/ 387 w 233912"/>
                <a:gd name="connsiteY13" fmla="*/ 201321 h 227060"/>
                <a:gd name="connsiteX14" fmla="*/ 2199 w 233912"/>
                <a:gd name="connsiteY14" fmla="*/ 198390 h 227060"/>
                <a:gd name="connsiteX15" fmla="*/ 41968 w 233912"/>
                <a:gd name="connsiteY15" fmla="*/ 158621 h 227060"/>
                <a:gd name="connsiteX16" fmla="*/ 76597 w 233912"/>
                <a:gd name="connsiteY16" fmla="*/ 153002 h 227060"/>
                <a:gd name="connsiteX17" fmla="*/ 80344 w 233912"/>
                <a:gd name="connsiteY17" fmla="*/ 154874 h 227060"/>
                <a:gd name="connsiteX18" fmla="*/ 114974 w 233912"/>
                <a:gd name="connsiteY18" fmla="*/ 149255 h 227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3912" h="227060">
                  <a:moveTo>
                    <a:pt x="114974" y="149255"/>
                  </a:moveTo>
                  <a:lnTo>
                    <a:pt x="148034" y="116195"/>
                  </a:lnTo>
                  <a:cubicBezTo>
                    <a:pt x="157164" y="107063"/>
                    <a:pt x="159428" y="93114"/>
                    <a:pt x="153653" y="81564"/>
                  </a:cubicBezTo>
                  <a:lnTo>
                    <a:pt x="151781" y="77819"/>
                  </a:lnTo>
                  <a:cubicBezTo>
                    <a:pt x="146006" y="66269"/>
                    <a:pt x="148269" y="52320"/>
                    <a:pt x="157400" y="43189"/>
                  </a:cubicBezTo>
                  <a:lnTo>
                    <a:pt x="198392" y="2197"/>
                  </a:lnTo>
                  <a:cubicBezTo>
                    <a:pt x="201321" y="-732"/>
                    <a:pt x="206069" y="-732"/>
                    <a:pt x="208998" y="2197"/>
                  </a:cubicBezTo>
                  <a:cubicBezTo>
                    <a:pt x="209568" y="2767"/>
                    <a:pt x="210042" y="3425"/>
                    <a:pt x="210404" y="4146"/>
                  </a:cubicBezTo>
                  <a:lnTo>
                    <a:pt x="226962" y="37265"/>
                  </a:lnTo>
                  <a:cubicBezTo>
                    <a:pt x="239631" y="62602"/>
                    <a:pt x="234665" y="93203"/>
                    <a:pt x="214635" y="113232"/>
                  </a:cubicBezTo>
                  <a:lnTo>
                    <a:pt x="124653" y="203214"/>
                  </a:lnTo>
                  <a:cubicBezTo>
                    <a:pt x="102849" y="225018"/>
                    <a:pt x="70599" y="232631"/>
                    <a:pt x="41347" y="222881"/>
                  </a:cubicBezTo>
                  <a:lnTo>
                    <a:pt x="5130" y="210809"/>
                  </a:lnTo>
                  <a:cubicBezTo>
                    <a:pt x="1201" y="209498"/>
                    <a:pt x="-923" y="205251"/>
                    <a:pt x="387" y="201321"/>
                  </a:cubicBezTo>
                  <a:cubicBezTo>
                    <a:pt x="755" y="200217"/>
                    <a:pt x="1375" y="199214"/>
                    <a:pt x="2199" y="198390"/>
                  </a:cubicBezTo>
                  <a:lnTo>
                    <a:pt x="41968" y="158621"/>
                  </a:lnTo>
                  <a:cubicBezTo>
                    <a:pt x="51099" y="149490"/>
                    <a:pt x="65048" y="147227"/>
                    <a:pt x="76597" y="153002"/>
                  </a:cubicBezTo>
                  <a:lnTo>
                    <a:pt x="80344" y="154874"/>
                  </a:lnTo>
                  <a:cubicBezTo>
                    <a:pt x="91893" y="160649"/>
                    <a:pt x="105842" y="158385"/>
                    <a:pt x="114974" y="14925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27" name="Рисунок 280">
            <a:extLst>
              <a:ext uri="{FF2B5EF4-FFF2-40B4-BE49-F238E27FC236}">
                <a16:creationId xmlns:a16="http://schemas.microsoft.com/office/drawing/2014/main" id="{95C82932-29DE-E140-8EDC-F794A221180E}"/>
              </a:ext>
            </a:extLst>
          </p:cNvPr>
          <p:cNvGrpSpPr/>
          <p:nvPr/>
        </p:nvGrpSpPr>
        <p:grpSpPr>
          <a:xfrm>
            <a:off x="5192669" y="3788369"/>
            <a:ext cx="360000" cy="360000"/>
            <a:chOff x="5226122" y="4105091"/>
            <a:chExt cx="360000" cy="360000"/>
          </a:xfrm>
        </p:grpSpPr>
        <p:sp>
          <p:nvSpPr>
            <p:cNvPr id="1228" name="Полилиния 1227">
              <a:extLst>
                <a:ext uri="{FF2B5EF4-FFF2-40B4-BE49-F238E27FC236}">
                  <a16:creationId xmlns:a16="http://schemas.microsoft.com/office/drawing/2014/main" id="{8628E7EB-33C4-D34C-A6E3-8CCBDDDA411A}"/>
                </a:ext>
              </a:extLst>
            </p:cNvPr>
            <p:cNvSpPr/>
            <p:nvPr/>
          </p:nvSpPr>
          <p:spPr>
            <a:xfrm>
              <a:off x="5226122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9" name="Полилиния 1228">
              <a:extLst>
                <a:ext uri="{FF2B5EF4-FFF2-40B4-BE49-F238E27FC236}">
                  <a16:creationId xmlns:a16="http://schemas.microsoft.com/office/drawing/2014/main" id="{DE394A1E-2995-9749-B0AD-E88E59D43408}"/>
                </a:ext>
              </a:extLst>
            </p:cNvPr>
            <p:cNvSpPr/>
            <p:nvPr/>
          </p:nvSpPr>
          <p:spPr>
            <a:xfrm>
              <a:off x="5271122" y="4240091"/>
              <a:ext cx="270000" cy="195000"/>
            </a:xfrm>
            <a:custGeom>
              <a:avLst/>
              <a:gdLst>
                <a:gd name="connsiteX0" fmla="*/ 30000 w 270000"/>
                <a:gd name="connsiteY0" fmla="*/ 0 h 195000"/>
                <a:gd name="connsiteX1" fmla="*/ 240000 w 270000"/>
                <a:gd name="connsiteY1" fmla="*/ 0 h 195000"/>
                <a:gd name="connsiteX2" fmla="*/ 270000 w 270000"/>
                <a:gd name="connsiteY2" fmla="*/ 30000 h 195000"/>
                <a:gd name="connsiteX3" fmla="*/ 270000 w 270000"/>
                <a:gd name="connsiteY3" fmla="*/ 165000 h 195000"/>
                <a:gd name="connsiteX4" fmla="*/ 240000 w 270000"/>
                <a:gd name="connsiteY4" fmla="*/ 195000 h 195000"/>
                <a:gd name="connsiteX5" fmla="*/ 30000 w 270000"/>
                <a:gd name="connsiteY5" fmla="*/ 195000 h 195000"/>
                <a:gd name="connsiteX6" fmla="*/ 0 w 270000"/>
                <a:gd name="connsiteY6" fmla="*/ 165000 h 195000"/>
                <a:gd name="connsiteX7" fmla="*/ 0 w 270000"/>
                <a:gd name="connsiteY7" fmla="*/ 30000 h 195000"/>
                <a:gd name="connsiteX8" fmla="*/ 30000 w 270000"/>
                <a:gd name="connsiteY8" fmla="*/ 0 h 195000"/>
                <a:gd name="connsiteX9" fmla="*/ 227166 w 270000"/>
                <a:gd name="connsiteY9" fmla="*/ 27594 h 195000"/>
                <a:gd name="connsiteX10" fmla="*/ 135000 w 270000"/>
                <a:gd name="connsiteY10" fmla="*/ 77223 h 195000"/>
                <a:gd name="connsiteX11" fmla="*/ 42834 w 270000"/>
                <a:gd name="connsiteY11" fmla="*/ 27594 h 195000"/>
                <a:gd name="connsiteX12" fmla="*/ 27595 w 270000"/>
                <a:gd name="connsiteY12" fmla="*/ 32166 h 195000"/>
                <a:gd name="connsiteX13" fmla="*/ 32166 w 270000"/>
                <a:gd name="connsiteY13" fmla="*/ 47406 h 195000"/>
                <a:gd name="connsiteX14" fmla="*/ 129666 w 270000"/>
                <a:gd name="connsiteY14" fmla="*/ 99906 h 195000"/>
                <a:gd name="connsiteX15" fmla="*/ 140334 w 270000"/>
                <a:gd name="connsiteY15" fmla="*/ 99906 h 195000"/>
                <a:gd name="connsiteX16" fmla="*/ 237834 w 270000"/>
                <a:gd name="connsiteY16" fmla="*/ 47406 h 195000"/>
                <a:gd name="connsiteX17" fmla="*/ 242406 w 270000"/>
                <a:gd name="connsiteY17" fmla="*/ 32166 h 195000"/>
                <a:gd name="connsiteX18" fmla="*/ 227166 w 270000"/>
                <a:gd name="connsiteY18" fmla="*/ 27594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0000" h="195000">
                  <a:moveTo>
                    <a:pt x="30000" y="0"/>
                  </a:move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65000"/>
                  </a:lnTo>
                  <a:cubicBezTo>
                    <a:pt x="270000" y="181569"/>
                    <a:pt x="256569" y="195000"/>
                    <a:pt x="240000" y="195000"/>
                  </a:cubicBezTo>
                  <a:lnTo>
                    <a:pt x="30000" y="195000"/>
                  </a:lnTo>
                  <a:cubicBezTo>
                    <a:pt x="13431" y="195000"/>
                    <a:pt x="0" y="181569"/>
                    <a:pt x="0" y="165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227166" y="27594"/>
                  </a:moveTo>
                  <a:lnTo>
                    <a:pt x="135000" y="77223"/>
                  </a:lnTo>
                  <a:lnTo>
                    <a:pt x="42834" y="27594"/>
                  </a:lnTo>
                  <a:cubicBezTo>
                    <a:pt x="37363" y="24650"/>
                    <a:pt x="30540" y="26696"/>
                    <a:pt x="27595" y="32166"/>
                  </a:cubicBezTo>
                  <a:cubicBezTo>
                    <a:pt x="24649" y="37637"/>
                    <a:pt x="26696" y="44460"/>
                    <a:pt x="32166" y="47406"/>
                  </a:cubicBezTo>
                  <a:lnTo>
                    <a:pt x="129666" y="99906"/>
                  </a:lnTo>
                  <a:cubicBezTo>
                    <a:pt x="132996" y="101698"/>
                    <a:pt x="137004" y="101698"/>
                    <a:pt x="140334" y="99906"/>
                  </a:cubicBezTo>
                  <a:lnTo>
                    <a:pt x="237834" y="47406"/>
                  </a:lnTo>
                  <a:cubicBezTo>
                    <a:pt x="243305" y="44460"/>
                    <a:pt x="245351" y="37637"/>
                    <a:pt x="242406" y="32166"/>
                  </a:cubicBezTo>
                  <a:cubicBezTo>
                    <a:pt x="239460" y="26696"/>
                    <a:pt x="232637" y="24650"/>
                    <a:pt x="227166" y="27594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0" name="Полилиния 1229">
              <a:extLst>
                <a:ext uri="{FF2B5EF4-FFF2-40B4-BE49-F238E27FC236}">
                  <a16:creationId xmlns:a16="http://schemas.microsoft.com/office/drawing/2014/main" id="{73771970-A255-7A45-9978-51F79AC9A3F9}"/>
                </a:ext>
              </a:extLst>
            </p:cNvPr>
            <p:cNvSpPr/>
            <p:nvPr/>
          </p:nvSpPr>
          <p:spPr>
            <a:xfrm rot="5400000">
              <a:off x="5352312" y="4110514"/>
              <a:ext cx="105200" cy="104043"/>
            </a:xfrm>
            <a:custGeom>
              <a:avLst/>
              <a:gdLst>
                <a:gd name="connsiteX0" fmla="*/ 37615 w 105200"/>
                <a:gd name="connsiteY0" fmla="*/ 7500 h 104043"/>
                <a:gd name="connsiteX1" fmla="*/ 37615 w 105200"/>
                <a:gd name="connsiteY1" fmla="*/ 36847 h 104043"/>
                <a:gd name="connsiteX2" fmla="*/ 7500 w 105200"/>
                <a:gd name="connsiteY2" fmla="*/ 36847 h 104043"/>
                <a:gd name="connsiteX3" fmla="*/ 0 w 105200"/>
                <a:gd name="connsiteY3" fmla="*/ 44347 h 104043"/>
                <a:gd name="connsiteX4" fmla="*/ 0 w 105200"/>
                <a:gd name="connsiteY4" fmla="*/ 59697 h 104043"/>
                <a:gd name="connsiteX5" fmla="*/ 7500 w 105200"/>
                <a:gd name="connsiteY5" fmla="*/ 67197 h 104043"/>
                <a:gd name="connsiteX6" fmla="*/ 37615 w 105200"/>
                <a:gd name="connsiteY6" fmla="*/ 67197 h 104043"/>
                <a:gd name="connsiteX7" fmla="*/ 37615 w 105200"/>
                <a:gd name="connsiteY7" fmla="*/ 96544 h 104043"/>
                <a:gd name="connsiteX8" fmla="*/ 45115 w 105200"/>
                <a:gd name="connsiteY8" fmla="*/ 104044 h 104043"/>
                <a:gd name="connsiteX9" fmla="*/ 49962 w 105200"/>
                <a:gd name="connsiteY9" fmla="*/ 102268 h 104043"/>
                <a:gd name="connsiteX10" fmla="*/ 102546 w 105200"/>
                <a:gd name="connsiteY10" fmla="*/ 57746 h 104043"/>
                <a:gd name="connsiteX11" fmla="*/ 103423 w 105200"/>
                <a:gd name="connsiteY11" fmla="*/ 47176 h 104043"/>
                <a:gd name="connsiteX12" fmla="*/ 102546 w 105200"/>
                <a:gd name="connsiteY12" fmla="*/ 46298 h 104043"/>
                <a:gd name="connsiteX13" fmla="*/ 49962 w 105200"/>
                <a:gd name="connsiteY13" fmla="*/ 1776 h 104043"/>
                <a:gd name="connsiteX14" fmla="*/ 39391 w 105200"/>
                <a:gd name="connsiteY14" fmla="*/ 2654 h 104043"/>
                <a:gd name="connsiteX15" fmla="*/ 37615 w 105200"/>
                <a:gd name="connsiteY15" fmla="*/ 7500 h 10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200" h="104043">
                  <a:moveTo>
                    <a:pt x="37615" y="7500"/>
                  </a:moveTo>
                  <a:lnTo>
                    <a:pt x="37615" y="36847"/>
                  </a:lnTo>
                  <a:lnTo>
                    <a:pt x="7500" y="36847"/>
                  </a:lnTo>
                  <a:cubicBezTo>
                    <a:pt x="3358" y="36847"/>
                    <a:pt x="0" y="40205"/>
                    <a:pt x="0" y="44347"/>
                  </a:cubicBezTo>
                  <a:lnTo>
                    <a:pt x="0" y="59697"/>
                  </a:lnTo>
                  <a:cubicBezTo>
                    <a:pt x="0" y="63839"/>
                    <a:pt x="3358" y="67197"/>
                    <a:pt x="7500" y="67197"/>
                  </a:cubicBezTo>
                  <a:lnTo>
                    <a:pt x="37615" y="67197"/>
                  </a:lnTo>
                  <a:lnTo>
                    <a:pt x="37615" y="96544"/>
                  </a:lnTo>
                  <a:cubicBezTo>
                    <a:pt x="37615" y="100686"/>
                    <a:pt x="40972" y="104044"/>
                    <a:pt x="45115" y="104044"/>
                  </a:cubicBezTo>
                  <a:cubicBezTo>
                    <a:pt x="46890" y="104044"/>
                    <a:pt x="48607" y="103415"/>
                    <a:pt x="49962" y="102268"/>
                  </a:cubicBezTo>
                  <a:lnTo>
                    <a:pt x="102546" y="57746"/>
                  </a:lnTo>
                  <a:cubicBezTo>
                    <a:pt x="105708" y="55070"/>
                    <a:pt x="106101" y="50337"/>
                    <a:pt x="103423" y="47176"/>
                  </a:cubicBezTo>
                  <a:cubicBezTo>
                    <a:pt x="103156" y="46860"/>
                    <a:pt x="102862" y="46566"/>
                    <a:pt x="102546" y="46298"/>
                  </a:cubicBezTo>
                  <a:lnTo>
                    <a:pt x="49962" y="1776"/>
                  </a:lnTo>
                  <a:cubicBezTo>
                    <a:pt x="46800" y="-900"/>
                    <a:pt x="42067" y="-507"/>
                    <a:pt x="39391" y="2654"/>
                  </a:cubicBezTo>
                  <a:cubicBezTo>
                    <a:pt x="38244" y="4008"/>
                    <a:pt x="37615" y="5726"/>
                    <a:pt x="37615" y="7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31" name="Рисунок 281">
            <a:extLst>
              <a:ext uri="{FF2B5EF4-FFF2-40B4-BE49-F238E27FC236}">
                <a16:creationId xmlns:a16="http://schemas.microsoft.com/office/drawing/2014/main" id="{E45631A2-76ED-6244-AD5B-51193DE40047}"/>
              </a:ext>
            </a:extLst>
          </p:cNvPr>
          <p:cNvGrpSpPr/>
          <p:nvPr/>
        </p:nvGrpSpPr>
        <p:grpSpPr>
          <a:xfrm>
            <a:off x="3682403" y="3788369"/>
            <a:ext cx="360000" cy="360000"/>
            <a:chOff x="3715856" y="4105091"/>
            <a:chExt cx="360000" cy="360000"/>
          </a:xfrm>
        </p:grpSpPr>
        <p:sp>
          <p:nvSpPr>
            <p:cNvPr id="1232" name="Полилиния 1231">
              <a:extLst>
                <a:ext uri="{FF2B5EF4-FFF2-40B4-BE49-F238E27FC236}">
                  <a16:creationId xmlns:a16="http://schemas.microsoft.com/office/drawing/2014/main" id="{AF829583-3F01-CB4F-9EBE-F2F38BD41A0E}"/>
                </a:ext>
              </a:extLst>
            </p:cNvPr>
            <p:cNvSpPr/>
            <p:nvPr/>
          </p:nvSpPr>
          <p:spPr>
            <a:xfrm>
              <a:off x="3715856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3" name="Полилиния 1232">
              <a:extLst>
                <a:ext uri="{FF2B5EF4-FFF2-40B4-BE49-F238E27FC236}">
                  <a16:creationId xmlns:a16="http://schemas.microsoft.com/office/drawing/2014/main" id="{3F38427C-412F-FB40-991C-719915D5E76B}"/>
                </a:ext>
              </a:extLst>
            </p:cNvPr>
            <p:cNvSpPr/>
            <p:nvPr/>
          </p:nvSpPr>
          <p:spPr>
            <a:xfrm>
              <a:off x="3745856" y="4135091"/>
              <a:ext cx="300000" cy="300000"/>
            </a:xfrm>
            <a:custGeom>
              <a:avLst/>
              <a:gdLst>
                <a:gd name="connsiteX0" fmla="*/ 300000 w 300000"/>
                <a:gd name="connsiteY0" fmla="*/ 150000 h 300000"/>
                <a:gd name="connsiteX1" fmla="*/ 150000 w 300000"/>
                <a:gd name="connsiteY1" fmla="*/ 300000 h 300000"/>
                <a:gd name="connsiteX2" fmla="*/ 0 w 300000"/>
                <a:gd name="connsiteY2" fmla="*/ 150000 h 300000"/>
                <a:gd name="connsiteX3" fmla="*/ 150000 w 300000"/>
                <a:gd name="connsiteY3" fmla="*/ 0 h 300000"/>
                <a:gd name="connsiteX4" fmla="*/ 300000 w 300000"/>
                <a:gd name="connsiteY4" fmla="*/ 15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0" h="300000">
                  <a:moveTo>
                    <a:pt x="300000" y="150000"/>
                  </a:moveTo>
                  <a:cubicBezTo>
                    <a:pt x="300000" y="232843"/>
                    <a:pt x="232843" y="300000"/>
                    <a:pt x="150000" y="300000"/>
                  </a:cubicBezTo>
                  <a:cubicBezTo>
                    <a:pt x="67157" y="300000"/>
                    <a:pt x="0" y="232843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3" y="0"/>
                    <a:pt x="300000" y="67157"/>
                    <a:pt x="300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4" name="Скругленный прямоугольник 1233">
              <a:extLst>
                <a:ext uri="{FF2B5EF4-FFF2-40B4-BE49-F238E27FC236}">
                  <a16:creationId xmlns:a16="http://schemas.microsoft.com/office/drawing/2014/main" id="{6CF06078-56EB-EC4E-B016-15289DE78A8D}"/>
                </a:ext>
              </a:extLst>
            </p:cNvPr>
            <p:cNvSpPr/>
            <p:nvPr/>
          </p:nvSpPr>
          <p:spPr>
            <a:xfrm>
              <a:off x="3880856" y="4255091"/>
              <a:ext cx="30000" cy="105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5" name="Скругленный прямоугольник 1234">
              <a:extLst>
                <a:ext uri="{FF2B5EF4-FFF2-40B4-BE49-F238E27FC236}">
                  <a16:creationId xmlns:a16="http://schemas.microsoft.com/office/drawing/2014/main" id="{E1B27754-920F-944C-8C9E-5F1483482BA6}"/>
                </a:ext>
              </a:extLst>
            </p:cNvPr>
            <p:cNvSpPr/>
            <p:nvPr/>
          </p:nvSpPr>
          <p:spPr>
            <a:xfrm>
              <a:off x="3880856" y="4210091"/>
              <a:ext cx="30000" cy="3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36" name="Рисунок 282">
            <a:extLst>
              <a:ext uri="{FF2B5EF4-FFF2-40B4-BE49-F238E27FC236}">
                <a16:creationId xmlns:a16="http://schemas.microsoft.com/office/drawing/2014/main" id="{60CF5D16-FB4D-EA48-9C3E-A45ADA799375}"/>
              </a:ext>
            </a:extLst>
          </p:cNvPr>
          <p:cNvGrpSpPr/>
          <p:nvPr/>
        </p:nvGrpSpPr>
        <p:grpSpPr>
          <a:xfrm>
            <a:off x="2927270" y="3788369"/>
            <a:ext cx="360000" cy="360000"/>
            <a:chOff x="2960723" y="4105091"/>
            <a:chExt cx="360000" cy="360000"/>
          </a:xfrm>
        </p:grpSpPr>
        <p:sp>
          <p:nvSpPr>
            <p:cNvPr id="1237" name="Полилиния 1236">
              <a:extLst>
                <a:ext uri="{FF2B5EF4-FFF2-40B4-BE49-F238E27FC236}">
                  <a16:creationId xmlns:a16="http://schemas.microsoft.com/office/drawing/2014/main" id="{9E4940B9-0356-D441-BA98-EB4C746A0BBB}"/>
                </a:ext>
              </a:extLst>
            </p:cNvPr>
            <p:cNvSpPr/>
            <p:nvPr/>
          </p:nvSpPr>
          <p:spPr>
            <a:xfrm>
              <a:off x="2960723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8" name="Полилиния 1237">
              <a:extLst>
                <a:ext uri="{FF2B5EF4-FFF2-40B4-BE49-F238E27FC236}">
                  <a16:creationId xmlns:a16="http://schemas.microsoft.com/office/drawing/2014/main" id="{23EBE25B-3B4A-D542-9B79-66DCAC2D09D5}"/>
                </a:ext>
              </a:extLst>
            </p:cNvPr>
            <p:cNvSpPr/>
            <p:nvPr/>
          </p:nvSpPr>
          <p:spPr>
            <a:xfrm>
              <a:off x="3005723" y="4165091"/>
              <a:ext cx="255000" cy="255000"/>
            </a:xfrm>
            <a:custGeom>
              <a:avLst/>
              <a:gdLst>
                <a:gd name="connsiteX0" fmla="*/ 45000 w 255000"/>
                <a:gd name="connsiteY0" fmla="*/ 75000 h 255000"/>
                <a:gd name="connsiteX1" fmla="*/ 45000 w 255000"/>
                <a:gd name="connsiteY1" fmla="*/ 165000 h 255000"/>
                <a:gd name="connsiteX2" fmla="*/ 90000 w 255000"/>
                <a:gd name="connsiteY2" fmla="*/ 210000 h 255000"/>
                <a:gd name="connsiteX3" fmla="*/ 180000 w 255000"/>
                <a:gd name="connsiteY3" fmla="*/ 210000 h 255000"/>
                <a:gd name="connsiteX4" fmla="*/ 180000 w 255000"/>
                <a:gd name="connsiteY4" fmla="*/ 222273 h 255000"/>
                <a:gd name="connsiteX5" fmla="*/ 147273 w 255000"/>
                <a:gd name="connsiteY5" fmla="*/ 255000 h 255000"/>
                <a:gd name="connsiteX6" fmla="*/ 32727 w 255000"/>
                <a:gd name="connsiteY6" fmla="*/ 255000 h 255000"/>
                <a:gd name="connsiteX7" fmla="*/ 0 w 255000"/>
                <a:gd name="connsiteY7" fmla="*/ 222273 h 255000"/>
                <a:gd name="connsiteX8" fmla="*/ 0 w 255000"/>
                <a:gd name="connsiteY8" fmla="*/ 107727 h 255000"/>
                <a:gd name="connsiteX9" fmla="*/ 32727 w 255000"/>
                <a:gd name="connsiteY9" fmla="*/ 75000 h 255000"/>
                <a:gd name="connsiteX10" fmla="*/ 45000 w 255000"/>
                <a:gd name="connsiteY10" fmla="*/ 75000 h 255000"/>
                <a:gd name="connsiteX11" fmla="*/ 210000 w 255000"/>
                <a:gd name="connsiteY11" fmla="*/ 180000 h 255000"/>
                <a:gd name="connsiteX12" fmla="*/ 210000 w 255000"/>
                <a:gd name="connsiteY12" fmla="*/ 90000 h 255000"/>
                <a:gd name="connsiteX13" fmla="*/ 165000 w 255000"/>
                <a:gd name="connsiteY13" fmla="*/ 45000 h 255000"/>
                <a:gd name="connsiteX14" fmla="*/ 75000 w 255000"/>
                <a:gd name="connsiteY14" fmla="*/ 45000 h 255000"/>
                <a:gd name="connsiteX15" fmla="*/ 75000 w 255000"/>
                <a:gd name="connsiteY15" fmla="*/ 32727 h 255000"/>
                <a:gd name="connsiteX16" fmla="*/ 107727 w 255000"/>
                <a:gd name="connsiteY16" fmla="*/ 0 h 255000"/>
                <a:gd name="connsiteX17" fmla="*/ 222273 w 255000"/>
                <a:gd name="connsiteY17" fmla="*/ 0 h 255000"/>
                <a:gd name="connsiteX18" fmla="*/ 255000 w 255000"/>
                <a:gd name="connsiteY18" fmla="*/ 32727 h 255000"/>
                <a:gd name="connsiteX19" fmla="*/ 255000 w 255000"/>
                <a:gd name="connsiteY19" fmla="*/ 147273 h 255000"/>
                <a:gd name="connsiteX20" fmla="*/ 222273 w 255000"/>
                <a:gd name="connsiteY20" fmla="*/ 180000 h 255000"/>
                <a:gd name="connsiteX21" fmla="*/ 210000 w 255000"/>
                <a:gd name="connsiteY21" fmla="*/ 180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5000" h="255000">
                  <a:moveTo>
                    <a:pt x="45000" y="75000"/>
                  </a:moveTo>
                  <a:lnTo>
                    <a:pt x="45000" y="165000"/>
                  </a:lnTo>
                  <a:cubicBezTo>
                    <a:pt x="45000" y="189854"/>
                    <a:pt x="65147" y="210000"/>
                    <a:pt x="90000" y="210000"/>
                  </a:cubicBezTo>
                  <a:lnTo>
                    <a:pt x="180000" y="210000"/>
                  </a:lnTo>
                  <a:lnTo>
                    <a:pt x="180000" y="222273"/>
                  </a:lnTo>
                  <a:cubicBezTo>
                    <a:pt x="180000" y="243488"/>
                    <a:pt x="168488" y="255000"/>
                    <a:pt x="147273" y="255000"/>
                  </a:cubicBezTo>
                  <a:lnTo>
                    <a:pt x="32727" y="255000"/>
                  </a:lnTo>
                  <a:cubicBezTo>
                    <a:pt x="11513" y="255000"/>
                    <a:pt x="0" y="243488"/>
                    <a:pt x="0" y="222273"/>
                  </a:cubicBezTo>
                  <a:lnTo>
                    <a:pt x="0" y="107727"/>
                  </a:lnTo>
                  <a:cubicBezTo>
                    <a:pt x="0" y="86513"/>
                    <a:pt x="11513" y="75000"/>
                    <a:pt x="32727" y="75000"/>
                  </a:cubicBezTo>
                  <a:lnTo>
                    <a:pt x="45000" y="75000"/>
                  </a:lnTo>
                  <a:close/>
                  <a:moveTo>
                    <a:pt x="210000" y="180000"/>
                  </a:moveTo>
                  <a:lnTo>
                    <a:pt x="210000" y="90000"/>
                  </a:lnTo>
                  <a:cubicBezTo>
                    <a:pt x="210000" y="65147"/>
                    <a:pt x="189854" y="45000"/>
                    <a:pt x="165000" y="45000"/>
                  </a:cubicBezTo>
                  <a:lnTo>
                    <a:pt x="75000" y="45000"/>
                  </a:lnTo>
                  <a:lnTo>
                    <a:pt x="75000" y="32727"/>
                  </a:lnTo>
                  <a:cubicBezTo>
                    <a:pt x="75000" y="11513"/>
                    <a:pt x="86513" y="0"/>
                    <a:pt x="107727" y="0"/>
                  </a:cubicBezTo>
                  <a:lnTo>
                    <a:pt x="222273" y="0"/>
                  </a:lnTo>
                  <a:cubicBezTo>
                    <a:pt x="243488" y="0"/>
                    <a:pt x="255000" y="11513"/>
                    <a:pt x="255000" y="32727"/>
                  </a:cubicBezTo>
                  <a:lnTo>
                    <a:pt x="255000" y="147273"/>
                  </a:lnTo>
                  <a:cubicBezTo>
                    <a:pt x="255000" y="168488"/>
                    <a:pt x="243488" y="180000"/>
                    <a:pt x="222273" y="180000"/>
                  </a:cubicBezTo>
                  <a:lnTo>
                    <a:pt x="210000" y="18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9" name="Полилиния 1238">
              <a:extLst>
                <a:ext uri="{FF2B5EF4-FFF2-40B4-BE49-F238E27FC236}">
                  <a16:creationId xmlns:a16="http://schemas.microsoft.com/office/drawing/2014/main" id="{C92B3B41-83E7-884A-9E65-8576BD0B31DC}"/>
                </a:ext>
              </a:extLst>
            </p:cNvPr>
            <p:cNvSpPr/>
            <p:nvPr/>
          </p:nvSpPr>
          <p:spPr>
            <a:xfrm>
              <a:off x="3080723" y="4240091"/>
              <a:ext cx="105000" cy="105000"/>
            </a:xfrm>
            <a:custGeom>
              <a:avLst/>
              <a:gdLst>
                <a:gd name="connsiteX0" fmla="*/ 19091 w 105000"/>
                <a:gd name="connsiteY0" fmla="*/ 0 h 105000"/>
                <a:gd name="connsiteX1" fmla="*/ 85909 w 105000"/>
                <a:gd name="connsiteY1" fmla="*/ 0 h 105000"/>
                <a:gd name="connsiteX2" fmla="*/ 105000 w 105000"/>
                <a:gd name="connsiteY2" fmla="*/ 19091 h 105000"/>
                <a:gd name="connsiteX3" fmla="*/ 105000 w 105000"/>
                <a:gd name="connsiteY3" fmla="*/ 85909 h 105000"/>
                <a:gd name="connsiteX4" fmla="*/ 85909 w 105000"/>
                <a:gd name="connsiteY4" fmla="*/ 105000 h 105000"/>
                <a:gd name="connsiteX5" fmla="*/ 19091 w 105000"/>
                <a:gd name="connsiteY5" fmla="*/ 105000 h 105000"/>
                <a:gd name="connsiteX6" fmla="*/ 0 w 105000"/>
                <a:gd name="connsiteY6" fmla="*/ 85909 h 105000"/>
                <a:gd name="connsiteX7" fmla="*/ 0 w 105000"/>
                <a:gd name="connsiteY7" fmla="*/ 19091 h 105000"/>
                <a:gd name="connsiteX8" fmla="*/ 19091 w 105000"/>
                <a:gd name="connsiteY8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000" h="105000">
                  <a:moveTo>
                    <a:pt x="19091" y="0"/>
                  </a:moveTo>
                  <a:lnTo>
                    <a:pt x="85909" y="0"/>
                  </a:lnTo>
                  <a:cubicBezTo>
                    <a:pt x="98285" y="0"/>
                    <a:pt x="105000" y="6716"/>
                    <a:pt x="105000" y="19091"/>
                  </a:cubicBezTo>
                  <a:lnTo>
                    <a:pt x="105000" y="85909"/>
                  </a:lnTo>
                  <a:cubicBezTo>
                    <a:pt x="105000" y="98285"/>
                    <a:pt x="98285" y="105000"/>
                    <a:pt x="85909" y="105000"/>
                  </a:cubicBezTo>
                  <a:lnTo>
                    <a:pt x="19091" y="105000"/>
                  </a:lnTo>
                  <a:cubicBezTo>
                    <a:pt x="6716" y="105000"/>
                    <a:pt x="0" y="98285"/>
                    <a:pt x="0" y="85909"/>
                  </a:cubicBezTo>
                  <a:lnTo>
                    <a:pt x="0" y="19091"/>
                  </a:lnTo>
                  <a:cubicBezTo>
                    <a:pt x="0" y="6716"/>
                    <a:pt x="6716" y="0"/>
                    <a:pt x="19091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40" name="Рисунок 283">
            <a:extLst>
              <a:ext uri="{FF2B5EF4-FFF2-40B4-BE49-F238E27FC236}">
                <a16:creationId xmlns:a16="http://schemas.microsoft.com/office/drawing/2014/main" id="{B6A8AF4A-1F80-BD48-A890-8042734CE6F1}"/>
              </a:ext>
            </a:extLst>
          </p:cNvPr>
          <p:cNvGrpSpPr/>
          <p:nvPr/>
        </p:nvGrpSpPr>
        <p:grpSpPr>
          <a:xfrm>
            <a:off x="4437536" y="3788369"/>
            <a:ext cx="360000" cy="360000"/>
            <a:chOff x="4470989" y="4105091"/>
            <a:chExt cx="360000" cy="360000"/>
          </a:xfrm>
        </p:grpSpPr>
        <p:sp>
          <p:nvSpPr>
            <p:cNvPr id="1241" name="Полилиния 1240">
              <a:extLst>
                <a:ext uri="{FF2B5EF4-FFF2-40B4-BE49-F238E27FC236}">
                  <a16:creationId xmlns:a16="http://schemas.microsoft.com/office/drawing/2014/main" id="{127C6287-53A2-E043-B156-B78DD7DDCDF5}"/>
                </a:ext>
              </a:extLst>
            </p:cNvPr>
            <p:cNvSpPr/>
            <p:nvPr/>
          </p:nvSpPr>
          <p:spPr>
            <a:xfrm>
              <a:off x="4470989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2" name="Полилиния 1241">
              <a:extLst>
                <a:ext uri="{FF2B5EF4-FFF2-40B4-BE49-F238E27FC236}">
                  <a16:creationId xmlns:a16="http://schemas.microsoft.com/office/drawing/2014/main" id="{7C3AF47E-8E92-7549-803F-CBB85C97AB9B}"/>
                </a:ext>
              </a:extLst>
            </p:cNvPr>
            <p:cNvSpPr/>
            <p:nvPr/>
          </p:nvSpPr>
          <p:spPr>
            <a:xfrm>
              <a:off x="4560989" y="4135091"/>
              <a:ext cx="180000" cy="300000"/>
            </a:xfrm>
            <a:custGeom>
              <a:avLst/>
              <a:gdLst>
                <a:gd name="connsiteX0" fmla="*/ 30000 w 180000"/>
                <a:gd name="connsiteY0" fmla="*/ 0 h 300000"/>
                <a:gd name="connsiteX1" fmla="*/ 150000 w 180000"/>
                <a:gd name="connsiteY1" fmla="*/ 0 h 300000"/>
                <a:gd name="connsiteX2" fmla="*/ 180000 w 180000"/>
                <a:gd name="connsiteY2" fmla="*/ 30000 h 300000"/>
                <a:gd name="connsiteX3" fmla="*/ 180000 w 180000"/>
                <a:gd name="connsiteY3" fmla="*/ 270000 h 300000"/>
                <a:gd name="connsiteX4" fmla="*/ 150000 w 180000"/>
                <a:gd name="connsiteY4" fmla="*/ 300000 h 300000"/>
                <a:gd name="connsiteX5" fmla="*/ 30000 w 180000"/>
                <a:gd name="connsiteY5" fmla="*/ 300000 h 300000"/>
                <a:gd name="connsiteX6" fmla="*/ 0 w 180000"/>
                <a:gd name="connsiteY6" fmla="*/ 270000 h 300000"/>
                <a:gd name="connsiteX7" fmla="*/ 0 w 180000"/>
                <a:gd name="connsiteY7" fmla="*/ 30000 h 300000"/>
                <a:gd name="connsiteX8" fmla="*/ 30000 w 180000"/>
                <a:gd name="connsiteY8" fmla="*/ 0 h 300000"/>
                <a:gd name="connsiteX9" fmla="*/ 30000 w 180000"/>
                <a:gd name="connsiteY9" fmla="*/ 15000 h 300000"/>
                <a:gd name="connsiteX10" fmla="*/ 15000 w 180000"/>
                <a:gd name="connsiteY10" fmla="*/ 30000 h 300000"/>
                <a:gd name="connsiteX11" fmla="*/ 30000 w 180000"/>
                <a:gd name="connsiteY11" fmla="*/ 45000 h 300000"/>
                <a:gd name="connsiteX12" fmla="*/ 60000 w 180000"/>
                <a:gd name="connsiteY12" fmla="*/ 45000 h 300000"/>
                <a:gd name="connsiteX13" fmla="*/ 75000 w 180000"/>
                <a:gd name="connsiteY13" fmla="*/ 30000 h 300000"/>
                <a:gd name="connsiteX14" fmla="*/ 60000 w 180000"/>
                <a:gd name="connsiteY14" fmla="*/ 15000 h 300000"/>
                <a:gd name="connsiteX15" fmla="*/ 30000 w 180000"/>
                <a:gd name="connsiteY15" fmla="*/ 15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0000" h="300000">
                  <a:moveTo>
                    <a:pt x="30000" y="0"/>
                  </a:moveTo>
                  <a:lnTo>
                    <a:pt x="150000" y="0"/>
                  </a:lnTo>
                  <a:cubicBezTo>
                    <a:pt x="166569" y="0"/>
                    <a:pt x="180000" y="13431"/>
                    <a:pt x="180000" y="30000"/>
                  </a:cubicBezTo>
                  <a:lnTo>
                    <a:pt x="180000" y="270000"/>
                  </a:lnTo>
                  <a:cubicBezTo>
                    <a:pt x="180000" y="286569"/>
                    <a:pt x="166569" y="300000"/>
                    <a:pt x="150000" y="300000"/>
                  </a:cubicBezTo>
                  <a:lnTo>
                    <a:pt x="30000" y="300000"/>
                  </a:lnTo>
                  <a:cubicBezTo>
                    <a:pt x="13431" y="300000"/>
                    <a:pt x="0" y="286569"/>
                    <a:pt x="0" y="27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30000" y="15000"/>
                  </a:moveTo>
                  <a:cubicBezTo>
                    <a:pt x="21716" y="15000"/>
                    <a:pt x="15000" y="21716"/>
                    <a:pt x="15000" y="30000"/>
                  </a:cubicBezTo>
                  <a:cubicBezTo>
                    <a:pt x="15000" y="38284"/>
                    <a:pt x="21716" y="45000"/>
                    <a:pt x="30000" y="45000"/>
                  </a:cubicBezTo>
                  <a:lnTo>
                    <a:pt x="60000" y="45000"/>
                  </a:lnTo>
                  <a:cubicBezTo>
                    <a:pt x="68285" y="45000"/>
                    <a:pt x="75000" y="38284"/>
                    <a:pt x="75000" y="30000"/>
                  </a:cubicBezTo>
                  <a:cubicBezTo>
                    <a:pt x="75000" y="21716"/>
                    <a:pt x="68285" y="15000"/>
                    <a:pt x="60000" y="15000"/>
                  </a:cubicBezTo>
                  <a:lnTo>
                    <a:pt x="30000" y="1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43" name="Рисунок 284">
            <a:extLst>
              <a:ext uri="{FF2B5EF4-FFF2-40B4-BE49-F238E27FC236}">
                <a16:creationId xmlns:a16="http://schemas.microsoft.com/office/drawing/2014/main" id="{E26E4036-C4A7-3C41-BD3C-3261996C9CF4}"/>
              </a:ext>
            </a:extLst>
          </p:cNvPr>
          <p:cNvGrpSpPr/>
          <p:nvPr/>
        </p:nvGrpSpPr>
        <p:grpSpPr>
          <a:xfrm>
            <a:off x="1417004" y="3788369"/>
            <a:ext cx="360000" cy="360000"/>
            <a:chOff x="1450457" y="4105091"/>
            <a:chExt cx="360000" cy="360000"/>
          </a:xfrm>
        </p:grpSpPr>
        <p:sp>
          <p:nvSpPr>
            <p:cNvPr id="1244" name="Полилиния 1243">
              <a:extLst>
                <a:ext uri="{FF2B5EF4-FFF2-40B4-BE49-F238E27FC236}">
                  <a16:creationId xmlns:a16="http://schemas.microsoft.com/office/drawing/2014/main" id="{7C981990-A964-F740-9A2F-6A6613FCB4E7}"/>
                </a:ext>
              </a:extLst>
            </p:cNvPr>
            <p:cNvSpPr/>
            <p:nvPr/>
          </p:nvSpPr>
          <p:spPr>
            <a:xfrm>
              <a:off x="1450457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5" name="Полилиния 1244">
              <a:extLst>
                <a:ext uri="{FF2B5EF4-FFF2-40B4-BE49-F238E27FC236}">
                  <a16:creationId xmlns:a16="http://schemas.microsoft.com/office/drawing/2014/main" id="{03DFBC50-DCEF-384E-A463-7B6ECF28AF01}"/>
                </a:ext>
              </a:extLst>
            </p:cNvPr>
            <p:cNvSpPr/>
            <p:nvPr/>
          </p:nvSpPr>
          <p:spPr>
            <a:xfrm>
              <a:off x="1551707" y="4142591"/>
              <a:ext cx="157500" cy="285000"/>
            </a:xfrm>
            <a:custGeom>
              <a:avLst/>
              <a:gdLst>
                <a:gd name="connsiteX0" fmla="*/ 18750 w 157500"/>
                <a:gd name="connsiteY0" fmla="*/ 0 h 285000"/>
                <a:gd name="connsiteX1" fmla="*/ 0 w 157500"/>
                <a:gd name="connsiteY1" fmla="*/ 18750 h 285000"/>
                <a:gd name="connsiteX2" fmla="*/ 0 w 157500"/>
                <a:gd name="connsiteY2" fmla="*/ 266250 h 285000"/>
                <a:gd name="connsiteX3" fmla="*/ 18750 w 157500"/>
                <a:gd name="connsiteY3" fmla="*/ 285000 h 285000"/>
                <a:gd name="connsiteX4" fmla="*/ 138750 w 157500"/>
                <a:gd name="connsiteY4" fmla="*/ 285000 h 285000"/>
                <a:gd name="connsiteX5" fmla="*/ 157500 w 157500"/>
                <a:gd name="connsiteY5" fmla="*/ 266250 h 285000"/>
                <a:gd name="connsiteX6" fmla="*/ 157500 w 157500"/>
                <a:gd name="connsiteY6" fmla="*/ 18750 h 285000"/>
                <a:gd name="connsiteX7" fmla="*/ 138750 w 157500"/>
                <a:gd name="connsiteY7" fmla="*/ 0 h 285000"/>
                <a:gd name="connsiteX8" fmla="*/ 18750 w 157500"/>
                <a:gd name="connsiteY8" fmla="*/ 0 h 28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500" h="285000">
                  <a:moveTo>
                    <a:pt x="18750" y="0"/>
                  </a:moveTo>
                  <a:cubicBezTo>
                    <a:pt x="8395" y="0"/>
                    <a:pt x="0" y="8395"/>
                    <a:pt x="0" y="18750"/>
                  </a:cubicBezTo>
                  <a:lnTo>
                    <a:pt x="0" y="266250"/>
                  </a:lnTo>
                  <a:cubicBezTo>
                    <a:pt x="0" y="276606"/>
                    <a:pt x="8395" y="285000"/>
                    <a:pt x="18750" y="285000"/>
                  </a:cubicBezTo>
                  <a:lnTo>
                    <a:pt x="138750" y="285000"/>
                  </a:lnTo>
                  <a:cubicBezTo>
                    <a:pt x="149106" y="285000"/>
                    <a:pt x="157500" y="276606"/>
                    <a:pt x="157500" y="266250"/>
                  </a:cubicBezTo>
                  <a:lnTo>
                    <a:pt x="157500" y="18750"/>
                  </a:lnTo>
                  <a:cubicBezTo>
                    <a:pt x="157500" y="8395"/>
                    <a:pt x="149106" y="0"/>
                    <a:pt x="138750" y="0"/>
                  </a:cubicBezTo>
                  <a:lnTo>
                    <a:pt x="1875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6" name="Полилиния 1245">
              <a:extLst>
                <a:ext uri="{FF2B5EF4-FFF2-40B4-BE49-F238E27FC236}">
                  <a16:creationId xmlns:a16="http://schemas.microsoft.com/office/drawing/2014/main" id="{4F2F71C1-BA7A-064A-A661-35870C9BFA30}"/>
                </a:ext>
              </a:extLst>
            </p:cNvPr>
            <p:cNvSpPr/>
            <p:nvPr/>
          </p:nvSpPr>
          <p:spPr>
            <a:xfrm>
              <a:off x="1529207" y="4120091"/>
              <a:ext cx="202500" cy="330000"/>
            </a:xfrm>
            <a:custGeom>
              <a:avLst/>
              <a:gdLst>
                <a:gd name="connsiteX0" fmla="*/ 41250 w 202500"/>
                <a:gd name="connsiteY0" fmla="*/ 22500 h 330000"/>
                <a:gd name="connsiteX1" fmla="*/ 22500 w 202500"/>
                <a:gd name="connsiteY1" fmla="*/ 41250 h 330000"/>
                <a:gd name="connsiteX2" fmla="*/ 22500 w 202500"/>
                <a:gd name="connsiteY2" fmla="*/ 288750 h 330000"/>
                <a:gd name="connsiteX3" fmla="*/ 41250 w 202500"/>
                <a:gd name="connsiteY3" fmla="*/ 307500 h 330000"/>
                <a:gd name="connsiteX4" fmla="*/ 161250 w 202500"/>
                <a:gd name="connsiteY4" fmla="*/ 307500 h 330000"/>
                <a:gd name="connsiteX5" fmla="*/ 180000 w 202500"/>
                <a:gd name="connsiteY5" fmla="*/ 288750 h 330000"/>
                <a:gd name="connsiteX6" fmla="*/ 180000 w 202500"/>
                <a:gd name="connsiteY6" fmla="*/ 41250 h 330000"/>
                <a:gd name="connsiteX7" fmla="*/ 161250 w 202500"/>
                <a:gd name="connsiteY7" fmla="*/ 22500 h 330000"/>
                <a:gd name="connsiteX8" fmla="*/ 41250 w 202500"/>
                <a:gd name="connsiteY8" fmla="*/ 22500 h 330000"/>
                <a:gd name="connsiteX9" fmla="*/ 41250 w 202500"/>
                <a:gd name="connsiteY9" fmla="*/ 0 h 330000"/>
                <a:gd name="connsiteX10" fmla="*/ 161250 w 202500"/>
                <a:gd name="connsiteY10" fmla="*/ 0 h 330000"/>
                <a:gd name="connsiteX11" fmla="*/ 202500 w 202500"/>
                <a:gd name="connsiteY11" fmla="*/ 41250 h 330000"/>
                <a:gd name="connsiteX12" fmla="*/ 202500 w 202500"/>
                <a:gd name="connsiteY12" fmla="*/ 288750 h 330000"/>
                <a:gd name="connsiteX13" fmla="*/ 161250 w 202500"/>
                <a:gd name="connsiteY13" fmla="*/ 330000 h 330000"/>
                <a:gd name="connsiteX14" fmla="*/ 41250 w 202500"/>
                <a:gd name="connsiteY14" fmla="*/ 330000 h 330000"/>
                <a:gd name="connsiteX15" fmla="*/ 0 w 202500"/>
                <a:gd name="connsiteY15" fmla="*/ 288750 h 330000"/>
                <a:gd name="connsiteX16" fmla="*/ 0 w 202500"/>
                <a:gd name="connsiteY16" fmla="*/ 41250 h 330000"/>
                <a:gd name="connsiteX17" fmla="*/ 41250 w 202500"/>
                <a:gd name="connsiteY17" fmla="*/ 0 h 330000"/>
                <a:gd name="connsiteX18" fmla="*/ 63750 w 202500"/>
                <a:gd name="connsiteY18" fmla="*/ 11250 h 330000"/>
                <a:gd name="connsiteX19" fmla="*/ 138750 w 202500"/>
                <a:gd name="connsiteY19" fmla="*/ 11250 h 330000"/>
                <a:gd name="connsiteX20" fmla="*/ 146250 w 202500"/>
                <a:gd name="connsiteY20" fmla="*/ 18750 h 330000"/>
                <a:gd name="connsiteX21" fmla="*/ 146250 w 202500"/>
                <a:gd name="connsiteY21" fmla="*/ 33750 h 330000"/>
                <a:gd name="connsiteX22" fmla="*/ 138750 w 202500"/>
                <a:gd name="connsiteY22" fmla="*/ 41250 h 330000"/>
                <a:gd name="connsiteX23" fmla="*/ 63750 w 202500"/>
                <a:gd name="connsiteY23" fmla="*/ 41250 h 330000"/>
                <a:gd name="connsiteX24" fmla="*/ 56250 w 202500"/>
                <a:gd name="connsiteY24" fmla="*/ 33750 h 330000"/>
                <a:gd name="connsiteX25" fmla="*/ 56250 w 202500"/>
                <a:gd name="connsiteY25" fmla="*/ 18750 h 330000"/>
                <a:gd name="connsiteX26" fmla="*/ 63750 w 202500"/>
                <a:gd name="connsiteY26" fmla="*/ 11250 h 3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2500" h="330000">
                  <a:moveTo>
                    <a:pt x="41250" y="22500"/>
                  </a:moveTo>
                  <a:cubicBezTo>
                    <a:pt x="30895" y="22500"/>
                    <a:pt x="22500" y="30895"/>
                    <a:pt x="22500" y="41250"/>
                  </a:cubicBezTo>
                  <a:lnTo>
                    <a:pt x="22500" y="288750"/>
                  </a:lnTo>
                  <a:cubicBezTo>
                    <a:pt x="22500" y="299106"/>
                    <a:pt x="30895" y="307500"/>
                    <a:pt x="41250" y="307500"/>
                  </a:cubicBezTo>
                  <a:lnTo>
                    <a:pt x="161250" y="307500"/>
                  </a:lnTo>
                  <a:cubicBezTo>
                    <a:pt x="171606" y="307500"/>
                    <a:pt x="180000" y="299106"/>
                    <a:pt x="180000" y="288750"/>
                  </a:cubicBezTo>
                  <a:lnTo>
                    <a:pt x="180000" y="41250"/>
                  </a:lnTo>
                  <a:cubicBezTo>
                    <a:pt x="180000" y="30895"/>
                    <a:pt x="171606" y="22500"/>
                    <a:pt x="161250" y="22500"/>
                  </a:cubicBezTo>
                  <a:lnTo>
                    <a:pt x="41250" y="22500"/>
                  </a:lnTo>
                  <a:close/>
                  <a:moveTo>
                    <a:pt x="41250" y="0"/>
                  </a:moveTo>
                  <a:lnTo>
                    <a:pt x="161250" y="0"/>
                  </a:lnTo>
                  <a:cubicBezTo>
                    <a:pt x="184032" y="0"/>
                    <a:pt x="202500" y="18468"/>
                    <a:pt x="202500" y="41250"/>
                  </a:cubicBezTo>
                  <a:lnTo>
                    <a:pt x="202500" y="288750"/>
                  </a:lnTo>
                  <a:cubicBezTo>
                    <a:pt x="202500" y="311532"/>
                    <a:pt x="184032" y="330000"/>
                    <a:pt x="161250" y="330000"/>
                  </a:cubicBezTo>
                  <a:lnTo>
                    <a:pt x="41250" y="330000"/>
                  </a:lnTo>
                  <a:cubicBezTo>
                    <a:pt x="18468" y="330000"/>
                    <a:pt x="0" y="311532"/>
                    <a:pt x="0" y="288750"/>
                  </a:cubicBezTo>
                  <a:lnTo>
                    <a:pt x="0" y="41250"/>
                  </a:lnTo>
                  <a:cubicBezTo>
                    <a:pt x="0" y="18468"/>
                    <a:pt x="18468" y="0"/>
                    <a:pt x="41250" y="0"/>
                  </a:cubicBezTo>
                  <a:close/>
                  <a:moveTo>
                    <a:pt x="63750" y="11250"/>
                  </a:moveTo>
                  <a:lnTo>
                    <a:pt x="138750" y="11250"/>
                  </a:lnTo>
                  <a:cubicBezTo>
                    <a:pt x="142892" y="11250"/>
                    <a:pt x="146250" y="14608"/>
                    <a:pt x="146250" y="18750"/>
                  </a:cubicBezTo>
                  <a:lnTo>
                    <a:pt x="146250" y="33750"/>
                  </a:lnTo>
                  <a:cubicBezTo>
                    <a:pt x="146250" y="37892"/>
                    <a:pt x="142892" y="41250"/>
                    <a:pt x="138750" y="41250"/>
                  </a:cubicBezTo>
                  <a:lnTo>
                    <a:pt x="63750" y="41250"/>
                  </a:lnTo>
                  <a:cubicBezTo>
                    <a:pt x="59608" y="41250"/>
                    <a:pt x="56250" y="37892"/>
                    <a:pt x="56250" y="33750"/>
                  </a:cubicBezTo>
                  <a:lnTo>
                    <a:pt x="56250" y="18750"/>
                  </a:lnTo>
                  <a:cubicBezTo>
                    <a:pt x="56250" y="14608"/>
                    <a:pt x="59608" y="11250"/>
                    <a:pt x="63750" y="1125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47" name="Рисунок 285">
            <a:extLst>
              <a:ext uri="{FF2B5EF4-FFF2-40B4-BE49-F238E27FC236}">
                <a16:creationId xmlns:a16="http://schemas.microsoft.com/office/drawing/2014/main" id="{739E161F-1F7A-2A4B-A072-2F9DE1C74076}"/>
              </a:ext>
            </a:extLst>
          </p:cNvPr>
          <p:cNvGrpSpPr/>
          <p:nvPr/>
        </p:nvGrpSpPr>
        <p:grpSpPr>
          <a:xfrm>
            <a:off x="2172137" y="3788369"/>
            <a:ext cx="360000" cy="360000"/>
            <a:chOff x="2205590" y="4105091"/>
            <a:chExt cx="360000" cy="360000"/>
          </a:xfrm>
        </p:grpSpPr>
        <p:sp>
          <p:nvSpPr>
            <p:cNvPr id="1248" name="Полилиния 1247">
              <a:extLst>
                <a:ext uri="{FF2B5EF4-FFF2-40B4-BE49-F238E27FC236}">
                  <a16:creationId xmlns:a16="http://schemas.microsoft.com/office/drawing/2014/main" id="{1A63CD43-715A-344A-8132-91C3A887F138}"/>
                </a:ext>
              </a:extLst>
            </p:cNvPr>
            <p:cNvSpPr/>
            <p:nvPr/>
          </p:nvSpPr>
          <p:spPr>
            <a:xfrm>
              <a:off x="2205590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9" name="Полилиния 1248">
              <a:extLst>
                <a:ext uri="{FF2B5EF4-FFF2-40B4-BE49-F238E27FC236}">
                  <a16:creationId xmlns:a16="http://schemas.microsoft.com/office/drawing/2014/main" id="{2D258BF0-8833-4945-A22A-1424C6594788}"/>
                </a:ext>
              </a:extLst>
            </p:cNvPr>
            <p:cNvSpPr/>
            <p:nvPr/>
          </p:nvSpPr>
          <p:spPr>
            <a:xfrm>
              <a:off x="2295590" y="4135091"/>
              <a:ext cx="180000" cy="300000"/>
            </a:xfrm>
            <a:custGeom>
              <a:avLst/>
              <a:gdLst>
                <a:gd name="connsiteX0" fmla="*/ 30000 w 180000"/>
                <a:gd name="connsiteY0" fmla="*/ 0 h 300000"/>
                <a:gd name="connsiteX1" fmla="*/ 150000 w 180000"/>
                <a:gd name="connsiteY1" fmla="*/ 0 h 300000"/>
                <a:gd name="connsiteX2" fmla="*/ 180000 w 180000"/>
                <a:gd name="connsiteY2" fmla="*/ 30000 h 300000"/>
                <a:gd name="connsiteX3" fmla="*/ 180000 w 180000"/>
                <a:gd name="connsiteY3" fmla="*/ 270000 h 300000"/>
                <a:gd name="connsiteX4" fmla="*/ 150000 w 180000"/>
                <a:gd name="connsiteY4" fmla="*/ 300000 h 300000"/>
                <a:gd name="connsiteX5" fmla="*/ 30000 w 180000"/>
                <a:gd name="connsiteY5" fmla="*/ 300000 h 300000"/>
                <a:gd name="connsiteX6" fmla="*/ 0 w 180000"/>
                <a:gd name="connsiteY6" fmla="*/ 270000 h 300000"/>
                <a:gd name="connsiteX7" fmla="*/ 0 w 180000"/>
                <a:gd name="connsiteY7" fmla="*/ 30000 h 300000"/>
                <a:gd name="connsiteX8" fmla="*/ 30000 w 180000"/>
                <a:gd name="connsiteY8" fmla="*/ 0 h 300000"/>
                <a:gd name="connsiteX9" fmla="*/ 30000 w 180000"/>
                <a:gd name="connsiteY9" fmla="*/ 15000 h 300000"/>
                <a:gd name="connsiteX10" fmla="*/ 15000 w 180000"/>
                <a:gd name="connsiteY10" fmla="*/ 30000 h 300000"/>
                <a:gd name="connsiteX11" fmla="*/ 15000 w 180000"/>
                <a:gd name="connsiteY11" fmla="*/ 60000 h 300000"/>
                <a:gd name="connsiteX12" fmla="*/ 30000 w 180000"/>
                <a:gd name="connsiteY12" fmla="*/ 75000 h 300000"/>
                <a:gd name="connsiteX13" fmla="*/ 45000 w 180000"/>
                <a:gd name="connsiteY13" fmla="*/ 60000 h 300000"/>
                <a:gd name="connsiteX14" fmla="*/ 45000 w 180000"/>
                <a:gd name="connsiteY14" fmla="*/ 30000 h 300000"/>
                <a:gd name="connsiteX15" fmla="*/ 30000 w 180000"/>
                <a:gd name="connsiteY15" fmla="*/ 15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0000" h="300000">
                  <a:moveTo>
                    <a:pt x="30000" y="0"/>
                  </a:moveTo>
                  <a:lnTo>
                    <a:pt x="150000" y="0"/>
                  </a:lnTo>
                  <a:cubicBezTo>
                    <a:pt x="166569" y="0"/>
                    <a:pt x="180000" y="13431"/>
                    <a:pt x="180000" y="30000"/>
                  </a:cubicBezTo>
                  <a:lnTo>
                    <a:pt x="180000" y="270000"/>
                  </a:lnTo>
                  <a:cubicBezTo>
                    <a:pt x="180000" y="286569"/>
                    <a:pt x="166569" y="300000"/>
                    <a:pt x="150000" y="300000"/>
                  </a:cubicBezTo>
                  <a:lnTo>
                    <a:pt x="30000" y="300000"/>
                  </a:lnTo>
                  <a:cubicBezTo>
                    <a:pt x="13431" y="300000"/>
                    <a:pt x="0" y="286569"/>
                    <a:pt x="0" y="27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30000" y="15000"/>
                  </a:moveTo>
                  <a:cubicBezTo>
                    <a:pt x="21716" y="15000"/>
                    <a:pt x="15000" y="21716"/>
                    <a:pt x="15000" y="30000"/>
                  </a:cubicBezTo>
                  <a:lnTo>
                    <a:pt x="15000" y="60000"/>
                  </a:lnTo>
                  <a:cubicBezTo>
                    <a:pt x="15000" y="68284"/>
                    <a:pt x="21716" y="75000"/>
                    <a:pt x="30000" y="75000"/>
                  </a:cubicBezTo>
                  <a:cubicBezTo>
                    <a:pt x="38284" y="75000"/>
                    <a:pt x="45000" y="68284"/>
                    <a:pt x="45000" y="60000"/>
                  </a:cubicBezTo>
                  <a:lnTo>
                    <a:pt x="45000" y="30000"/>
                  </a:lnTo>
                  <a:cubicBezTo>
                    <a:pt x="45000" y="21716"/>
                    <a:pt x="38284" y="15000"/>
                    <a:pt x="30000" y="1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50" name="Рисунок 286">
            <a:extLst>
              <a:ext uri="{FF2B5EF4-FFF2-40B4-BE49-F238E27FC236}">
                <a16:creationId xmlns:a16="http://schemas.microsoft.com/office/drawing/2014/main" id="{4E58B3C3-EB61-7245-AB56-5F82F1535578}"/>
              </a:ext>
            </a:extLst>
          </p:cNvPr>
          <p:cNvGrpSpPr/>
          <p:nvPr/>
        </p:nvGrpSpPr>
        <p:grpSpPr>
          <a:xfrm>
            <a:off x="661871" y="3788369"/>
            <a:ext cx="360000" cy="360000"/>
            <a:chOff x="695324" y="4105091"/>
            <a:chExt cx="360000" cy="360000"/>
          </a:xfrm>
        </p:grpSpPr>
        <p:sp>
          <p:nvSpPr>
            <p:cNvPr id="1251" name="Полилиния 1250">
              <a:extLst>
                <a:ext uri="{FF2B5EF4-FFF2-40B4-BE49-F238E27FC236}">
                  <a16:creationId xmlns:a16="http://schemas.microsoft.com/office/drawing/2014/main" id="{6D305F06-E8AD-2149-9389-887AF5676B04}"/>
                </a:ext>
              </a:extLst>
            </p:cNvPr>
            <p:cNvSpPr/>
            <p:nvPr/>
          </p:nvSpPr>
          <p:spPr>
            <a:xfrm>
              <a:off x="695324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2" name="Полилиния 1251">
              <a:extLst>
                <a:ext uri="{FF2B5EF4-FFF2-40B4-BE49-F238E27FC236}">
                  <a16:creationId xmlns:a16="http://schemas.microsoft.com/office/drawing/2014/main" id="{FF5C2FD0-757A-834C-BAF4-A6575A52D817}"/>
                </a:ext>
              </a:extLst>
            </p:cNvPr>
            <p:cNvSpPr/>
            <p:nvPr/>
          </p:nvSpPr>
          <p:spPr>
            <a:xfrm>
              <a:off x="725324" y="4210091"/>
              <a:ext cx="315000" cy="195000"/>
            </a:xfrm>
            <a:custGeom>
              <a:avLst/>
              <a:gdLst>
                <a:gd name="connsiteX0" fmla="*/ 272144 w 315000"/>
                <a:gd name="connsiteY0" fmla="*/ 165000 h 195000"/>
                <a:gd name="connsiteX1" fmla="*/ 255000 w 315000"/>
                <a:gd name="connsiteY1" fmla="*/ 195000 h 195000"/>
                <a:gd name="connsiteX2" fmla="*/ 0 w 315000"/>
                <a:gd name="connsiteY2" fmla="*/ 195000 h 195000"/>
                <a:gd name="connsiteX3" fmla="*/ 2127 w 315000"/>
                <a:gd name="connsiteY3" fmla="*/ 165000 h 195000"/>
                <a:gd name="connsiteX4" fmla="*/ 272144 w 315000"/>
                <a:gd name="connsiteY4" fmla="*/ 165000 h 195000"/>
                <a:gd name="connsiteX5" fmla="*/ 225000 w 315000"/>
                <a:gd name="connsiteY5" fmla="*/ 0 h 195000"/>
                <a:gd name="connsiteX6" fmla="*/ 315000 w 315000"/>
                <a:gd name="connsiteY6" fmla="*/ 0 h 195000"/>
                <a:gd name="connsiteX7" fmla="*/ 315000 w 315000"/>
                <a:gd name="connsiteY7" fmla="*/ 30000 h 195000"/>
                <a:gd name="connsiteX8" fmla="*/ 225000 w 315000"/>
                <a:gd name="connsiteY8" fmla="*/ 30000 h 195000"/>
                <a:gd name="connsiteX9" fmla="*/ 225000 w 315000"/>
                <a:gd name="connsiteY9" fmla="*/ 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5000" h="195000">
                  <a:moveTo>
                    <a:pt x="272144" y="165000"/>
                  </a:moveTo>
                  <a:lnTo>
                    <a:pt x="255000" y="195000"/>
                  </a:lnTo>
                  <a:lnTo>
                    <a:pt x="0" y="195000"/>
                  </a:lnTo>
                  <a:cubicBezTo>
                    <a:pt x="0" y="184815"/>
                    <a:pt x="725" y="174798"/>
                    <a:pt x="2127" y="165000"/>
                  </a:cubicBezTo>
                  <a:lnTo>
                    <a:pt x="272144" y="165000"/>
                  </a:lnTo>
                  <a:close/>
                  <a:moveTo>
                    <a:pt x="225000" y="0"/>
                  </a:moveTo>
                  <a:lnTo>
                    <a:pt x="315000" y="0"/>
                  </a:lnTo>
                  <a:lnTo>
                    <a:pt x="315000" y="30000"/>
                  </a:lnTo>
                  <a:lnTo>
                    <a:pt x="225000" y="30000"/>
                  </a:lnTo>
                  <a:lnTo>
                    <a:pt x="225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253" name="Полилиния 1252">
              <a:extLst>
                <a:ext uri="{FF2B5EF4-FFF2-40B4-BE49-F238E27FC236}">
                  <a16:creationId xmlns:a16="http://schemas.microsoft.com/office/drawing/2014/main" id="{28F57D02-424B-6E47-885B-B9AEFD535BEA}"/>
                </a:ext>
              </a:extLst>
            </p:cNvPr>
            <p:cNvSpPr/>
            <p:nvPr/>
          </p:nvSpPr>
          <p:spPr>
            <a:xfrm>
              <a:off x="734020" y="4180091"/>
              <a:ext cx="306303" cy="165000"/>
            </a:xfrm>
            <a:custGeom>
              <a:avLst/>
              <a:gdLst>
                <a:gd name="connsiteX0" fmla="*/ 280589 w 306303"/>
                <a:gd name="connsiteY0" fmla="*/ 165000 h 165000"/>
                <a:gd name="connsiteX1" fmla="*/ 0 w 306303"/>
                <a:gd name="connsiteY1" fmla="*/ 165000 h 165000"/>
                <a:gd name="connsiteX2" fmla="*/ 201304 w 306303"/>
                <a:gd name="connsiteY2" fmla="*/ 0 h 165000"/>
                <a:gd name="connsiteX3" fmla="*/ 223804 w 306303"/>
                <a:gd name="connsiteY3" fmla="*/ 0 h 165000"/>
                <a:gd name="connsiteX4" fmla="*/ 306304 w 306303"/>
                <a:gd name="connsiteY4" fmla="*/ 120000 h 165000"/>
                <a:gd name="connsiteX5" fmla="*/ 280589 w 306303"/>
                <a:gd name="connsiteY5" fmla="*/ 165000 h 165000"/>
                <a:gd name="connsiteX6" fmla="*/ 126152 w 306303"/>
                <a:gd name="connsiteY6" fmla="*/ 57879 h 165000"/>
                <a:gd name="connsiteX7" fmla="*/ 111304 w 306303"/>
                <a:gd name="connsiteY7" fmla="*/ 75000 h 165000"/>
                <a:gd name="connsiteX8" fmla="*/ 126304 w 306303"/>
                <a:gd name="connsiteY8" fmla="*/ 90000 h 165000"/>
                <a:gd name="connsiteX9" fmla="*/ 193804 w 306303"/>
                <a:gd name="connsiteY9" fmla="*/ 90000 h 165000"/>
                <a:gd name="connsiteX10" fmla="*/ 216304 w 306303"/>
                <a:gd name="connsiteY10" fmla="*/ 67500 h 165000"/>
                <a:gd name="connsiteX11" fmla="*/ 216107 w 306303"/>
                <a:gd name="connsiteY11" fmla="*/ 64740 h 165000"/>
                <a:gd name="connsiteX12" fmla="*/ 194030 w 306303"/>
                <a:gd name="connsiteY12" fmla="*/ 48182 h 165000"/>
                <a:gd name="connsiteX13" fmla="*/ 126152 w 306303"/>
                <a:gd name="connsiteY13" fmla="*/ 57879 h 165000"/>
                <a:gd name="connsiteX14" fmla="*/ 66304 w 306303"/>
                <a:gd name="connsiteY14" fmla="*/ 135000 h 165000"/>
                <a:gd name="connsiteX15" fmla="*/ 81304 w 306303"/>
                <a:gd name="connsiteY15" fmla="*/ 120000 h 165000"/>
                <a:gd name="connsiteX16" fmla="*/ 66304 w 306303"/>
                <a:gd name="connsiteY16" fmla="*/ 105000 h 165000"/>
                <a:gd name="connsiteX17" fmla="*/ 51304 w 306303"/>
                <a:gd name="connsiteY17" fmla="*/ 120000 h 165000"/>
                <a:gd name="connsiteX18" fmla="*/ 66304 w 306303"/>
                <a:gd name="connsiteY18" fmla="*/ 135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6303" h="165000">
                  <a:moveTo>
                    <a:pt x="280589" y="165000"/>
                  </a:moveTo>
                  <a:lnTo>
                    <a:pt x="0" y="165000"/>
                  </a:lnTo>
                  <a:cubicBezTo>
                    <a:pt x="25816" y="78255"/>
                    <a:pt x="106173" y="0"/>
                    <a:pt x="201304" y="0"/>
                  </a:cubicBezTo>
                  <a:lnTo>
                    <a:pt x="223804" y="0"/>
                  </a:lnTo>
                  <a:lnTo>
                    <a:pt x="306304" y="120000"/>
                  </a:lnTo>
                  <a:lnTo>
                    <a:pt x="280589" y="165000"/>
                  </a:lnTo>
                  <a:close/>
                  <a:moveTo>
                    <a:pt x="126152" y="57879"/>
                  </a:moveTo>
                  <a:cubicBezTo>
                    <a:pt x="117632" y="59096"/>
                    <a:pt x="111304" y="66393"/>
                    <a:pt x="111304" y="75000"/>
                  </a:cubicBezTo>
                  <a:cubicBezTo>
                    <a:pt x="111304" y="83285"/>
                    <a:pt x="118019" y="90000"/>
                    <a:pt x="126304" y="90000"/>
                  </a:cubicBezTo>
                  <a:lnTo>
                    <a:pt x="193804" y="90000"/>
                  </a:lnTo>
                  <a:cubicBezTo>
                    <a:pt x="206230" y="90000"/>
                    <a:pt x="216304" y="79926"/>
                    <a:pt x="216304" y="67500"/>
                  </a:cubicBezTo>
                  <a:cubicBezTo>
                    <a:pt x="216304" y="66577"/>
                    <a:pt x="216238" y="65654"/>
                    <a:pt x="216107" y="64740"/>
                  </a:cubicBezTo>
                  <a:cubicBezTo>
                    <a:pt x="214583" y="54071"/>
                    <a:pt x="204698" y="46658"/>
                    <a:pt x="194030" y="48182"/>
                  </a:cubicBezTo>
                  <a:lnTo>
                    <a:pt x="126152" y="57879"/>
                  </a:lnTo>
                  <a:close/>
                  <a:moveTo>
                    <a:pt x="66304" y="135000"/>
                  </a:moveTo>
                  <a:cubicBezTo>
                    <a:pt x="74588" y="135000"/>
                    <a:pt x="81304" y="128285"/>
                    <a:pt x="81304" y="120000"/>
                  </a:cubicBezTo>
                  <a:cubicBezTo>
                    <a:pt x="81304" y="111715"/>
                    <a:pt x="74588" y="105000"/>
                    <a:pt x="66304" y="105000"/>
                  </a:cubicBezTo>
                  <a:cubicBezTo>
                    <a:pt x="58019" y="105000"/>
                    <a:pt x="51304" y="111715"/>
                    <a:pt x="51304" y="120000"/>
                  </a:cubicBezTo>
                  <a:cubicBezTo>
                    <a:pt x="51304" y="128285"/>
                    <a:pt x="58019" y="135000"/>
                    <a:pt x="66304" y="13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54" name="Рисунок 287">
            <a:extLst>
              <a:ext uri="{FF2B5EF4-FFF2-40B4-BE49-F238E27FC236}">
                <a16:creationId xmlns:a16="http://schemas.microsoft.com/office/drawing/2014/main" id="{6D683B8A-DA7D-A14A-AC0F-CF91163A68DC}"/>
              </a:ext>
            </a:extLst>
          </p:cNvPr>
          <p:cNvGrpSpPr/>
          <p:nvPr/>
        </p:nvGrpSpPr>
        <p:grpSpPr>
          <a:xfrm>
            <a:off x="11233735" y="3115315"/>
            <a:ext cx="360000" cy="360000"/>
            <a:chOff x="11267188" y="3432037"/>
            <a:chExt cx="360000" cy="360000"/>
          </a:xfrm>
        </p:grpSpPr>
        <p:sp>
          <p:nvSpPr>
            <p:cNvPr id="1255" name="Полилиния 1254">
              <a:extLst>
                <a:ext uri="{FF2B5EF4-FFF2-40B4-BE49-F238E27FC236}">
                  <a16:creationId xmlns:a16="http://schemas.microsoft.com/office/drawing/2014/main" id="{025C6107-1890-D844-A145-809D7D839C05}"/>
                </a:ext>
              </a:extLst>
            </p:cNvPr>
            <p:cNvSpPr/>
            <p:nvPr/>
          </p:nvSpPr>
          <p:spPr>
            <a:xfrm>
              <a:off x="11267188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6" name="Полилиния 1255">
              <a:extLst>
                <a:ext uri="{FF2B5EF4-FFF2-40B4-BE49-F238E27FC236}">
                  <a16:creationId xmlns:a16="http://schemas.microsoft.com/office/drawing/2014/main" id="{8E8C1E32-1ECD-514A-84BC-E39CCE125BD2}"/>
                </a:ext>
              </a:extLst>
            </p:cNvPr>
            <p:cNvSpPr/>
            <p:nvPr/>
          </p:nvSpPr>
          <p:spPr>
            <a:xfrm>
              <a:off x="11417188" y="3507037"/>
              <a:ext cx="75000" cy="210000"/>
            </a:xfrm>
            <a:custGeom>
              <a:avLst/>
              <a:gdLst>
                <a:gd name="connsiteX0" fmla="*/ 0 w 75000"/>
                <a:gd name="connsiteY0" fmla="*/ 210000 h 210000"/>
                <a:gd name="connsiteX1" fmla="*/ 45000 w 75000"/>
                <a:gd name="connsiteY1" fmla="*/ 0 h 210000"/>
                <a:gd name="connsiteX2" fmla="*/ 75000 w 75000"/>
                <a:gd name="connsiteY2" fmla="*/ 0 h 210000"/>
                <a:gd name="connsiteX3" fmla="*/ 30000 w 75000"/>
                <a:gd name="connsiteY3" fmla="*/ 21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00" h="210000">
                  <a:moveTo>
                    <a:pt x="0" y="210000"/>
                  </a:moveTo>
                  <a:lnTo>
                    <a:pt x="45000" y="0"/>
                  </a:lnTo>
                  <a:lnTo>
                    <a:pt x="75000" y="0"/>
                  </a:lnTo>
                  <a:lnTo>
                    <a:pt x="30000" y="21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57" name="Рисунок 288">
            <a:extLst>
              <a:ext uri="{FF2B5EF4-FFF2-40B4-BE49-F238E27FC236}">
                <a16:creationId xmlns:a16="http://schemas.microsoft.com/office/drawing/2014/main" id="{8366CA36-FE66-E546-B1ED-502258CAF0BD}"/>
              </a:ext>
            </a:extLst>
          </p:cNvPr>
          <p:cNvGrpSpPr/>
          <p:nvPr/>
        </p:nvGrpSpPr>
        <p:grpSpPr>
          <a:xfrm>
            <a:off x="10478600" y="3115315"/>
            <a:ext cx="360000" cy="360000"/>
            <a:chOff x="10512053" y="3432037"/>
            <a:chExt cx="360000" cy="360000"/>
          </a:xfrm>
        </p:grpSpPr>
        <p:sp>
          <p:nvSpPr>
            <p:cNvPr id="1258" name="Полилиния 1257">
              <a:extLst>
                <a:ext uri="{FF2B5EF4-FFF2-40B4-BE49-F238E27FC236}">
                  <a16:creationId xmlns:a16="http://schemas.microsoft.com/office/drawing/2014/main" id="{2187BD24-BE87-C242-8CFC-1CEE83A6F896}"/>
                </a:ext>
              </a:extLst>
            </p:cNvPr>
            <p:cNvSpPr/>
            <p:nvPr/>
          </p:nvSpPr>
          <p:spPr>
            <a:xfrm>
              <a:off x="10512053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9" name="Полилиния 1258">
              <a:extLst>
                <a:ext uri="{FF2B5EF4-FFF2-40B4-BE49-F238E27FC236}">
                  <a16:creationId xmlns:a16="http://schemas.microsoft.com/office/drawing/2014/main" id="{6F1530FB-5F78-A443-BC47-FF6CC6E9741A}"/>
                </a:ext>
              </a:extLst>
            </p:cNvPr>
            <p:cNvSpPr/>
            <p:nvPr/>
          </p:nvSpPr>
          <p:spPr>
            <a:xfrm rot="10800000" flipV="1">
              <a:off x="10587053" y="3522037"/>
              <a:ext cx="195000" cy="195000"/>
            </a:xfrm>
            <a:custGeom>
              <a:avLst/>
              <a:gdLst>
                <a:gd name="connsiteX0" fmla="*/ 60000 w 195000"/>
                <a:gd name="connsiteY0" fmla="*/ 60000 h 195000"/>
                <a:gd name="connsiteX1" fmla="*/ 60000 w 195000"/>
                <a:gd name="connsiteY1" fmla="*/ 195000 h 195000"/>
                <a:gd name="connsiteX2" fmla="*/ 0 w 195000"/>
                <a:gd name="connsiteY2" fmla="*/ 195000 h 195000"/>
                <a:gd name="connsiteX3" fmla="*/ 0 w 195000"/>
                <a:gd name="connsiteY3" fmla="*/ 60000 h 195000"/>
                <a:gd name="connsiteX4" fmla="*/ 0 w 195000"/>
                <a:gd name="connsiteY4" fmla="*/ 0 h 195000"/>
                <a:gd name="connsiteX5" fmla="*/ 195000 w 195000"/>
                <a:gd name="connsiteY5" fmla="*/ 0 h 195000"/>
                <a:gd name="connsiteX6" fmla="*/ 195000 w 195000"/>
                <a:gd name="connsiteY6" fmla="*/ 60000 h 195000"/>
                <a:gd name="connsiteX7" fmla="*/ 60000 w 195000"/>
                <a:gd name="connsiteY7" fmla="*/ 600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00" h="195000">
                  <a:moveTo>
                    <a:pt x="60000" y="60000"/>
                  </a:moveTo>
                  <a:lnTo>
                    <a:pt x="60000" y="195000"/>
                  </a:lnTo>
                  <a:lnTo>
                    <a:pt x="0" y="195000"/>
                  </a:lnTo>
                  <a:lnTo>
                    <a:pt x="0" y="60000"/>
                  </a:lnTo>
                  <a:lnTo>
                    <a:pt x="0" y="0"/>
                  </a:lnTo>
                  <a:lnTo>
                    <a:pt x="195000" y="0"/>
                  </a:lnTo>
                  <a:lnTo>
                    <a:pt x="195000" y="60000"/>
                  </a:lnTo>
                  <a:lnTo>
                    <a:pt x="60000" y="6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0" name="Полилиния 1259">
              <a:extLst>
                <a:ext uri="{FF2B5EF4-FFF2-40B4-BE49-F238E27FC236}">
                  <a16:creationId xmlns:a16="http://schemas.microsoft.com/office/drawing/2014/main" id="{33E1157D-A4FD-EF4F-90CC-210114074132}"/>
                </a:ext>
              </a:extLst>
            </p:cNvPr>
            <p:cNvSpPr/>
            <p:nvPr/>
          </p:nvSpPr>
          <p:spPr>
            <a:xfrm>
              <a:off x="10602053" y="3642037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61" name="Рисунок 289">
            <a:extLst>
              <a:ext uri="{FF2B5EF4-FFF2-40B4-BE49-F238E27FC236}">
                <a16:creationId xmlns:a16="http://schemas.microsoft.com/office/drawing/2014/main" id="{B6679954-C13C-8648-A429-76BB99759DC8}"/>
              </a:ext>
            </a:extLst>
          </p:cNvPr>
          <p:cNvGrpSpPr/>
          <p:nvPr/>
        </p:nvGrpSpPr>
        <p:grpSpPr>
          <a:xfrm>
            <a:off x="8968334" y="3115315"/>
            <a:ext cx="360000" cy="360000"/>
            <a:chOff x="9001787" y="3432037"/>
            <a:chExt cx="360000" cy="360000"/>
          </a:xfrm>
        </p:grpSpPr>
        <p:sp>
          <p:nvSpPr>
            <p:cNvPr id="1262" name="Полилиния 1261">
              <a:extLst>
                <a:ext uri="{FF2B5EF4-FFF2-40B4-BE49-F238E27FC236}">
                  <a16:creationId xmlns:a16="http://schemas.microsoft.com/office/drawing/2014/main" id="{6E00CF25-52EC-7048-9BCB-2E36A1991620}"/>
                </a:ext>
              </a:extLst>
            </p:cNvPr>
            <p:cNvSpPr/>
            <p:nvPr/>
          </p:nvSpPr>
          <p:spPr>
            <a:xfrm>
              <a:off x="9001787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3" name="Полилиния 1262">
              <a:extLst>
                <a:ext uri="{FF2B5EF4-FFF2-40B4-BE49-F238E27FC236}">
                  <a16:creationId xmlns:a16="http://schemas.microsoft.com/office/drawing/2014/main" id="{1A2E4243-63E4-2E4E-B529-3438F599F6F3}"/>
                </a:ext>
              </a:extLst>
            </p:cNvPr>
            <p:cNvSpPr/>
            <p:nvPr/>
          </p:nvSpPr>
          <p:spPr>
            <a:xfrm rot="10800000" flipV="1">
              <a:off x="9076787" y="3522037"/>
              <a:ext cx="195000" cy="195000"/>
            </a:xfrm>
            <a:custGeom>
              <a:avLst/>
              <a:gdLst>
                <a:gd name="connsiteX0" fmla="*/ 0 w 195000"/>
                <a:gd name="connsiteY0" fmla="*/ 90000 h 195000"/>
                <a:gd name="connsiteX1" fmla="*/ 75000 w 195000"/>
                <a:gd name="connsiteY1" fmla="*/ 0 h 195000"/>
                <a:gd name="connsiteX2" fmla="*/ 195000 w 195000"/>
                <a:gd name="connsiteY2" fmla="*/ 0 h 195000"/>
                <a:gd name="connsiteX3" fmla="*/ 195000 w 195000"/>
                <a:gd name="connsiteY3" fmla="*/ 60000 h 195000"/>
                <a:gd name="connsiteX4" fmla="*/ 107501 w 195000"/>
                <a:gd name="connsiteY4" fmla="*/ 60000 h 195000"/>
                <a:gd name="connsiteX5" fmla="*/ 60000 w 195000"/>
                <a:gd name="connsiteY5" fmla="*/ 117000 h 195000"/>
                <a:gd name="connsiteX6" fmla="*/ 60000 w 195000"/>
                <a:gd name="connsiteY6" fmla="*/ 195000 h 195000"/>
                <a:gd name="connsiteX7" fmla="*/ 0 w 195000"/>
                <a:gd name="connsiteY7" fmla="*/ 195000 h 195000"/>
                <a:gd name="connsiteX8" fmla="*/ 0 w 195000"/>
                <a:gd name="connsiteY8" fmla="*/ 900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5000" h="195000">
                  <a:moveTo>
                    <a:pt x="0" y="90000"/>
                  </a:moveTo>
                  <a:lnTo>
                    <a:pt x="75000" y="0"/>
                  </a:lnTo>
                  <a:lnTo>
                    <a:pt x="195000" y="0"/>
                  </a:lnTo>
                  <a:lnTo>
                    <a:pt x="195000" y="60000"/>
                  </a:lnTo>
                  <a:lnTo>
                    <a:pt x="107501" y="60000"/>
                  </a:lnTo>
                  <a:lnTo>
                    <a:pt x="60000" y="117000"/>
                  </a:lnTo>
                  <a:lnTo>
                    <a:pt x="60000" y="195000"/>
                  </a:lnTo>
                  <a:lnTo>
                    <a:pt x="0" y="195000"/>
                  </a:lnTo>
                  <a:lnTo>
                    <a:pt x="0" y="9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4" name="Полилиния 1263">
              <a:extLst>
                <a:ext uri="{FF2B5EF4-FFF2-40B4-BE49-F238E27FC236}">
                  <a16:creationId xmlns:a16="http://schemas.microsoft.com/office/drawing/2014/main" id="{EA0B41F8-A29D-9541-AFC5-DB2374E36109}"/>
                </a:ext>
              </a:extLst>
            </p:cNvPr>
            <p:cNvSpPr/>
            <p:nvPr/>
          </p:nvSpPr>
          <p:spPr>
            <a:xfrm>
              <a:off x="9091787" y="3642037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65" name="Рисунок 290">
            <a:extLst>
              <a:ext uri="{FF2B5EF4-FFF2-40B4-BE49-F238E27FC236}">
                <a16:creationId xmlns:a16="http://schemas.microsoft.com/office/drawing/2014/main" id="{6187DE2E-0BCC-694A-A16C-28303E4E0764}"/>
              </a:ext>
            </a:extLst>
          </p:cNvPr>
          <p:cNvGrpSpPr/>
          <p:nvPr/>
        </p:nvGrpSpPr>
        <p:grpSpPr>
          <a:xfrm>
            <a:off x="9723467" y="3115315"/>
            <a:ext cx="360000" cy="360000"/>
            <a:chOff x="9756920" y="3432037"/>
            <a:chExt cx="360000" cy="360000"/>
          </a:xfrm>
        </p:grpSpPr>
        <p:sp>
          <p:nvSpPr>
            <p:cNvPr id="1266" name="Полилиния 1265">
              <a:extLst>
                <a:ext uri="{FF2B5EF4-FFF2-40B4-BE49-F238E27FC236}">
                  <a16:creationId xmlns:a16="http://schemas.microsoft.com/office/drawing/2014/main" id="{BE89AF38-E404-9D4B-B100-462950A5E6ED}"/>
                </a:ext>
              </a:extLst>
            </p:cNvPr>
            <p:cNvSpPr/>
            <p:nvPr/>
          </p:nvSpPr>
          <p:spPr>
            <a:xfrm>
              <a:off x="9756920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7" name="Полилиния 1266">
              <a:extLst>
                <a:ext uri="{FF2B5EF4-FFF2-40B4-BE49-F238E27FC236}">
                  <a16:creationId xmlns:a16="http://schemas.microsoft.com/office/drawing/2014/main" id="{5A8012EE-F26B-E346-8247-9CC4521029A9}"/>
                </a:ext>
              </a:extLst>
            </p:cNvPr>
            <p:cNvSpPr/>
            <p:nvPr/>
          </p:nvSpPr>
          <p:spPr>
            <a:xfrm>
              <a:off x="9846920" y="3642037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8" name="Полилиния 1267">
              <a:extLst>
                <a:ext uri="{FF2B5EF4-FFF2-40B4-BE49-F238E27FC236}">
                  <a16:creationId xmlns:a16="http://schemas.microsoft.com/office/drawing/2014/main" id="{727202E3-8461-D643-A06C-033CEAF924C9}"/>
                </a:ext>
              </a:extLst>
            </p:cNvPr>
            <p:cNvSpPr/>
            <p:nvPr/>
          </p:nvSpPr>
          <p:spPr>
            <a:xfrm rot="10800000" flipV="1">
              <a:off x="9831920" y="3522036"/>
              <a:ext cx="195059" cy="195000"/>
            </a:xfrm>
            <a:custGeom>
              <a:avLst/>
              <a:gdLst>
                <a:gd name="connsiteX0" fmla="*/ 60000 w 195059"/>
                <a:gd name="connsiteY0" fmla="*/ 195001 h 195000"/>
                <a:gd name="connsiteX1" fmla="*/ 14 w 195059"/>
                <a:gd name="connsiteY1" fmla="*/ 195001 h 195000"/>
                <a:gd name="connsiteX2" fmla="*/ 51186 w 195059"/>
                <a:gd name="connsiteY2" fmla="*/ 43492 h 195000"/>
                <a:gd name="connsiteX3" fmla="*/ 195060 w 195059"/>
                <a:gd name="connsiteY3" fmla="*/ 0 h 195000"/>
                <a:gd name="connsiteX4" fmla="*/ 194967 w 195059"/>
                <a:gd name="connsiteY4" fmla="*/ 60000 h 195000"/>
                <a:gd name="connsiteX5" fmla="*/ 90586 w 195059"/>
                <a:gd name="connsiteY5" fmla="*/ 88742 h 195000"/>
                <a:gd name="connsiteX6" fmla="*/ 60000 w 195059"/>
                <a:gd name="connsiteY6" fmla="*/ 195001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059" h="195000">
                  <a:moveTo>
                    <a:pt x="60000" y="195001"/>
                  </a:moveTo>
                  <a:lnTo>
                    <a:pt x="14" y="195001"/>
                  </a:lnTo>
                  <a:cubicBezTo>
                    <a:pt x="-553" y="125410"/>
                    <a:pt x="15672" y="74416"/>
                    <a:pt x="51186" y="43492"/>
                  </a:cubicBezTo>
                  <a:cubicBezTo>
                    <a:pt x="85108" y="13955"/>
                    <a:pt x="133399" y="-96"/>
                    <a:pt x="195060" y="0"/>
                  </a:cubicBezTo>
                  <a:lnTo>
                    <a:pt x="194967" y="60000"/>
                  </a:lnTo>
                  <a:cubicBezTo>
                    <a:pt x="146628" y="59925"/>
                    <a:pt x="112167" y="69951"/>
                    <a:pt x="90586" y="88742"/>
                  </a:cubicBezTo>
                  <a:cubicBezTo>
                    <a:pt x="70598" y="106148"/>
                    <a:pt x="59562" y="141248"/>
                    <a:pt x="60000" y="195001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69" name="Рисунок 291">
            <a:extLst>
              <a:ext uri="{FF2B5EF4-FFF2-40B4-BE49-F238E27FC236}">
                <a16:creationId xmlns:a16="http://schemas.microsoft.com/office/drawing/2014/main" id="{AD2896DB-197F-FB40-A209-DF3C3E5B2753}"/>
              </a:ext>
            </a:extLst>
          </p:cNvPr>
          <p:cNvGrpSpPr/>
          <p:nvPr/>
        </p:nvGrpSpPr>
        <p:grpSpPr>
          <a:xfrm>
            <a:off x="6702935" y="3115315"/>
            <a:ext cx="360000" cy="360000"/>
            <a:chOff x="6736388" y="3432037"/>
            <a:chExt cx="360000" cy="360000"/>
          </a:xfrm>
        </p:grpSpPr>
        <p:sp>
          <p:nvSpPr>
            <p:cNvPr id="1270" name="Полилиния 1269">
              <a:extLst>
                <a:ext uri="{FF2B5EF4-FFF2-40B4-BE49-F238E27FC236}">
                  <a16:creationId xmlns:a16="http://schemas.microsoft.com/office/drawing/2014/main" id="{8F134F9F-E17F-9A47-87CF-B393D7B87151}"/>
                </a:ext>
              </a:extLst>
            </p:cNvPr>
            <p:cNvSpPr/>
            <p:nvPr/>
          </p:nvSpPr>
          <p:spPr>
            <a:xfrm>
              <a:off x="6736388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1" name="Полилиния 1270">
              <a:extLst>
                <a:ext uri="{FF2B5EF4-FFF2-40B4-BE49-F238E27FC236}">
                  <a16:creationId xmlns:a16="http://schemas.microsoft.com/office/drawing/2014/main" id="{50EA0752-8B15-FA48-BF41-EADB8F46025D}"/>
                </a:ext>
              </a:extLst>
            </p:cNvPr>
            <p:cNvSpPr/>
            <p:nvPr/>
          </p:nvSpPr>
          <p:spPr>
            <a:xfrm>
              <a:off x="6799833" y="3461933"/>
              <a:ext cx="251554" cy="255103"/>
            </a:xfrm>
            <a:custGeom>
              <a:avLst/>
              <a:gdLst>
                <a:gd name="connsiteX0" fmla="*/ 206555 w 251554"/>
                <a:gd name="connsiteY0" fmla="*/ 104 h 255103"/>
                <a:gd name="connsiteX1" fmla="*/ 251555 w 251554"/>
                <a:gd name="connsiteY1" fmla="*/ 82604 h 255103"/>
                <a:gd name="connsiteX2" fmla="*/ 221555 w 251554"/>
                <a:gd name="connsiteY2" fmla="*/ 160409 h 255103"/>
                <a:gd name="connsiteX3" fmla="*/ 221555 w 251554"/>
                <a:gd name="connsiteY3" fmla="*/ 255104 h 255103"/>
                <a:gd name="connsiteX4" fmla="*/ 26555 w 251554"/>
                <a:gd name="connsiteY4" fmla="*/ 255104 h 255103"/>
                <a:gd name="connsiteX5" fmla="*/ 26555 w 251554"/>
                <a:gd name="connsiteY5" fmla="*/ 108211 h 255103"/>
                <a:gd name="connsiteX6" fmla="*/ 24358 w 251554"/>
                <a:gd name="connsiteY6" fmla="*/ 102907 h 255103"/>
                <a:gd name="connsiteX7" fmla="*/ 2152 w 251554"/>
                <a:gd name="connsiteY7" fmla="*/ 80701 h 255103"/>
                <a:gd name="connsiteX8" fmla="*/ 2472 w 251554"/>
                <a:gd name="connsiteY8" fmla="*/ 69791 h 255103"/>
                <a:gd name="connsiteX9" fmla="*/ 94055 w 251554"/>
                <a:gd name="connsiteY9" fmla="*/ 7604 h 255103"/>
                <a:gd name="connsiteX10" fmla="*/ 205463 w 251554"/>
                <a:gd name="connsiteY10" fmla="*/ 128 h 255103"/>
                <a:gd name="connsiteX11" fmla="*/ 206555 w 251554"/>
                <a:gd name="connsiteY11" fmla="*/ 104 h 255103"/>
                <a:gd name="connsiteX12" fmla="*/ 199055 w 251554"/>
                <a:gd name="connsiteY12" fmla="*/ 135104 h 255103"/>
                <a:gd name="connsiteX13" fmla="*/ 221555 w 251554"/>
                <a:gd name="connsiteY13" fmla="*/ 75104 h 255103"/>
                <a:gd name="connsiteX14" fmla="*/ 199055 w 251554"/>
                <a:gd name="connsiteY14" fmla="*/ 30104 h 255103"/>
                <a:gd name="connsiteX15" fmla="*/ 199055 w 251554"/>
                <a:gd name="connsiteY15" fmla="*/ 135104 h 255103"/>
                <a:gd name="connsiteX16" fmla="*/ 101555 w 251554"/>
                <a:gd name="connsiteY16" fmla="*/ 195104 h 255103"/>
                <a:gd name="connsiteX17" fmla="*/ 116555 w 251554"/>
                <a:gd name="connsiteY17" fmla="*/ 195104 h 255103"/>
                <a:gd name="connsiteX18" fmla="*/ 131555 w 251554"/>
                <a:gd name="connsiteY18" fmla="*/ 180104 h 255103"/>
                <a:gd name="connsiteX19" fmla="*/ 116555 w 251554"/>
                <a:gd name="connsiteY19" fmla="*/ 165104 h 255103"/>
                <a:gd name="connsiteX20" fmla="*/ 101555 w 251554"/>
                <a:gd name="connsiteY20" fmla="*/ 165104 h 255103"/>
                <a:gd name="connsiteX21" fmla="*/ 101555 w 251554"/>
                <a:gd name="connsiteY21" fmla="*/ 150104 h 255103"/>
                <a:gd name="connsiteX22" fmla="*/ 116555 w 251554"/>
                <a:gd name="connsiteY22" fmla="*/ 150104 h 255103"/>
                <a:gd name="connsiteX23" fmla="*/ 131555 w 251554"/>
                <a:gd name="connsiteY23" fmla="*/ 135104 h 255103"/>
                <a:gd name="connsiteX24" fmla="*/ 116555 w 251554"/>
                <a:gd name="connsiteY24" fmla="*/ 120104 h 255103"/>
                <a:gd name="connsiteX25" fmla="*/ 101555 w 251554"/>
                <a:gd name="connsiteY25" fmla="*/ 120104 h 255103"/>
                <a:gd name="connsiteX26" fmla="*/ 101555 w 251554"/>
                <a:gd name="connsiteY26" fmla="*/ 105104 h 255103"/>
                <a:gd name="connsiteX27" fmla="*/ 116555 w 251554"/>
                <a:gd name="connsiteY27" fmla="*/ 105104 h 255103"/>
                <a:gd name="connsiteX28" fmla="*/ 131555 w 251554"/>
                <a:gd name="connsiteY28" fmla="*/ 90104 h 255103"/>
                <a:gd name="connsiteX29" fmla="*/ 116555 w 251554"/>
                <a:gd name="connsiteY29" fmla="*/ 75104 h 255103"/>
                <a:gd name="connsiteX30" fmla="*/ 101555 w 251554"/>
                <a:gd name="connsiteY30" fmla="*/ 75104 h 255103"/>
                <a:gd name="connsiteX31" fmla="*/ 131555 w 251554"/>
                <a:gd name="connsiteY31" fmla="*/ 45104 h 255103"/>
                <a:gd name="connsiteX32" fmla="*/ 161555 w 251554"/>
                <a:gd name="connsiteY32" fmla="*/ 75104 h 255103"/>
                <a:gd name="connsiteX33" fmla="*/ 161555 w 251554"/>
                <a:gd name="connsiteY33" fmla="*/ 195104 h 255103"/>
                <a:gd name="connsiteX34" fmla="*/ 131555 w 251554"/>
                <a:gd name="connsiteY34" fmla="*/ 225104 h 255103"/>
                <a:gd name="connsiteX35" fmla="*/ 101555 w 251554"/>
                <a:gd name="connsiteY35" fmla="*/ 195104 h 25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51554" h="255103">
                  <a:moveTo>
                    <a:pt x="206555" y="104"/>
                  </a:moveTo>
                  <a:cubicBezTo>
                    <a:pt x="231408" y="104"/>
                    <a:pt x="251555" y="37040"/>
                    <a:pt x="251555" y="82604"/>
                  </a:cubicBezTo>
                  <a:cubicBezTo>
                    <a:pt x="251555" y="118525"/>
                    <a:pt x="239033" y="149084"/>
                    <a:pt x="221555" y="160409"/>
                  </a:cubicBezTo>
                  <a:lnTo>
                    <a:pt x="221555" y="255104"/>
                  </a:lnTo>
                  <a:lnTo>
                    <a:pt x="26555" y="255104"/>
                  </a:lnTo>
                  <a:lnTo>
                    <a:pt x="26555" y="108211"/>
                  </a:lnTo>
                  <a:cubicBezTo>
                    <a:pt x="26555" y="106221"/>
                    <a:pt x="25765" y="104314"/>
                    <a:pt x="24358" y="102907"/>
                  </a:cubicBezTo>
                  <a:lnTo>
                    <a:pt x="2152" y="80701"/>
                  </a:lnTo>
                  <a:cubicBezTo>
                    <a:pt x="-903" y="77285"/>
                    <a:pt x="-624" y="72544"/>
                    <a:pt x="2472" y="69791"/>
                  </a:cubicBezTo>
                  <a:cubicBezTo>
                    <a:pt x="40455" y="36024"/>
                    <a:pt x="70982" y="15295"/>
                    <a:pt x="94055" y="7604"/>
                  </a:cubicBezTo>
                  <a:cubicBezTo>
                    <a:pt x="115296" y="524"/>
                    <a:pt x="203640" y="-412"/>
                    <a:pt x="205463" y="128"/>
                  </a:cubicBezTo>
                  <a:cubicBezTo>
                    <a:pt x="205826" y="112"/>
                    <a:pt x="206190" y="104"/>
                    <a:pt x="206555" y="104"/>
                  </a:cubicBezTo>
                  <a:close/>
                  <a:moveTo>
                    <a:pt x="199055" y="135104"/>
                  </a:moveTo>
                  <a:cubicBezTo>
                    <a:pt x="202434" y="135104"/>
                    <a:pt x="221555" y="106301"/>
                    <a:pt x="221555" y="75104"/>
                  </a:cubicBezTo>
                  <a:cubicBezTo>
                    <a:pt x="221555" y="47086"/>
                    <a:pt x="214055" y="37604"/>
                    <a:pt x="199055" y="30104"/>
                  </a:cubicBezTo>
                  <a:cubicBezTo>
                    <a:pt x="199055" y="30104"/>
                    <a:pt x="199055" y="150104"/>
                    <a:pt x="199055" y="135104"/>
                  </a:cubicBezTo>
                  <a:close/>
                  <a:moveTo>
                    <a:pt x="101555" y="195104"/>
                  </a:moveTo>
                  <a:lnTo>
                    <a:pt x="116555" y="195104"/>
                  </a:lnTo>
                  <a:cubicBezTo>
                    <a:pt x="124839" y="195104"/>
                    <a:pt x="131555" y="188388"/>
                    <a:pt x="131555" y="180104"/>
                  </a:cubicBezTo>
                  <a:cubicBezTo>
                    <a:pt x="131555" y="171819"/>
                    <a:pt x="124839" y="165104"/>
                    <a:pt x="116555" y="165104"/>
                  </a:cubicBezTo>
                  <a:lnTo>
                    <a:pt x="101555" y="165104"/>
                  </a:lnTo>
                  <a:lnTo>
                    <a:pt x="101555" y="150104"/>
                  </a:lnTo>
                  <a:lnTo>
                    <a:pt x="116555" y="150104"/>
                  </a:lnTo>
                  <a:cubicBezTo>
                    <a:pt x="124839" y="150104"/>
                    <a:pt x="131555" y="143388"/>
                    <a:pt x="131555" y="135104"/>
                  </a:cubicBezTo>
                  <a:cubicBezTo>
                    <a:pt x="131555" y="126819"/>
                    <a:pt x="124839" y="120104"/>
                    <a:pt x="116555" y="120104"/>
                  </a:cubicBezTo>
                  <a:lnTo>
                    <a:pt x="101555" y="120104"/>
                  </a:lnTo>
                  <a:lnTo>
                    <a:pt x="101555" y="105104"/>
                  </a:lnTo>
                  <a:lnTo>
                    <a:pt x="116555" y="105104"/>
                  </a:lnTo>
                  <a:cubicBezTo>
                    <a:pt x="124839" y="105104"/>
                    <a:pt x="131555" y="98388"/>
                    <a:pt x="131555" y="90104"/>
                  </a:cubicBezTo>
                  <a:cubicBezTo>
                    <a:pt x="131555" y="81820"/>
                    <a:pt x="124839" y="75104"/>
                    <a:pt x="116555" y="75104"/>
                  </a:cubicBezTo>
                  <a:lnTo>
                    <a:pt x="101555" y="75104"/>
                  </a:lnTo>
                  <a:cubicBezTo>
                    <a:pt x="101555" y="58535"/>
                    <a:pt x="114986" y="45104"/>
                    <a:pt x="131555" y="45104"/>
                  </a:cubicBezTo>
                  <a:cubicBezTo>
                    <a:pt x="148124" y="45104"/>
                    <a:pt x="161555" y="58535"/>
                    <a:pt x="161555" y="75104"/>
                  </a:cubicBezTo>
                  <a:lnTo>
                    <a:pt x="161555" y="195104"/>
                  </a:lnTo>
                  <a:cubicBezTo>
                    <a:pt x="161555" y="211673"/>
                    <a:pt x="148124" y="225104"/>
                    <a:pt x="131555" y="225104"/>
                  </a:cubicBezTo>
                  <a:cubicBezTo>
                    <a:pt x="114986" y="225104"/>
                    <a:pt x="101555" y="211673"/>
                    <a:pt x="101555" y="195104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2" name="Полилиния 1271">
              <a:extLst>
                <a:ext uri="{FF2B5EF4-FFF2-40B4-BE49-F238E27FC236}">
                  <a16:creationId xmlns:a16="http://schemas.microsoft.com/office/drawing/2014/main" id="{2000F128-2C83-7141-A425-C4D820E0D5AC}"/>
                </a:ext>
              </a:extLst>
            </p:cNvPr>
            <p:cNvSpPr/>
            <p:nvPr/>
          </p:nvSpPr>
          <p:spPr>
            <a:xfrm>
              <a:off x="6811388" y="3732037"/>
              <a:ext cx="225000" cy="30000"/>
            </a:xfrm>
            <a:custGeom>
              <a:avLst/>
              <a:gdLst>
                <a:gd name="connsiteX0" fmla="*/ 15000 w 225000"/>
                <a:gd name="connsiteY0" fmla="*/ 0 h 30000"/>
                <a:gd name="connsiteX1" fmla="*/ 210000 w 225000"/>
                <a:gd name="connsiteY1" fmla="*/ 0 h 30000"/>
                <a:gd name="connsiteX2" fmla="*/ 225000 w 225000"/>
                <a:gd name="connsiteY2" fmla="*/ 15000 h 30000"/>
                <a:gd name="connsiteX3" fmla="*/ 225000 w 225000"/>
                <a:gd name="connsiteY3" fmla="*/ 30000 h 30000"/>
                <a:gd name="connsiteX4" fmla="*/ 0 w 225000"/>
                <a:gd name="connsiteY4" fmla="*/ 30000 h 30000"/>
                <a:gd name="connsiteX5" fmla="*/ 0 w 225000"/>
                <a:gd name="connsiteY5" fmla="*/ 15000 h 30000"/>
                <a:gd name="connsiteX6" fmla="*/ 15000 w 225000"/>
                <a:gd name="connsiteY6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5000" h="30000">
                  <a:moveTo>
                    <a:pt x="15000" y="0"/>
                  </a:moveTo>
                  <a:lnTo>
                    <a:pt x="210000" y="0"/>
                  </a:lnTo>
                  <a:cubicBezTo>
                    <a:pt x="218285" y="0"/>
                    <a:pt x="225000" y="6716"/>
                    <a:pt x="225000" y="15000"/>
                  </a:cubicBezTo>
                  <a:lnTo>
                    <a:pt x="225000" y="30000"/>
                  </a:lnTo>
                  <a:lnTo>
                    <a:pt x="0" y="30000"/>
                  </a:ln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73" name="Рисунок 292">
            <a:extLst>
              <a:ext uri="{FF2B5EF4-FFF2-40B4-BE49-F238E27FC236}">
                <a16:creationId xmlns:a16="http://schemas.microsoft.com/office/drawing/2014/main" id="{41408053-CF29-D64A-91CF-EEC13A559AFF}"/>
              </a:ext>
            </a:extLst>
          </p:cNvPr>
          <p:cNvGrpSpPr/>
          <p:nvPr/>
        </p:nvGrpSpPr>
        <p:grpSpPr>
          <a:xfrm>
            <a:off x="7458068" y="3115315"/>
            <a:ext cx="367058" cy="360000"/>
            <a:chOff x="7491521" y="3432037"/>
            <a:chExt cx="367058" cy="360000"/>
          </a:xfrm>
        </p:grpSpPr>
        <p:sp>
          <p:nvSpPr>
            <p:cNvPr id="1274" name="Полилиния 1273">
              <a:extLst>
                <a:ext uri="{FF2B5EF4-FFF2-40B4-BE49-F238E27FC236}">
                  <a16:creationId xmlns:a16="http://schemas.microsoft.com/office/drawing/2014/main" id="{2367D972-9973-1849-974F-287AA365BE25}"/>
                </a:ext>
              </a:extLst>
            </p:cNvPr>
            <p:cNvSpPr/>
            <p:nvPr/>
          </p:nvSpPr>
          <p:spPr>
            <a:xfrm>
              <a:off x="7491521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5" name="Полилиния 1274">
              <a:extLst>
                <a:ext uri="{FF2B5EF4-FFF2-40B4-BE49-F238E27FC236}">
                  <a16:creationId xmlns:a16="http://schemas.microsoft.com/office/drawing/2014/main" id="{7FDB5872-012A-BE40-BC75-AD3C280ABADA}"/>
                </a:ext>
              </a:extLst>
            </p:cNvPr>
            <p:cNvSpPr/>
            <p:nvPr/>
          </p:nvSpPr>
          <p:spPr>
            <a:xfrm rot="2700000">
              <a:off x="7592988" y="3591317"/>
              <a:ext cx="63640" cy="164863"/>
            </a:xfrm>
            <a:custGeom>
              <a:avLst/>
              <a:gdLst>
                <a:gd name="connsiteX0" fmla="*/ 2000 w 63640"/>
                <a:gd name="connsiteY0" fmla="*/ 0 h 164863"/>
                <a:gd name="connsiteX1" fmla="*/ 0 w 63640"/>
                <a:gd name="connsiteY1" fmla="*/ 133043 h 164863"/>
                <a:gd name="connsiteX2" fmla="*/ 31820 w 63640"/>
                <a:gd name="connsiteY2" fmla="*/ 164864 h 164863"/>
                <a:gd name="connsiteX3" fmla="*/ 63640 w 63640"/>
                <a:gd name="connsiteY3" fmla="*/ 133043 h 164863"/>
                <a:gd name="connsiteX4" fmla="*/ 42426 w 63640"/>
                <a:gd name="connsiteY4" fmla="*/ 111830 h 164863"/>
                <a:gd name="connsiteX5" fmla="*/ 63022 w 63640"/>
                <a:gd name="connsiteY5" fmla="*/ 91235 h 164863"/>
                <a:gd name="connsiteX6" fmla="*/ 41809 w 63640"/>
                <a:gd name="connsiteY6" fmla="*/ 70022 h 164863"/>
                <a:gd name="connsiteX7" fmla="*/ 63640 w 63640"/>
                <a:gd name="connsiteY7" fmla="*/ 48191 h 164863"/>
                <a:gd name="connsiteX8" fmla="*/ 61788 w 63640"/>
                <a:gd name="connsiteY8" fmla="*/ 0 h 164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640" h="164863">
                  <a:moveTo>
                    <a:pt x="2000" y="0"/>
                  </a:moveTo>
                  <a:lnTo>
                    <a:pt x="0" y="133043"/>
                  </a:lnTo>
                  <a:lnTo>
                    <a:pt x="31820" y="164864"/>
                  </a:lnTo>
                  <a:lnTo>
                    <a:pt x="63640" y="133043"/>
                  </a:lnTo>
                  <a:lnTo>
                    <a:pt x="42426" y="111830"/>
                  </a:lnTo>
                  <a:lnTo>
                    <a:pt x="63022" y="91235"/>
                  </a:lnTo>
                  <a:lnTo>
                    <a:pt x="41809" y="70022"/>
                  </a:lnTo>
                  <a:lnTo>
                    <a:pt x="63640" y="48191"/>
                  </a:lnTo>
                  <a:lnTo>
                    <a:pt x="61788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6" name="Полилиния 1275">
              <a:extLst>
                <a:ext uri="{FF2B5EF4-FFF2-40B4-BE49-F238E27FC236}">
                  <a16:creationId xmlns:a16="http://schemas.microsoft.com/office/drawing/2014/main" id="{3D2C56B0-EF04-9647-816E-BBF1C5F6CB67}"/>
                </a:ext>
              </a:extLst>
            </p:cNvPr>
            <p:cNvSpPr/>
            <p:nvPr/>
          </p:nvSpPr>
          <p:spPr>
            <a:xfrm rot="2700000">
              <a:off x="7641299" y="3476816"/>
              <a:ext cx="180000" cy="180000"/>
            </a:xfrm>
            <a:custGeom>
              <a:avLst/>
              <a:gdLst>
                <a:gd name="connsiteX0" fmla="*/ 90000 w 180000"/>
                <a:gd name="connsiteY0" fmla="*/ 180000 h 180000"/>
                <a:gd name="connsiteX1" fmla="*/ 0 w 180000"/>
                <a:gd name="connsiteY1" fmla="*/ 90000 h 180000"/>
                <a:gd name="connsiteX2" fmla="*/ 90000 w 180000"/>
                <a:gd name="connsiteY2" fmla="*/ 0 h 180000"/>
                <a:gd name="connsiteX3" fmla="*/ 180000 w 180000"/>
                <a:gd name="connsiteY3" fmla="*/ 90000 h 180000"/>
                <a:gd name="connsiteX4" fmla="*/ 90000 w 180000"/>
                <a:gd name="connsiteY4" fmla="*/ 180000 h 180000"/>
                <a:gd name="connsiteX5" fmla="*/ 92886 w 180000"/>
                <a:gd name="connsiteY5" fmla="*/ 91287 h 180000"/>
                <a:gd name="connsiteX6" fmla="*/ 115386 w 180000"/>
                <a:gd name="connsiteY6" fmla="*/ 68787 h 180000"/>
                <a:gd name="connsiteX7" fmla="*/ 92886 w 180000"/>
                <a:gd name="connsiteY7" fmla="*/ 46287 h 180000"/>
                <a:gd name="connsiteX8" fmla="*/ 70386 w 180000"/>
                <a:gd name="connsiteY8" fmla="*/ 68787 h 180000"/>
                <a:gd name="connsiteX9" fmla="*/ 92886 w 180000"/>
                <a:gd name="connsiteY9" fmla="*/ 91287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000" h="180000">
                  <a:moveTo>
                    <a:pt x="90000" y="180000"/>
                  </a:moveTo>
                  <a:cubicBezTo>
                    <a:pt x="40295" y="180000"/>
                    <a:pt x="0" y="139706"/>
                    <a:pt x="0" y="90000"/>
                  </a:cubicBezTo>
                  <a:cubicBezTo>
                    <a:pt x="0" y="40294"/>
                    <a:pt x="40295" y="0"/>
                    <a:pt x="90000" y="0"/>
                  </a:cubicBezTo>
                  <a:cubicBezTo>
                    <a:pt x="139706" y="0"/>
                    <a:pt x="180000" y="40294"/>
                    <a:pt x="180000" y="90000"/>
                  </a:cubicBezTo>
                  <a:cubicBezTo>
                    <a:pt x="180000" y="139706"/>
                    <a:pt x="139706" y="180000"/>
                    <a:pt x="90000" y="180000"/>
                  </a:cubicBezTo>
                  <a:close/>
                  <a:moveTo>
                    <a:pt x="92886" y="91287"/>
                  </a:moveTo>
                  <a:cubicBezTo>
                    <a:pt x="105312" y="91287"/>
                    <a:pt x="115386" y="81213"/>
                    <a:pt x="115386" y="68787"/>
                  </a:cubicBezTo>
                  <a:cubicBezTo>
                    <a:pt x="115386" y="56360"/>
                    <a:pt x="105312" y="46287"/>
                    <a:pt x="92886" y="46287"/>
                  </a:cubicBezTo>
                  <a:cubicBezTo>
                    <a:pt x="80459" y="46287"/>
                    <a:pt x="70386" y="56360"/>
                    <a:pt x="70386" y="68787"/>
                  </a:cubicBezTo>
                  <a:cubicBezTo>
                    <a:pt x="70386" y="81213"/>
                    <a:pt x="80459" y="91287"/>
                    <a:pt x="92886" y="91287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77" name="Рисунок 293">
            <a:extLst>
              <a:ext uri="{FF2B5EF4-FFF2-40B4-BE49-F238E27FC236}">
                <a16:creationId xmlns:a16="http://schemas.microsoft.com/office/drawing/2014/main" id="{2ED6C92C-429B-4E47-A7FE-ADEED1A851C9}"/>
              </a:ext>
            </a:extLst>
          </p:cNvPr>
          <p:cNvGrpSpPr/>
          <p:nvPr/>
        </p:nvGrpSpPr>
        <p:grpSpPr>
          <a:xfrm>
            <a:off x="8213201" y="3115315"/>
            <a:ext cx="360000" cy="360000"/>
            <a:chOff x="8246654" y="3432037"/>
            <a:chExt cx="360000" cy="360000"/>
          </a:xfrm>
        </p:grpSpPr>
        <p:sp>
          <p:nvSpPr>
            <p:cNvPr id="1278" name="Полилиния 1277">
              <a:extLst>
                <a:ext uri="{FF2B5EF4-FFF2-40B4-BE49-F238E27FC236}">
                  <a16:creationId xmlns:a16="http://schemas.microsoft.com/office/drawing/2014/main" id="{72BD5F74-A23F-E641-A5CF-2D1A44FD0D12}"/>
                </a:ext>
              </a:extLst>
            </p:cNvPr>
            <p:cNvSpPr/>
            <p:nvPr/>
          </p:nvSpPr>
          <p:spPr>
            <a:xfrm>
              <a:off x="8246654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9" name="Полилиния 1278">
              <a:extLst>
                <a:ext uri="{FF2B5EF4-FFF2-40B4-BE49-F238E27FC236}">
                  <a16:creationId xmlns:a16="http://schemas.microsoft.com/office/drawing/2014/main" id="{5FCECAA6-091B-0648-B552-628CFD24E43A}"/>
                </a:ext>
              </a:extLst>
            </p:cNvPr>
            <p:cNvSpPr/>
            <p:nvPr/>
          </p:nvSpPr>
          <p:spPr>
            <a:xfrm>
              <a:off x="8397423" y="3447037"/>
              <a:ext cx="119230" cy="109743"/>
            </a:xfrm>
            <a:custGeom>
              <a:avLst/>
              <a:gdLst>
                <a:gd name="connsiteX0" fmla="*/ 28461 w 119230"/>
                <a:gd name="connsiteY0" fmla="*/ 109743 h 109743"/>
                <a:gd name="connsiteX1" fmla="*/ 0 w 119230"/>
                <a:gd name="connsiteY1" fmla="*/ 100257 h 109743"/>
                <a:gd name="connsiteX2" fmla="*/ 55593 w 119230"/>
                <a:gd name="connsiteY2" fmla="*/ 37948 h 109743"/>
                <a:gd name="connsiteX3" fmla="*/ 89231 w 119230"/>
                <a:gd name="connsiteY3" fmla="*/ 0 h 109743"/>
                <a:gd name="connsiteX4" fmla="*/ 119231 w 119230"/>
                <a:gd name="connsiteY4" fmla="*/ 0 h 109743"/>
                <a:gd name="connsiteX5" fmla="*/ 62868 w 119230"/>
                <a:gd name="connsiteY5" fmla="*/ 67052 h 109743"/>
                <a:gd name="connsiteX6" fmla="*/ 28461 w 119230"/>
                <a:gd name="connsiteY6" fmla="*/ 109743 h 10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230" h="109743">
                  <a:moveTo>
                    <a:pt x="28461" y="109743"/>
                  </a:moveTo>
                  <a:lnTo>
                    <a:pt x="0" y="100257"/>
                  </a:lnTo>
                  <a:cubicBezTo>
                    <a:pt x="11470" y="65845"/>
                    <a:pt x="29871" y="44378"/>
                    <a:pt x="55593" y="37948"/>
                  </a:cubicBezTo>
                  <a:cubicBezTo>
                    <a:pt x="68985" y="34600"/>
                    <a:pt x="89231" y="13043"/>
                    <a:pt x="89231" y="0"/>
                  </a:cubicBezTo>
                  <a:lnTo>
                    <a:pt x="119231" y="0"/>
                  </a:lnTo>
                  <a:cubicBezTo>
                    <a:pt x="119231" y="26957"/>
                    <a:pt x="89476" y="60400"/>
                    <a:pt x="62868" y="67052"/>
                  </a:cubicBezTo>
                  <a:cubicBezTo>
                    <a:pt x="48591" y="70622"/>
                    <a:pt x="36990" y="84155"/>
                    <a:pt x="28461" y="109743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280" name="Полилиния 1279">
              <a:extLst>
                <a:ext uri="{FF2B5EF4-FFF2-40B4-BE49-F238E27FC236}">
                  <a16:creationId xmlns:a16="http://schemas.microsoft.com/office/drawing/2014/main" id="{C6070C1B-3B04-D346-8FFB-CA411AC89FA4}"/>
                </a:ext>
              </a:extLst>
            </p:cNvPr>
            <p:cNvSpPr/>
            <p:nvPr/>
          </p:nvSpPr>
          <p:spPr>
            <a:xfrm>
              <a:off x="8261654" y="3537037"/>
              <a:ext cx="330000" cy="210000"/>
            </a:xfrm>
            <a:custGeom>
              <a:avLst/>
              <a:gdLst>
                <a:gd name="connsiteX0" fmla="*/ 30000 w 330000"/>
                <a:gd name="connsiteY0" fmla="*/ 0 h 210000"/>
                <a:gd name="connsiteX1" fmla="*/ 300000 w 330000"/>
                <a:gd name="connsiteY1" fmla="*/ 0 h 210000"/>
                <a:gd name="connsiteX2" fmla="*/ 330000 w 330000"/>
                <a:gd name="connsiteY2" fmla="*/ 30000 h 210000"/>
                <a:gd name="connsiteX3" fmla="*/ 330000 w 330000"/>
                <a:gd name="connsiteY3" fmla="*/ 180000 h 210000"/>
                <a:gd name="connsiteX4" fmla="*/ 300000 w 330000"/>
                <a:gd name="connsiteY4" fmla="*/ 210000 h 210000"/>
                <a:gd name="connsiteX5" fmla="*/ 30000 w 330000"/>
                <a:gd name="connsiteY5" fmla="*/ 210000 h 210000"/>
                <a:gd name="connsiteX6" fmla="*/ 0 w 330000"/>
                <a:gd name="connsiteY6" fmla="*/ 180000 h 210000"/>
                <a:gd name="connsiteX7" fmla="*/ 0 w 330000"/>
                <a:gd name="connsiteY7" fmla="*/ 30000 h 210000"/>
                <a:gd name="connsiteX8" fmla="*/ 30000 w 330000"/>
                <a:gd name="connsiteY8" fmla="*/ 0 h 210000"/>
                <a:gd name="connsiteX9" fmla="*/ 97500 w 330000"/>
                <a:gd name="connsiteY9" fmla="*/ 30000 h 210000"/>
                <a:gd name="connsiteX10" fmla="*/ 90000 w 330000"/>
                <a:gd name="connsiteY10" fmla="*/ 37500 h 210000"/>
                <a:gd name="connsiteX11" fmla="*/ 90000 w 330000"/>
                <a:gd name="connsiteY11" fmla="*/ 52500 h 210000"/>
                <a:gd name="connsiteX12" fmla="*/ 97500 w 330000"/>
                <a:gd name="connsiteY12" fmla="*/ 60000 h 210000"/>
                <a:gd name="connsiteX13" fmla="*/ 112500 w 330000"/>
                <a:gd name="connsiteY13" fmla="*/ 60000 h 210000"/>
                <a:gd name="connsiteX14" fmla="*/ 120000 w 330000"/>
                <a:gd name="connsiteY14" fmla="*/ 52500 h 210000"/>
                <a:gd name="connsiteX15" fmla="*/ 120000 w 330000"/>
                <a:gd name="connsiteY15" fmla="*/ 37500 h 210000"/>
                <a:gd name="connsiteX16" fmla="*/ 112500 w 330000"/>
                <a:gd name="connsiteY16" fmla="*/ 30000 h 210000"/>
                <a:gd name="connsiteX17" fmla="*/ 97500 w 330000"/>
                <a:gd name="connsiteY17" fmla="*/ 30000 h 210000"/>
                <a:gd name="connsiteX18" fmla="*/ 37500 w 330000"/>
                <a:gd name="connsiteY18" fmla="*/ 30000 h 210000"/>
                <a:gd name="connsiteX19" fmla="*/ 30000 w 330000"/>
                <a:gd name="connsiteY19" fmla="*/ 37500 h 210000"/>
                <a:gd name="connsiteX20" fmla="*/ 30000 w 330000"/>
                <a:gd name="connsiteY20" fmla="*/ 52500 h 210000"/>
                <a:gd name="connsiteX21" fmla="*/ 37500 w 330000"/>
                <a:gd name="connsiteY21" fmla="*/ 60000 h 210000"/>
                <a:gd name="connsiteX22" fmla="*/ 52500 w 330000"/>
                <a:gd name="connsiteY22" fmla="*/ 60000 h 210000"/>
                <a:gd name="connsiteX23" fmla="*/ 60000 w 330000"/>
                <a:gd name="connsiteY23" fmla="*/ 52500 h 210000"/>
                <a:gd name="connsiteX24" fmla="*/ 60000 w 330000"/>
                <a:gd name="connsiteY24" fmla="*/ 37500 h 210000"/>
                <a:gd name="connsiteX25" fmla="*/ 52500 w 330000"/>
                <a:gd name="connsiteY25" fmla="*/ 30000 h 210000"/>
                <a:gd name="connsiteX26" fmla="*/ 37500 w 330000"/>
                <a:gd name="connsiteY26" fmla="*/ 30000 h 210000"/>
                <a:gd name="connsiteX27" fmla="*/ 67500 w 330000"/>
                <a:gd name="connsiteY27" fmla="*/ 90000 h 210000"/>
                <a:gd name="connsiteX28" fmla="*/ 60000 w 330000"/>
                <a:gd name="connsiteY28" fmla="*/ 97500 h 210000"/>
                <a:gd name="connsiteX29" fmla="*/ 60000 w 330000"/>
                <a:gd name="connsiteY29" fmla="*/ 112500 h 210000"/>
                <a:gd name="connsiteX30" fmla="*/ 67500 w 330000"/>
                <a:gd name="connsiteY30" fmla="*/ 120000 h 210000"/>
                <a:gd name="connsiteX31" fmla="*/ 82500 w 330000"/>
                <a:gd name="connsiteY31" fmla="*/ 120000 h 210000"/>
                <a:gd name="connsiteX32" fmla="*/ 90000 w 330000"/>
                <a:gd name="connsiteY32" fmla="*/ 112500 h 210000"/>
                <a:gd name="connsiteX33" fmla="*/ 90000 w 330000"/>
                <a:gd name="connsiteY33" fmla="*/ 97500 h 210000"/>
                <a:gd name="connsiteX34" fmla="*/ 82500 w 330000"/>
                <a:gd name="connsiteY34" fmla="*/ 90000 h 210000"/>
                <a:gd name="connsiteX35" fmla="*/ 67500 w 330000"/>
                <a:gd name="connsiteY35" fmla="*/ 90000 h 210000"/>
                <a:gd name="connsiteX36" fmla="*/ 127500 w 330000"/>
                <a:gd name="connsiteY36" fmla="*/ 90000 h 210000"/>
                <a:gd name="connsiteX37" fmla="*/ 120000 w 330000"/>
                <a:gd name="connsiteY37" fmla="*/ 97500 h 210000"/>
                <a:gd name="connsiteX38" fmla="*/ 120000 w 330000"/>
                <a:gd name="connsiteY38" fmla="*/ 112500 h 210000"/>
                <a:gd name="connsiteX39" fmla="*/ 127500 w 330000"/>
                <a:gd name="connsiteY39" fmla="*/ 120000 h 210000"/>
                <a:gd name="connsiteX40" fmla="*/ 142500 w 330000"/>
                <a:gd name="connsiteY40" fmla="*/ 120000 h 210000"/>
                <a:gd name="connsiteX41" fmla="*/ 150000 w 330000"/>
                <a:gd name="connsiteY41" fmla="*/ 112500 h 210000"/>
                <a:gd name="connsiteX42" fmla="*/ 150000 w 330000"/>
                <a:gd name="connsiteY42" fmla="*/ 97500 h 210000"/>
                <a:gd name="connsiteX43" fmla="*/ 142500 w 330000"/>
                <a:gd name="connsiteY43" fmla="*/ 90000 h 210000"/>
                <a:gd name="connsiteX44" fmla="*/ 127500 w 330000"/>
                <a:gd name="connsiteY44" fmla="*/ 90000 h 210000"/>
                <a:gd name="connsiteX45" fmla="*/ 187500 w 330000"/>
                <a:gd name="connsiteY45" fmla="*/ 90000 h 210000"/>
                <a:gd name="connsiteX46" fmla="*/ 180000 w 330000"/>
                <a:gd name="connsiteY46" fmla="*/ 97500 h 210000"/>
                <a:gd name="connsiteX47" fmla="*/ 180000 w 330000"/>
                <a:gd name="connsiteY47" fmla="*/ 112500 h 210000"/>
                <a:gd name="connsiteX48" fmla="*/ 187500 w 330000"/>
                <a:gd name="connsiteY48" fmla="*/ 120000 h 210000"/>
                <a:gd name="connsiteX49" fmla="*/ 202500 w 330000"/>
                <a:gd name="connsiteY49" fmla="*/ 120000 h 210000"/>
                <a:gd name="connsiteX50" fmla="*/ 210000 w 330000"/>
                <a:gd name="connsiteY50" fmla="*/ 112500 h 210000"/>
                <a:gd name="connsiteX51" fmla="*/ 210000 w 330000"/>
                <a:gd name="connsiteY51" fmla="*/ 97500 h 210000"/>
                <a:gd name="connsiteX52" fmla="*/ 202500 w 330000"/>
                <a:gd name="connsiteY52" fmla="*/ 90000 h 210000"/>
                <a:gd name="connsiteX53" fmla="*/ 187500 w 330000"/>
                <a:gd name="connsiteY53" fmla="*/ 90000 h 210000"/>
                <a:gd name="connsiteX54" fmla="*/ 247500 w 330000"/>
                <a:gd name="connsiteY54" fmla="*/ 90000 h 210000"/>
                <a:gd name="connsiteX55" fmla="*/ 240000 w 330000"/>
                <a:gd name="connsiteY55" fmla="*/ 97500 h 210000"/>
                <a:gd name="connsiteX56" fmla="*/ 240000 w 330000"/>
                <a:gd name="connsiteY56" fmla="*/ 112500 h 210000"/>
                <a:gd name="connsiteX57" fmla="*/ 247500 w 330000"/>
                <a:gd name="connsiteY57" fmla="*/ 120000 h 210000"/>
                <a:gd name="connsiteX58" fmla="*/ 262500 w 330000"/>
                <a:gd name="connsiteY58" fmla="*/ 120000 h 210000"/>
                <a:gd name="connsiteX59" fmla="*/ 270000 w 330000"/>
                <a:gd name="connsiteY59" fmla="*/ 112500 h 210000"/>
                <a:gd name="connsiteX60" fmla="*/ 270000 w 330000"/>
                <a:gd name="connsiteY60" fmla="*/ 97500 h 210000"/>
                <a:gd name="connsiteX61" fmla="*/ 262500 w 330000"/>
                <a:gd name="connsiteY61" fmla="*/ 90000 h 210000"/>
                <a:gd name="connsiteX62" fmla="*/ 247500 w 330000"/>
                <a:gd name="connsiteY62" fmla="*/ 90000 h 210000"/>
                <a:gd name="connsiteX63" fmla="*/ 157500 w 330000"/>
                <a:gd name="connsiteY63" fmla="*/ 30000 h 210000"/>
                <a:gd name="connsiteX64" fmla="*/ 150000 w 330000"/>
                <a:gd name="connsiteY64" fmla="*/ 37500 h 210000"/>
                <a:gd name="connsiteX65" fmla="*/ 150000 w 330000"/>
                <a:gd name="connsiteY65" fmla="*/ 52500 h 210000"/>
                <a:gd name="connsiteX66" fmla="*/ 157500 w 330000"/>
                <a:gd name="connsiteY66" fmla="*/ 60000 h 210000"/>
                <a:gd name="connsiteX67" fmla="*/ 172500 w 330000"/>
                <a:gd name="connsiteY67" fmla="*/ 60000 h 210000"/>
                <a:gd name="connsiteX68" fmla="*/ 180000 w 330000"/>
                <a:gd name="connsiteY68" fmla="*/ 52500 h 210000"/>
                <a:gd name="connsiteX69" fmla="*/ 180000 w 330000"/>
                <a:gd name="connsiteY69" fmla="*/ 37500 h 210000"/>
                <a:gd name="connsiteX70" fmla="*/ 172500 w 330000"/>
                <a:gd name="connsiteY70" fmla="*/ 30000 h 210000"/>
                <a:gd name="connsiteX71" fmla="*/ 157500 w 330000"/>
                <a:gd name="connsiteY71" fmla="*/ 30000 h 210000"/>
                <a:gd name="connsiteX72" fmla="*/ 67500 w 330000"/>
                <a:gd name="connsiteY72" fmla="*/ 150000 h 210000"/>
                <a:gd name="connsiteX73" fmla="*/ 60000 w 330000"/>
                <a:gd name="connsiteY73" fmla="*/ 157500 h 210000"/>
                <a:gd name="connsiteX74" fmla="*/ 60000 w 330000"/>
                <a:gd name="connsiteY74" fmla="*/ 172500 h 210000"/>
                <a:gd name="connsiteX75" fmla="*/ 67500 w 330000"/>
                <a:gd name="connsiteY75" fmla="*/ 180000 h 210000"/>
                <a:gd name="connsiteX76" fmla="*/ 262500 w 330000"/>
                <a:gd name="connsiteY76" fmla="*/ 180000 h 210000"/>
                <a:gd name="connsiteX77" fmla="*/ 270000 w 330000"/>
                <a:gd name="connsiteY77" fmla="*/ 172500 h 210000"/>
                <a:gd name="connsiteX78" fmla="*/ 270000 w 330000"/>
                <a:gd name="connsiteY78" fmla="*/ 157500 h 210000"/>
                <a:gd name="connsiteX79" fmla="*/ 262500 w 330000"/>
                <a:gd name="connsiteY79" fmla="*/ 150000 h 210000"/>
                <a:gd name="connsiteX80" fmla="*/ 67500 w 330000"/>
                <a:gd name="connsiteY80" fmla="*/ 150000 h 210000"/>
                <a:gd name="connsiteX81" fmla="*/ 217500 w 330000"/>
                <a:gd name="connsiteY81" fmla="*/ 30000 h 210000"/>
                <a:gd name="connsiteX82" fmla="*/ 210000 w 330000"/>
                <a:gd name="connsiteY82" fmla="*/ 37500 h 210000"/>
                <a:gd name="connsiteX83" fmla="*/ 210000 w 330000"/>
                <a:gd name="connsiteY83" fmla="*/ 52500 h 210000"/>
                <a:gd name="connsiteX84" fmla="*/ 217500 w 330000"/>
                <a:gd name="connsiteY84" fmla="*/ 60000 h 210000"/>
                <a:gd name="connsiteX85" fmla="*/ 232500 w 330000"/>
                <a:gd name="connsiteY85" fmla="*/ 60000 h 210000"/>
                <a:gd name="connsiteX86" fmla="*/ 240000 w 330000"/>
                <a:gd name="connsiteY86" fmla="*/ 52500 h 210000"/>
                <a:gd name="connsiteX87" fmla="*/ 240000 w 330000"/>
                <a:gd name="connsiteY87" fmla="*/ 37500 h 210000"/>
                <a:gd name="connsiteX88" fmla="*/ 232500 w 330000"/>
                <a:gd name="connsiteY88" fmla="*/ 30000 h 210000"/>
                <a:gd name="connsiteX89" fmla="*/ 217500 w 330000"/>
                <a:gd name="connsiteY89" fmla="*/ 30000 h 210000"/>
                <a:gd name="connsiteX90" fmla="*/ 277500 w 330000"/>
                <a:gd name="connsiteY90" fmla="*/ 30000 h 210000"/>
                <a:gd name="connsiteX91" fmla="*/ 270000 w 330000"/>
                <a:gd name="connsiteY91" fmla="*/ 37500 h 210000"/>
                <a:gd name="connsiteX92" fmla="*/ 270000 w 330000"/>
                <a:gd name="connsiteY92" fmla="*/ 52500 h 210000"/>
                <a:gd name="connsiteX93" fmla="*/ 277500 w 330000"/>
                <a:gd name="connsiteY93" fmla="*/ 60000 h 210000"/>
                <a:gd name="connsiteX94" fmla="*/ 292500 w 330000"/>
                <a:gd name="connsiteY94" fmla="*/ 60000 h 210000"/>
                <a:gd name="connsiteX95" fmla="*/ 300000 w 330000"/>
                <a:gd name="connsiteY95" fmla="*/ 52500 h 210000"/>
                <a:gd name="connsiteX96" fmla="*/ 300000 w 330000"/>
                <a:gd name="connsiteY96" fmla="*/ 37500 h 210000"/>
                <a:gd name="connsiteX97" fmla="*/ 292500 w 330000"/>
                <a:gd name="connsiteY97" fmla="*/ 30000 h 210000"/>
                <a:gd name="connsiteX98" fmla="*/ 277500 w 330000"/>
                <a:gd name="connsiteY98" fmla="*/ 3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330000" h="210000">
                  <a:moveTo>
                    <a:pt x="30000" y="0"/>
                  </a:moveTo>
                  <a:lnTo>
                    <a:pt x="300000" y="0"/>
                  </a:lnTo>
                  <a:cubicBezTo>
                    <a:pt x="316569" y="0"/>
                    <a:pt x="330000" y="13431"/>
                    <a:pt x="330000" y="30000"/>
                  </a:cubicBezTo>
                  <a:lnTo>
                    <a:pt x="330000" y="180000"/>
                  </a:lnTo>
                  <a:cubicBezTo>
                    <a:pt x="330000" y="196569"/>
                    <a:pt x="316569" y="210000"/>
                    <a:pt x="300000" y="210000"/>
                  </a:cubicBezTo>
                  <a:lnTo>
                    <a:pt x="30000" y="210000"/>
                  </a:lnTo>
                  <a:cubicBezTo>
                    <a:pt x="13431" y="210000"/>
                    <a:pt x="0" y="196569"/>
                    <a:pt x="0" y="18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97500" y="30000"/>
                  </a:moveTo>
                  <a:cubicBezTo>
                    <a:pt x="93358" y="30000"/>
                    <a:pt x="90000" y="33358"/>
                    <a:pt x="90000" y="37500"/>
                  </a:cubicBezTo>
                  <a:lnTo>
                    <a:pt x="90000" y="52500"/>
                  </a:lnTo>
                  <a:cubicBezTo>
                    <a:pt x="90000" y="56642"/>
                    <a:pt x="93358" y="60000"/>
                    <a:pt x="97500" y="60000"/>
                  </a:cubicBezTo>
                  <a:lnTo>
                    <a:pt x="112500" y="60000"/>
                  </a:lnTo>
                  <a:cubicBezTo>
                    <a:pt x="116642" y="60000"/>
                    <a:pt x="120000" y="56642"/>
                    <a:pt x="120000" y="52500"/>
                  </a:cubicBezTo>
                  <a:lnTo>
                    <a:pt x="120000" y="37500"/>
                  </a:lnTo>
                  <a:cubicBezTo>
                    <a:pt x="120000" y="33358"/>
                    <a:pt x="116642" y="30000"/>
                    <a:pt x="112500" y="30000"/>
                  </a:cubicBezTo>
                  <a:lnTo>
                    <a:pt x="97500" y="30000"/>
                  </a:lnTo>
                  <a:close/>
                  <a:moveTo>
                    <a:pt x="37500" y="30000"/>
                  </a:moveTo>
                  <a:cubicBezTo>
                    <a:pt x="33358" y="30000"/>
                    <a:pt x="30000" y="33358"/>
                    <a:pt x="30000" y="37500"/>
                  </a:cubicBezTo>
                  <a:lnTo>
                    <a:pt x="30000" y="52500"/>
                  </a:lnTo>
                  <a:cubicBezTo>
                    <a:pt x="30000" y="56642"/>
                    <a:pt x="33358" y="60000"/>
                    <a:pt x="37500" y="60000"/>
                  </a:cubicBezTo>
                  <a:lnTo>
                    <a:pt x="52500" y="60000"/>
                  </a:lnTo>
                  <a:cubicBezTo>
                    <a:pt x="56642" y="60000"/>
                    <a:pt x="60000" y="56642"/>
                    <a:pt x="60000" y="52500"/>
                  </a:cubicBezTo>
                  <a:lnTo>
                    <a:pt x="60000" y="37500"/>
                  </a:lnTo>
                  <a:cubicBezTo>
                    <a:pt x="60000" y="33358"/>
                    <a:pt x="56642" y="30000"/>
                    <a:pt x="52500" y="30000"/>
                  </a:cubicBezTo>
                  <a:lnTo>
                    <a:pt x="37500" y="30000"/>
                  </a:lnTo>
                  <a:close/>
                  <a:moveTo>
                    <a:pt x="67500" y="90000"/>
                  </a:moveTo>
                  <a:cubicBezTo>
                    <a:pt x="63358" y="90000"/>
                    <a:pt x="60000" y="93359"/>
                    <a:pt x="60000" y="97500"/>
                  </a:cubicBezTo>
                  <a:lnTo>
                    <a:pt x="60000" y="112500"/>
                  </a:lnTo>
                  <a:cubicBezTo>
                    <a:pt x="60000" y="116642"/>
                    <a:pt x="63358" y="120000"/>
                    <a:pt x="67500" y="120000"/>
                  </a:cubicBezTo>
                  <a:lnTo>
                    <a:pt x="82500" y="120000"/>
                  </a:lnTo>
                  <a:cubicBezTo>
                    <a:pt x="86642" y="120000"/>
                    <a:pt x="90000" y="116642"/>
                    <a:pt x="90000" y="112500"/>
                  </a:cubicBezTo>
                  <a:lnTo>
                    <a:pt x="90000" y="97500"/>
                  </a:lnTo>
                  <a:cubicBezTo>
                    <a:pt x="90000" y="93359"/>
                    <a:pt x="86642" y="90000"/>
                    <a:pt x="82500" y="90000"/>
                  </a:cubicBezTo>
                  <a:lnTo>
                    <a:pt x="67500" y="90000"/>
                  </a:lnTo>
                  <a:close/>
                  <a:moveTo>
                    <a:pt x="127500" y="90000"/>
                  </a:moveTo>
                  <a:cubicBezTo>
                    <a:pt x="123358" y="90000"/>
                    <a:pt x="120000" y="93359"/>
                    <a:pt x="120000" y="97500"/>
                  </a:cubicBezTo>
                  <a:lnTo>
                    <a:pt x="120000" y="112500"/>
                  </a:lnTo>
                  <a:cubicBezTo>
                    <a:pt x="120000" y="116642"/>
                    <a:pt x="123358" y="120000"/>
                    <a:pt x="127500" y="120000"/>
                  </a:cubicBezTo>
                  <a:lnTo>
                    <a:pt x="142500" y="120000"/>
                  </a:lnTo>
                  <a:cubicBezTo>
                    <a:pt x="146642" y="120000"/>
                    <a:pt x="150000" y="116642"/>
                    <a:pt x="150000" y="112500"/>
                  </a:cubicBezTo>
                  <a:lnTo>
                    <a:pt x="150000" y="97500"/>
                  </a:lnTo>
                  <a:cubicBezTo>
                    <a:pt x="150000" y="93359"/>
                    <a:pt x="146642" y="90000"/>
                    <a:pt x="142500" y="90000"/>
                  </a:cubicBezTo>
                  <a:lnTo>
                    <a:pt x="127500" y="90000"/>
                  </a:lnTo>
                  <a:close/>
                  <a:moveTo>
                    <a:pt x="187500" y="90000"/>
                  </a:moveTo>
                  <a:cubicBezTo>
                    <a:pt x="183359" y="90000"/>
                    <a:pt x="180000" y="93359"/>
                    <a:pt x="180000" y="97500"/>
                  </a:cubicBezTo>
                  <a:lnTo>
                    <a:pt x="180000" y="112500"/>
                  </a:lnTo>
                  <a:cubicBezTo>
                    <a:pt x="180000" y="116642"/>
                    <a:pt x="183359" y="120000"/>
                    <a:pt x="187500" y="120000"/>
                  </a:cubicBezTo>
                  <a:lnTo>
                    <a:pt x="202500" y="120000"/>
                  </a:lnTo>
                  <a:cubicBezTo>
                    <a:pt x="206642" y="120000"/>
                    <a:pt x="210000" y="116642"/>
                    <a:pt x="210000" y="112500"/>
                  </a:cubicBezTo>
                  <a:lnTo>
                    <a:pt x="210000" y="97500"/>
                  </a:lnTo>
                  <a:cubicBezTo>
                    <a:pt x="210000" y="93359"/>
                    <a:pt x="206642" y="90000"/>
                    <a:pt x="202500" y="90000"/>
                  </a:cubicBezTo>
                  <a:lnTo>
                    <a:pt x="187500" y="90000"/>
                  </a:lnTo>
                  <a:close/>
                  <a:moveTo>
                    <a:pt x="247500" y="90000"/>
                  </a:moveTo>
                  <a:cubicBezTo>
                    <a:pt x="243359" y="90000"/>
                    <a:pt x="240000" y="93359"/>
                    <a:pt x="240000" y="97500"/>
                  </a:cubicBezTo>
                  <a:lnTo>
                    <a:pt x="240000" y="112500"/>
                  </a:lnTo>
                  <a:cubicBezTo>
                    <a:pt x="240000" y="116642"/>
                    <a:pt x="243359" y="120000"/>
                    <a:pt x="247500" y="120000"/>
                  </a:cubicBezTo>
                  <a:lnTo>
                    <a:pt x="262500" y="120000"/>
                  </a:lnTo>
                  <a:cubicBezTo>
                    <a:pt x="266642" y="120000"/>
                    <a:pt x="270000" y="116642"/>
                    <a:pt x="270000" y="112500"/>
                  </a:cubicBezTo>
                  <a:lnTo>
                    <a:pt x="270000" y="97500"/>
                  </a:lnTo>
                  <a:cubicBezTo>
                    <a:pt x="270000" y="93359"/>
                    <a:pt x="266642" y="90000"/>
                    <a:pt x="262500" y="90000"/>
                  </a:cubicBezTo>
                  <a:lnTo>
                    <a:pt x="247500" y="90000"/>
                  </a:lnTo>
                  <a:close/>
                  <a:moveTo>
                    <a:pt x="157500" y="30000"/>
                  </a:moveTo>
                  <a:cubicBezTo>
                    <a:pt x="153359" y="30000"/>
                    <a:pt x="150000" y="33358"/>
                    <a:pt x="150000" y="37500"/>
                  </a:cubicBezTo>
                  <a:lnTo>
                    <a:pt x="150000" y="52500"/>
                  </a:lnTo>
                  <a:cubicBezTo>
                    <a:pt x="150000" y="56642"/>
                    <a:pt x="153359" y="60000"/>
                    <a:pt x="157500" y="60000"/>
                  </a:cubicBezTo>
                  <a:lnTo>
                    <a:pt x="172500" y="60000"/>
                  </a:lnTo>
                  <a:cubicBezTo>
                    <a:pt x="176642" y="60000"/>
                    <a:pt x="180000" y="56642"/>
                    <a:pt x="180000" y="52500"/>
                  </a:cubicBezTo>
                  <a:lnTo>
                    <a:pt x="180000" y="37500"/>
                  </a:lnTo>
                  <a:cubicBezTo>
                    <a:pt x="180000" y="33358"/>
                    <a:pt x="176642" y="30000"/>
                    <a:pt x="172500" y="30000"/>
                  </a:cubicBezTo>
                  <a:lnTo>
                    <a:pt x="157500" y="30000"/>
                  </a:lnTo>
                  <a:close/>
                  <a:moveTo>
                    <a:pt x="67500" y="150000"/>
                  </a:moveTo>
                  <a:cubicBezTo>
                    <a:pt x="63358" y="150000"/>
                    <a:pt x="60000" y="153359"/>
                    <a:pt x="60000" y="157500"/>
                  </a:cubicBezTo>
                  <a:lnTo>
                    <a:pt x="60000" y="172500"/>
                  </a:lnTo>
                  <a:cubicBezTo>
                    <a:pt x="60000" y="176642"/>
                    <a:pt x="63358" y="180000"/>
                    <a:pt x="67500" y="180000"/>
                  </a:cubicBezTo>
                  <a:lnTo>
                    <a:pt x="262500" y="180000"/>
                  </a:lnTo>
                  <a:cubicBezTo>
                    <a:pt x="266642" y="180000"/>
                    <a:pt x="270000" y="176642"/>
                    <a:pt x="270000" y="172500"/>
                  </a:cubicBezTo>
                  <a:lnTo>
                    <a:pt x="270000" y="157500"/>
                  </a:lnTo>
                  <a:cubicBezTo>
                    <a:pt x="270000" y="153359"/>
                    <a:pt x="266642" y="150000"/>
                    <a:pt x="262500" y="150000"/>
                  </a:cubicBezTo>
                  <a:lnTo>
                    <a:pt x="67500" y="150000"/>
                  </a:lnTo>
                  <a:close/>
                  <a:moveTo>
                    <a:pt x="217500" y="30000"/>
                  </a:moveTo>
                  <a:cubicBezTo>
                    <a:pt x="213359" y="30000"/>
                    <a:pt x="210000" y="33358"/>
                    <a:pt x="210000" y="37500"/>
                  </a:cubicBezTo>
                  <a:lnTo>
                    <a:pt x="210000" y="52500"/>
                  </a:lnTo>
                  <a:cubicBezTo>
                    <a:pt x="210000" y="56642"/>
                    <a:pt x="213359" y="60000"/>
                    <a:pt x="217500" y="60000"/>
                  </a:cubicBezTo>
                  <a:lnTo>
                    <a:pt x="232500" y="60000"/>
                  </a:lnTo>
                  <a:cubicBezTo>
                    <a:pt x="236642" y="60000"/>
                    <a:pt x="240000" y="56642"/>
                    <a:pt x="240000" y="52500"/>
                  </a:cubicBezTo>
                  <a:lnTo>
                    <a:pt x="240000" y="37500"/>
                  </a:lnTo>
                  <a:cubicBezTo>
                    <a:pt x="240000" y="33358"/>
                    <a:pt x="236642" y="30000"/>
                    <a:pt x="232500" y="30000"/>
                  </a:cubicBezTo>
                  <a:lnTo>
                    <a:pt x="217500" y="30000"/>
                  </a:lnTo>
                  <a:close/>
                  <a:moveTo>
                    <a:pt x="277500" y="30000"/>
                  </a:moveTo>
                  <a:cubicBezTo>
                    <a:pt x="273359" y="30000"/>
                    <a:pt x="270000" y="33358"/>
                    <a:pt x="270000" y="37500"/>
                  </a:cubicBezTo>
                  <a:lnTo>
                    <a:pt x="270000" y="52500"/>
                  </a:lnTo>
                  <a:cubicBezTo>
                    <a:pt x="270000" y="56642"/>
                    <a:pt x="273359" y="60000"/>
                    <a:pt x="277500" y="60000"/>
                  </a:cubicBezTo>
                  <a:lnTo>
                    <a:pt x="292500" y="60000"/>
                  </a:lnTo>
                  <a:cubicBezTo>
                    <a:pt x="296642" y="60000"/>
                    <a:pt x="300000" y="56642"/>
                    <a:pt x="300000" y="52500"/>
                  </a:cubicBezTo>
                  <a:lnTo>
                    <a:pt x="300000" y="37500"/>
                  </a:lnTo>
                  <a:cubicBezTo>
                    <a:pt x="300000" y="33358"/>
                    <a:pt x="296642" y="30000"/>
                    <a:pt x="292500" y="30000"/>
                  </a:cubicBezTo>
                  <a:lnTo>
                    <a:pt x="277500" y="3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81" name="Рисунок 294">
            <a:extLst>
              <a:ext uri="{FF2B5EF4-FFF2-40B4-BE49-F238E27FC236}">
                <a16:creationId xmlns:a16="http://schemas.microsoft.com/office/drawing/2014/main" id="{F249712C-51F6-C746-91E0-2EC8A30A615B}"/>
              </a:ext>
            </a:extLst>
          </p:cNvPr>
          <p:cNvGrpSpPr/>
          <p:nvPr/>
        </p:nvGrpSpPr>
        <p:grpSpPr>
          <a:xfrm>
            <a:off x="4437536" y="3115315"/>
            <a:ext cx="360000" cy="360000"/>
            <a:chOff x="4470989" y="3432037"/>
            <a:chExt cx="360000" cy="360000"/>
          </a:xfrm>
        </p:grpSpPr>
        <p:sp>
          <p:nvSpPr>
            <p:cNvPr id="1282" name="Полилиния 1281">
              <a:extLst>
                <a:ext uri="{FF2B5EF4-FFF2-40B4-BE49-F238E27FC236}">
                  <a16:creationId xmlns:a16="http://schemas.microsoft.com/office/drawing/2014/main" id="{F3318AA9-AD21-EB4C-ABDC-B6A3B7B86356}"/>
                </a:ext>
              </a:extLst>
            </p:cNvPr>
            <p:cNvSpPr/>
            <p:nvPr/>
          </p:nvSpPr>
          <p:spPr>
            <a:xfrm>
              <a:off x="4470989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3" name="Полилиния 1282">
              <a:extLst>
                <a:ext uri="{FF2B5EF4-FFF2-40B4-BE49-F238E27FC236}">
                  <a16:creationId xmlns:a16="http://schemas.microsoft.com/office/drawing/2014/main" id="{1A841BED-9131-B848-988F-5877AF7479E2}"/>
                </a:ext>
              </a:extLst>
            </p:cNvPr>
            <p:cNvSpPr/>
            <p:nvPr/>
          </p:nvSpPr>
          <p:spPr>
            <a:xfrm>
              <a:off x="4515989" y="3552037"/>
              <a:ext cx="270000" cy="210000"/>
            </a:xfrm>
            <a:custGeom>
              <a:avLst/>
              <a:gdLst>
                <a:gd name="connsiteX0" fmla="*/ 30000 w 270000"/>
                <a:gd name="connsiteY0" fmla="*/ 0 h 210000"/>
                <a:gd name="connsiteX1" fmla="*/ 240000 w 270000"/>
                <a:gd name="connsiteY1" fmla="*/ 0 h 210000"/>
                <a:gd name="connsiteX2" fmla="*/ 270000 w 270000"/>
                <a:gd name="connsiteY2" fmla="*/ 30000 h 210000"/>
                <a:gd name="connsiteX3" fmla="*/ 270000 w 270000"/>
                <a:gd name="connsiteY3" fmla="*/ 180000 h 210000"/>
                <a:gd name="connsiteX4" fmla="*/ 240000 w 270000"/>
                <a:gd name="connsiteY4" fmla="*/ 210000 h 210000"/>
                <a:gd name="connsiteX5" fmla="*/ 30000 w 270000"/>
                <a:gd name="connsiteY5" fmla="*/ 210000 h 210000"/>
                <a:gd name="connsiteX6" fmla="*/ 0 w 270000"/>
                <a:gd name="connsiteY6" fmla="*/ 180000 h 210000"/>
                <a:gd name="connsiteX7" fmla="*/ 0 w 270000"/>
                <a:gd name="connsiteY7" fmla="*/ 30000 h 210000"/>
                <a:gd name="connsiteX8" fmla="*/ 30000 w 270000"/>
                <a:gd name="connsiteY8" fmla="*/ 0 h 210000"/>
                <a:gd name="connsiteX9" fmla="*/ 135000 w 270000"/>
                <a:gd name="connsiteY9" fmla="*/ 180000 h 210000"/>
                <a:gd name="connsiteX10" fmla="*/ 210000 w 270000"/>
                <a:gd name="connsiteY10" fmla="*/ 105000 h 210000"/>
                <a:gd name="connsiteX11" fmla="*/ 135000 w 270000"/>
                <a:gd name="connsiteY11" fmla="*/ 30000 h 210000"/>
                <a:gd name="connsiteX12" fmla="*/ 60000 w 270000"/>
                <a:gd name="connsiteY12" fmla="*/ 105000 h 210000"/>
                <a:gd name="connsiteX13" fmla="*/ 135000 w 270000"/>
                <a:gd name="connsiteY13" fmla="*/ 180000 h 210000"/>
                <a:gd name="connsiteX14" fmla="*/ 128597 w 270000"/>
                <a:gd name="connsiteY14" fmla="*/ 83424 h 210000"/>
                <a:gd name="connsiteX15" fmla="*/ 135000 w 270000"/>
                <a:gd name="connsiteY15" fmla="*/ 45000 h 210000"/>
                <a:gd name="connsiteX16" fmla="*/ 141404 w 270000"/>
                <a:gd name="connsiteY16" fmla="*/ 83424 h 210000"/>
                <a:gd name="connsiteX17" fmla="*/ 157500 w 270000"/>
                <a:gd name="connsiteY17" fmla="*/ 105000 h 210000"/>
                <a:gd name="connsiteX18" fmla="*/ 135000 w 270000"/>
                <a:gd name="connsiteY18" fmla="*/ 127500 h 210000"/>
                <a:gd name="connsiteX19" fmla="*/ 112500 w 270000"/>
                <a:gd name="connsiteY19" fmla="*/ 105000 h 210000"/>
                <a:gd name="connsiteX20" fmla="*/ 128597 w 270000"/>
                <a:gd name="connsiteY20" fmla="*/ 83424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000" h="210000">
                  <a:moveTo>
                    <a:pt x="30000" y="0"/>
                  </a:move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80000"/>
                  </a:lnTo>
                  <a:cubicBezTo>
                    <a:pt x="270000" y="196569"/>
                    <a:pt x="256569" y="210000"/>
                    <a:pt x="240000" y="210000"/>
                  </a:cubicBezTo>
                  <a:lnTo>
                    <a:pt x="30000" y="210000"/>
                  </a:lnTo>
                  <a:cubicBezTo>
                    <a:pt x="13431" y="210000"/>
                    <a:pt x="0" y="196569"/>
                    <a:pt x="0" y="18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135000" y="180000"/>
                  </a:moveTo>
                  <a:cubicBezTo>
                    <a:pt x="176421" y="180000"/>
                    <a:pt x="210000" y="146421"/>
                    <a:pt x="210000" y="105000"/>
                  </a:cubicBezTo>
                  <a:cubicBezTo>
                    <a:pt x="210000" y="63579"/>
                    <a:pt x="176421" y="30000"/>
                    <a:pt x="135000" y="30000"/>
                  </a:cubicBezTo>
                  <a:cubicBezTo>
                    <a:pt x="93579" y="30000"/>
                    <a:pt x="60000" y="63579"/>
                    <a:pt x="60000" y="105000"/>
                  </a:cubicBezTo>
                  <a:cubicBezTo>
                    <a:pt x="60000" y="146421"/>
                    <a:pt x="93579" y="180000"/>
                    <a:pt x="135000" y="180000"/>
                  </a:cubicBezTo>
                  <a:close/>
                  <a:moveTo>
                    <a:pt x="128597" y="83424"/>
                  </a:moveTo>
                  <a:lnTo>
                    <a:pt x="135000" y="45000"/>
                  </a:lnTo>
                  <a:lnTo>
                    <a:pt x="141404" y="83424"/>
                  </a:lnTo>
                  <a:cubicBezTo>
                    <a:pt x="150711" y="86182"/>
                    <a:pt x="157500" y="94798"/>
                    <a:pt x="157500" y="105000"/>
                  </a:cubicBezTo>
                  <a:cubicBezTo>
                    <a:pt x="157500" y="117426"/>
                    <a:pt x="147426" y="127500"/>
                    <a:pt x="135000" y="127500"/>
                  </a:cubicBezTo>
                  <a:cubicBezTo>
                    <a:pt x="122574" y="127500"/>
                    <a:pt x="112500" y="117426"/>
                    <a:pt x="112500" y="105000"/>
                  </a:cubicBezTo>
                  <a:cubicBezTo>
                    <a:pt x="112500" y="94798"/>
                    <a:pt x="119289" y="86182"/>
                    <a:pt x="128597" y="83424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4" name="Полилиния 1283">
              <a:extLst>
                <a:ext uri="{FF2B5EF4-FFF2-40B4-BE49-F238E27FC236}">
                  <a16:creationId xmlns:a16="http://schemas.microsoft.com/office/drawing/2014/main" id="{809244EC-5D4D-6449-B85D-23C550F23A02}"/>
                </a:ext>
              </a:extLst>
            </p:cNvPr>
            <p:cNvSpPr/>
            <p:nvPr/>
          </p:nvSpPr>
          <p:spPr>
            <a:xfrm>
              <a:off x="4537502" y="3477037"/>
              <a:ext cx="226972" cy="75000"/>
            </a:xfrm>
            <a:custGeom>
              <a:avLst/>
              <a:gdLst>
                <a:gd name="connsiteX0" fmla="*/ 143487 w 226972"/>
                <a:gd name="connsiteY0" fmla="*/ 45000 h 75000"/>
                <a:gd name="connsiteX1" fmla="*/ 143487 w 226972"/>
                <a:gd name="connsiteY1" fmla="*/ 75000 h 75000"/>
                <a:gd name="connsiteX2" fmla="*/ 83487 w 226972"/>
                <a:gd name="connsiteY2" fmla="*/ 75000 h 75000"/>
                <a:gd name="connsiteX3" fmla="*/ 83487 w 226972"/>
                <a:gd name="connsiteY3" fmla="*/ 45000 h 75000"/>
                <a:gd name="connsiteX4" fmla="*/ 50529 w 226972"/>
                <a:gd name="connsiteY4" fmla="*/ 45000 h 75000"/>
                <a:gd name="connsiteX5" fmla="*/ 8487 w 226972"/>
                <a:gd name="connsiteY5" fmla="*/ 22500 h 75000"/>
                <a:gd name="connsiteX6" fmla="*/ 1260 w 226972"/>
                <a:gd name="connsiteY6" fmla="*/ 11660 h 75000"/>
                <a:gd name="connsiteX7" fmla="*/ 3341 w 226972"/>
                <a:gd name="connsiteY7" fmla="*/ 1260 h 75000"/>
                <a:gd name="connsiteX8" fmla="*/ 7501 w 226972"/>
                <a:gd name="connsiteY8" fmla="*/ 0 h 75000"/>
                <a:gd name="connsiteX9" fmla="*/ 219472 w 226972"/>
                <a:gd name="connsiteY9" fmla="*/ 0 h 75000"/>
                <a:gd name="connsiteX10" fmla="*/ 226972 w 226972"/>
                <a:gd name="connsiteY10" fmla="*/ 7500 h 75000"/>
                <a:gd name="connsiteX11" fmla="*/ 225714 w 226972"/>
                <a:gd name="connsiteY11" fmla="*/ 11660 h 75000"/>
                <a:gd name="connsiteX12" fmla="*/ 218487 w 226972"/>
                <a:gd name="connsiteY12" fmla="*/ 22500 h 75000"/>
                <a:gd name="connsiteX13" fmla="*/ 176445 w 226972"/>
                <a:gd name="connsiteY13" fmla="*/ 45000 h 75000"/>
                <a:gd name="connsiteX14" fmla="*/ 143487 w 226972"/>
                <a:gd name="connsiteY14" fmla="*/ 450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6972" h="75000">
                  <a:moveTo>
                    <a:pt x="143487" y="45000"/>
                  </a:moveTo>
                  <a:lnTo>
                    <a:pt x="143487" y="75000"/>
                  </a:lnTo>
                  <a:lnTo>
                    <a:pt x="83487" y="75000"/>
                  </a:lnTo>
                  <a:lnTo>
                    <a:pt x="83487" y="45000"/>
                  </a:lnTo>
                  <a:lnTo>
                    <a:pt x="50529" y="45000"/>
                  </a:lnTo>
                  <a:cubicBezTo>
                    <a:pt x="33634" y="45000"/>
                    <a:pt x="17858" y="36557"/>
                    <a:pt x="8487" y="22500"/>
                  </a:cubicBezTo>
                  <a:lnTo>
                    <a:pt x="1260" y="11660"/>
                  </a:lnTo>
                  <a:cubicBezTo>
                    <a:pt x="-1037" y="8214"/>
                    <a:pt x="-106" y="3557"/>
                    <a:pt x="3341" y="1260"/>
                  </a:cubicBezTo>
                  <a:cubicBezTo>
                    <a:pt x="4573" y="438"/>
                    <a:pt x="6020" y="0"/>
                    <a:pt x="7501" y="0"/>
                  </a:cubicBezTo>
                  <a:lnTo>
                    <a:pt x="219472" y="0"/>
                  </a:lnTo>
                  <a:cubicBezTo>
                    <a:pt x="223615" y="0"/>
                    <a:pt x="226972" y="3358"/>
                    <a:pt x="226972" y="7500"/>
                  </a:cubicBezTo>
                  <a:cubicBezTo>
                    <a:pt x="226972" y="8981"/>
                    <a:pt x="226534" y="10428"/>
                    <a:pt x="225714" y="11660"/>
                  </a:cubicBezTo>
                  <a:lnTo>
                    <a:pt x="218487" y="22500"/>
                  </a:lnTo>
                  <a:cubicBezTo>
                    <a:pt x="209116" y="36557"/>
                    <a:pt x="193339" y="45000"/>
                    <a:pt x="176445" y="45000"/>
                  </a:cubicBezTo>
                  <a:lnTo>
                    <a:pt x="143487" y="4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85" name="Рисунок 295">
            <a:extLst>
              <a:ext uri="{FF2B5EF4-FFF2-40B4-BE49-F238E27FC236}">
                <a16:creationId xmlns:a16="http://schemas.microsoft.com/office/drawing/2014/main" id="{423DFC7A-0459-7044-BD3D-7DFDC85A1A21}"/>
              </a:ext>
            </a:extLst>
          </p:cNvPr>
          <p:cNvGrpSpPr/>
          <p:nvPr/>
        </p:nvGrpSpPr>
        <p:grpSpPr>
          <a:xfrm>
            <a:off x="1417004" y="3115315"/>
            <a:ext cx="360000" cy="360000"/>
            <a:chOff x="1450457" y="3432037"/>
            <a:chExt cx="360000" cy="360000"/>
          </a:xfrm>
        </p:grpSpPr>
        <p:sp>
          <p:nvSpPr>
            <p:cNvPr id="1286" name="Полилиния 1285">
              <a:extLst>
                <a:ext uri="{FF2B5EF4-FFF2-40B4-BE49-F238E27FC236}">
                  <a16:creationId xmlns:a16="http://schemas.microsoft.com/office/drawing/2014/main" id="{61926474-2112-3A41-A8AE-702FFC17AE56}"/>
                </a:ext>
              </a:extLst>
            </p:cNvPr>
            <p:cNvSpPr/>
            <p:nvPr/>
          </p:nvSpPr>
          <p:spPr>
            <a:xfrm>
              <a:off x="1450457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7" name="Полилиния 1286">
              <a:extLst>
                <a:ext uri="{FF2B5EF4-FFF2-40B4-BE49-F238E27FC236}">
                  <a16:creationId xmlns:a16="http://schemas.microsoft.com/office/drawing/2014/main" id="{8467C44A-769B-9941-838C-A419BC233CF4}"/>
                </a:ext>
              </a:extLst>
            </p:cNvPr>
            <p:cNvSpPr/>
            <p:nvPr/>
          </p:nvSpPr>
          <p:spPr>
            <a:xfrm>
              <a:off x="1469161" y="3647339"/>
              <a:ext cx="83033" cy="83033"/>
            </a:xfrm>
            <a:custGeom>
              <a:avLst/>
              <a:gdLst>
                <a:gd name="connsiteX0" fmla="*/ 68033 w 83033"/>
                <a:gd name="connsiteY0" fmla="*/ 4393 h 83033"/>
                <a:gd name="connsiteX1" fmla="*/ 78640 w 83033"/>
                <a:gd name="connsiteY1" fmla="*/ 15001 h 83033"/>
                <a:gd name="connsiteX2" fmla="*/ 78640 w 83033"/>
                <a:gd name="connsiteY2" fmla="*/ 36214 h 83033"/>
                <a:gd name="connsiteX3" fmla="*/ 36213 w 83033"/>
                <a:gd name="connsiteY3" fmla="*/ 78640 h 83033"/>
                <a:gd name="connsiteX4" fmla="*/ 15000 w 83033"/>
                <a:gd name="connsiteY4" fmla="*/ 78640 h 83033"/>
                <a:gd name="connsiteX5" fmla="*/ 4393 w 83033"/>
                <a:gd name="connsiteY5" fmla="*/ 68034 h 83033"/>
                <a:gd name="connsiteX6" fmla="*/ 4393 w 83033"/>
                <a:gd name="connsiteY6" fmla="*/ 46821 h 83033"/>
                <a:gd name="connsiteX7" fmla="*/ 46820 w 83033"/>
                <a:gd name="connsiteY7" fmla="*/ 4393 h 83033"/>
                <a:gd name="connsiteX8" fmla="*/ 68033 w 83033"/>
                <a:gd name="connsiteY8" fmla="*/ 4393 h 8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033" h="83033">
                  <a:moveTo>
                    <a:pt x="68033" y="4393"/>
                  </a:moveTo>
                  <a:lnTo>
                    <a:pt x="78640" y="15001"/>
                  </a:lnTo>
                  <a:cubicBezTo>
                    <a:pt x="84498" y="20859"/>
                    <a:pt x="84498" y="30355"/>
                    <a:pt x="78640" y="36214"/>
                  </a:cubicBezTo>
                  <a:lnTo>
                    <a:pt x="36213" y="78640"/>
                  </a:lnTo>
                  <a:cubicBezTo>
                    <a:pt x="30355" y="84498"/>
                    <a:pt x="20858" y="84498"/>
                    <a:pt x="15000" y="78640"/>
                  </a:cubicBezTo>
                  <a:lnTo>
                    <a:pt x="4393" y="68034"/>
                  </a:lnTo>
                  <a:cubicBezTo>
                    <a:pt x="-1464" y="62176"/>
                    <a:pt x="-1464" y="52678"/>
                    <a:pt x="4393" y="46821"/>
                  </a:cubicBezTo>
                  <a:lnTo>
                    <a:pt x="46820" y="4393"/>
                  </a:lnTo>
                  <a:cubicBezTo>
                    <a:pt x="52678" y="-1464"/>
                    <a:pt x="62175" y="-1464"/>
                    <a:pt x="68033" y="4393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8" name="Полилиния 1287">
              <a:extLst>
                <a:ext uri="{FF2B5EF4-FFF2-40B4-BE49-F238E27FC236}">
                  <a16:creationId xmlns:a16="http://schemas.microsoft.com/office/drawing/2014/main" id="{71CA7B78-82F5-BD42-93FE-27ADCE88D81F}"/>
                </a:ext>
              </a:extLst>
            </p:cNvPr>
            <p:cNvSpPr/>
            <p:nvPr/>
          </p:nvSpPr>
          <p:spPr>
            <a:xfrm>
              <a:off x="1547800" y="3460814"/>
              <a:ext cx="246525" cy="246525"/>
            </a:xfrm>
            <a:custGeom>
              <a:avLst/>
              <a:gdLst>
                <a:gd name="connsiteX0" fmla="*/ 0 w 246525"/>
                <a:gd name="connsiteY0" fmla="*/ 159099 h 246525"/>
                <a:gd name="connsiteX1" fmla="*/ 159099 w 246525"/>
                <a:gd name="connsiteY1" fmla="*/ 0 h 246525"/>
                <a:gd name="connsiteX2" fmla="*/ 233345 w 246525"/>
                <a:gd name="connsiteY2" fmla="*/ 74246 h 246525"/>
                <a:gd name="connsiteX3" fmla="*/ 233345 w 246525"/>
                <a:gd name="connsiteY3" fmla="*/ 137886 h 246525"/>
                <a:gd name="connsiteX4" fmla="*/ 137886 w 246525"/>
                <a:gd name="connsiteY4" fmla="*/ 233346 h 246525"/>
                <a:gd name="connsiteX5" fmla="*/ 74246 w 246525"/>
                <a:gd name="connsiteY5" fmla="*/ 233346 h 246525"/>
                <a:gd name="connsiteX6" fmla="*/ 0 w 246525"/>
                <a:gd name="connsiteY6" fmla="*/ 159099 h 246525"/>
                <a:gd name="connsiteX7" fmla="*/ 160010 w 246525"/>
                <a:gd name="connsiteY7" fmla="*/ 83943 h 246525"/>
                <a:gd name="connsiteX8" fmla="*/ 160010 w 246525"/>
                <a:gd name="connsiteY8" fmla="*/ 52123 h 246525"/>
                <a:gd name="connsiteX9" fmla="*/ 128189 w 246525"/>
                <a:gd name="connsiteY9" fmla="*/ 52123 h 246525"/>
                <a:gd name="connsiteX10" fmla="*/ 128189 w 246525"/>
                <a:gd name="connsiteY10" fmla="*/ 83943 h 246525"/>
                <a:gd name="connsiteX11" fmla="*/ 160010 w 246525"/>
                <a:gd name="connsiteY11" fmla="*/ 83943 h 246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6525" h="246525">
                  <a:moveTo>
                    <a:pt x="0" y="159099"/>
                  </a:moveTo>
                  <a:lnTo>
                    <a:pt x="159099" y="0"/>
                  </a:lnTo>
                  <a:lnTo>
                    <a:pt x="233345" y="74246"/>
                  </a:lnTo>
                  <a:cubicBezTo>
                    <a:pt x="250919" y="91820"/>
                    <a:pt x="250919" y="120312"/>
                    <a:pt x="233345" y="137886"/>
                  </a:cubicBezTo>
                  <a:lnTo>
                    <a:pt x="137886" y="233346"/>
                  </a:lnTo>
                  <a:cubicBezTo>
                    <a:pt x="120312" y="250918"/>
                    <a:pt x="91820" y="250918"/>
                    <a:pt x="74246" y="233346"/>
                  </a:cubicBezTo>
                  <a:lnTo>
                    <a:pt x="0" y="159099"/>
                  </a:lnTo>
                  <a:close/>
                  <a:moveTo>
                    <a:pt x="160010" y="83943"/>
                  </a:moveTo>
                  <a:cubicBezTo>
                    <a:pt x="168795" y="75156"/>
                    <a:pt x="168795" y="60910"/>
                    <a:pt x="160010" y="52123"/>
                  </a:cubicBezTo>
                  <a:cubicBezTo>
                    <a:pt x="151223" y="43336"/>
                    <a:pt x="136976" y="43336"/>
                    <a:pt x="128189" y="52123"/>
                  </a:cubicBezTo>
                  <a:cubicBezTo>
                    <a:pt x="119402" y="60910"/>
                    <a:pt x="119402" y="75156"/>
                    <a:pt x="128189" y="83943"/>
                  </a:cubicBezTo>
                  <a:cubicBezTo>
                    <a:pt x="136976" y="92730"/>
                    <a:pt x="151223" y="92730"/>
                    <a:pt x="160010" y="8394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89" name="Рисунок 296">
            <a:extLst>
              <a:ext uri="{FF2B5EF4-FFF2-40B4-BE49-F238E27FC236}">
                <a16:creationId xmlns:a16="http://schemas.microsoft.com/office/drawing/2014/main" id="{432DE2D1-CF1F-F44E-8CE5-448B61DAFEE6}"/>
              </a:ext>
            </a:extLst>
          </p:cNvPr>
          <p:cNvGrpSpPr/>
          <p:nvPr/>
        </p:nvGrpSpPr>
        <p:grpSpPr>
          <a:xfrm>
            <a:off x="5947802" y="3115315"/>
            <a:ext cx="360000" cy="360000"/>
            <a:chOff x="5981255" y="3432037"/>
            <a:chExt cx="360000" cy="360000"/>
          </a:xfrm>
        </p:grpSpPr>
        <p:sp>
          <p:nvSpPr>
            <p:cNvPr id="1290" name="Полилиния 1289">
              <a:extLst>
                <a:ext uri="{FF2B5EF4-FFF2-40B4-BE49-F238E27FC236}">
                  <a16:creationId xmlns:a16="http://schemas.microsoft.com/office/drawing/2014/main" id="{0319D78B-1CC7-8147-9CE7-8DCE9B041E62}"/>
                </a:ext>
              </a:extLst>
            </p:cNvPr>
            <p:cNvSpPr/>
            <p:nvPr/>
          </p:nvSpPr>
          <p:spPr>
            <a:xfrm>
              <a:off x="5981255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1" name="Полилиния 1290">
              <a:extLst>
                <a:ext uri="{FF2B5EF4-FFF2-40B4-BE49-F238E27FC236}">
                  <a16:creationId xmlns:a16="http://schemas.microsoft.com/office/drawing/2014/main" id="{C6F324AA-F404-2D46-9560-EFC4B1E30F7F}"/>
                </a:ext>
              </a:extLst>
            </p:cNvPr>
            <p:cNvSpPr/>
            <p:nvPr/>
          </p:nvSpPr>
          <p:spPr>
            <a:xfrm>
              <a:off x="6006172" y="3653553"/>
              <a:ext cx="93639" cy="93639"/>
            </a:xfrm>
            <a:custGeom>
              <a:avLst/>
              <a:gdLst>
                <a:gd name="connsiteX0" fmla="*/ 89246 w 93639"/>
                <a:gd name="connsiteY0" fmla="*/ 15001 h 93639"/>
                <a:gd name="connsiteX1" fmla="*/ 89246 w 93639"/>
                <a:gd name="connsiteY1" fmla="*/ 36214 h 93639"/>
                <a:gd name="connsiteX2" fmla="*/ 36213 w 93639"/>
                <a:gd name="connsiteY2" fmla="*/ 89246 h 93639"/>
                <a:gd name="connsiteX3" fmla="*/ 15000 w 93639"/>
                <a:gd name="connsiteY3" fmla="*/ 89246 h 93639"/>
                <a:gd name="connsiteX4" fmla="*/ 4393 w 93639"/>
                <a:gd name="connsiteY4" fmla="*/ 78640 h 93639"/>
                <a:gd name="connsiteX5" fmla="*/ 4393 w 93639"/>
                <a:gd name="connsiteY5" fmla="*/ 57427 h 93639"/>
                <a:gd name="connsiteX6" fmla="*/ 57426 w 93639"/>
                <a:gd name="connsiteY6" fmla="*/ 4394 h 93639"/>
                <a:gd name="connsiteX7" fmla="*/ 78640 w 93639"/>
                <a:gd name="connsiteY7" fmla="*/ 4394 h 93639"/>
                <a:gd name="connsiteX8" fmla="*/ 89246 w 93639"/>
                <a:gd name="connsiteY8" fmla="*/ 15001 h 9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639" h="93639">
                  <a:moveTo>
                    <a:pt x="89246" y="15001"/>
                  </a:moveTo>
                  <a:cubicBezTo>
                    <a:pt x="95104" y="20858"/>
                    <a:pt x="95104" y="30356"/>
                    <a:pt x="89246" y="36214"/>
                  </a:cubicBezTo>
                  <a:lnTo>
                    <a:pt x="36213" y="89246"/>
                  </a:lnTo>
                  <a:cubicBezTo>
                    <a:pt x="30355" y="95104"/>
                    <a:pt x="20858" y="95104"/>
                    <a:pt x="15000" y="89246"/>
                  </a:cubicBezTo>
                  <a:lnTo>
                    <a:pt x="4393" y="78640"/>
                  </a:lnTo>
                  <a:cubicBezTo>
                    <a:pt x="-1464" y="72782"/>
                    <a:pt x="-1464" y="63284"/>
                    <a:pt x="4393" y="57427"/>
                  </a:cubicBezTo>
                  <a:lnTo>
                    <a:pt x="57426" y="4394"/>
                  </a:lnTo>
                  <a:cubicBezTo>
                    <a:pt x="63284" y="-1465"/>
                    <a:pt x="72782" y="-1465"/>
                    <a:pt x="78640" y="4394"/>
                  </a:cubicBezTo>
                  <a:lnTo>
                    <a:pt x="89246" y="1500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2" name="Полилиния 1291">
              <a:extLst>
                <a:ext uri="{FF2B5EF4-FFF2-40B4-BE49-F238E27FC236}">
                  <a16:creationId xmlns:a16="http://schemas.microsoft.com/office/drawing/2014/main" id="{15CFA293-0F50-044F-A73B-5D4D55E5E675}"/>
                </a:ext>
              </a:extLst>
            </p:cNvPr>
            <p:cNvSpPr/>
            <p:nvPr/>
          </p:nvSpPr>
          <p:spPr>
            <a:xfrm>
              <a:off x="6099812" y="3462634"/>
              <a:ext cx="189852" cy="233345"/>
            </a:xfrm>
            <a:custGeom>
              <a:avLst/>
              <a:gdLst>
                <a:gd name="connsiteX0" fmla="*/ 159099 w 189852"/>
                <a:gd name="connsiteY0" fmla="*/ 0 h 233345"/>
                <a:gd name="connsiteX1" fmla="*/ 159099 w 189852"/>
                <a:gd name="connsiteY1" fmla="*/ 148492 h 233345"/>
                <a:gd name="connsiteX2" fmla="*/ 74247 w 189852"/>
                <a:gd name="connsiteY2" fmla="*/ 233345 h 233345"/>
                <a:gd name="connsiteX3" fmla="*/ 0 w 189852"/>
                <a:gd name="connsiteY3" fmla="*/ 159098 h 233345"/>
                <a:gd name="connsiteX4" fmla="*/ 159099 w 189852"/>
                <a:gd name="connsiteY4" fmla="*/ 0 h 23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852" h="233345">
                  <a:moveTo>
                    <a:pt x="159099" y="0"/>
                  </a:moveTo>
                  <a:cubicBezTo>
                    <a:pt x="200104" y="41005"/>
                    <a:pt x="200104" y="107487"/>
                    <a:pt x="159099" y="148492"/>
                  </a:cubicBezTo>
                  <a:lnTo>
                    <a:pt x="74247" y="233345"/>
                  </a:lnTo>
                  <a:lnTo>
                    <a:pt x="0" y="159098"/>
                  </a:lnTo>
                  <a:lnTo>
                    <a:pt x="159099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93" name="Рисунок 297">
            <a:extLst>
              <a:ext uri="{FF2B5EF4-FFF2-40B4-BE49-F238E27FC236}">
                <a16:creationId xmlns:a16="http://schemas.microsoft.com/office/drawing/2014/main" id="{E8E25DC9-1C44-BC42-879A-75A85F5413F2}"/>
              </a:ext>
            </a:extLst>
          </p:cNvPr>
          <p:cNvGrpSpPr/>
          <p:nvPr/>
        </p:nvGrpSpPr>
        <p:grpSpPr>
          <a:xfrm>
            <a:off x="5192669" y="3115315"/>
            <a:ext cx="360000" cy="360000"/>
            <a:chOff x="5226122" y="3432037"/>
            <a:chExt cx="360000" cy="360000"/>
          </a:xfrm>
        </p:grpSpPr>
        <p:sp>
          <p:nvSpPr>
            <p:cNvPr id="1294" name="Полилиния 1293">
              <a:extLst>
                <a:ext uri="{FF2B5EF4-FFF2-40B4-BE49-F238E27FC236}">
                  <a16:creationId xmlns:a16="http://schemas.microsoft.com/office/drawing/2014/main" id="{C51A8ECA-5871-7C44-9716-AFDE572329FB}"/>
                </a:ext>
              </a:extLst>
            </p:cNvPr>
            <p:cNvSpPr/>
            <p:nvPr/>
          </p:nvSpPr>
          <p:spPr>
            <a:xfrm>
              <a:off x="5226122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5" name="Полилиния 1294">
              <a:extLst>
                <a:ext uri="{FF2B5EF4-FFF2-40B4-BE49-F238E27FC236}">
                  <a16:creationId xmlns:a16="http://schemas.microsoft.com/office/drawing/2014/main" id="{74892923-AA7C-D84B-ADDE-9BB84506458C}"/>
                </a:ext>
              </a:extLst>
            </p:cNvPr>
            <p:cNvSpPr/>
            <p:nvPr/>
          </p:nvSpPr>
          <p:spPr>
            <a:xfrm>
              <a:off x="5301122" y="3477037"/>
              <a:ext cx="105000" cy="120000"/>
            </a:xfrm>
            <a:custGeom>
              <a:avLst/>
              <a:gdLst>
                <a:gd name="connsiteX0" fmla="*/ 15000 w 105000"/>
                <a:gd name="connsiteY0" fmla="*/ 0 h 120000"/>
                <a:gd name="connsiteX1" fmla="*/ 21754 w 105000"/>
                <a:gd name="connsiteY1" fmla="*/ 67537 h 120000"/>
                <a:gd name="connsiteX2" fmla="*/ 30000 w 105000"/>
                <a:gd name="connsiteY2" fmla="*/ 75000 h 120000"/>
                <a:gd name="connsiteX3" fmla="*/ 38246 w 105000"/>
                <a:gd name="connsiteY3" fmla="*/ 67537 h 120000"/>
                <a:gd name="connsiteX4" fmla="*/ 45000 w 105000"/>
                <a:gd name="connsiteY4" fmla="*/ 0 h 120000"/>
                <a:gd name="connsiteX5" fmla="*/ 60000 w 105000"/>
                <a:gd name="connsiteY5" fmla="*/ 0 h 120000"/>
                <a:gd name="connsiteX6" fmla="*/ 66754 w 105000"/>
                <a:gd name="connsiteY6" fmla="*/ 67537 h 120000"/>
                <a:gd name="connsiteX7" fmla="*/ 75000 w 105000"/>
                <a:gd name="connsiteY7" fmla="*/ 75000 h 120000"/>
                <a:gd name="connsiteX8" fmla="*/ 83247 w 105000"/>
                <a:gd name="connsiteY8" fmla="*/ 67537 h 120000"/>
                <a:gd name="connsiteX9" fmla="*/ 90000 w 105000"/>
                <a:gd name="connsiteY9" fmla="*/ 0 h 120000"/>
                <a:gd name="connsiteX10" fmla="*/ 105000 w 105000"/>
                <a:gd name="connsiteY10" fmla="*/ 0 h 120000"/>
                <a:gd name="connsiteX11" fmla="*/ 105000 w 105000"/>
                <a:gd name="connsiteY11" fmla="*/ 67500 h 120000"/>
                <a:gd name="connsiteX12" fmla="*/ 52500 w 105000"/>
                <a:gd name="connsiteY12" fmla="*/ 120000 h 120000"/>
                <a:gd name="connsiteX13" fmla="*/ 0 w 105000"/>
                <a:gd name="connsiteY13" fmla="*/ 67500 h 120000"/>
                <a:gd name="connsiteX14" fmla="*/ 0 w 105000"/>
                <a:gd name="connsiteY14" fmla="*/ 0 h 120000"/>
                <a:gd name="connsiteX15" fmla="*/ 15000 w 105000"/>
                <a:gd name="connsiteY15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000" h="120000">
                  <a:moveTo>
                    <a:pt x="15000" y="0"/>
                  </a:moveTo>
                  <a:lnTo>
                    <a:pt x="21754" y="67537"/>
                  </a:lnTo>
                  <a:cubicBezTo>
                    <a:pt x="22177" y="71774"/>
                    <a:pt x="25742" y="75000"/>
                    <a:pt x="30000" y="75000"/>
                  </a:cubicBezTo>
                  <a:cubicBezTo>
                    <a:pt x="34258" y="75000"/>
                    <a:pt x="37823" y="71774"/>
                    <a:pt x="38246" y="67537"/>
                  </a:cubicBezTo>
                  <a:lnTo>
                    <a:pt x="45000" y="0"/>
                  </a:lnTo>
                  <a:lnTo>
                    <a:pt x="60000" y="0"/>
                  </a:lnTo>
                  <a:lnTo>
                    <a:pt x="66754" y="67537"/>
                  </a:lnTo>
                  <a:cubicBezTo>
                    <a:pt x="67177" y="71774"/>
                    <a:pt x="70742" y="75000"/>
                    <a:pt x="75000" y="75000"/>
                  </a:cubicBezTo>
                  <a:cubicBezTo>
                    <a:pt x="79257" y="75000"/>
                    <a:pt x="82822" y="71774"/>
                    <a:pt x="83247" y="67537"/>
                  </a:cubicBezTo>
                  <a:lnTo>
                    <a:pt x="90000" y="0"/>
                  </a:lnTo>
                  <a:lnTo>
                    <a:pt x="105000" y="0"/>
                  </a:lnTo>
                  <a:lnTo>
                    <a:pt x="105000" y="67500"/>
                  </a:lnTo>
                  <a:cubicBezTo>
                    <a:pt x="105000" y="96495"/>
                    <a:pt x="81495" y="120000"/>
                    <a:pt x="52500" y="120000"/>
                  </a:cubicBezTo>
                  <a:cubicBezTo>
                    <a:pt x="23505" y="120000"/>
                    <a:pt x="0" y="96495"/>
                    <a:pt x="0" y="67500"/>
                  </a:cubicBezTo>
                  <a:lnTo>
                    <a:pt x="0" y="0"/>
                  </a:lnTo>
                  <a:lnTo>
                    <a:pt x="15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6" name="Полилиния 1295">
              <a:extLst>
                <a:ext uri="{FF2B5EF4-FFF2-40B4-BE49-F238E27FC236}">
                  <a16:creationId xmlns:a16="http://schemas.microsoft.com/office/drawing/2014/main" id="{F82AB3B2-A60C-E84B-9C30-7DD7CD88B7A7}"/>
                </a:ext>
              </a:extLst>
            </p:cNvPr>
            <p:cNvSpPr/>
            <p:nvPr/>
          </p:nvSpPr>
          <p:spPr>
            <a:xfrm>
              <a:off x="5332337" y="3627037"/>
              <a:ext cx="42569" cy="135000"/>
            </a:xfrm>
            <a:custGeom>
              <a:avLst/>
              <a:gdLst>
                <a:gd name="connsiteX0" fmla="*/ 21285 w 42569"/>
                <a:gd name="connsiteY0" fmla="*/ 0 h 135000"/>
                <a:gd name="connsiteX1" fmla="*/ 21285 w 42569"/>
                <a:gd name="connsiteY1" fmla="*/ 0 h 135000"/>
                <a:gd name="connsiteX2" fmla="*/ 37117 w 42569"/>
                <a:gd name="connsiteY2" fmla="*/ 14977 h 135000"/>
                <a:gd name="connsiteX3" fmla="*/ 42537 w 42569"/>
                <a:gd name="connsiteY3" fmla="*/ 112535 h 135000"/>
                <a:gd name="connsiteX4" fmla="*/ 22465 w 42569"/>
                <a:gd name="connsiteY4" fmla="*/ 134967 h 135000"/>
                <a:gd name="connsiteX5" fmla="*/ 21285 w 42569"/>
                <a:gd name="connsiteY5" fmla="*/ 135000 h 135000"/>
                <a:gd name="connsiteX6" fmla="*/ 21285 w 42569"/>
                <a:gd name="connsiteY6" fmla="*/ 135000 h 135000"/>
                <a:gd name="connsiteX7" fmla="*/ 0 w 42569"/>
                <a:gd name="connsiteY7" fmla="*/ 113715 h 135000"/>
                <a:gd name="connsiteX8" fmla="*/ 33 w 42569"/>
                <a:gd name="connsiteY8" fmla="*/ 112535 h 135000"/>
                <a:gd name="connsiteX9" fmla="*/ 5453 w 42569"/>
                <a:gd name="connsiteY9" fmla="*/ 14977 h 135000"/>
                <a:gd name="connsiteX10" fmla="*/ 21285 w 42569"/>
                <a:gd name="connsiteY10" fmla="*/ 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569" h="135000">
                  <a:moveTo>
                    <a:pt x="21285" y="0"/>
                  </a:moveTo>
                  <a:lnTo>
                    <a:pt x="21285" y="0"/>
                  </a:lnTo>
                  <a:cubicBezTo>
                    <a:pt x="29700" y="0"/>
                    <a:pt x="36650" y="6575"/>
                    <a:pt x="37117" y="14977"/>
                  </a:cubicBezTo>
                  <a:lnTo>
                    <a:pt x="42537" y="112535"/>
                  </a:lnTo>
                  <a:cubicBezTo>
                    <a:pt x="43189" y="124272"/>
                    <a:pt x="34203" y="134315"/>
                    <a:pt x="22465" y="134967"/>
                  </a:cubicBezTo>
                  <a:cubicBezTo>
                    <a:pt x="22072" y="134990"/>
                    <a:pt x="21678" y="135000"/>
                    <a:pt x="21285" y="135000"/>
                  </a:cubicBezTo>
                  <a:lnTo>
                    <a:pt x="21285" y="135000"/>
                  </a:lnTo>
                  <a:cubicBezTo>
                    <a:pt x="9530" y="135000"/>
                    <a:pt x="0" y="125471"/>
                    <a:pt x="0" y="113715"/>
                  </a:cubicBezTo>
                  <a:cubicBezTo>
                    <a:pt x="0" y="113322"/>
                    <a:pt x="11" y="112927"/>
                    <a:pt x="33" y="112535"/>
                  </a:cubicBezTo>
                  <a:lnTo>
                    <a:pt x="5453" y="14977"/>
                  </a:lnTo>
                  <a:cubicBezTo>
                    <a:pt x="5919" y="6575"/>
                    <a:pt x="12869" y="0"/>
                    <a:pt x="21285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7" name="Полилиния 1296">
              <a:extLst>
                <a:ext uri="{FF2B5EF4-FFF2-40B4-BE49-F238E27FC236}">
                  <a16:creationId xmlns:a16="http://schemas.microsoft.com/office/drawing/2014/main" id="{F275C561-47E6-AB4D-B6A1-D99657309A7B}"/>
                </a:ext>
              </a:extLst>
            </p:cNvPr>
            <p:cNvSpPr/>
            <p:nvPr/>
          </p:nvSpPr>
          <p:spPr>
            <a:xfrm>
              <a:off x="5467671" y="3657037"/>
              <a:ext cx="41901" cy="105000"/>
            </a:xfrm>
            <a:custGeom>
              <a:avLst/>
              <a:gdLst>
                <a:gd name="connsiteX0" fmla="*/ 20950 w 41901"/>
                <a:gd name="connsiteY0" fmla="*/ 0 h 105000"/>
                <a:gd name="connsiteX1" fmla="*/ 20950 w 41901"/>
                <a:gd name="connsiteY1" fmla="*/ 0 h 105000"/>
                <a:gd name="connsiteX2" fmla="*/ 37018 w 41901"/>
                <a:gd name="connsiteY2" fmla="*/ 14963 h 105000"/>
                <a:gd name="connsiteX3" fmla="*/ 41847 w 41901"/>
                <a:gd name="connsiteY3" fmla="*/ 82557 h 105000"/>
                <a:gd name="connsiteX4" fmla="*/ 22443 w 41901"/>
                <a:gd name="connsiteY4" fmla="*/ 104948 h 105000"/>
                <a:gd name="connsiteX5" fmla="*/ 20950 w 41901"/>
                <a:gd name="connsiteY5" fmla="*/ 105000 h 105000"/>
                <a:gd name="connsiteX6" fmla="*/ 20950 w 41901"/>
                <a:gd name="connsiteY6" fmla="*/ 105000 h 105000"/>
                <a:gd name="connsiteX7" fmla="*/ 0 w 41901"/>
                <a:gd name="connsiteY7" fmla="*/ 84050 h 105000"/>
                <a:gd name="connsiteX8" fmla="*/ 54 w 41901"/>
                <a:gd name="connsiteY8" fmla="*/ 82557 h 105000"/>
                <a:gd name="connsiteX9" fmla="*/ 4883 w 41901"/>
                <a:gd name="connsiteY9" fmla="*/ 14963 h 105000"/>
                <a:gd name="connsiteX10" fmla="*/ 20950 w 41901"/>
                <a:gd name="connsiteY10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901" h="105000">
                  <a:moveTo>
                    <a:pt x="20950" y="0"/>
                  </a:moveTo>
                  <a:lnTo>
                    <a:pt x="20950" y="0"/>
                  </a:lnTo>
                  <a:cubicBezTo>
                    <a:pt x="29402" y="0"/>
                    <a:pt x="36417" y="6531"/>
                    <a:pt x="37018" y="14963"/>
                  </a:cubicBezTo>
                  <a:lnTo>
                    <a:pt x="41847" y="82557"/>
                  </a:lnTo>
                  <a:cubicBezTo>
                    <a:pt x="42672" y="94098"/>
                    <a:pt x="33984" y="104122"/>
                    <a:pt x="22443" y="104948"/>
                  </a:cubicBezTo>
                  <a:cubicBezTo>
                    <a:pt x="21947" y="104982"/>
                    <a:pt x="21448" y="105000"/>
                    <a:pt x="20950" y="105000"/>
                  </a:cubicBezTo>
                  <a:lnTo>
                    <a:pt x="20950" y="105000"/>
                  </a:lnTo>
                  <a:cubicBezTo>
                    <a:pt x="9379" y="105000"/>
                    <a:pt x="0" y="95621"/>
                    <a:pt x="0" y="84050"/>
                  </a:cubicBezTo>
                  <a:cubicBezTo>
                    <a:pt x="0" y="83552"/>
                    <a:pt x="18" y="83053"/>
                    <a:pt x="54" y="82557"/>
                  </a:cubicBezTo>
                  <a:lnTo>
                    <a:pt x="4883" y="14963"/>
                  </a:lnTo>
                  <a:cubicBezTo>
                    <a:pt x="5484" y="6531"/>
                    <a:pt x="12499" y="0"/>
                    <a:pt x="2095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8" name="Полилиния 1297">
              <a:extLst>
                <a:ext uri="{FF2B5EF4-FFF2-40B4-BE49-F238E27FC236}">
                  <a16:creationId xmlns:a16="http://schemas.microsoft.com/office/drawing/2014/main" id="{0EE61C70-77D4-1344-9298-E976EFBE5C13}"/>
                </a:ext>
              </a:extLst>
            </p:cNvPr>
            <p:cNvSpPr/>
            <p:nvPr/>
          </p:nvSpPr>
          <p:spPr>
            <a:xfrm>
              <a:off x="5451122" y="3477037"/>
              <a:ext cx="60000" cy="150000"/>
            </a:xfrm>
            <a:custGeom>
              <a:avLst/>
              <a:gdLst>
                <a:gd name="connsiteX0" fmla="*/ 60000 w 60000"/>
                <a:gd name="connsiteY0" fmla="*/ 0 h 150000"/>
                <a:gd name="connsiteX1" fmla="*/ 60000 w 60000"/>
                <a:gd name="connsiteY1" fmla="*/ 150000 h 150000"/>
                <a:gd name="connsiteX2" fmla="*/ 0 w 60000"/>
                <a:gd name="connsiteY2" fmla="*/ 150000 h 150000"/>
                <a:gd name="connsiteX3" fmla="*/ 0 w 60000"/>
                <a:gd name="connsiteY3" fmla="*/ 60000 h 150000"/>
                <a:gd name="connsiteX4" fmla="*/ 60000 w 60000"/>
                <a:gd name="connsiteY4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150000">
                  <a:moveTo>
                    <a:pt x="60000" y="0"/>
                  </a:moveTo>
                  <a:lnTo>
                    <a:pt x="60000" y="150000"/>
                  </a:lnTo>
                  <a:lnTo>
                    <a:pt x="0" y="150000"/>
                  </a:lnTo>
                  <a:lnTo>
                    <a:pt x="0" y="60000"/>
                  </a:lnTo>
                  <a:cubicBezTo>
                    <a:pt x="0" y="26863"/>
                    <a:pt x="26863" y="0"/>
                    <a:pt x="60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99" name="Рисунок 298">
            <a:extLst>
              <a:ext uri="{FF2B5EF4-FFF2-40B4-BE49-F238E27FC236}">
                <a16:creationId xmlns:a16="http://schemas.microsoft.com/office/drawing/2014/main" id="{E1B6593D-814B-1F4C-8471-F582F08E01E1}"/>
              </a:ext>
            </a:extLst>
          </p:cNvPr>
          <p:cNvGrpSpPr/>
          <p:nvPr/>
        </p:nvGrpSpPr>
        <p:grpSpPr>
          <a:xfrm>
            <a:off x="2172137" y="3115315"/>
            <a:ext cx="360000" cy="360000"/>
            <a:chOff x="2205590" y="3432037"/>
            <a:chExt cx="360000" cy="360000"/>
          </a:xfrm>
        </p:grpSpPr>
        <p:sp>
          <p:nvSpPr>
            <p:cNvPr id="1300" name="Полилиния 1299">
              <a:extLst>
                <a:ext uri="{FF2B5EF4-FFF2-40B4-BE49-F238E27FC236}">
                  <a16:creationId xmlns:a16="http://schemas.microsoft.com/office/drawing/2014/main" id="{3D3F67A2-B69E-134E-B49F-46839A7D02B0}"/>
                </a:ext>
              </a:extLst>
            </p:cNvPr>
            <p:cNvSpPr/>
            <p:nvPr/>
          </p:nvSpPr>
          <p:spPr>
            <a:xfrm>
              <a:off x="2205590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1" name="Полилиния 1300">
              <a:extLst>
                <a:ext uri="{FF2B5EF4-FFF2-40B4-BE49-F238E27FC236}">
                  <a16:creationId xmlns:a16="http://schemas.microsoft.com/office/drawing/2014/main" id="{F2DDA3D8-1101-0547-99B2-92AB57DD65A7}"/>
                </a:ext>
              </a:extLst>
            </p:cNvPr>
            <p:cNvSpPr/>
            <p:nvPr/>
          </p:nvSpPr>
          <p:spPr>
            <a:xfrm>
              <a:off x="2247842" y="3477936"/>
              <a:ext cx="123639" cy="148492"/>
            </a:xfrm>
            <a:custGeom>
              <a:avLst/>
              <a:gdLst>
                <a:gd name="connsiteX0" fmla="*/ 17574 w 123639"/>
                <a:gd name="connsiteY0" fmla="*/ 0 h 148492"/>
                <a:gd name="connsiteX1" fmla="*/ 123640 w 123639"/>
                <a:gd name="connsiteY1" fmla="*/ 106067 h 148492"/>
                <a:gd name="connsiteX2" fmla="*/ 81213 w 123639"/>
                <a:gd name="connsiteY2" fmla="*/ 148493 h 148492"/>
                <a:gd name="connsiteX3" fmla="*/ 17574 w 123639"/>
                <a:gd name="connsiteY3" fmla="*/ 84853 h 148492"/>
                <a:gd name="connsiteX4" fmla="*/ 17574 w 123639"/>
                <a:gd name="connsiteY4" fmla="*/ 0 h 1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639" h="148492">
                  <a:moveTo>
                    <a:pt x="17574" y="0"/>
                  </a:moveTo>
                  <a:lnTo>
                    <a:pt x="123640" y="106067"/>
                  </a:lnTo>
                  <a:lnTo>
                    <a:pt x="81213" y="148493"/>
                  </a:lnTo>
                  <a:lnTo>
                    <a:pt x="17574" y="84853"/>
                  </a:lnTo>
                  <a:cubicBezTo>
                    <a:pt x="-5858" y="61421"/>
                    <a:pt x="-5858" y="23431"/>
                    <a:pt x="17574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2" name="Полилиния 1301">
              <a:extLst>
                <a:ext uri="{FF2B5EF4-FFF2-40B4-BE49-F238E27FC236}">
                  <a16:creationId xmlns:a16="http://schemas.microsoft.com/office/drawing/2014/main" id="{E5975072-FA87-CF44-AF06-ABF7B4CA0211}"/>
                </a:ext>
              </a:extLst>
            </p:cNvPr>
            <p:cNvSpPr/>
            <p:nvPr/>
          </p:nvSpPr>
          <p:spPr>
            <a:xfrm>
              <a:off x="2398185" y="3480037"/>
              <a:ext cx="137353" cy="137353"/>
            </a:xfrm>
            <a:custGeom>
              <a:avLst/>
              <a:gdLst>
                <a:gd name="connsiteX0" fmla="*/ 73714 w 137353"/>
                <a:gd name="connsiteY0" fmla="*/ 10607 h 137353"/>
                <a:gd name="connsiteX1" fmla="*/ 30733 w 137353"/>
                <a:gd name="connsiteY1" fmla="*/ 63138 h 137353"/>
                <a:gd name="connsiteX2" fmla="*/ 31287 w 137353"/>
                <a:gd name="connsiteY2" fmla="*/ 74246 h 137353"/>
                <a:gd name="connsiteX3" fmla="*/ 42396 w 137353"/>
                <a:gd name="connsiteY3" fmla="*/ 74800 h 137353"/>
                <a:gd name="connsiteX4" fmla="*/ 94927 w 137353"/>
                <a:gd name="connsiteY4" fmla="*/ 31820 h 137353"/>
                <a:gd name="connsiteX5" fmla="*/ 105534 w 137353"/>
                <a:gd name="connsiteY5" fmla="*/ 42426 h 137353"/>
                <a:gd name="connsiteX6" fmla="*/ 62553 w 137353"/>
                <a:gd name="connsiteY6" fmla="*/ 94958 h 137353"/>
                <a:gd name="connsiteX7" fmla="*/ 63108 w 137353"/>
                <a:gd name="connsiteY7" fmla="*/ 106067 h 137353"/>
                <a:gd name="connsiteX8" fmla="*/ 74215 w 137353"/>
                <a:gd name="connsiteY8" fmla="*/ 106620 h 137353"/>
                <a:gd name="connsiteX9" fmla="*/ 126747 w 137353"/>
                <a:gd name="connsiteY9" fmla="*/ 63640 h 137353"/>
                <a:gd name="connsiteX10" fmla="*/ 137353 w 137353"/>
                <a:gd name="connsiteY10" fmla="*/ 74246 h 137353"/>
                <a:gd name="connsiteX11" fmla="*/ 89623 w 137353"/>
                <a:gd name="connsiteY11" fmla="*/ 121976 h 137353"/>
                <a:gd name="connsiteX12" fmla="*/ 15378 w 137353"/>
                <a:gd name="connsiteY12" fmla="*/ 121976 h 137353"/>
                <a:gd name="connsiteX13" fmla="*/ 15378 w 137353"/>
                <a:gd name="connsiteY13" fmla="*/ 47730 h 137353"/>
                <a:gd name="connsiteX14" fmla="*/ 63108 w 137353"/>
                <a:gd name="connsiteY14" fmla="*/ 0 h 137353"/>
                <a:gd name="connsiteX15" fmla="*/ 73714 w 137353"/>
                <a:gd name="connsiteY15" fmla="*/ 10607 h 13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7353" h="137353">
                  <a:moveTo>
                    <a:pt x="73714" y="10607"/>
                  </a:moveTo>
                  <a:lnTo>
                    <a:pt x="30733" y="63138"/>
                  </a:lnTo>
                  <a:cubicBezTo>
                    <a:pt x="28038" y="66434"/>
                    <a:pt x="28276" y="71236"/>
                    <a:pt x="31287" y="74246"/>
                  </a:cubicBezTo>
                  <a:cubicBezTo>
                    <a:pt x="34297" y="77257"/>
                    <a:pt x="39100" y="77496"/>
                    <a:pt x="42396" y="74800"/>
                  </a:cubicBezTo>
                  <a:lnTo>
                    <a:pt x="94927" y="31820"/>
                  </a:lnTo>
                  <a:lnTo>
                    <a:pt x="105534" y="42426"/>
                  </a:lnTo>
                  <a:lnTo>
                    <a:pt x="62553" y="94958"/>
                  </a:lnTo>
                  <a:cubicBezTo>
                    <a:pt x="59857" y="98253"/>
                    <a:pt x="60096" y="103056"/>
                    <a:pt x="63108" y="106067"/>
                  </a:cubicBezTo>
                  <a:cubicBezTo>
                    <a:pt x="66118" y="109077"/>
                    <a:pt x="70920" y="109316"/>
                    <a:pt x="74215" y="106620"/>
                  </a:cubicBezTo>
                  <a:lnTo>
                    <a:pt x="126747" y="63640"/>
                  </a:lnTo>
                  <a:lnTo>
                    <a:pt x="137353" y="74246"/>
                  </a:lnTo>
                  <a:lnTo>
                    <a:pt x="89623" y="121976"/>
                  </a:lnTo>
                  <a:cubicBezTo>
                    <a:pt x="69121" y="142479"/>
                    <a:pt x="35880" y="142479"/>
                    <a:pt x="15378" y="121976"/>
                  </a:cubicBezTo>
                  <a:cubicBezTo>
                    <a:pt x="-5126" y="101473"/>
                    <a:pt x="-5126" y="68232"/>
                    <a:pt x="15378" y="47730"/>
                  </a:cubicBezTo>
                  <a:lnTo>
                    <a:pt x="63108" y="0"/>
                  </a:lnTo>
                  <a:lnTo>
                    <a:pt x="73714" y="10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3" name="Полилиния 1302">
              <a:extLst>
                <a:ext uri="{FF2B5EF4-FFF2-40B4-BE49-F238E27FC236}">
                  <a16:creationId xmlns:a16="http://schemas.microsoft.com/office/drawing/2014/main" id="{00CE4BD8-1D5F-AD47-ADD7-D209B027A7CA}"/>
                </a:ext>
              </a:extLst>
            </p:cNvPr>
            <p:cNvSpPr/>
            <p:nvPr/>
          </p:nvSpPr>
          <p:spPr>
            <a:xfrm>
              <a:off x="2260455" y="3636285"/>
              <a:ext cx="115886" cy="115886"/>
            </a:xfrm>
            <a:custGeom>
              <a:avLst/>
              <a:gdLst>
                <a:gd name="connsiteX0" fmla="*/ 111266 w 115886"/>
                <a:gd name="connsiteY0" fmla="*/ 4620 h 115886"/>
                <a:gd name="connsiteX1" fmla="*/ 111813 w 115886"/>
                <a:gd name="connsiteY1" fmla="*/ 26355 h 115886"/>
                <a:gd name="connsiteX2" fmla="*/ 37263 w 115886"/>
                <a:gd name="connsiteY2" fmla="*/ 108839 h 115886"/>
                <a:gd name="connsiteX3" fmla="*/ 7048 w 115886"/>
                <a:gd name="connsiteY3" fmla="*/ 110364 h 115886"/>
                <a:gd name="connsiteX4" fmla="*/ 6266 w 115886"/>
                <a:gd name="connsiteY4" fmla="*/ 109620 h 115886"/>
                <a:gd name="connsiteX5" fmla="*/ 6266 w 115886"/>
                <a:gd name="connsiteY5" fmla="*/ 79367 h 115886"/>
                <a:gd name="connsiteX6" fmla="*/ 7048 w 115886"/>
                <a:gd name="connsiteY6" fmla="*/ 78624 h 115886"/>
                <a:gd name="connsiteX7" fmla="*/ 89531 w 115886"/>
                <a:gd name="connsiteY7" fmla="*/ 4073 h 115886"/>
                <a:gd name="connsiteX8" fmla="*/ 111266 w 115886"/>
                <a:gd name="connsiteY8" fmla="*/ 4620 h 115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5886" h="115886">
                  <a:moveTo>
                    <a:pt x="111266" y="4620"/>
                  </a:moveTo>
                  <a:cubicBezTo>
                    <a:pt x="117207" y="10563"/>
                    <a:pt x="117449" y="20121"/>
                    <a:pt x="111813" y="26355"/>
                  </a:cubicBezTo>
                  <a:lnTo>
                    <a:pt x="37263" y="108839"/>
                  </a:lnTo>
                  <a:cubicBezTo>
                    <a:pt x="29340" y="117603"/>
                    <a:pt x="15813" y="118286"/>
                    <a:pt x="7048" y="110364"/>
                  </a:cubicBezTo>
                  <a:cubicBezTo>
                    <a:pt x="6781" y="110123"/>
                    <a:pt x="6520" y="109875"/>
                    <a:pt x="6266" y="109620"/>
                  </a:cubicBezTo>
                  <a:cubicBezTo>
                    <a:pt x="-2089" y="101267"/>
                    <a:pt x="-2089" y="87722"/>
                    <a:pt x="6266" y="79367"/>
                  </a:cubicBezTo>
                  <a:cubicBezTo>
                    <a:pt x="6520" y="79113"/>
                    <a:pt x="6781" y="78864"/>
                    <a:pt x="7048" y="78624"/>
                  </a:cubicBezTo>
                  <a:lnTo>
                    <a:pt x="89531" y="4073"/>
                  </a:lnTo>
                  <a:cubicBezTo>
                    <a:pt x="95765" y="-1563"/>
                    <a:pt x="105323" y="-1321"/>
                    <a:pt x="111266" y="462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4" name="Полилиния 1303">
              <a:extLst>
                <a:ext uri="{FF2B5EF4-FFF2-40B4-BE49-F238E27FC236}">
                  <a16:creationId xmlns:a16="http://schemas.microsoft.com/office/drawing/2014/main" id="{183ED2EE-E46F-A940-94CE-E365CBC7712D}"/>
                </a:ext>
              </a:extLst>
            </p:cNvPr>
            <p:cNvSpPr/>
            <p:nvPr/>
          </p:nvSpPr>
          <p:spPr>
            <a:xfrm>
              <a:off x="2397100" y="3636285"/>
              <a:ext cx="115886" cy="115886"/>
            </a:xfrm>
            <a:custGeom>
              <a:avLst/>
              <a:gdLst>
                <a:gd name="connsiteX0" fmla="*/ 4621 w 115886"/>
                <a:gd name="connsiteY0" fmla="*/ 4620 h 115886"/>
                <a:gd name="connsiteX1" fmla="*/ 26356 w 115886"/>
                <a:gd name="connsiteY1" fmla="*/ 4073 h 115886"/>
                <a:gd name="connsiteX2" fmla="*/ 108838 w 115886"/>
                <a:gd name="connsiteY2" fmla="*/ 78624 h 115886"/>
                <a:gd name="connsiteX3" fmla="*/ 109621 w 115886"/>
                <a:gd name="connsiteY3" fmla="*/ 79367 h 115886"/>
                <a:gd name="connsiteX4" fmla="*/ 109621 w 115886"/>
                <a:gd name="connsiteY4" fmla="*/ 109620 h 115886"/>
                <a:gd name="connsiteX5" fmla="*/ 108838 w 115886"/>
                <a:gd name="connsiteY5" fmla="*/ 110364 h 115886"/>
                <a:gd name="connsiteX6" fmla="*/ 78623 w 115886"/>
                <a:gd name="connsiteY6" fmla="*/ 108839 h 115886"/>
                <a:gd name="connsiteX7" fmla="*/ 4072 w 115886"/>
                <a:gd name="connsiteY7" fmla="*/ 26355 h 115886"/>
                <a:gd name="connsiteX8" fmla="*/ 4621 w 115886"/>
                <a:gd name="connsiteY8" fmla="*/ 4620 h 115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5886" h="115886">
                  <a:moveTo>
                    <a:pt x="4621" y="4620"/>
                  </a:moveTo>
                  <a:cubicBezTo>
                    <a:pt x="10564" y="-1321"/>
                    <a:pt x="20120" y="-1563"/>
                    <a:pt x="26356" y="4073"/>
                  </a:cubicBezTo>
                  <a:lnTo>
                    <a:pt x="108838" y="78624"/>
                  </a:lnTo>
                  <a:cubicBezTo>
                    <a:pt x="109105" y="78864"/>
                    <a:pt x="109366" y="79113"/>
                    <a:pt x="109621" y="79367"/>
                  </a:cubicBezTo>
                  <a:cubicBezTo>
                    <a:pt x="117974" y="87722"/>
                    <a:pt x="117974" y="101267"/>
                    <a:pt x="109621" y="109620"/>
                  </a:cubicBezTo>
                  <a:cubicBezTo>
                    <a:pt x="109366" y="109875"/>
                    <a:pt x="109105" y="110123"/>
                    <a:pt x="108838" y="110364"/>
                  </a:cubicBezTo>
                  <a:cubicBezTo>
                    <a:pt x="100073" y="118286"/>
                    <a:pt x="86546" y="117603"/>
                    <a:pt x="78623" y="108839"/>
                  </a:cubicBezTo>
                  <a:lnTo>
                    <a:pt x="4072" y="26355"/>
                  </a:lnTo>
                  <a:cubicBezTo>
                    <a:pt x="-1562" y="20121"/>
                    <a:pt x="-1322" y="10563"/>
                    <a:pt x="4621" y="462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05" name="Рисунок 299">
            <a:extLst>
              <a:ext uri="{FF2B5EF4-FFF2-40B4-BE49-F238E27FC236}">
                <a16:creationId xmlns:a16="http://schemas.microsoft.com/office/drawing/2014/main" id="{F2BEA157-C7CE-C84F-AEE4-76BB809891DC}"/>
              </a:ext>
            </a:extLst>
          </p:cNvPr>
          <p:cNvGrpSpPr/>
          <p:nvPr/>
        </p:nvGrpSpPr>
        <p:grpSpPr>
          <a:xfrm>
            <a:off x="2927270" y="3115315"/>
            <a:ext cx="360000" cy="360000"/>
            <a:chOff x="2960723" y="3432037"/>
            <a:chExt cx="360000" cy="360000"/>
          </a:xfrm>
        </p:grpSpPr>
        <p:sp>
          <p:nvSpPr>
            <p:cNvPr id="1306" name="Полилиния 1305">
              <a:extLst>
                <a:ext uri="{FF2B5EF4-FFF2-40B4-BE49-F238E27FC236}">
                  <a16:creationId xmlns:a16="http://schemas.microsoft.com/office/drawing/2014/main" id="{974F1A2F-61AA-3347-B38E-CAFEA295E916}"/>
                </a:ext>
              </a:extLst>
            </p:cNvPr>
            <p:cNvSpPr/>
            <p:nvPr/>
          </p:nvSpPr>
          <p:spPr>
            <a:xfrm>
              <a:off x="2960723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7" name="Полилиния 1306">
              <a:extLst>
                <a:ext uri="{FF2B5EF4-FFF2-40B4-BE49-F238E27FC236}">
                  <a16:creationId xmlns:a16="http://schemas.microsoft.com/office/drawing/2014/main" id="{355B1B2B-C94A-C240-B1FD-BA9B07BF5106}"/>
                </a:ext>
              </a:extLst>
            </p:cNvPr>
            <p:cNvSpPr/>
            <p:nvPr/>
          </p:nvSpPr>
          <p:spPr>
            <a:xfrm>
              <a:off x="3050723" y="3507037"/>
              <a:ext cx="180000" cy="210000"/>
            </a:xfrm>
            <a:custGeom>
              <a:avLst/>
              <a:gdLst>
                <a:gd name="connsiteX0" fmla="*/ 15000 w 180000"/>
                <a:gd name="connsiteY0" fmla="*/ 0 h 210000"/>
                <a:gd name="connsiteX1" fmla="*/ 165000 w 180000"/>
                <a:gd name="connsiteY1" fmla="*/ 0 h 210000"/>
                <a:gd name="connsiteX2" fmla="*/ 180000 w 180000"/>
                <a:gd name="connsiteY2" fmla="*/ 15000 h 210000"/>
                <a:gd name="connsiteX3" fmla="*/ 165000 w 180000"/>
                <a:gd name="connsiteY3" fmla="*/ 30000 h 210000"/>
                <a:gd name="connsiteX4" fmla="*/ 15000 w 180000"/>
                <a:gd name="connsiteY4" fmla="*/ 30000 h 210000"/>
                <a:gd name="connsiteX5" fmla="*/ 0 w 180000"/>
                <a:gd name="connsiteY5" fmla="*/ 15000 h 210000"/>
                <a:gd name="connsiteX6" fmla="*/ 15000 w 180000"/>
                <a:gd name="connsiteY6" fmla="*/ 0 h 210000"/>
                <a:gd name="connsiteX7" fmla="*/ 15000 w 180000"/>
                <a:gd name="connsiteY7" fmla="*/ 60000 h 210000"/>
                <a:gd name="connsiteX8" fmla="*/ 165000 w 180000"/>
                <a:gd name="connsiteY8" fmla="*/ 60000 h 210000"/>
                <a:gd name="connsiteX9" fmla="*/ 180000 w 180000"/>
                <a:gd name="connsiteY9" fmla="*/ 75000 h 210000"/>
                <a:gd name="connsiteX10" fmla="*/ 165000 w 180000"/>
                <a:gd name="connsiteY10" fmla="*/ 90000 h 210000"/>
                <a:gd name="connsiteX11" fmla="*/ 15000 w 180000"/>
                <a:gd name="connsiteY11" fmla="*/ 90000 h 210000"/>
                <a:gd name="connsiteX12" fmla="*/ 0 w 180000"/>
                <a:gd name="connsiteY12" fmla="*/ 75000 h 210000"/>
                <a:gd name="connsiteX13" fmla="*/ 15000 w 180000"/>
                <a:gd name="connsiteY13" fmla="*/ 60000 h 210000"/>
                <a:gd name="connsiteX14" fmla="*/ 15000 w 180000"/>
                <a:gd name="connsiteY14" fmla="*/ 120000 h 210000"/>
                <a:gd name="connsiteX15" fmla="*/ 165000 w 180000"/>
                <a:gd name="connsiteY15" fmla="*/ 120000 h 210000"/>
                <a:gd name="connsiteX16" fmla="*/ 180000 w 180000"/>
                <a:gd name="connsiteY16" fmla="*/ 135000 h 210000"/>
                <a:gd name="connsiteX17" fmla="*/ 165000 w 180000"/>
                <a:gd name="connsiteY17" fmla="*/ 150000 h 210000"/>
                <a:gd name="connsiteX18" fmla="*/ 15000 w 180000"/>
                <a:gd name="connsiteY18" fmla="*/ 150000 h 210000"/>
                <a:gd name="connsiteX19" fmla="*/ 0 w 180000"/>
                <a:gd name="connsiteY19" fmla="*/ 135000 h 210000"/>
                <a:gd name="connsiteX20" fmla="*/ 15000 w 180000"/>
                <a:gd name="connsiteY20" fmla="*/ 120000 h 210000"/>
                <a:gd name="connsiteX21" fmla="*/ 15000 w 180000"/>
                <a:gd name="connsiteY21" fmla="*/ 180000 h 210000"/>
                <a:gd name="connsiteX22" fmla="*/ 165000 w 180000"/>
                <a:gd name="connsiteY22" fmla="*/ 180000 h 210000"/>
                <a:gd name="connsiteX23" fmla="*/ 180000 w 180000"/>
                <a:gd name="connsiteY23" fmla="*/ 195000 h 210000"/>
                <a:gd name="connsiteX24" fmla="*/ 165000 w 180000"/>
                <a:gd name="connsiteY24" fmla="*/ 210000 h 210000"/>
                <a:gd name="connsiteX25" fmla="*/ 15000 w 180000"/>
                <a:gd name="connsiteY25" fmla="*/ 210000 h 210000"/>
                <a:gd name="connsiteX26" fmla="*/ 0 w 180000"/>
                <a:gd name="connsiteY26" fmla="*/ 195000 h 210000"/>
                <a:gd name="connsiteX27" fmla="*/ 15000 w 180000"/>
                <a:gd name="connsiteY27" fmla="*/ 18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0000" h="210000">
                  <a:moveTo>
                    <a:pt x="15000" y="0"/>
                  </a:moveTo>
                  <a:lnTo>
                    <a:pt x="165000" y="0"/>
                  </a:lnTo>
                  <a:cubicBezTo>
                    <a:pt x="173285" y="0"/>
                    <a:pt x="180000" y="6716"/>
                    <a:pt x="180000" y="15000"/>
                  </a:cubicBezTo>
                  <a:cubicBezTo>
                    <a:pt x="180000" y="23284"/>
                    <a:pt x="173285" y="30000"/>
                    <a:pt x="165000" y="30000"/>
                  </a:cubicBez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000" y="60000"/>
                  </a:moveTo>
                  <a:lnTo>
                    <a:pt x="165000" y="60000"/>
                  </a:lnTo>
                  <a:cubicBezTo>
                    <a:pt x="173285" y="60000"/>
                    <a:pt x="180000" y="66716"/>
                    <a:pt x="180000" y="75000"/>
                  </a:cubicBezTo>
                  <a:cubicBezTo>
                    <a:pt x="180000" y="83285"/>
                    <a:pt x="173285" y="90000"/>
                    <a:pt x="165000" y="90000"/>
                  </a:cubicBezTo>
                  <a:lnTo>
                    <a:pt x="15000" y="90000"/>
                  </a:lnTo>
                  <a:cubicBezTo>
                    <a:pt x="6716" y="90000"/>
                    <a:pt x="0" y="83285"/>
                    <a:pt x="0" y="75000"/>
                  </a:cubicBezTo>
                  <a:cubicBezTo>
                    <a:pt x="0" y="66716"/>
                    <a:pt x="6716" y="60000"/>
                    <a:pt x="15000" y="60000"/>
                  </a:cubicBezTo>
                  <a:close/>
                  <a:moveTo>
                    <a:pt x="15000" y="120000"/>
                  </a:moveTo>
                  <a:lnTo>
                    <a:pt x="165000" y="120000"/>
                  </a:lnTo>
                  <a:cubicBezTo>
                    <a:pt x="173285" y="120000"/>
                    <a:pt x="180000" y="126715"/>
                    <a:pt x="180000" y="135000"/>
                  </a:cubicBezTo>
                  <a:cubicBezTo>
                    <a:pt x="180000" y="143285"/>
                    <a:pt x="173285" y="150000"/>
                    <a:pt x="165000" y="150000"/>
                  </a:cubicBez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cubicBezTo>
                    <a:pt x="0" y="126715"/>
                    <a:pt x="6716" y="120000"/>
                    <a:pt x="15000" y="120000"/>
                  </a:cubicBezTo>
                  <a:close/>
                  <a:moveTo>
                    <a:pt x="15000" y="180000"/>
                  </a:moveTo>
                  <a:lnTo>
                    <a:pt x="165000" y="180000"/>
                  </a:lnTo>
                  <a:cubicBezTo>
                    <a:pt x="173285" y="180000"/>
                    <a:pt x="180000" y="186716"/>
                    <a:pt x="180000" y="195000"/>
                  </a:cubicBezTo>
                  <a:cubicBezTo>
                    <a:pt x="180000" y="203285"/>
                    <a:pt x="173285" y="210000"/>
                    <a:pt x="165000" y="210000"/>
                  </a:cubicBezTo>
                  <a:lnTo>
                    <a:pt x="15000" y="210000"/>
                  </a:lnTo>
                  <a:cubicBezTo>
                    <a:pt x="6716" y="210000"/>
                    <a:pt x="0" y="203285"/>
                    <a:pt x="0" y="195000"/>
                  </a:cubicBezTo>
                  <a:cubicBezTo>
                    <a:pt x="0" y="186716"/>
                    <a:pt x="6716" y="180000"/>
                    <a:pt x="15000" y="18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8" name="Полилиния 1307">
              <a:extLst>
                <a:ext uri="{FF2B5EF4-FFF2-40B4-BE49-F238E27FC236}">
                  <a16:creationId xmlns:a16="http://schemas.microsoft.com/office/drawing/2014/main" id="{CD0626DC-13D6-4944-816E-4F7A5CFCF6AA}"/>
                </a:ext>
              </a:extLst>
            </p:cNvPr>
            <p:cNvSpPr/>
            <p:nvPr/>
          </p:nvSpPr>
          <p:spPr>
            <a:xfrm>
              <a:off x="3020723" y="3462037"/>
              <a:ext cx="240000" cy="300000"/>
            </a:xfrm>
            <a:custGeom>
              <a:avLst/>
              <a:gdLst>
                <a:gd name="connsiteX0" fmla="*/ 22500 w 240000"/>
                <a:gd name="connsiteY0" fmla="*/ 0 h 300000"/>
                <a:gd name="connsiteX1" fmla="*/ 45000 w 240000"/>
                <a:gd name="connsiteY1" fmla="*/ 22500 h 300000"/>
                <a:gd name="connsiteX2" fmla="*/ 45000 w 240000"/>
                <a:gd name="connsiteY2" fmla="*/ 277500 h 300000"/>
                <a:gd name="connsiteX3" fmla="*/ 22500 w 240000"/>
                <a:gd name="connsiteY3" fmla="*/ 300000 h 300000"/>
                <a:gd name="connsiteX4" fmla="*/ 0 w 240000"/>
                <a:gd name="connsiteY4" fmla="*/ 277500 h 300000"/>
                <a:gd name="connsiteX5" fmla="*/ 0 w 240000"/>
                <a:gd name="connsiteY5" fmla="*/ 22500 h 300000"/>
                <a:gd name="connsiteX6" fmla="*/ 22500 w 240000"/>
                <a:gd name="connsiteY6" fmla="*/ 0 h 300000"/>
                <a:gd name="connsiteX7" fmla="*/ 217500 w 240000"/>
                <a:gd name="connsiteY7" fmla="*/ 0 h 300000"/>
                <a:gd name="connsiteX8" fmla="*/ 240000 w 240000"/>
                <a:gd name="connsiteY8" fmla="*/ 22500 h 300000"/>
                <a:gd name="connsiteX9" fmla="*/ 240000 w 240000"/>
                <a:gd name="connsiteY9" fmla="*/ 277500 h 300000"/>
                <a:gd name="connsiteX10" fmla="*/ 217500 w 240000"/>
                <a:gd name="connsiteY10" fmla="*/ 300000 h 300000"/>
                <a:gd name="connsiteX11" fmla="*/ 195000 w 240000"/>
                <a:gd name="connsiteY11" fmla="*/ 277500 h 300000"/>
                <a:gd name="connsiteX12" fmla="*/ 195000 w 240000"/>
                <a:gd name="connsiteY12" fmla="*/ 22500 h 300000"/>
                <a:gd name="connsiteX13" fmla="*/ 217500 w 240000"/>
                <a:gd name="connsiteY13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300000">
                  <a:moveTo>
                    <a:pt x="22500" y="0"/>
                  </a:moveTo>
                  <a:cubicBezTo>
                    <a:pt x="34926" y="0"/>
                    <a:pt x="45000" y="10074"/>
                    <a:pt x="45000" y="22500"/>
                  </a:cubicBezTo>
                  <a:lnTo>
                    <a:pt x="45000" y="277500"/>
                  </a:lnTo>
                  <a:cubicBezTo>
                    <a:pt x="45000" y="289926"/>
                    <a:pt x="34926" y="300000"/>
                    <a:pt x="22500" y="300000"/>
                  </a:cubicBezTo>
                  <a:cubicBezTo>
                    <a:pt x="10074" y="300000"/>
                    <a:pt x="0" y="289926"/>
                    <a:pt x="0" y="277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217500" y="0"/>
                  </a:moveTo>
                  <a:cubicBezTo>
                    <a:pt x="229926" y="0"/>
                    <a:pt x="240000" y="10074"/>
                    <a:pt x="240000" y="22500"/>
                  </a:cubicBezTo>
                  <a:lnTo>
                    <a:pt x="240000" y="277500"/>
                  </a:lnTo>
                  <a:cubicBezTo>
                    <a:pt x="240000" y="289926"/>
                    <a:pt x="229926" y="300000"/>
                    <a:pt x="217500" y="300000"/>
                  </a:cubicBezTo>
                  <a:cubicBezTo>
                    <a:pt x="205074" y="300000"/>
                    <a:pt x="195000" y="289926"/>
                    <a:pt x="195000" y="277500"/>
                  </a:cubicBezTo>
                  <a:lnTo>
                    <a:pt x="195000" y="22500"/>
                  </a:lnTo>
                  <a:cubicBezTo>
                    <a:pt x="195000" y="10074"/>
                    <a:pt x="205074" y="0"/>
                    <a:pt x="2175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09" name="Рисунок 300">
            <a:extLst>
              <a:ext uri="{FF2B5EF4-FFF2-40B4-BE49-F238E27FC236}">
                <a16:creationId xmlns:a16="http://schemas.microsoft.com/office/drawing/2014/main" id="{C6104500-9F87-B64B-89C8-1FAA467CE449}"/>
              </a:ext>
            </a:extLst>
          </p:cNvPr>
          <p:cNvGrpSpPr/>
          <p:nvPr/>
        </p:nvGrpSpPr>
        <p:grpSpPr>
          <a:xfrm>
            <a:off x="3682403" y="3115315"/>
            <a:ext cx="360000" cy="360000"/>
            <a:chOff x="3715856" y="3432037"/>
            <a:chExt cx="360000" cy="360000"/>
          </a:xfrm>
        </p:grpSpPr>
        <p:sp>
          <p:nvSpPr>
            <p:cNvPr id="1310" name="Полилиния 1309">
              <a:extLst>
                <a:ext uri="{FF2B5EF4-FFF2-40B4-BE49-F238E27FC236}">
                  <a16:creationId xmlns:a16="http://schemas.microsoft.com/office/drawing/2014/main" id="{791D33EE-511B-4B4E-AD63-895A0E2C01C3}"/>
                </a:ext>
              </a:extLst>
            </p:cNvPr>
            <p:cNvSpPr/>
            <p:nvPr/>
          </p:nvSpPr>
          <p:spPr>
            <a:xfrm>
              <a:off x="3715856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1" name="Полилиния 1310">
              <a:extLst>
                <a:ext uri="{FF2B5EF4-FFF2-40B4-BE49-F238E27FC236}">
                  <a16:creationId xmlns:a16="http://schemas.microsoft.com/office/drawing/2014/main" id="{E7B9863A-3EA5-194E-B480-6E81E5E2C21C}"/>
                </a:ext>
              </a:extLst>
            </p:cNvPr>
            <p:cNvSpPr/>
            <p:nvPr/>
          </p:nvSpPr>
          <p:spPr>
            <a:xfrm>
              <a:off x="3924192" y="3520594"/>
              <a:ext cx="146672" cy="146672"/>
            </a:xfrm>
            <a:custGeom>
              <a:avLst/>
              <a:gdLst>
                <a:gd name="connsiteX0" fmla="*/ 142279 w 146672"/>
                <a:gd name="connsiteY0" fmla="*/ 25607 h 146672"/>
                <a:gd name="connsiteX1" fmla="*/ 142279 w 146672"/>
                <a:gd name="connsiteY1" fmla="*/ 46820 h 146672"/>
                <a:gd name="connsiteX2" fmla="*/ 46819 w 146672"/>
                <a:gd name="connsiteY2" fmla="*/ 142279 h 146672"/>
                <a:gd name="connsiteX3" fmla="*/ 25606 w 146672"/>
                <a:gd name="connsiteY3" fmla="*/ 142279 h 146672"/>
                <a:gd name="connsiteX4" fmla="*/ 4393 w 146672"/>
                <a:gd name="connsiteY4" fmla="*/ 121066 h 146672"/>
                <a:gd name="connsiteX5" fmla="*/ 4393 w 146672"/>
                <a:gd name="connsiteY5" fmla="*/ 99853 h 146672"/>
                <a:gd name="connsiteX6" fmla="*/ 99852 w 146672"/>
                <a:gd name="connsiteY6" fmla="*/ 4393 h 146672"/>
                <a:gd name="connsiteX7" fmla="*/ 121066 w 146672"/>
                <a:gd name="connsiteY7" fmla="*/ 4393 h 146672"/>
                <a:gd name="connsiteX8" fmla="*/ 142279 w 146672"/>
                <a:gd name="connsiteY8" fmla="*/ 25607 h 1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672" h="146672">
                  <a:moveTo>
                    <a:pt x="142279" y="25607"/>
                  </a:moveTo>
                  <a:cubicBezTo>
                    <a:pt x="148137" y="31465"/>
                    <a:pt x="148137" y="40962"/>
                    <a:pt x="142279" y="46820"/>
                  </a:cubicBezTo>
                  <a:lnTo>
                    <a:pt x="46819" y="142279"/>
                  </a:lnTo>
                  <a:cubicBezTo>
                    <a:pt x="40962" y="148137"/>
                    <a:pt x="31464" y="148137"/>
                    <a:pt x="25606" y="142279"/>
                  </a:cubicBezTo>
                  <a:lnTo>
                    <a:pt x="4393" y="121066"/>
                  </a:lnTo>
                  <a:cubicBezTo>
                    <a:pt x="-1464" y="115207"/>
                    <a:pt x="-1464" y="105711"/>
                    <a:pt x="4393" y="99853"/>
                  </a:cubicBezTo>
                  <a:lnTo>
                    <a:pt x="99852" y="4393"/>
                  </a:lnTo>
                  <a:cubicBezTo>
                    <a:pt x="105711" y="-1464"/>
                    <a:pt x="115207" y="-1464"/>
                    <a:pt x="121066" y="4393"/>
                  </a:cubicBezTo>
                  <a:lnTo>
                    <a:pt x="142279" y="25607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2" name="Полилиния 1311">
              <a:extLst>
                <a:ext uri="{FF2B5EF4-FFF2-40B4-BE49-F238E27FC236}">
                  <a16:creationId xmlns:a16="http://schemas.microsoft.com/office/drawing/2014/main" id="{FBDBC7D8-073A-E040-BD65-F88277D77710}"/>
                </a:ext>
              </a:extLst>
            </p:cNvPr>
            <p:cNvSpPr/>
            <p:nvPr/>
          </p:nvSpPr>
          <p:spPr>
            <a:xfrm>
              <a:off x="3724534" y="3604771"/>
              <a:ext cx="204051" cy="148416"/>
            </a:xfrm>
            <a:custGeom>
              <a:avLst/>
              <a:gdLst>
                <a:gd name="connsiteX0" fmla="*/ 129805 w 204051"/>
                <a:gd name="connsiteY0" fmla="*/ 111135 h 148416"/>
                <a:gd name="connsiteX1" fmla="*/ 182838 w 204051"/>
                <a:gd name="connsiteY1" fmla="*/ 58103 h 148416"/>
                <a:gd name="connsiteX2" fmla="*/ 204051 w 204051"/>
                <a:gd name="connsiteY2" fmla="*/ 79316 h 148416"/>
                <a:gd name="connsiteX3" fmla="*/ 151017 w 204051"/>
                <a:gd name="connsiteY3" fmla="*/ 132348 h 148416"/>
                <a:gd name="connsiteX4" fmla="*/ 150737 w 204051"/>
                <a:gd name="connsiteY4" fmla="*/ 132068 h 148416"/>
                <a:gd name="connsiteX5" fmla="*/ 29042 w 204051"/>
                <a:gd name="connsiteY5" fmla="*/ 116439 h 148416"/>
                <a:gd name="connsiteX6" fmla="*/ 18669 w 204051"/>
                <a:gd name="connsiteY6" fmla="*/ 0 h 148416"/>
                <a:gd name="connsiteX7" fmla="*/ 129805 w 204051"/>
                <a:gd name="connsiteY7" fmla="*/ 111135 h 1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051" h="148416">
                  <a:moveTo>
                    <a:pt x="129805" y="111135"/>
                  </a:moveTo>
                  <a:lnTo>
                    <a:pt x="182838" y="58103"/>
                  </a:lnTo>
                  <a:lnTo>
                    <a:pt x="204051" y="79316"/>
                  </a:lnTo>
                  <a:lnTo>
                    <a:pt x="151017" y="132348"/>
                  </a:lnTo>
                  <a:lnTo>
                    <a:pt x="150737" y="132068"/>
                  </a:lnTo>
                  <a:cubicBezTo>
                    <a:pt x="117838" y="158634"/>
                    <a:pt x="65006" y="152401"/>
                    <a:pt x="29042" y="116439"/>
                  </a:cubicBezTo>
                  <a:cubicBezTo>
                    <a:pt x="-6921" y="80475"/>
                    <a:pt x="-8422" y="32374"/>
                    <a:pt x="18669" y="0"/>
                  </a:cubicBezTo>
                  <a:lnTo>
                    <a:pt x="129805" y="111135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13" name="Рисунок 301">
            <a:extLst>
              <a:ext uri="{FF2B5EF4-FFF2-40B4-BE49-F238E27FC236}">
                <a16:creationId xmlns:a16="http://schemas.microsoft.com/office/drawing/2014/main" id="{94E73D76-804D-124D-BA63-325EFC931CE0}"/>
              </a:ext>
            </a:extLst>
          </p:cNvPr>
          <p:cNvGrpSpPr/>
          <p:nvPr/>
        </p:nvGrpSpPr>
        <p:grpSpPr>
          <a:xfrm>
            <a:off x="661871" y="3115315"/>
            <a:ext cx="360000" cy="360000"/>
            <a:chOff x="695324" y="3432037"/>
            <a:chExt cx="360000" cy="360000"/>
          </a:xfrm>
        </p:grpSpPr>
        <p:sp>
          <p:nvSpPr>
            <p:cNvPr id="1314" name="Полилиния 1313">
              <a:extLst>
                <a:ext uri="{FF2B5EF4-FFF2-40B4-BE49-F238E27FC236}">
                  <a16:creationId xmlns:a16="http://schemas.microsoft.com/office/drawing/2014/main" id="{E22F8362-42B6-4746-AE6B-342872880AA5}"/>
                </a:ext>
              </a:extLst>
            </p:cNvPr>
            <p:cNvSpPr/>
            <p:nvPr/>
          </p:nvSpPr>
          <p:spPr>
            <a:xfrm>
              <a:off x="695324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5" name="Полилиния 1314">
              <a:extLst>
                <a:ext uri="{FF2B5EF4-FFF2-40B4-BE49-F238E27FC236}">
                  <a16:creationId xmlns:a16="http://schemas.microsoft.com/office/drawing/2014/main" id="{A677067A-1A83-264A-B06B-E5A3DE7C62C5}"/>
                </a:ext>
              </a:extLst>
            </p:cNvPr>
            <p:cNvSpPr/>
            <p:nvPr/>
          </p:nvSpPr>
          <p:spPr>
            <a:xfrm>
              <a:off x="815324" y="3717037"/>
              <a:ext cx="120000" cy="30000"/>
            </a:xfrm>
            <a:custGeom>
              <a:avLst/>
              <a:gdLst>
                <a:gd name="connsiteX0" fmla="*/ 30000 w 120000"/>
                <a:gd name="connsiteY0" fmla="*/ 0 h 30000"/>
                <a:gd name="connsiteX1" fmla="*/ 90000 w 120000"/>
                <a:gd name="connsiteY1" fmla="*/ 0 h 30000"/>
                <a:gd name="connsiteX2" fmla="*/ 120000 w 120000"/>
                <a:gd name="connsiteY2" fmla="*/ 30000 h 30000"/>
                <a:gd name="connsiteX3" fmla="*/ 0 w 120000"/>
                <a:gd name="connsiteY3" fmla="*/ 30000 h 30000"/>
                <a:gd name="connsiteX4" fmla="*/ 0 w 120000"/>
                <a:gd name="connsiteY4" fmla="*/ 30000 h 30000"/>
                <a:gd name="connsiteX5" fmla="*/ 30000 w 120000"/>
                <a:gd name="connsiteY5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000" h="30000">
                  <a:moveTo>
                    <a:pt x="30000" y="0"/>
                  </a:moveTo>
                  <a:lnTo>
                    <a:pt x="90000" y="0"/>
                  </a:lnTo>
                  <a:cubicBezTo>
                    <a:pt x="106569" y="0"/>
                    <a:pt x="120000" y="13431"/>
                    <a:pt x="120000" y="30000"/>
                  </a:cubicBezTo>
                  <a:lnTo>
                    <a:pt x="0" y="30000"/>
                  </a:ln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6" name="Полилиния 1315">
              <a:extLst>
                <a:ext uri="{FF2B5EF4-FFF2-40B4-BE49-F238E27FC236}">
                  <a16:creationId xmlns:a16="http://schemas.microsoft.com/office/drawing/2014/main" id="{1AE20A94-DE2F-C045-B82E-7499FF45594B}"/>
                </a:ext>
              </a:extLst>
            </p:cNvPr>
            <p:cNvSpPr/>
            <p:nvPr/>
          </p:nvSpPr>
          <p:spPr>
            <a:xfrm>
              <a:off x="860324" y="3612037"/>
              <a:ext cx="30000" cy="90000"/>
            </a:xfrm>
            <a:custGeom>
              <a:avLst/>
              <a:gdLst>
                <a:gd name="connsiteX0" fmla="*/ 15000 w 30000"/>
                <a:gd name="connsiteY0" fmla="*/ 0 h 90000"/>
                <a:gd name="connsiteX1" fmla="*/ 30000 w 30000"/>
                <a:gd name="connsiteY1" fmla="*/ 0 h 90000"/>
                <a:gd name="connsiteX2" fmla="*/ 30000 w 30000"/>
                <a:gd name="connsiteY2" fmla="*/ 90000 h 90000"/>
                <a:gd name="connsiteX3" fmla="*/ 15000 w 30000"/>
                <a:gd name="connsiteY3" fmla="*/ 90000 h 90000"/>
                <a:gd name="connsiteX4" fmla="*/ 15000 w 30000"/>
                <a:gd name="connsiteY4" fmla="*/ 90000 h 90000"/>
                <a:gd name="connsiteX5" fmla="*/ 0 w 30000"/>
                <a:gd name="connsiteY5" fmla="*/ 90000 h 90000"/>
                <a:gd name="connsiteX6" fmla="*/ 0 w 30000"/>
                <a:gd name="connsiteY6" fmla="*/ 0 h 90000"/>
                <a:gd name="connsiteX7" fmla="*/ 15000 w 30000"/>
                <a:gd name="connsiteY7" fmla="*/ 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90000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90000"/>
                  </a:lnTo>
                  <a:cubicBezTo>
                    <a:pt x="30000" y="90000"/>
                    <a:pt x="23284" y="90000"/>
                    <a:pt x="15000" y="90000"/>
                  </a:cubicBezTo>
                  <a:lnTo>
                    <a:pt x="15000" y="90000"/>
                  </a:lnTo>
                  <a:cubicBezTo>
                    <a:pt x="6716" y="90000"/>
                    <a:pt x="0" y="90000"/>
                    <a:pt x="0" y="9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7" name="Полилиния 1316">
              <a:extLst>
                <a:ext uri="{FF2B5EF4-FFF2-40B4-BE49-F238E27FC236}">
                  <a16:creationId xmlns:a16="http://schemas.microsoft.com/office/drawing/2014/main" id="{C0964FBB-A90A-6346-AF9E-30927DE726A5}"/>
                </a:ext>
              </a:extLst>
            </p:cNvPr>
            <p:cNvSpPr/>
            <p:nvPr/>
          </p:nvSpPr>
          <p:spPr>
            <a:xfrm rot="-900000">
              <a:off x="929518" y="3524641"/>
              <a:ext cx="30000" cy="75000"/>
            </a:xfrm>
            <a:custGeom>
              <a:avLst/>
              <a:gdLst>
                <a:gd name="connsiteX0" fmla="*/ 15000 w 30000"/>
                <a:gd name="connsiteY0" fmla="*/ 0 h 75000"/>
                <a:gd name="connsiteX1" fmla="*/ 30000 w 30000"/>
                <a:gd name="connsiteY1" fmla="*/ 0 h 75000"/>
                <a:gd name="connsiteX2" fmla="*/ 30000 w 30000"/>
                <a:gd name="connsiteY2" fmla="*/ 75000 h 75000"/>
                <a:gd name="connsiteX3" fmla="*/ 15000 w 30000"/>
                <a:gd name="connsiteY3" fmla="*/ 75000 h 75000"/>
                <a:gd name="connsiteX4" fmla="*/ 15000 w 30000"/>
                <a:gd name="connsiteY4" fmla="*/ 75000 h 75000"/>
                <a:gd name="connsiteX5" fmla="*/ 0 w 30000"/>
                <a:gd name="connsiteY5" fmla="*/ 75000 h 75000"/>
                <a:gd name="connsiteX6" fmla="*/ 0 w 30000"/>
                <a:gd name="connsiteY6" fmla="*/ 0 h 75000"/>
                <a:gd name="connsiteX7" fmla="*/ 15000 w 30000"/>
                <a:gd name="connsiteY7" fmla="*/ 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75000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75000"/>
                  </a:lnTo>
                  <a:cubicBezTo>
                    <a:pt x="30000" y="75000"/>
                    <a:pt x="23284" y="75000"/>
                    <a:pt x="15000" y="75000"/>
                  </a:cubicBezTo>
                  <a:lnTo>
                    <a:pt x="15000" y="75000"/>
                  </a:lnTo>
                  <a:cubicBezTo>
                    <a:pt x="6716" y="75000"/>
                    <a:pt x="0" y="75000"/>
                    <a:pt x="0" y="75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rgbClr val="FFFFFF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8" name="Полилиния 1317">
              <a:extLst>
                <a:ext uri="{FF2B5EF4-FFF2-40B4-BE49-F238E27FC236}">
                  <a16:creationId xmlns:a16="http://schemas.microsoft.com/office/drawing/2014/main" id="{6FA7E85E-95E3-7543-B3E4-6E9B80F60D94}"/>
                </a:ext>
              </a:extLst>
            </p:cNvPr>
            <p:cNvSpPr/>
            <p:nvPr/>
          </p:nvSpPr>
          <p:spPr>
            <a:xfrm>
              <a:off x="740324" y="3492037"/>
              <a:ext cx="270000" cy="135000"/>
            </a:xfrm>
            <a:custGeom>
              <a:avLst/>
              <a:gdLst>
                <a:gd name="connsiteX0" fmla="*/ 66623 w 270000"/>
                <a:gd name="connsiteY0" fmla="*/ 0 h 135000"/>
                <a:gd name="connsiteX1" fmla="*/ 203378 w 270000"/>
                <a:gd name="connsiteY1" fmla="*/ 0 h 135000"/>
                <a:gd name="connsiteX2" fmla="*/ 231837 w 270000"/>
                <a:gd name="connsiteY2" fmla="*/ 20513 h 135000"/>
                <a:gd name="connsiteX3" fmla="*/ 270000 w 270000"/>
                <a:gd name="connsiteY3" fmla="*/ 135000 h 135000"/>
                <a:gd name="connsiteX4" fmla="*/ 0 w 270000"/>
                <a:gd name="connsiteY4" fmla="*/ 135000 h 135000"/>
                <a:gd name="connsiteX5" fmla="*/ 38162 w 270000"/>
                <a:gd name="connsiteY5" fmla="*/ 20513 h 135000"/>
                <a:gd name="connsiteX6" fmla="*/ 66623 w 270000"/>
                <a:gd name="connsiteY6" fmla="*/ 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000" h="135000">
                  <a:moveTo>
                    <a:pt x="66623" y="0"/>
                  </a:moveTo>
                  <a:lnTo>
                    <a:pt x="203378" y="0"/>
                  </a:lnTo>
                  <a:cubicBezTo>
                    <a:pt x="216290" y="0"/>
                    <a:pt x="227754" y="8263"/>
                    <a:pt x="231837" y="20513"/>
                  </a:cubicBezTo>
                  <a:lnTo>
                    <a:pt x="270000" y="135000"/>
                  </a:lnTo>
                  <a:lnTo>
                    <a:pt x="0" y="135000"/>
                  </a:lnTo>
                  <a:lnTo>
                    <a:pt x="38162" y="20513"/>
                  </a:lnTo>
                  <a:cubicBezTo>
                    <a:pt x="42246" y="8263"/>
                    <a:pt x="53710" y="0"/>
                    <a:pt x="66623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19" name="Рисунок 302">
            <a:extLst>
              <a:ext uri="{FF2B5EF4-FFF2-40B4-BE49-F238E27FC236}">
                <a16:creationId xmlns:a16="http://schemas.microsoft.com/office/drawing/2014/main" id="{05581538-B20D-3947-B515-D92693B3E774}"/>
              </a:ext>
            </a:extLst>
          </p:cNvPr>
          <p:cNvGrpSpPr/>
          <p:nvPr/>
        </p:nvGrpSpPr>
        <p:grpSpPr>
          <a:xfrm>
            <a:off x="11233735" y="1769207"/>
            <a:ext cx="360000" cy="360000"/>
            <a:chOff x="11267188" y="2085929"/>
            <a:chExt cx="360000" cy="360000"/>
          </a:xfrm>
        </p:grpSpPr>
        <p:sp>
          <p:nvSpPr>
            <p:cNvPr id="1320" name="Полилиния 1319">
              <a:extLst>
                <a:ext uri="{FF2B5EF4-FFF2-40B4-BE49-F238E27FC236}">
                  <a16:creationId xmlns:a16="http://schemas.microsoft.com/office/drawing/2014/main" id="{231C7B37-80FE-C244-A2AB-1EAD6648CCC7}"/>
                </a:ext>
              </a:extLst>
            </p:cNvPr>
            <p:cNvSpPr/>
            <p:nvPr/>
          </p:nvSpPr>
          <p:spPr>
            <a:xfrm>
              <a:off x="11267188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1" name="Полилиния 1320">
              <a:extLst>
                <a:ext uri="{FF2B5EF4-FFF2-40B4-BE49-F238E27FC236}">
                  <a16:creationId xmlns:a16="http://schemas.microsoft.com/office/drawing/2014/main" id="{C1A2ED54-1835-F54F-9441-FE100D80C8BD}"/>
                </a:ext>
              </a:extLst>
            </p:cNvPr>
            <p:cNvSpPr/>
            <p:nvPr/>
          </p:nvSpPr>
          <p:spPr>
            <a:xfrm>
              <a:off x="11297188" y="2145929"/>
              <a:ext cx="285000" cy="240000"/>
            </a:xfrm>
            <a:custGeom>
              <a:avLst/>
              <a:gdLst>
                <a:gd name="connsiteX0" fmla="*/ 15000 w 285000"/>
                <a:gd name="connsiteY0" fmla="*/ 0 h 240000"/>
                <a:gd name="connsiteX1" fmla="*/ 270000 w 285000"/>
                <a:gd name="connsiteY1" fmla="*/ 0 h 240000"/>
                <a:gd name="connsiteX2" fmla="*/ 285000 w 285000"/>
                <a:gd name="connsiteY2" fmla="*/ 15000 h 240000"/>
                <a:gd name="connsiteX3" fmla="*/ 285000 w 285000"/>
                <a:gd name="connsiteY3" fmla="*/ 45000 h 240000"/>
                <a:gd name="connsiteX4" fmla="*/ 270000 w 285000"/>
                <a:gd name="connsiteY4" fmla="*/ 60000 h 240000"/>
                <a:gd name="connsiteX5" fmla="*/ 15000 w 285000"/>
                <a:gd name="connsiteY5" fmla="*/ 60000 h 240000"/>
                <a:gd name="connsiteX6" fmla="*/ 0 w 285000"/>
                <a:gd name="connsiteY6" fmla="*/ 45000 h 240000"/>
                <a:gd name="connsiteX7" fmla="*/ 0 w 285000"/>
                <a:gd name="connsiteY7" fmla="*/ 15000 h 240000"/>
                <a:gd name="connsiteX8" fmla="*/ 15000 w 285000"/>
                <a:gd name="connsiteY8" fmla="*/ 0 h 240000"/>
                <a:gd name="connsiteX9" fmla="*/ 120000 w 285000"/>
                <a:gd name="connsiteY9" fmla="*/ 90000 h 240000"/>
                <a:gd name="connsiteX10" fmla="*/ 270000 w 285000"/>
                <a:gd name="connsiteY10" fmla="*/ 90000 h 240000"/>
                <a:gd name="connsiteX11" fmla="*/ 285000 w 285000"/>
                <a:gd name="connsiteY11" fmla="*/ 105000 h 240000"/>
                <a:gd name="connsiteX12" fmla="*/ 285000 w 285000"/>
                <a:gd name="connsiteY12" fmla="*/ 225000 h 240000"/>
                <a:gd name="connsiteX13" fmla="*/ 270000 w 285000"/>
                <a:gd name="connsiteY13" fmla="*/ 240000 h 240000"/>
                <a:gd name="connsiteX14" fmla="*/ 120000 w 285000"/>
                <a:gd name="connsiteY14" fmla="*/ 240000 h 240000"/>
                <a:gd name="connsiteX15" fmla="*/ 105000 w 285000"/>
                <a:gd name="connsiteY15" fmla="*/ 225000 h 240000"/>
                <a:gd name="connsiteX16" fmla="*/ 105000 w 285000"/>
                <a:gd name="connsiteY16" fmla="*/ 105000 h 240000"/>
                <a:gd name="connsiteX17" fmla="*/ 120000 w 285000"/>
                <a:gd name="connsiteY17" fmla="*/ 9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000" h="240000">
                  <a:moveTo>
                    <a:pt x="15000" y="0"/>
                  </a:moveTo>
                  <a:lnTo>
                    <a:pt x="270000" y="0"/>
                  </a:lnTo>
                  <a:cubicBezTo>
                    <a:pt x="278285" y="0"/>
                    <a:pt x="285000" y="6716"/>
                    <a:pt x="285000" y="15000"/>
                  </a:cubicBezTo>
                  <a:lnTo>
                    <a:pt x="285000" y="45000"/>
                  </a:lnTo>
                  <a:cubicBezTo>
                    <a:pt x="285000" y="53284"/>
                    <a:pt x="278285" y="60000"/>
                    <a:pt x="270000" y="60000"/>
                  </a:cubicBezTo>
                  <a:lnTo>
                    <a:pt x="15000" y="60000"/>
                  </a:lnTo>
                  <a:cubicBezTo>
                    <a:pt x="6716" y="60000"/>
                    <a:pt x="0" y="53284"/>
                    <a:pt x="0" y="4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20000" y="90000"/>
                  </a:moveTo>
                  <a:lnTo>
                    <a:pt x="270000" y="90000"/>
                  </a:lnTo>
                  <a:cubicBezTo>
                    <a:pt x="278285" y="90000"/>
                    <a:pt x="285000" y="96715"/>
                    <a:pt x="285000" y="105000"/>
                  </a:cubicBezTo>
                  <a:lnTo>
                    <a:pt x="285000" y="225000"/>
                  </a:lnTo>
                  <a:cubicBezTo>
                    <a:pt x="285000" y="233285"/>
                    <a:pt x="278285" y="240000"/>
                    <a:pt x="270000" y="240000"/>
                  </a:cubicBezTo>
                  <a:lnTo>
                    <a:pt x="120000" y="240000"/>
                  </a:lnTo>
                  <a:cubicBezTo>
                    <a:pt x="111716" y="240000"/>
                    <a:pt x="105000" y="233285"/>
                    <a:pt x="105000" y="225000"/>
                  </a:cubicBezTo>
                  <a:lnTo>
                    <a:pt x="105000" y="105000"/>
                  </a:lnTo>
                  <a:cubicBezTo>
                    <a:pt x="105000" y="96715"/>
                    <a:pt x="111716" y="90000"/>
                    <a:pt x="120000" y="9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2" name="Скругленный прямоугольник 1321">
              <a:extLst>
                <a:ext uri="{FF2B5EF4-FFF2-40B4-BE49-F238E27FC236}">
                  <a16:creationId xmlns:a16="http://schemas.microsoft.com/office/drawing/2014/main" id="{F08AF16A-D33D-FE46-AABD-7D33A07EBE24}"/>
                </a:ext>
              </a:extLst>
            </p:cNvPr>
            <p:cNvSpPr/>
            <p:nvPr/>
          </p:nvSpPr>
          <p:spPr>
            <a:xfrm>
              <a:off x="11297188" y="2235929"/>
              <a:ext cx="75000" cy="15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23" name="Рисунок 303">
            <a:extLst>
              <a:ext uri="{FF2B5EF4-FFF2-40B4-BE49-F238E27FC236}">
                <a16:creationId xmlns:a16="http://schemas.microsoft.com/office/drawing/2014/main" id="{D91AF30E-1FEF-4647-A3D2-8742809510B2}"/>
              </a:ext>
            </a:extLst>
          </p:cNvPr>
          <p:cNvGrpSpPr/>
          <p:nvPr/>
        </p:nvGrpSpPr>
        <p:grpSpPr>
          <a:xfrm>
            <a:off x="10478600" y="1769207"/>
            <a:ext cx="360000" cy="360000"/>
            <a:chOff x="10512053" y="2085929"/>
            <a:chExt cx="360000" cy="360000"/>
          </a:xfrm>
        </p:grpSpPr>
        <p:sp>
          <p:nvSpPr>
            <p:cNvPr id="1324" name="Полилиния 1323">
              <a:extLst>
                <a:ext uri="{FF2B5EF4-FFF2-40B4-BE49-F238E27FC236}">
                  <a16:creationId xmlns:a16="http://schemas.microsoft.com/office/drawing/2014/main" id="{65BD2DD1-43FE-6B40-992D-6FE09CF936D5}"/>
                </a:ext>
              </a:extLst>
            </p:cNvPr>
            <p:cNvSpPr/>
            <p:nvPr/>
          </p:nvSpPr>
          <p:spPr>
            <a:xfrm>
              <a:off x="10512053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5" name="Полилиния 1324">
              <a:extLst>
                <a:ext uri="{FF2B5EF4-FFF2-40B4-BE49-F238E27FC236}">
                  <a16:creationId xmlns:a16="http://schemas.microsoft.com/office/drawing/2014/main" id="{16AFEC3D-8737-1146-9B09-8297AE187E44}"/>
                </a:ext>
              </a:extLst>
            </p:cNvPr>
            <p:cNvSpPr/>
            <p:nvPr/>
          </p:nvSpPr>
          <p:spPr>
            <a:xfrm>
              <a:off x="10542053" y="2145929"/>
              <a:ext cx="285000" cy="240000"/>
            </a:xfrm>
            <a:custGeom>
              <a:avLst/>
              <a:gdLst>
                <a:gd name="connsiteX0" fmla="*/ 15000 w 285000"/>
                <a:gd name="connsiteY0" fmla="*/ 0 h 240000"/>
                <a:gd name="connsiteX1" fmla="*/ 270000 w 285000"/>
                <a:gd name="connsiteY1" fmla="*/ 0 h 240000"/>
                <a:gd name="connsiteX2" fmla="*/ 285000 w 285000"/>
                <a:gd name="connsiteY2" fmla="*/ 15000 h 240000"/>
                <a:gd name="connsiteX3" fmla="*/ 285000 w 285000"/>
                <a:gd name="connsiteY3" fmla="*/ 45000 h 240000"/>
                <a:gd name="connsiteX4" fmla="*/ 270000 w 285000"/>
                <a:gd name="connsiteY4" fmla="*/ 60000 h 240000"/>
                <a:gd name="connsiteX5" fmla="*/ 15000 w 285000"/>
                <a:gd name="connsiteY5" fmla="*/ 60000 h 240000"/>
                <a:gd name="connsiteX6" fmla="*/ 0 w 285000"/>
                <a:gd name="connsiteY6" fmla="*/ 45000 h 240000"/>
                <a:gd name="connsiteX7" fmla="*/ 0 w 285000"/>
                <a:gd name="connsiteY7" fmla="*/ 15000 h 240000"/>
                <a:gd name="connsiteX8" fmla="*/ 15000 w 285000"/>
                <a:gd name="connsiteY8" fmla="*/ 0 h 240000"/>
                <a:gd name="connsiteX9" fmla="*/ 15000 w 285000"/>
                <a:gd name="connsiteY9" fmla="*/ 90000 h 240000"/>
                <a:gd name="connsiteX10" fmla="*/ 165000 w 285000"/>
                <a:gd name="connsiteY10" fmla="*/ 90000 h 240000"/>
                <a:gd name="connsiteX11" fmla="*/ 180000 w 285000"/>
                <a:gd name="connsiteY11" fmla="*/ 105000 h 240000"/>
                <a:gd name="connsiteX12" fmla="*/ 180000 w 285000"/>
                <a:gd name="connsiteY12" fmla="*/ 225000 h 240000"/>
                <a:gd name="connsiteX13" fmla="*/ 165000 w 285000"/>
                <a:gd name="connsiteY13" fmla="*/ 240000 h 240000"/>
                <a:gd name="connsiteX14" fmla="*/ 15000 w 285000"/>
                <a:gd name="connsiteY14" fmla="*/ 240000 h 240000"/>
                <a:gd name="connsiteX15" fmla="*/ 0 w 285000"/>
                <a:gd name="connsiteY15" fmla="*/ 225000 h 240000"/>
                <a:gd name="connsiteX16" fmla="*/ 0 w 285000"/>
                <a:gd name="connsiteY16" fmla="*/ 105000 h 240000"/>
                <a:gd name="connsiteX17" fmla="*/ 15000 w 285000"/>
                <a:gd name="connsiteY17" fmla="*/ 9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000" h="240000">
                  <a:moveTo>
                    <a:pt x="15000" y="0"/>
                  </a:moveTo>
                  <a:lnTo>
                    <a:pt x="270000" y="0"/>
                  </a:lnTo>
                  <a:cubicBezTo>
                    <a:pt x="278285" y="0"/>
                    <a:pt x="285000" y="6716"/>
                    <a:pt x="285000" y="15000"/>
                  </a:cubicBezTo>
                  <a:lnTo>
                    <a:pt x="285000" y="45000"/>
                  </a:lnTo>
                  <a:cubicBezTo>
                    <a:pt x="285000" y="53284"/>
                    <a:pt x="278285" y="60000"/>
                    <a:pt x="270000" y="60000"/>
                  </a:cubicBezTo>
                  <a:lnTo>
                    <a:pt x="15000" y="60000"/>
                  </a:lnTo>
                  <a:cubicBezTo>
                    <a:pt x="6716" y="60000"/>
                    <a:pt x="0" y="53284"/>
                    <a:pt x="0" y="4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000" y="90000"/>
                  </a:moveTo>
                  <a:lnTo>
                    <a:pt x="165000" y="90000"/>
                  </a:lnTo>
                  <a:cubicBezTo>
                    <a:pt x="173285" y="90000"/>
                    <a:pt x="180000" y="96715"/>
                    <a:pt x="180000" y="105000"/>
                  </a:cubicBezTo>
                  <a:lnTo>
                    <a:pt x="180000" y="225000"/>
                  </a:lnTo>
                  <a:cubicBezTo>
                    <a:pt x="180000" y="233285"/>
                    <a:pt x="173285" y="240000"/>
                    <a:pt x="165000" y="240000"/>
                  </a:cubicBezTo>
                  <a:lnTo>
                    <a:pt x="15000" y="240000"/>
                  </a:lnTo>
                  <a:cubicBezTo>
                    <a:pt x="6716" y="240000"/>
                    <a:pt x="0" y="233285"/>
                    <a:pt x="0" y="225000"/>
                  </a:cubicBezTo>
                  <a:lnTo>
                    <a:pt x="0" y="105000"/>
                  </a:lnTo>
                  <a:cubicBezTo>
                    <a:pt x="0" y="96715"/>
                    <a:pt x="6716" y="90000"/>
                    <a:pt x="15000" y="9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6" name="Скругленный прямоугольник 1325">
              <a:extLst>
                <a:ext uri="{FF2B5EF4-FFF2-40B4-BE49-F238E27FC236}">
                  <a16:creationId xmlns:a16="http://schemas.microsoft.com/office/drawing/2014/main" id="{4063BBE6-F2CD-7346-BE18-142CF2A5D753}"/>
                </a:ext>
              </a:extLst>
            </p:cNvPr>
            <p:cNvSpPr/>
            <p:nvPr/>
          </p:nvSpPr>
          <p:spPr>
            <a:xfrm>
              <a:off x="10752053" y="2235929"/>
              <a:ext cx="75000" cy="15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27" name="Рисунок 304">
            <a:extLst>
              <a:ext uri="{FF2B5EF4-FFF2-40B4-BE49-F238E27FC236}">
                <a16:creationId xmlns:a16="http://schemas.microsoft.com/office/drawing/2014/main" id="{12A4DEA1-0D87-484A-AC93-BE551CFF690F}"/>
              </a:ext>
            </a:extLst>
          </p:cNvPr>
          <p:cNvGrpSpPr/>
          <p:nvPr/>
        </p:nvGrpSpPr>
        <p:grpSpPr>
          <a:xfrm>
            <a:off x="9723467" y="1769207"/>
            <a:ext cx="360000" cy="360000"/>
            <a:chOff x="9756920" y="2085929"/>
            <a:chExt cx="360000" cy="360000"/>
          </a:xfrm>
        </p:grpSpPr>
        <p:sp>
          <p:nvSpPr>
            <p:cNvPr id="1328" name="Полилиния 1327">
              <a:extLst>
                <a:ext uri="{FF2B5EF4-FFF2-40B4-BE49-F238E27FC236}">
                  <a16:creationId xmlns:a16="http://schemas.microsoft.com/office/drawing/2014/main" id="{538D67CE-1FC1-4A4D-8D78-1797B5608B24}"/>
                </a:ext>
              </a:extLst>
            </p:cNvPr>
            <p:cNvSpPr/>
            <p:nvPr/>
          </p:nvSpPr>
          <p:spPr>
            <a:xfrm>
              <a:off x="9756920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9" name="Полилиния 1328">
              <a:extLst>
                <a:ext uri="{FF2B5EF4-FFF2-40B4-BE49-F238E27FC236}">
                  <a16:creationId xmlns:a16="http://schemas.microsoft.com/office/drawing/2014/main" id="{360FEA4C-B3D3-604E-9699-31C02BE70D85}"/>
                </a:ext>
              </a:extLst>
            </p:cNvPr>
            <p:cNvSpPr/>
            <p:nvPr/>
          </p:nvSpPr>
          <p:spPr>
            <a:xfrm>
              <a:off x="9786920" y="2145929"/>
              <a:ext cx="285000" cy="240000"/>
            </a:xfrm>
            <a:custGeom>
              <a:avLst/>
              <a:gdLst>
                <a:gd name="connsiteX0" fmla="*/ 15000 w 285000"/>
                <a:gd name="connsiteY0" fmla="*/ 0 h 240000"/>
                <a:gd name="connsiteX1" fmla="*/ 270000 w 285000"/>
                <a:gd name="connsiteY1" fmla="*/ 0 h 240000"/>
                <a:gd name="connsiteX2" fmla="*/ 285000 w 285000"/>
                <a:gd name="connsiteY2" fmla="*/ 15000 h 240000"/>
                <a:gd name="connsiteX3" fmla="*/ 285000 w 285000"/>
                <a:gd name="connsiteY3" fmla="*/ 45000 h 240000"/>
                <a:gd name="connsiteX4" fmla="*/ 270000 w 285000"/>
                <a:gd name="connsiteY4" fmla="*/ 60000 h 240000"/>
                <a:gd name="connsiteX5" fmla="*/ 15000 w 285000"/>
                <a:gd name="connsiteY5" fmla="*/ 60000 h 240000"/>
                <a:gd name="connsiteX6" fmla="*/ 0 w 285000"/>
                <a:gd name="connsiteY6" fmla="*/ 45000 h 240000"/>
                <a:gd name="connsiteX7" fmla="*/ 0 w 285000"/>
                <a:gd name="connsiteY7" fmla="*/ 15000 h 240000"/>
                <a:gd name="connsiteX8" fmla="*/ 15000 w 285000"/>
                <a:gd name="connsiteY8" fmla="*/ 0 h 240000"/>
                <a:gd name="connsiteX9" fmla="*/ 15000 w 285000"/>
                <a:gd name="connsiteY9" fmla="*/ 90000 h 240000"/>
                <a:gd name="connsiteX10" fmla="*/ 165000 w 285000"/>
                <a:gd name="connsiteY10" fmla="*/ 90000 h 240000"/>
                <a:gd name="connsiteX11" fmla="*/ 180000 w 285000"/>
                <a:gd name="connsiteY11" fmla="*/ 105000 h 240000"/>
                <a:gd name="connsiteX12" fmla="*/ 180000 w 285000"/>
                <a:gd name="connsiteY12" fmla="*/ 135000 h 240000"/>
                <a:gd name="connsiteX13" fmla="*/ 165000 w 285000"/>
                <a:gd name="connsiteY13" fmla="*/ 150000 h 240000"/>
                <a:gd name="connsiteX14" fmla="*/ 15000 w 285000"/>
                <a:gd name="connsiteY14" fmla="*/ 150000 h 240000"/>
                <a:gd name="connsiteX15" fmla="*/ 0 w 285000"/>
                <a:gd name="connsiteY15" fmla="*/ 135000 h 240000"/>
                <a:gd name="connsiteX16" fmla="*/ 0 w 285000"/>
                <a:gd name="connsiteY16" fmla="*/ 105000 h 240000"/>
                <a:gd name="connsiteX17" fmla="*/ 15000 w 285000"/>
                <a:gd name="connsiteY17" fmla="*/ 90000 h 240000"/>
                <a:gd name="connsiteX18" fmla="*/ 15000 w 285000"/>
                <a:gd name="connsiteY18" fmla="*/ 180000 h 240000"/>
                <a:gd name="connsiteX19" fmla="*/ 165000 w 285000"/>
                <a:gd name="connsiteY19" fmla="*/ 180000 h 240000"/>
                <a:gd name="connsiteX20" fmla="*/ 180000 w 285000"/>
                <a:gd name="connsiteY20" fmla="*/ 195000 h 240000"/>
                <a:gd name="connsiteX21" fmla="*/ 180000 w 285000"/>
                <a:gd name="connsiteY21" fmla="*/ 225000 h 240000"/>
                <a:gd name="connsiteX22" fmla="*/ 165000 w 285000"/>
                <a:gd name="connsiteY22" fmla="*/ 240000 h 240000"/>
                <a:gd name="connsiteX23" fmla="*/ 15000 w 285000"/>
                <a:gd name="connsiteY23" fmla="*/ 240000 h 240000"/>
                <a:gd name="connsiteX24" fmla="*/ 0 w 285000"/>
                <a:gd name="connsiteY24" fmla="*/ 225000 h 240000"/>
                <a:gd name="connsiteX25" fmla="*/ 0 w 285000"/>
                <a:gd name="connsiteY25" fmla="*/ 195000 h 240000"/>
                <a:gd name="connsiteX26" fmla="*/ 15000 w 285000"/>
                <a:gd name="connsiteY26" fmla="*/ 18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85000" h="240000">
                  <a:moveTo>
                    <a:pt x="15000" y="0"/>
                  </a:moveTo>
                  <a:lnTo>
                    <a:pt x="270000" y="0"/>
                  </a:lnTo>
                  <a:cubicBezTo>
                    <a:pt x="278285" y="0"/>
                    <a:pt x="285000" y="6716"/>
                    <a:pt x="285000" y="15000"/>
                  </a:cubicBezTo>
                  <a:lnTo>
                    <a:pt x="285000" y="45000"/>
                  </a:lnTo>
                  <a:cubicBezTo>
                    <a:pt x="285000" y="53284"/>
                    <a:pt x="278285" y="60000"/>
                    <a:pt x="270000" y="60000"/>
                  </a:cubicBezTo>
                  <a:lnTo>
                    <a:pt x="15000" y="60000"/>
                  </a:lnTo>
                  <a:cubicBezTo>
                    <a:pt x="6716" y="60000"/>
                    <a:pt x="0" y="53284"/>
                    <a:pt x="0" y="4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000" y="90000"/>
                  </a:moveTo>
                  <a:lnTo>
                    <a:pt x="165000" y="90000"/>
                  </a:lnTo>
                  <a:cubicBezTo>
                    <a:pt x="173285" y="90000"/>
                    <a:pt x="180000" y="96715"/>
                    <a:pt x="180000" y="105000"/>
                  </a:cubicBezTo>
                  <a:lnTo>
                    <a:pt x="180000" y="135000"/>
                  </a:lnTo>
                  <a:cubicBezTo>
                    <a:pt x="180000" y="143285"/>
                    <a:pt x="173285" y="150000"/>
                    <a:pt x="165000" y="150000"/>
                  </a:cubicBez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lnTo>
                    <a:pt x="0" y="105000"/>
                  </a:lnTo>
                  <a:cubicBezTo>
                    <a:pt x="0" y="96715"/>
                    <a:pt x="6716" y="90000"/>
                    <a:pt x="15000" y="90000"/>
                  </a:cubicBezTo>
                  <a:close/>
                  <a:moveTo>
                    <a:pt x="15000" y="180000"/>
                  </a:moveTo>
                  <a:lnTo>
                    <a:pt x="165000" y="180000"/>
                  </a:lnTo>
                  <a:cubicBezTo>
                    <a:pt x="173285" y="180000"/>
                    <a:pt x="180000" y="186716"/>
                    <a:pt x="180000" y="195000"/>
                  </a:cubicBezTo>
                  <a:lnTo>
                    <a:pt x="180000" y="225000"/>
                  </a:lnTo>
                  <a:cubicBezTo>
                    <a:pt x="180000" y="233285"/>
                    <a:pt x="173285" y="240000"/>
                    <a:pt x="165000" y="240000"/>
                  </a:cubicBezTo>
                  <a:lnTo>
                    <a:pt x="15000" y="240000"/>
                  </a:lnTo>
                  <a:cubicBezTo>
                    <a:pt x="6716" y="240000"/>
                    <a:pt x="0" y="233285"/>
                    <a:pt x="0" y="225000"/>
                  </a:cubicBezTo>
                  <a:lnTo>
                    <a:pt x="0" y="195000"/>
                  </a:lnTo>
                  <a:cubicBezTo>
                    <a:pt x="0" y="186716"/>
                    <a:pt x="6716" y="180000"/>
                    <a:pt x="15000" y="18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0" name="Скругленный прямоугольник 1329">
              <a:extLst>
                <a:ext uri="{FF2B5EF4-FFF2-40B4-BE49-F238E27FC236}">
                  <a16:creationId xmlns:a16="http://schemas.microsoft.com/office/drawing/2014/main" id="{654C3B9D-3F97-9748-BAC7-21794A177C5F}"/>
                </a:ext>
              </a:extLst>
            </p:cNvPr>
            <p:cNvSpPr/>
            <p:nvPr/>
          </p:nvSpPr>
          <p:spPr>
            <a:xfrm>
              <a:off x="9996920" y="2235929"/>
              <a:ext cx="75000" cy="15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31" name="Рисунок 305">
            <a:extLst>
              <a:ext uri="{FF2B5EF4-FFF2-40B4-BE49-F238E27FC236}">
                <a16:creationId xmlns:a16="http://schemas.microsoft.com/office/drawing/2014/main" id="{8600ECC6-724C-FC41-B771-A29C7C42BC80}"/>
              </a:ext>
            </a:extLst>
          </p:cNvPr>
          <p:cNvGrpSpPr/>
          <p:nvPr/>
        </p:nvGrpSpPr>
        <p:grpSpPr>
          <a:xfrm>
            <a:off x="8968334" y="1769207"/>
            <a:ext cx="360000" cy="360000"/>
            <a:chOff x="9001787" y="2085929"/>
            <a:chExt cx="360000" cy="360000"/>
          </a:xfrm>
        </p:grpSpPr>
        <p:sp>
          <p:nvSpPr>
            <p:cNvPr id="1332" name="Полилиния 1331">
              <a:extLst>
                <a:ext uri="{FF2B5EF4-FFF2-40B4-BE49-F238E27FC236}">
                  <a16:creationId xmlns:a16="http://schemas.microsoft.com/office/drawing/2014/main" id="{92409C8D-D0A3-0B45-AE4B-70497C991D11}"/>
                </a:ext>
              </a:extLst>
            </p:cNvPr>
            <p:cNvSpPr/>
            <p:nvPr/>
          </p:nvSpPr>
          <p:spPr>
            <a:xfrm>
              <a:off x="9001787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3" name="Полилиния 1332">
              <a:extLst>
                <a:ext uri="{FF2B5EF4-FFF2-40B4-BE49-F238E27FC236}">
                  <a16:creationId xmlns:a16="http://schemas.microsoft.com/office/drawing/2014/main" id="{AEA7101B-8E27-AC47-974D-15540353D7B6}"/>
                </a:ext>
              </a:extLst>
            </p:cNvPr>
            <p:cNvSpPr/>
            <p:nvPr/>
          </p:nvSpPr>
          <p:spPr>
            <a:xfrm>
              <a:off x="9031787" y="2145929"/>
              <a:ext cx="285000" cy="240000"/>
            </a:xfrm>
            <a:custGeom>
              <a:avLst/>
              <a:gdLst>
                <a:gd name="connsiteX0" fmla="*/ 15000 w 285000"/>
                <a:gd name="connsiteY0" fmla="*/ 0 h 240000"/>
                <a:gd name="connsiteX1" fmla="*/ 270000 w 285000"/>
                <a:gd name="connsiteY1" fmla="*/ 0 h 240000"/>
                <a:gd name="connsiteX2" fmla="*/ 285000 w 285000"/>
                <a:gd name="connsiteY2" fmla="*/ 15000 h 240000"/>
                <a:gd name="connsiteX3" fmla="*/ 285000 w 285000"/>
                <a:gd name="connsiteY3" fmla="*/ 45000 h 240000"/>
                <a:gd name="connsiteX4" fmla="*/ 270000 w 285000"/>
                <a:gd name="connsiteY4" fmla="*/ 60000 h 240000"/>
                <a:gd name="connsiteX5" fmla="*/ 15000 w 285000"/>
                <a:gd name="connsiteY5" fmla="*/ 60000 h 240000"/>
                <a:gd name="connsiteX6" fmla="*/ 0 w 285000"/>
                <a:gd name="connsiteY6" fmla="*/ 45000 h 240000"/>
                <a:gd name="connsiteX7" fmla="*/ 0 w 285000"/>
                <a:gd name="connsiteY7" fmla="*/ 15000 h 240000"/>
                <a:gd name="connsiteX8" fmla="*/ 15000 w 285000"/>
                <a:gd name="connsiteY8" fmla="*/ 0 h 240000"/>
                <a:gd name="connsiteX9" fmla="*/ 120000 w 285000"/>
                <a:gd name="connsiteY9" fmla="*/ 90000 h 240000"/>
                <a:gd name="connsiteX10" fmla="*/ 270000 w 285000"/>
                <a:gd name="connsiteY10" fmla="*/ 90000 h 240000"/>
                <a:gd name="connsiteX11" fmla="*/ 285000 w 285000"/>
                <a:gd name="connsiteY11" fmla="*/ 105000 h 240000"/>
                <a:gd name="connsiteX12" fmla="*/ 285000 w 285000"/>
                <a:gd name="connsiteY12" fmla="*/ 135000 h 240000"/>
                <a:gd name="connsiteX13" fmla="*/ 270000 w 285000"/>
                <a:gd name="connsiteY13" fmla="*/ 150000 h 240000"/>
                <a:gd name="connsiteX14" fmla="*/ 120000 w 285000"/>
                <a:gd name="connsiteY14" fmla="*/ 150000 h 240000"/>
                <a:gd name="connsiteX15" fmla="*/ 105000 w 285000"/>
                <a:gd name="connsiteY15" fmla="*/ 135000 h 240000"/>
                <a:gd name="connsiteX16" fmla="*/ 105000 w 285000"/>
                <a:gd name="connsiteY16" fmla="*/ 105000 h 240000"/>
                <a:gd name="connsiteX17" fmla="*/ 120000 w 285000"/>
                <a:gd name="connsiteY17" fmla="*/ 90000 h 240000"/>
                <a:gd name="connsiteX18" fmla="*/ 120000 w 285000"/>
                <a:gd name="connsiteY18" fmla="*/ 180000 h 240000"/>
                <a:gd name="connsiteX19" fmla="*/ 270000 w 285000"/>
                <a:gd name="connsiteY19" fmla="*/ 180000 h 240000"/>
                <a:gd name="connsiteX20" fmla="*/ 285000 w 285000"/>
                <a:gd name="connsiteY20" fmla="*/ 195000 h 240000"/>
                <a:gd name="connsiteX21" fmla="*/ 285000 w 285000"/>
                <a:gd name="connsiteY21" fmla="*/ 225000 h 240000"/>
                <a:gd name="connsiteX22" fmla="*/ 270000 w 285000"/>
                <a:gd name="connsiteY22" fmla="*/ 240000 h 240000"/>
                <a:gd name="connsiteX23" fmla="*/ 120000 w 285000"/>
                <a:gd name="connsiteY23" fmla="*/ 240000 h 240000"/>
                <a:gd name="connsiteX24" fmla="*/ 105000 w 285000"/>
                <a:gd name="connsiteY24" fmla="*/ 225000 h 240000"/>
                <a:gd name="connsiteX25" fmla="*/ 105000 w 285000"/>
                <a:gd name="connsiteY25" fmla="*/ 195000 h 240000"/>
                <a:gd name="connsiteX26" fmla="*/ 120000 w 285000"/>
                <a:gd name="connsiteY26" fmla="*/ 18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85000" h="240000">
                  <a:moveTo>
                    <a:pt x="15000" y="0"/>
                  </a:moveTo>
                  <a:lnTo>
                    <a:pt x="270000" y="0"/>
                  </a:lnTo>
                  <a:cubicBezTo>
                    <a:pt x="278285" y="0"/>
                    <a:pt x="285000" y="6716"/>
                    <a:pt x="285000" y="15000"/>
                  </a:cubicBezTo>
                  <a:lnTo>
                    <a:pt x="285000" y="45000"/>
                  </a:lnTo>
                  <a:cubicBezTo>
                    <a:pt x="285000" y="53284"/>
                    <a:pt x="278285" y="60000"/>
                    <a:pt x="270000" y="60000"/>
                  </a:cubicBezTo>
                  <a:lnTo>
                    <a:pt x="15000" y="60000"/>
                  </a:lnTo>
                  <a:cubicBezTo>
                    <a:pt x="6716" y="60000"/>
                    <a:pt x="0" y="53284"/>
                    <a:pt x="0" y="4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20000" y="90000"/>
                  </a:moveTo>
                  <a:lnTo>
                    <a:pt x="270000" y="90000"/>
                  </a:lnTo>
                  <a:cubicBezTo>
                    <a:pt x="278285" y="90000"/>
                    <a:pt x="285000" y="96715"/>
                    <a:pt x="285000" y="105000"/>
                  </a:cubicBezTo>
                  <a:lnTo>
                    <a:pt x="285000" y="135000"/>
                  </a:lnTo>
                  <a:cubicBezTo>
                    <a:pt x="285000" y="143285"/>
                    <a:pt x="278285" y="150000"/>
                    <a:pt x="270000" y="150000"/>
                  </a:cubicBezTo>
                  <a:lnTo>
                    <a:pt x="120000" y="150000"/>
                  </a:lnTo>
                  <a:cubicBezTo>
                    <a:pt x="111716" y="150000"/>
                    <a:pt x="105000" y="143285"/>
                    <a:pt x="105000" y="135000"/>
                  </a:cubicBezTo>
                  <a:lnTo>
                    <a:pt x="105000" y="105000"/>
                  </a:lnTo>
                  <a:cubicBezTo>
                    <a:pt x="105000" y="96715"/>
                    <a:pt x="111716" y="90000"/>
                    <a:pt x="120000" y="90000"/>
                  </a:cubicBezTo>
                  <a:close/>
                  <a:moveTo>
                    <a:pt x="120000" y="180000"/>
                  </a:moveTo>
                  <a:lnTo>
                    <a:pt x="270000" y="180000"/>
                  </a:lnTo>
                  <a:cubicBezTo>
                    <a:pt x="278285" y="180000"/>
                    <a:pt x="285000" y="186716"/>
                    <a:pt x="285000" y="195000"/>
                  </a:cubicBezTo>
                  <a:lnTo>
                    <a:pt x="285000" y="225000"/>
                  </a:lnTo>
                  <a:cubicBezTo>
                    <a:pt x="285000" y="233285"/>
                    <a:pt x="278285" y="240000"/>
                    <a:pt x="270000" y="240000"/>
                  </a:cubicBezTo>
                  <a:lnTo>
                    <a:pt x="120000" y="240000"/>
                  </a:lnTo>
                  <a:cubicBezTo>
                    <a:pt x="111716" y="240000"/>
                    <a:pt x="105000" y="233285"/>
                    <a:pt x="105000" y="225000"/>
                  </a:cubicBezTo>
                  <a:lnTo>
                    <a:pt x="105000" y="195000"/>
                  </a:lnTo>
                  <a:cubicBezTo>
                    <a:pt x="105000" y="186716"/>
                    <a:pt x="111716" y="180000"/>
                    <a:pt x="120000" y="18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4" name="Скругленный прямоугольник 1333">
              <a:extLst>
                <a:ext uri="{FF2B5EF4-FFF2-40B4-BE49-F238E27FC236}">
                  <a16:creationId xmlns:a16="http://schemas.microsoft.com/office/drawing/2014/main" id="{D2EDCD4B-6FEE-F949-83FC-1BE83C1D3CD7}"/>
                </a:ext>
              </a:extLst>
            </p:cNvPr>
            <p:cNvSpPr/>
            <p:nvPr/>
          </p:nvSpPr>
          <p:spPr>
            <a:xfrm>
              <a:off x="9031787" y="2235929"/>
              <a:ext cx="75000" cy="15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35" name="Рисунок 306">
            <a:extLst>
              <a:ext uri="{FF2B5EF4-FFF2-40B4-BE49-F238E27FC236}">
                <a16:creationId xmlns:a16="http://schemas.microsoft.com/office/drawing/2014/main" id="{8E2BB8F7-B02D-6445-94D5-E672E66BF004}"/>
              </a:ext>
            </a:extLst>
          </p:cNvPr>
          <p:cNvGrpSpPr/>
          <p:nvPr/>
        </p:nvGrpSpPr>
        <p:grpSpPr>
          <a:xfrm>
            <a:off x="6702935" y="1769207"/>
            <a:ext cx="360000" cy="360000"/>
            <a:chOff x="6736388" y="2085929"/>
            <a:chExt cx="360000" cy="360000"/>
          </a:xfrm>
        </p:grpSpPr>
        <p:sp>
          <p:nvSpPr>
            <p:cNvPr id="1336" name="Полилиния 1335">
              <a:extLst>
                <a:ext uri="{FF2B5EF4-FFF2-40B4-BE49-F238E27FC236}">
                  <a16:creationId xmlns:a16="http://schemas.microsoft.com/office/drawing/2014/main" id="{CA2A9D19-C19E-404F-8D41-7A08C829AF4B}"/>
                </a:ext>
              </a:extLst>
            </p:cNvPr>
            <p:cNvSpPr/>
            <p:nvPr/>
          </p:nvSpPr>
          <p:spPr>
            <a:xfrm>
              <a:off x="6736388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7" name="Скругленный прямоугольник 1336">
              <a:extLst>
                <a:ext uri="{FF2B5EF4-FFF2-40B4-BE49-F238E27FC236}">
                  <a16:creationId xmlns:a16="http://schemas.microsoft.com/office/drawing/2014/main" id="{86BB8F82-7F3D-0B43-97A0-1F1E5341E5C8}"/>
                </a:ext>
              </a:extLst>
            </p:cNvPr>
            <p:cNvSpPr/>
            <p:nvPr/>
          </p:nvSpPr>
          <p:spPr>
            <a:xfrm>
              <a:off x="6766388" y="2160929"/>
              <a:ext cx="285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8" name="Скругленный прямоугольник 1337">
              <a:extLst>
                <a:ext uri="{FF2B5EF4-FFF2-40B4-BE49-F238E27FC236}">
                  <a16:creationId xmlns:a16="http://schemas.microsoft.com/office/drawing/2014/main" id="{FB3B9B9E-6BC5-184E-A160-EFDFF7124CC7}"/>
                </a:ext>
              </a:extLst>
            </p:cNvPr>
            <p:cNvSpPr/>
            <p:nvPr/>
          </p:nvSpPr>
          <p:spPr>
            <a:xfrm>
              <a:off x="6766388" y="2250929"/>
              <a:ext cx="285000" cy="15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39" name="Рисунок 307">
            <a:extLst>
              <a:ext uri="{FF2B5EF4-FFF2-40B4-BE49-F238E27FC236}">
                <a16:creationId xmlns:a16="http://schemas.microsoft.com/office/drawing/2014/main" id="{36CFD206-89AC-D94A-9AC2-D59842A568D1}"/>
              </a:ext>
            </a:extLst>
          </p:cNvPr>
          <p:cNvGrpSpPr/>
          <p:nvPr/>
        </p:nvGrpSpPr>
        <p:grpSpPr>
          <a:xfrm>
            <a:off x="8213201" y="1769207"/>
            <a:ext cx="360000" cy="360000"/>
            <a:chOff x="8246654" y="2085929"/>
            <a:chExt cx="360000" cy="360000"/>
          </a:xfrm>
        </p:grpSpPr>
        <p:sp>
          <p:nvSpPr>
            <p:cNvPr id="1340" name="Полилиния 1339">
              <a:extLst>
                <a:ext uri="{FF2B5EF4-FFF2-40B4-BE49-F238E27FC236}">
                  <a16:creationId xmlns:a16="http://schemas.microsoft.com/office/drawing/2014/main" id="{5A5E4203-5941-F542-9ABC-E2B4AE828A23}"/>
                </a:ext>
              </a:extLst>
            </p:cNvPr>
            <p:cNvSpPr/>
            <p:nvPr/>
          </p:nvSpPr>
          <p:spPr>
            <a:xfrm>
              <a:off x="8246654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1" name="Скругленный прямоугольник 1340">
              <a:extLst>
                <a:ext uri="{FF2B5EF4-FFF2-40B4-BE49-F238E27FC236}">
                  <a16:creationId xmlns:a16="http://schemas.microsoft.com/office/drawing/2014/main" id="{41556B42-AE85-384C-BCB5-99724C94BF2D}"/>
                </a:ext>
              </a:extLst>
            </p:cNvPr>
            <p:cNvSpPr/>
            <p:nvPr/>
          </p:nvSpPr>
          <p:spPr>
            <a:xfrm>
              <a:off x="8321654" y="2145929"/>
              <a:ext cx="90000" cy="24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2" name="Скругленный прямоугольник 1341">
              <a:extLst>
                <a:ext uri="{FF2B5EF4-FFF2-40B4-BE49-F238E27FC236}">
                  <a16:creationId xmlns:a16="http://schemas.microsoft.com/office/drawing/2014/main" id="{117A6F86-45B5-004E-8834-1AD3F6B565B5}"/>
                </a:ext>
              </a:extLst>
            </p:cNvPr>
            <p:cNvSpPr/>
            <p:nvPr/>
          </p:nvSpPr>
          <p:spPr>
            <a:xfrm>
              <a:off x="8441654" y="2145929"/>
              <a:ext cx="90000" cy="24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43" name="Рисунок 308">
            <a:extLst>
              <a:ext uri="{FF2B5EF4-FFF2-40B4-BE49-F238E27FC236}">
                <a16:creationId xmlns:a16="http://schemas.microsoft.com/office/drawing/2014/main" id="{5333C3CE-28C0-6145-8A04-4BA267D455E1}"/>
              </a:ext>
            </a:extLst>
          </p:cNvPr>
          <p:cNvGrpSpPr/>
          <p:nvPr/>
        </p:nvGrpSpPr>
        <p:grpSpPr>
          <a:xfrm>
            <a:off x="5947802" y="1769207"/>
            <a:ext cx="360000" cy="360000"/>
            <a:chOff x="5981255" y="2085929"/>
            <a:chExt cx="360000" cy="360000"/>
          </a:xfrm>
        </p:grpSpPr>
        <p:sp>
          <p:nvSpPr>
            <p:cNvPr id="1344" name="Полилиния 1343">
              <a:extLst>
                <a:ext uri="{FF2B5EF4-FFF2-40B4-BE49-F238E27FC236}">
                  <a16:creationId xmlns:a16="http://schemas.microsoft.com/office/drawing/2014/main" id="{7101948C-C1B0-AE4E-99B7-88B52102FAA9}"/>
                </a:ext>
              </a:extLst>
            </p:cNvPr>
            <p:cNvSpPr/>
            <p:nvPr/>
          </p:nvSpPr>
          <p:spPr>
            <a:xfrm>
              <a:off x="5981255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5" name="Полилиния 1344">
              <a:extLst>
                <a:ext uri="{FF2B5EF4-FFF2-40B4-BE49-F238E27FC236}">
                  <a16:creationId xmlns:a16="http://schemas.microsoft.com/office/drawing/2014/main" id="{80754911-1B0F-AA47-AD60-224EA6A54F85}"/>
                </a:ext>
              </a:extLst>
            </p:cNvPr>
            <p:cNvSpPr/>
            <p:nvPr/>
          </p:nvSpPr>
          <p:spPr>
            <a:xfrm rot="-5400000">
              <a:off x="6026254" y="2160929"/>
              <a:ext cx="209999" cy="119999"/>
            </a:xfrm>
            <a:custGeom>
              <a:avLst/>
              <a:gdLst>
                <a:gd name="connsiteX0" fmla="*/ 25606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3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6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6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3" y="4393"/>
                  </a:lnTo>
                  <a:cubicBezTo>
                    <a:pt x="100072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6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6" name="Полилиния 1345">
              <a:extLst>
                <a:ext uri="{FF2B5EF4-FFF2-40B4-BE49-F238E27FC236}">
                  <a16:creationId xmlns:a16="http://schemas.microsoft.com/office/drawing/2014/main" id="{7FE2EDC9-A5F0-D041-B38D-22308AFA27B0}"/>
                </a:ext>
              </a:extLst>
            </p:cNvPr>
            <p:cNvSpPr/>
            <p:nvPr/>
          </p:nvSpPr>
          <p:spPr>
            <a:xfrm rot="10800000" flipV="1">
              <a:off x="6138755" y="2205929"/>
              <a:ext cx="157500" cy="210623"/>
            </a:xfrm>
            <a:custGeom>
              <a:avLst/>
              <a:gdLst>
                <a:gd name="connsiteX0" fmla="*/ 142500 w 157500"/>
                <a:gd name="connsiteY0" fmla="*/ 0 h 210623"/>
                <a:gd name="connsiteX1" fmla="*/ 157500 w 157500"/>
                <a:gd name="connsiteY1" fmla="*/ 15000 h 210623"/>
                <a:gd name="connsiteX2" fmla="*/ 142500 w 157500"/>
                <a:gd name="connsiteY2" fmla="*/ 30000 h 210623"/>
                <a:gd name="connsiteX3" fmla="*/ 45000 w 157500"/>
                <a:gd name="connsiteY3" fmla="*/ 30000 h 210623"/>
                <a:gd name="connsiteX4" fmla="*/ 30000 w 157500"/>
                <a:gd name="connsiteY4" fmla="*/ 45000 h 210623"/>
                <a:gd name="connsiteX5" fmla="*/ 30000 w 157500"/>
                <a:gd name="connsiteY5" fmla="*/ 195624 h 210623"/>
                <a:gd name="connsiteX6" fmla="*/ 15000 w 157500"/>
                <a:gd name="connsiteY6" fmla="*/ 210624 h 210623"/>
                <a:gd name="connsiteX7" fmla="*/ 0 w 157500"/>
                <a:gd name="connsiteY7" fmla="*/ 195624 h 210623"/>
                <a:gd name="connsiteX8" fmla="*/ 0 w 157500"/>
                <a:gd name="connsiteY8" fmla="*/ 45000 h 210623"/>
                <a:gd name="connsiteX9" fmla="*/ 45000 w 157500"/>
                <a:gd name="connsiteY9" fmla="*/ 0 h 210623"/>
                <a:gd name="connsiteX10" fmla="*/ 142500 w 157500"/>
                <a:gd name="connsiteY10" fmla="*/ 0 h 21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500" h="210623">
                  <a:moveTo>
                    <a:pt x="142500" y="0"/>
                  </a:moveTo>
                  <a:cubicBezTo>
                    <a:pt x="150785" y="0"/>
                    <a:pt x="157500" y="6716"/>
                    <a:pt x="157500" y="15000"/>
                  </a:cubicBezTo>
                  <a:cubicBezTo>
                    <a:pt x="157500" y="23284"/>
                    <a:pt x="150785" y="30000"/>
                    <a:pt x="142500" y="30000"/>
                  </a:cubicBezTo>
                  <a:lnTo>
                    <a:pt x="45000" y="30000"/>
                  </a:lnTo>
                  <a:cubicBezTo>
                    <a:pt x="36715" y="30000"/>
                    <a:pt x="30000" y="36715"/>
                    <a:pt x="30000" y="45000"/>
                  </a:cubicBezTo>
                  <a:lnTo>
                    <a:pt x="30000" y="195624"/>
                  </a:lnTo>
                  <a:cubicBezTo>
                    <a:pt x="30000" y="203909"/>
                    <a:pt x="23285" y="210624"/>
                    <a:pt x="15000" y="210624"/>
                  </a:cubicBezTo>
                  <a:cubicBezTo>
                    <a:pt x="6715" y="210624"/>
                    <a:pt x="0" y="203909"/>
                    <a:pt x="0" y="195624"/>
                  </a:cubicBezTo>
                  <a:lnTo>
                    <a:pt x="0" y="45000"/>
                  </a:lnTo>
                  <a:cubicBezTo>
                    <a:pt x="0" y="20147"/>
                    <a:pt x="20146" y="0"/>
                    <a:pt x="45000" y="0"/>
                  </a:cubicBezTo>
                  <a:lnTo>
                    <a:pt x="1425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47" name="Рисунок 309">
            <a:extLst>
              <a:ext uri="{FF2B5EF4-FFF2-40B4-BE49-F238E27FC236}">
                <a16:creationId xmlns:a16="http://schemas.microsoft.com/office/drawing/2014/main" id="{BF16D579-FB01-7140-A6FD-917D797F24EB}"/>
              </a:ext>
            </a:extLst>
          </p:cNvPr>
          <p:cNvGrpSpPr/>
          <p:nvPr/>
        </p:nvGrpSpPr>
        <p:grpSpPr>
          <a:xfrm>
            <a:off x="7458068" y="1769207"/>
            <a:ext cx="360000" cy="360000"/>
            <a:chOff x="7491521" y="2085929"/>
            <a:chExt cx="360000" cy="360000"/>
          </a:xfrm>
        </p:grpSpPr>
        <p:sp>
          <p:nvSpPr>
            <p:cNvPr id="1348" name="Полилиния 1347">
              <a:extLst>
                <a:ext uri="{FF2B5EF4-FFF2-40B4-BE49-F238E27FC236}">
                  <a16:creationId xmlns:a16="http://schemas.microsoft.com/office/drawing/2014/main" id="{759CEAC2-4B65-2D4E-AD6D-EC54F02239E7}"/>
                </a:ext>
              </a:extLst>
            </p:cNvPr>
            <p:cNvSpPr/>
            <p:nvPr/>
          </p:nvSpPr>
          <p:spPr>
            <a:xfrm>
              <a:off x="7491521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9" name="Скругленный прямоугольник 1348">
              <a:extLst>
                <a:ext uri="{FF2B5EF4-FFF2-40B4-BE49-F238E27FC236}">
                  <a16:creationId xmlns:a16="http://schemas.microsoft.com/office/drawing/2014/main" id="{6717E48C-425E-7541-BC09-FCEB0EFFF676}"/>
                </a:ext>
              </a:extLst>
            </p:cNvPr>
            <p:cNvSpPr/>
            <p:nvPr/>
          </p:nvSpPr>
          <p:spPr>
            <a:xfrm rot="-5400000" flipV="1">
              <a:off x="7701521" y="2190929"/>
              <a:ext cx="30000" cy="15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0" name="Полилиния 1349">
              <a:extLst>
                <a:ext uri="{FF2B5EF4-FFF2-40B4-BE49-F238E27FC236}">
                  <a16:creationId xmlns:a16="http://schemas.microsoft.com/office/drawing/2014/main" id="{3DE001FE-B8FB-7E43-BE5D-CA1EAB5E204D}"/>
                </a:ext>
              </a:extLst>
            </p:cNvPr>
            <p:cNvSpPr/>
            <p:nvPr/>
          </p:nvSpPr>
          <p:spPr>
            <a:xfrm rot="-5400000">
              <a:off x="7521520" y="2205929"/>
              <a:ext cx="209999" cy="119999"/>
            </a:xfrm>
            <a:custGeom>
              <a:avLst/>
              <a:gdLst>
                <a:gd name="connsiteX0" fmla="*/ 25606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3 w 209999"/>
                <a:gd name="connsiteY3" fmla="*/ 4393 h 119999"/>
                <a:gd name="connsiteX4" fmla="*/ 115136 w 209999"/>
                <a:gd name="connsiteY4" fmla="*/ 3943 h 119999"/>
                <a:gd name="connsiteX5" fmla="*/ 205136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1 w 209999"/>
                <a:gd name="connsiteY8" fmla="*/ 35762 h 119999"/>
                <a:gd name="connsiteX9" fmla="*/ 25606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6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3" y="4393"/>
                  </a:lnTo>
                  <a:cubicBezTo>
                    <a:pt x="100072" y="-1285"/>
                    <a:pt x="109216" y="-1484"/>
                    <a:pt x="115136" y="3943"/>
                  </a:cubicBezTo>
                  <a:lnTo>
                    <a:pt x="205136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1" y="35762"/>
                  </a:lnTo>
                  <a:lnTo>
                    <a:pt x="25606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51" name="Рисунок 310">
            <a:extLst>
              <a:ext uri="{FF2B5EF4-FFF2-40B4-BE49-F238E27FC236}">
                <a16:creationId xmlns:a16="http://schemas.microsoft.com/office/drawing/2014/main" id="{77CAFC48-A4CF-5C41-B74F-F8DB7F455D5C}"/>
              </a:ext>
            </a:extLst>
          </p:cNvPr>
          <p:cNvGrpSpPr/>
          <p:nvPr/>
        </p:nvGrpSpPr>
        <p:grpSpPr>
          <a:xfrm>
            <a:off x="4437536" y="1769207"/>
            <a:ext cx="360000" cy="360000"/>
            <a:chOff x="4470989" y="2085929"/>
            <a:chExt cx="360000" cy="360000"/>
          </a:xfrm>
        </p:grpSpPr>
        <p:sp>
          <p:nvSpPr>
            <p:cNvPr id="1352" name="Полилиния 1351">
              <a:extLst>
                <a:ext uri="{FF2B5EF4-FFF2-40B4-BE49-F238E27FC236}">
                  <a16:creationId xmlns:a16="http://schemas.microsoft.com/office/drawing/2014/main" id="{052FC05A-7C99-DF42-A06C-44E99E2BCFA9}"/>
                </a:ext>
              </a:extLst>
            </p:cNvPr>
            <p:cNvSpPr/>
            <p:nvPr/>
          </p:nvSpPr>
          <p:spPr>
            <a:xfrm>
              <a:off x="4470989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3" name="Полилиния 1352">
              <a:extLst>
                <a:ext uri="{FF2B5EF4-FFF2-40B4-BE49-F238E27FC236}">
                  <a16:creationId xmlns:a16="http://schemas.microsoft.com/office/drawing/2014/main" id="{266FC3A6-8273-6049-9201-28E3FE34637E}"/>
                </a:ext>
              </a:extLst>
            </p:cNvPr>
            <p:cNvSpPr/>
            <p:nvPr/>
          </p:nvSpPr>
          <p:spPr>
            <a:xfrm>
              <a:off x="4500989" y="2115929"/>
              <a:ext cx="300000" cy="300000"/>
            </a:xfrm>
            <a:custGeom>
              <a:avLst/>
              <a:gdLst>
                <a:gd name="connsiteX0" fmla="*/ 300000 w 300000"/>
                <a:gd name="connsiteY0" fmla="*/ 150000 h 300000"/>
                <a:gd name="connsiteX1" fmla="*/ 150000 w 300000"/>
                <a:gd name="connsiteY1" fmla="*/ 300000 h 300000"/>
                <a:gd name="connsiteX2" fmla="*/ 0 w 300000"/>
                <a:gd name="connsiteY2" fmla="*/ 150000 h 300000"/>
                <a:gd name="connsiteX3" fmla="*/ 150000 w 300000"/>
                <a:gd name="connsiteY3" fmla="*/ 0 h 300000"/>
                <a:gd name="connsiteX4" fmla="*/ 300000 w 300000"/>
                <a:gd name="connsiteY4" fmla="*/ 15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0" h="300000">
                  <a:moveTo>
                    <a:pt x="300000" y="150000"/>
                  </a:moveTo>
                  <a:cubicBezTo>
                    <a:pt x="300000" y="232843"/>
                    <a:pt x="232843" y="300000"/>
                    <a:pt x="150000" y="300000"/>
                  </a:cubicBezTo>
                  <a:cubicBezTo>
                    <a:pt x="67157" y="300000"/>
                    <a:pt x="0" y="232843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3" y="0"/>
                    <a:pt x="300000" y="67157"/>
                    <a:pt x="300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4" name="Полилиния 1353">
              <a:extLst>
                <a:ext uri="{FF2B5EF4-FFF2-40B4-BE49-F238E27FC236}">
                  <a16:creationId xmlns:a16="http://schemas.microsoft.com/office/drawing/2014/main" id="{5E17920E-480A-AB43-A555-8B7DB6A14251}"/>
                </a:ext>
              </a:extLst>
            </p:cNvPr>
            <p:cNvSpPr/>
            <p:nvPr/>
          </p:nvSpPr>
          <p:spPr>
            <a:xfrm rot="5400000" flipV="1">
              <a:off x="4553489" y="2214500"/>
              <a:ext cx="180000" cy="102857"/>
            </a:xfrm>
            <a:custGeom>
              <a:avLst/>
              <a:gdLst>
                <a:gd name="connsiteX0" fmla="*/ 21948 w 180000"/>
                <a:gd name="connsiteY0" fmla="*/ 99091 h 102857"/>
                <a:gd name="connsiteX1" fmla="*/ 3766 w 180000"/>
                <a:gd name="connsiteY1" fmla="*/ 99091 h 102857"/>
                <a:gd name="connsiteX2" fmla="*/ 3766 w 180000"/>
                <a:gd name="connsiteY2" fmla="*/ 80908 h 102857"/>
                <a:gd name="connsiteX3" fmla="*/ 80908 w 180000"/>
                <a:gd name="connsiteY3" fmla="*/ 3766 h 102857"/>
                <a:gd name="connsiteX4" fmla="*/ 98688 w 180000"/>
                <a:gd name="connsiteY4" fmla="*/ 3379 h 102857"/>
                <a:gd name="connsiteX5" fmla="*/ 175830 w 180000"/>
                <a:gd name="connsiteY5" fmla="*/ 74094 h 102857"/>
                <a:gd name="connsiteX6" fmla="*/ 176620 w 180000"/>
                <a:gd name="connsiteY6" fmla="*/ 92260 h 102857"/>
                <a:gd name="connsiteX7" fmla="*/ 158455 w 180000"/>
                <a:gd name="connsiteY7" fmla="*/ 93049 h 102857"/>
                <a:gd name="connsiteX8" fmla="*/ 90387 w 180000"/>
                <a:gd name="connsiteY8" fmla="*/ 30654 h 102857"/>
                <a:gd name="connsiteX9" fmla="*/ 21948 w 180000"/>
                <a:gd name="connsiteY9" fmla="*/ 99091 h 10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000" h="102857">
                  <a:moveTo>
                    <a:pt x="21948" y="99091"/>
                  </a:moveTo>
                  <a:cubicBezTo>
                    <a:pt x="16927" y="104113"/>
                    <a:pt x="8787" y="104113"/>
                    <a:pt x="3766" y="99091"/>
                  </a:cubicBezTo>
                  <a:cubicBezTo>
                    <a:pt x="-1255" y="94071"/>
                    <a:pt x="-1255" y="85930"/>
                    <a:pt x="3766" y="80908"/>
                  </a:cubicBezTo>
                  <a:lnTo>
                    <a:pt x="80908" y="3766"/>
                  </a:lnTo>
                  <a:cubicBezTo>
                    <a:pt x="85776" y="-1102"/>
                    <a:pt x="93613" y="-1272"/>
                    <a:pt x="98688" y="3379"/>
                  </a:cubicBezTo>
                  <a:lnTo>
                    <a:pt x="175830" y="74094"/>
                  </a:lnTo>
                  <a:cubicBezTo>
                    <a:pt x="181065" y="78892"/>
                    <a:pt x="181419" y="87025"/>
                    <a:pt x="176620" y="92260"/>
                  </a:cubicBezTo>
                  <a:cubicBezTo>
                    <a:pt x="171822" y="97494"/>
                    <a:pt x="163689" y="97848"/>
                    <a:pt x="158455" y="93049"/>
                  </a:cubicBezTo>
                  <a:lnTo>
                    <a:pt x="90387" y="30654"/>
                  </a:lnTo>
                  <a:lnTo>
                    <a:pt x="21948" y="99091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55" name="Рисунок 311">
            <a:extLst>
              <a:ext uri="{FF2B5EF4-FFF2-40B4-BE49-F238E27FC236}">
                <a16:creationId xmlns:a16="http://schemas.microsoft.com/office/drawing/2014/main" id="{09BE30A1-ED8B-EB4A-9CC7-B769153768C8}"/>
              </a:ext>
            </a:extLst>
          </p:cNvPr>
          <p:cNvGrpSpPr/>
          <p:nvPr/>
        </p:nvGrpSpPr>
        <p:grpSpPr>
          <a:xfrm>
            <a:off x="5192669" y="1769207"/>
            <a:ext cx="360000" cy="360000"/>
            <a:chOff x="5226122" y="2085929"/>
            <a:chExt cx="360000" cy="360000"/>
          </a:xfrm>
        </p:grpSpPr>
        <p:sp>
          <p:nvSpPr>
            <p:cNvPr id="1356" name="Полилиния 1355">
              <a:extLst>
                <a:ext uri="{FF2B5EF4-FFF2-40B4-BE49-F238E27FC236}">
                  <a16:creationId xmlns:a16="http://schemas.microsoft.com/office/drawing/2014/main" id="{A12156D5-3C09-A24D-8378-2A6425F7A16F}"/>
                </a:ext>
              </a:extLst>
            </p:cNvPr>
            <p:cNvSpPr/>
            <p:nvPr/>
          </p:nvSpPr>
          <p:spPr>
            <a:xfrm>
              <a:off x="5226122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7" name="Полилиния 1356">
              <a:extLst>
                <a:ext uri="{FF2B5EF4-FFF2-40B4-BE49-F238E27FC236}">
                  <a16:creationId xmlns:a16="http://schemas.microsoft.com/office/drawing/2014/main" id="{5B77F649-0AD8-B44A-8CDF-E4FD2D643D58}"/>
                </a:ext>
              </a:extLst>
            </p:cNvPr>
            <p:cNvSpPr/>
            <p:nvPr/>
          </p:nvSpPr>
          <p:spPr>
            <a:xfrm>
              <a:off x="5286122" y="2130929"/>
              <a:ext cx="120000" cy="270000"/>
            </a:xfrm>
            <a:custGeom>
              <a:avLst/>
              <a:gdLst>
                <a:gd name="connsiteX0" fmla="*/ 15000 w 120000"/>
                <a:gd name="connsiteY0" fmla="*/ 0 h 270000"/>
                <a:gd name="connsiteX1" fmla="*/ 30000 w 120000"/>
                <a:gd name="connsiteY1" fmla="*/ 0 h 270000"/>
                <a:gd name="connsiteX2" fmla="*/ 45000 w 120000"/>
                <a:gd name="connsiteY2" fmla="*/ 15000 h 270000"/>
                <a:gd name="connsiteX3" fmla="*/ 45000 w 120000"/>
                <a:gd name="connsiteY3" fmla="*/ 255000 h 270000"/>
                <a:gd name="connsiteX4" fmla="*/ 30000 w 120000"/>
                <a:gd name="connsiteY4" fmla="*/ 270000 h 270000"/>
                <a:gd name="connsiteX5" fmla="*/ 15000 w 120000"/>
                <a:gd name="connsiteY5" fmla="*/ 270000 h 270000"/>
                <a:gd name="connsiteX6" fmla="*/ 0 w 120000"/>
                <a:gd name="connsiteY6" fmla="*/ 255000 h 270000"/>
                <a:gd name="connsiteX7" fmla="*/ 0 w 120000"/>
                <a:gd name="connsiteY7" fmla="*/ 15000 h 270000"/>
                <a:gd name="connsiteX8" fmla="*/ 15000 w 120000"/>
                <a:gd name="connsiteY8" fmla="*/ 0 h 270000"/>
                <a:gd name="connsiteX9" fmla="*/ 90000 w 120000"/>
                <a:gd name="connsiteY9" fmla="*/ 0 h 270000"/>
                <a:gd name="connsiteX10" fmla="*/ 105000 w 120000"/>
                <a:gd name="connsiteY10" fmla="*/ 0 h 270000"/>
                <a:gd name="connsiteX11" fmla="*/ 120000 w 120000"/>
                <a:gd name="connsiteY11" fmla="*/ 15000 h 270000"/>
                <a:gd name="connsiteX12" fmla="*/ 120000 w 120000"/>
                <a:gd name="connsiteY12" fmla="*/ 255000 h 270000"/>
                <a:gd name="connsiteX13" fmla="*/ 105000 w 120000"/>
                <a:gd name="connsiteY13" fmla="*/ 270000 h 270000"/>
                <a:gd name="connsiteX14" fmla="*/ 90000 w 120000"/>
                <a:gd name="connsiteY14" fmla="*/ 270000 h 270000"/>
                <a:gd name="connsiteX15" fmla="*/ 75000 w 120000"/>
                <a:gd name="connsiteY15" fmla="*/ 255000 h 270000"/>
                <a:gd name="connsiteX16" fmla="*/ 75000 w 120000"/>
                <a:gd name="connsiteY16" fmla="*/ 15000 h 270000"/>
                <a:gd name="connsiteX17" fmla="*/ 90000 w 120000"/>
                <a:gd name="connsiteY17" fmla="*/ 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0000" h="270000">
                  <a:moveTo>
                    <a:pt x="15000" y="0"/>
                  </a:moveTo>
                  <a:lnTo>
                    <a:pt x="30000" y="0"/>
                  </a:lnTo>
                  <a:cubicBezTo>
                    <a:pt x="38284" y="0"/>
                    <a:pt x="45000" y="6716"/>
                    <a:pt x="45000" y="15000"/>
                  </a:cubicBezTo>
                  <a:lnTo>
                    <a:pt x="45000" y="255000"/>
                  </a:lnTo>
                  <a:cubicBezTo>
                    <a:pt x="45000" y="263285"/>
                    <a:pt x="38284" y="270000"/>
                    <a:pt x="30000" y="270000"/>
                  </a:cubicBezTo>
                  <a:lnTo>
                    <a:pt x="15000" y="270000"/>
                  </a:lnTo>
                  <a:cubicBezTo>
                    <a:pt x="6716" y="270000"/>
                    <a:pt x="0" y="263285"/>
                    <a:pt x="0" y="25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90000" y="0"/>
                  </a:moveTo>
                  <a:lnTo>
                    <a:pt x="105000" y="0"/>
                  </a:lnTo>
                  <a:cubicBezTo>
                    <a:pt x="113285" y="0"/>
                    <a:pt x="120000" y="6716"/>
                    <a:pt x="120000" y="15000"/>
                  </a:cubicBezTo>
                  <a:lnTo>
                    <a:pt x="120000" y="255000"/>
                  </a:lnTo>
                  <a:cubicBezTo>
                    <a:pt x="120000" y="263285"/>
                    <a:pt x="113285" y="270000"/>
                    <a:pt x="105000" y="270000"/>
                  </a:cubicBezTo>
                  <a:lnTo>
                    <a:pt x="90000" y="270000"/>
                  </a:lnTo>
                  <a:cubicBezTo>
                    <a:pt x="81716" y="270000"/>
                    <a:pt x="75000" y="263285"/>
                    <a:pt x="75000" y="255000"/>
                  </a:cubicBezTo>
                  <a:lnTo>
                    <a:pt x="75000" y="15000"/>
                  </a:lnTo>
                  <a:cubicBezTo>
                    <a:pt x="75000" y="6716"/>
                    <a:pt x="81716" y="0"/>
                    <a:pt x="90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8" name="Скругленный прямоугольник 1357">
              <a:extLst>
                <a:ext uri="{FF2B5EF4-FFF2-40B4-BE49-F238E27FC236}">
                  <a16:creationId xmlns:a16="http://schemas.microsoft.com/office/drawing/2014/main" id="{E24E12C7-8810-F240-8B43-326B8238F178}"/>
                </a:ext>
              </a:extLst>
            </p:cNvPr>
            <p:cNvSpPr/>
            <p:nvPr/>
          </p:nvSpPr>
          <p:spPr>
            <a:xfrm rot="-1139999">
              <a:off x="5471006" y="2130111"/>
              <a:ext cx="45000" cy="27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59" name="Рисунок 312">
            <a:extLst>
              <a:ext uri="{FF2B5EF4-FFF2-40B4-BE49-F238E27FC236}">
                <a16:creationId xmlns:a16="http://schemas.microsoft.com/office/drawing/2014/main" id="{5C7CF3BF-8291-2D41-9A67-71189435A14B}"/>
              </a:ext>
            </a:extLst>
          </p:cNvPr>
          <p:cNvGrpSpPr/>
          <p:nvPr/>
        </p:nvGrpSpPr>
        <p:grpSpPr>
          <a:xfrm>
            <a:off x="3682403" y="1769207"/>
            <a:ext cx="360000" cy="360000"/>
            <a:chOff x="3715856" y="2085929"/>
            <a:chExt cx="360000" cy="360000"/>
          </a:xfrm>
        </p:grpSpPr>
        <p:sp>
          <p:nvSpPr>
            <p:cNvPr id="1360" name="Полилиния 1359">
              <a:extLst>
                <a:ext uri="{FF2B5EF4-FFF2-40B4-BE49-F238E27FC236}">
                  <a16:creationId xmlns:a16="http://schemas.microsoft.com/office/drawing/2014/main" id="{1436C930-80CC-D441-A8BA-743AC9F4356B}"/>
                </a:ext>
              </a:extLst>
            </p:cNvPr>
            <p:cNvSpPr/>
            <p:nvPr/>
          </p:nvSpPr>
          <p:spPr>
            <a:xfrm>
              <a:off x="3715856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1" name="Полилиния 1360">
              <a:extLst>
                <a:ext uri="{FF2B5EF4-FFF2-40B4-BE49-F238E27FC236}">
                  <a16:creationId xmlns:a16="http://schemas.microsoft.com/office/drawing/2014/main" id="{E428ECE6-79BD-E043-B8EC-EA104184908A}"/>
                </a:ext>
              </a:extLst>
            </p:cNvPr>
            <p:cNvSpPr/>
            <p:nvPr/>
          </p:nvSpPr>
          <p:spPr>
            <a:xfrm>
              <a:off x="3850856" y="2160929"/>
              <a:ext cx="184355" cy="225000"/>
            </a:xfrm>
            <a:custGeom>
              <a:avLst/>
              <a:gdLst>
                <a:gd name="connsiteX0" fmla="*/ 0 w 184355"/>
                <a:gd name="connsiteY0" fmla="*/ 75000 h 225000"/>
                <a:gd name="connsiteX1" fmla="*/ 0 w 184355"/>
                <a:gd name="connsiteY1" fmla="*/ 210000 h 225000"/>
                <a:gd name="connsiteX2" fmla="*/ 17289 w 184355"/>
                <a:gd name="connsiteY2" fmla="*/ 215763 h 225000"/>
                <a:gd name="connsiteX3" fmla="*/ 74210 w 184355"/>
                <a:gd name="connsiteY3" fmla="*/ 225000 h 225000"/>
                <a:gd name="connsiteX4" fmla="*/ 128109 w 184355"/>
                <a:gd name="connsiteY4" fmla="*/ 225000 h 225000"/>
                <a:gd name="connsiteX5" fmla="*/ 172235 w 184355"/>
                <a:gd name="connsiteY5" fmla="*/ 188825 h 225000"/>
                <a:gd name="connsiteX6" fmla="*/ 183473 w 184355"/>
                <a:gd name="connsiteY6" fmla="*/ 132636 h 225000"/>
                <a:gd name="connsiteX7" fmla="*/ 148171 w 184355"/>
                <a:gd name="connsiteY7" fmla="*/ 79684 h 225000"/>
                <a:gd name="connsiteX8" fmla="*/ 136353 w 184355"/>
                <a:gd name="connsiteY8" fmla="*/ 78911 h 225000"/>
                <a:gd name="connsiteX9" fmla="*/ 82500 w 184355"/>
                <a:gd name="connsiteY9" fmla="*/ 82500 h 225000"/>
                <a:gd name="connsiteX10" fmla="*/ 87963 w 184355"/>
                <a:gd name="connsiteY10" fmla="*/ 22408 h 225000"/>
                <a:gd name="connsiteX11" fmla="*/ 69360 w 184355"/>
                <a:gd name="connsiteY11" fmla="*/ 84 h 225000"/>
                <a:gd name="connsiteX12" fmla="*/ 67500 w 184355"/>
                <a:gd name="connsiteY12" fmla="*/ 0 h 225000"/>
                <a:gd name="connsiteX13" fmla="*/ 67500 w 184355"/>
                <a:gd name="connsiteY13" fmla="*/ 0 h 225000"/>
                <a:gd name="connsiteX14" fmla="*/ 33425 w 184355"/>
                <a:gd name="connsiteY14" fmla="*/ 19294 h 225000"/>
                <a:gd name="connsiteX15" fmla="*/ 0 w 184355"/>
                <a:gd name="connsiteY15" fmla="*/ 75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4355" h="225000">
                  <a:moveTo>
                    <a:pt x="0" y="75000"/>
                  </a:moveTo>
                  <a:lnTo>
                    <a:pt x="0" y="210000"/>
                  </a:lnTo>
                  <a:lnTo>
                    <a:pt x="17289" y="215763"/>
                  </a:lnTo>
                  <a:cubicBezTo>
                    <a:pt x="35643" y="221882"/>
                    <a:pt x="54863" y="225000"/>
                    <a:pt x="74210" y="225000"/>
                  </a:cubicBezTo>
                  <a:lnTo>
                    <a:pt x="128109" y="225000"/>
                  </a:lnTo>
                  <a:cubicBezTo>
                    <a:pt x="149559" y="225000"/>
                    <a:pt x="168029" y="209859"/>
                    <a:pt x="172235" y="188825"/>
                  </a:cubicBezTo>
                  <a:lnTo>
                    <a:pt x="183473" y="132636"/>
                  </a:lnTo>
                  <a:cubicBezTo>
                    <a:pt x="188348" y="108266"/>
                    <a:pt x="172542" y="84558"/>
                    <a:pt x="148171" y="79684"/>
                  </a:cubicBezTo>
                  <a:cubicBezTo>
                    <a:pt x="144284" y="78906"/>
                    <a:pt x="140310" y="78647"/>
                    <a:pt x="136353" y="78911"/>
                  </a:cubicBezTo>
                  <a:lnTo>
                    <a:pt x="82500" y="82500"/>
                  </a:lnTo>
                  <a:lnTo>
                    <a:pt x="87963" y="22408"/>
                  </a:lnTo>
                  <a:cubicBezTo>
                    <a:pt x="88991" y="11106"/>
                    <a:pt x="80661" y="1112"/>
                    <a:pt x="69360" y="84"/>
                  </a:cubicBezTo>
                  <a:cubicBezTo>
                    <a:pt x="68742" y="28"/>
                    <a:pt x="68121" y="0"/>
                    <a:pt x="67500" y="0"/>
                  </a:cubicBezTo>
                  <a:lnTo>
                    <a:pt x="67500" y="0"/>
                  </a:lnTo>
                  <a:cubicBezTo>
                    <a:pt x="53541" y="0"/>
                    <a:pt x="40605" y="7324"/>
                    <a:pt x="33425" y="19294"/>
                  </a:cubicBezTo>
                  <a:lnTo>
                    <a:pt x="0" y="7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2" name="Скругленный прямоугольник 1361">
              <a:extLst>
                <a:ext uri="{FF2B5EF4-FFF2-40B4-BE49-F238E27FC236}">
                  <a16:creationId xmlns:a16="http://schemas.microsoft.com/office/drawing/2014/main" id="{37558D30-5A60-3C46-B391-9F6C7D490D1A}"/>
                </a:ext>
              </a:extLst>
            </p:cNvPr>
            <p:cNvSpPr/>
            <p:nvPr/>
          </p:nvSpPr>
          <p:spPr>
            <a:xfrm>
              <a:off x="3745856" y="2220929"/>
              <a:ext cx="75000" cy="165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63" name="Рисунок 313">
            <a:extLst>
              <a:ext uri="{FF2B5EF4-FFF2-40B4-BE49-F238E27FC236}">
                <a16:creationId xmlns:a16="http://schemas.microsoft.com/office/drawing/2014/main" id="{1EEB7187-7408-F04B-A714-A42A519D1C6B}"/>
              </a:ext>
            </a:extLst>
          </p:cNvPr>
          <p:cNvGrpSpPr/>
          <p:nvPr/>
        </p:nvGrpSpPr>
        <p:grpSpPr>
          <a:xfrm>
            <a:off x="2172137" y="1769207"/>
            <a:ext cx="360000" cy="360000"/>
            <a:chOff x="2205590" y="2085929"/>
            <a:chExt cx="360000" cy="360000"/>
          </a:xfrm>
        </p:grpSpPr>
        <p:sp>
          <p:nvSpPr>
            <p:cNvPr id="1364" name="Полилиния 1363">
              <a:extLst>
                <a:ext uri="{FF2B5EF4-FFF2-40B4-BE49-F238E27FC236}">
                  <a16:creationId xmlns:a16="http://schemas.microsoft.com/office/drawing/2014/main" id="{36BE2DF9-5574-7240-A8DD-6A72A1294131}"/>
                </a:ext>
              </a:extLst>
            </p:cNvPr>
            <p:cNvSpPr/>
            <p:nvPr/>
          </p:nvSpPr>
          <p:spPr>
            <a:xfrm>
              <a:off x="2205590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5" name="Полилиния 1364">
              <a:extLst>
                <a:ext uri="{FF2B5EF4-FFF2-40B4-BE49-F238E27FC236}">
                  <a16:creationId xmlns:a16="http://schemas.microsoft.com/office/drawing/2014/main" id="{DD34953A-FD07-8842-A388-4A0BCC0AB571}"/>
                </a:ext>
              </a:extLst>
            </p:cNvPr>
            <p:cNvSpPr/>
            <p:nvPr/>
          </p:nvSpPr>
          <p:spPr>
            <a:xfrm>
              <a:off x="2280590" y="2175929"/>
              <a:ext cx="120000" cy="105000"/>
            </a:xfrm>
            <a:custGeom>
              <a:avLst/>
              <a:gdLst>
                <a:gd name="connsiteX0" fmla="*/ 120000 w 120000"/>
                <a:gd name="connsiteY0" fmla="*/ 45000 h 105000"/>
                <a:gd name="connsiteX1" fmla="*/ 120000 w 120000"/>
                <a:gd name="connsiteY1" fmla="*/ 0 h 105000"/>
                <a:gd name="connsiteX2" fmla="*/ 0 w 120000"/>
                <a:gd name="connsiteY2" fmla="*/ 105000 h 105000"/>
                <a:gd name="connsiteX3" fmla="*/ 45000 w 120000"/>
                <a:gd name="connsiteY3" fmla="*/ 105000 h 105000"/>
                <a:gd name="connsiteX4" fmla="*/ 120000 w 120000"/>
                <a:gd name="connsiteY4" fmla="*/ 4500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00" h="105000">
                  <a:moveTo>
                    <a:pt x="120000" y="45000"/>
                  </a:moveTo>
                  <a:lnTo>
                    <a:pt x="120000" y="0"/>
                  </a:lnTo>
                  <a:cubicBezTo>
                    <a:pt x="60685" y="22322"/>
                    <a:pt x="26830" y="44902"/>
                    <a:pt x="0" y="105000"/>
                  </a:cubicBezTo>
                  <a:lnTo>
                    <a:pt x="45000" y="105000"/>
                  </a:lnTo>
                  <a:cubicBezTo>
                    <a:pt x="56143" y="93000"/>
                    <a:pt x="74828" y="60000"/>
                    <a:pt x="120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6" name="Полилиния 1365">
              <a:extLst>
                <a:ext uri="{FF2B5EF4-FFF2-40B4-BE49-F238E27FC236}">
                  <a16:creationId xmlns:a16="http://schemas.microsoft.com/office/drawing/2014/main" id="{02183DD8-94E8-DE41-AED4-380FD661B66C}"/>
                </a:ext>
              </a:extLst>
            </p:cNvPr>
            <p:cNvSpPr/>
            <p:nvPr/>
          </p:nvSpPr>
          <p:spPr>
            <a:xfrm>
              <a:off x="2430590" y="2153429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7" name="Полилиния 1366">
              <a:extLst>
                <a:ext uri="{FF2B5EF4-FFF2-40B4-BE49-F238E27FC236}">
                  <a16:creationId xmlns:a16="http://schemas.microsoft.com/office/drawing/2014/main" id="{B3E47CD6-CABD-9B4D-B90B-8C34AC5318E4}"/>
                </a:ext>
              </a:extLst>
            </p:cNvPr>
            <p:cNvSpPr/>
            <p:nvPr/>
          </p:nvSpPr>
          <p:spPr>
            <a:xfrm>
              <a:off x="2250590" y="2310929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68" name="Рисунок 314">
            <a:extLst>
              <a:ext uri="{FF2B5EF4-FFF2-40B4-BE49-F238E27FC236}">
                <a16:creationId xmlns:a16="http://schemas.microsoft.com/office/drawing/2014/main" id="{48122035-A5D2-5E46-8D5C-A76008121E85}"/>
              </a:ext>
            </a:extLst>
          </p:cNvPr>
          <p:cNvGrpSpPr/>
          <p:nvPr/>
        </p:nvGrpSpPr>
        <p:grpSpPr>
          <a:xfrm>
            <a:off x="1417004" y="1769207"/>
            <a:ext cx="360000" cy="360000"/>
            <a:chOff x="1450457" y="2085929"/>
            <a:chExt cx="360000" cy="360000"/>
          </a:xfrm>
        </p:grpSpPr>
        <p:sp>
          <p:nvSpPr>
            <p:cNvPr id="1369" name="Полилиния 1368">
              <a:extLst>
                <a:ext uri="{FF2B5EF4-FFF2-40B4-BE49-F238E27FC236}">
                  <a16:creationId xmlns:a16="http://schemas.microsoft.com/office/drawing/2014/main" id="{AF9F2E6B-E266-8B4E-ACB0-C4AA849221A4}"/>
                </a:ext>
              </a:extLst>
            </p:cNvPr>
            <p:cNvSpPr/>
            <p:nvPr/>
          </p:nvSpPr>
          <p:spPr>
            <a:xfrm>
              <a:off x="1450457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0" name="Полилиния 1369">
              <a:extLst>
                <a:ext uri="{FF2B5EF4-FFF2-40B4-BE49-F238E27FC236}">
                  <a16:creationId xmlns:a16="http://schemas.microsoft.com/office/drawing/2014/main" id="{7F04B136-CEB8-7848-AFC9-76AAAEB543D4}"/>
                </a:ext>
              </a:extLst>
            </p:cNvPr>
            <p:cNvSpPr/>
            <p:nvPr/>
          </p:nvSpPr>
          <p:spPr>
            <a:xfrm>
              <a:off x="1510457" y="2145929"/>
              <a:ext cx="225000" cy="225000"/>
            </a:xfrm>
            <a:custGeom>
              <a:avLst/>
              <a:gdLst>
                <a:gd name="connsiteX0" fmla="*/ 60000 w 225000"/>
                <a:gd name="connsiteY0" fmla="*/ 0 h 225000"/>
                <a:gd name="connsiteX1" fmla="*/ 75000 w 225000"/>
                <a:gd name="connsiteY1" fmla="*/ 15000 h 225000"/>
                <a:gd name="connsiteX2" fmla="*/ 75000 w 225000"/>
                <a:gd name="connsiteY2" fmla="*/ 195000 h 225000"/>
                <a:gd name="connsiteX3" fmla="*/ 210000 w 225000"/>
                <a:gd name="connsiteY3" fmla="*/ 195000 h 225000"/>
                <a:gd name="connsiteX4" fmla="*/ 225000 w 225000"/>
                <a:gd name="connsiteY4" fmla="*/ 210000 h 225000"/>
                <a:gd name="connsiteX5" fmla="*/ 210000 w 225000"/>
                <a:gd name="connsiteY5" fmla="*/ 225000 h 225000"/>
                <a:gd name="connsiteX6" fmla="*/ 75000 w 225000"/>
                <a:gd name="connsiteY6" fmla="*/ 225000 h 225000"/>
                <a:gd name="connsiteX7" fmla="*/ 60000 w 225000"/>
                <a:gd name="connsiteY7" fmla="*/ 210000 h 225000"/>
                <a:gd name="connsiteX8" fmla="*/ 45000 w 225000"/>
                <a:gd name="connsiteY8" fmla="*/ 195000 h 225000"/>
                <a:gd name="connsiteX9" fmla="*/ 45000 w 225000"/>
                <a:gd name="connsiteY9" fmla="*/ 30000 h 225000"/>
                <a:gd name="connsiteX10" fmla="*/ 15000 w 225000"/>
                <a:gd name="connsiteY10" fmla="*/ 30000 h 225000"/>
                <a:gd name="connsiteX11" fmla="*/ 0 w 225000"/>
                <a:gd name="connsiteY11" fmla="*/ 15000 h 225000"/>
                <a:gd name="connsiteX12" fmla="*/ 15000 w 225000"/>
                <a:gd name="connsiteY12" fmla="*/ 0 h 225000"/>
                <a:gd name="connsiteX13" fmla="*/ 60000 w 225000"/>
                <a:gd name="connsiteY13" fmla="*/ 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5000" h="225000">
                  <a:moveTo>
                    <a:pt x="60000" y="0"/>
                  </a:moveTo>
                  <a:cubicBezTo>
                    <a:pt x="68284" y="0"/>
                    <a:pt x="75000" y="6716"/>
                    <a:pt x="75000" y="15000"/>
                  </a:cubicBezTo>
                  <a:lnTo>
                    <a:pt x="75000" y="195000"/>
                  </a:lnTo>
                  <a:lnTo>
                    <a:pt x="210000" y="195000"/>
                  </a:lnTo>
                  <a:cubicBezTo>
                    <a:pt x="218285" y="195000"/>
                    <a:pt x="225000" y="201716"/>
                    <a:pt x="225000" y="210000"/>
                  </a:cubicBezTo>
                  <a:cubicBezTo>
                    <a:pt x="225000" y="218285"/>
                    <a:pt x="218285" y="225000"/>
                    <a:pt x="210000" y="225000"/>
                  </a:cubicBezTo>
                  <a:lnTo>
                    <a:pt x="75000" y="225000"/>
                  </a:lnTo>
                  <a:cubicBezTo>
                    <a:pt x="66716" y="225000"/>
                    <a:pt x="60000" y="218285"/>
                    <a:pt x="60000" y="210000"/>
                  </a:cubicBezTo>
                  <a:cubicBezTo>
                    <a:pt x="51716" y="210000"/>
                    <a:pt x="45000" y="203285"/>
                    <a:pt x="45000" y="195000"/>
                  </a:cubicBezTo>
                  <a:lnTo>
                    <a:pt x="45000" y="30000"/>
                  </a:ln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lnTo>
                    <a:pt x="6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1" name="Скругленный прямоугольник 1370">
              <a:extLst>
                <a:ext uri="{FF2B5EF4-FFF2-40B4-BE49-F238E27FC236}">
                  <a16:creationId xmlns:a16="http://schemas.microsoft.com/office/drawing/2014/main" id="{186FE8CE-4904-3448-9CBD-FFD3A45C72E1}"/>
                </a:ext>
              </a:extLst>
            </p:cNvPr>
            <p:cNvSpPr/>
            <p:nvPr/>
          </p:nvSpPr>
          <p:spPr>
            <a:xfrm>
              <a:off x="1615457" y="2190929"/>
              <a:ext cx="120000" cy="12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2" name="Полилиния 1371">
              <a:extLst>
                <a:ext uri="{FF2B5EF4-FFF2-40B4-BE49-F238E27FC236}">
                  <a16:creationId xmlns:a16="http://schemas.microsoft.com/office/drawing/2014/main" id="{0037612B-7610-F24E-8895-CA86AB1C922F}"/>
                </a:ext>
              </a:extLst>
            </p:cNvPr>
            <p:cNvSpPr/>
            <p:nvPr/>
          </p:nvSpPr>
          <p:spPr>
            <a:xfrm>
              <a:off x="1525457" y="2310929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73" name="Рисунок 315">
            <a:extLst>
              <a:ext uri="{FF2B5EF4-FFF2-40B4-BE49-F238E27FC236}">
                <a16:creationId xmlns:a16="http://schemas.microsoft.com/office/drawing/2014/main" id="{BFC73D07-7384-DD4E-8D11-031E45E51DDB}"/>
              </a:ext>
            </a:extLst>
          </p:cNvPr>
          <p:cNvGrpSpPr/>
          <p:nvPr/>
        </p:nvGrpSpPr>
        <p:grpSpPr>
          <a:xfrm>
            <a:off x="2927270" y="1769207"/>
            <a:ext cx="360000" cy="360000"/>
            <a:chOff x="2960723" y="2085929"/>
            <a:chExt cx="360000" cy="360000"/>
          </a:xfrm>
        </p:grpSpPr>
        <p:sp>
          <p:nvSpPr>
            <p:cNvPr id="1374" name="Полилиния 1373">
              <a:extLst>
                <a:ext uri="{FF2B5EF4-FFF2-40B4-BE49-F238E27FC236}">
                  <a16:creationId xmlns:a16="http://schemas.microsoft.com/office/drawing/2014/main" id="{06C06057-7B1F-1D4D-A5CA-48B047F54365}"/>
                </a:ext>
              </a:extLst>
            </p:cNvPr>
            <p:cNvSpPr/>
            <p:nvPr/>
          </p:nvSpPr>
          <p:spPr>
            <a:xfrm>
              <a:off x="2960723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5" name="Полилиния 1374">
              <a:extLst>
                <a:ext uri="{FF2B5EF4-FFF2-40B4-BE49-F238E27FC236}">
                  <a16:creationId xmlns:a16="http://schemas.microsoft.com/office/drawing/2014/main" id="{E669763B-9AD2-8844-B0E1-2F8399F8CD73}"/>
                </a:ext>
              </a:extLst>
            </p:cNvPr>
            <p:cNvSpPr/>
            <p:nvPr/>
          </p:nvSpPr>
          <p:spPr>
            <a:xfrm rot="10800000" flipV="1">
              <a:off x="3020723" y="2145929"/>
              <a:ext cx="240000" cy="240000"/>
            </a:xfrm>
            <a:custGeom>
              <a:avLst/>
              <a:gdLst>
                <a:gd name="connsiteX0" fmla="*/ 120000 w 240000"/>
                <a:gd name="connsiteY0" fmla="*/ 0 h 240000"/>
                <a:gd name="connsiteX1" fmla="*/ 120000 w 240000"/>
                <a:gd name="connsiteY1" fmla="*/ 30000 h 240000"/>
                <a:gd name="connsiteX2" fmla="*/ 30000 w 240000"/>
                <a:gd name="connsiteY2" fmla="*/ 120000 h 240000"/>
                <a:gd name="connsiteX3" fmla="*/ 120000 w 240000"/>
                <a:gd name="connsiteY3" fmla="*/ 210000 h 240000"/>
                <a:gd name="connsiteX4" fmla="*/ 210000 w 240000"/>
                <a:gd name="connsiteY4" fmla="*/ 120000 h 240000"/>
                <a:gd name="connsiteX5" fmla="*/ 198604 w 240000"/>
                <a:gd name="connsiteY5" fmla="*/ 76127 h 240000"/>
                <a:gd name="connsiteX6" fmla="*/ 224784 w 240000"/>
                <a:gd name="connsiteY6" fmla="*/ 61478 h 240000"/>
                <a:gd name="connsiteX7" fmla="*/ 240000 w 240000"/>
                <a:gd name="connsiteY7" fmla="*/ 120000 h 240000"/>
                <a:gd name="connsiteX8" fmla="*/ 120000 w 240000"/>
                <a:gd name="connsiteY8" fmla="*/ 240000 h 240000"/>
                <a:gd name="connsiteX9" fmla="*/ 0 w 240000"/>
                <a:gd name="connsiteY9" fmla="*/ 120000 h 240000"/>
                <a:gd name="connsiteX10" fmla="*/ 120000 w 240000"/>
                <a:gd name="connsiteY10" fmla="*/ 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240000">
                  <a:moveTo>
                    <a:pt x="120000" y="0"/>
                  </a:moveTo>
                  <a:lnTo>
                    <a:pt x="120000" y="30000"/>
                  </a:lnTo>
                  <a:cubicBezTo>
                    <a:pt x="70294" y="30000"/>
                    <a:pt x="30000" y="70294"/>
                    <a:pt x="30000" y="120000"/>
                  </a:cubicBezTo>
                  <a:cubicBezTo>
                    <a:pt x="30000" y="169706"/>
                    <a:pt x="70294" y="210000"/>
                    <a:pt x="120000" y="210000"/>
                  </a:cubicBezTo>
                  <a:cubicBezTo>
                    <a:pt x="169706" y="210000"/>
                    <a:pt x="210000" y="169706"/>
                    <a:pt x="210000" y="120000"/>
                  </a:cubicBezTo>
                  <a:cubicBezTo>
                    <a:pt x="210000" y="104405"/>
                    <a:pt x="206041" y="89419"/>
                    <a:pt x="198604" y="76127"/>
                  </a:cubicBezTo>
                  <a:lnTo>
                    <a:pt x="224784" y="61478"/>
                  </a:lnTo>
                  <a:cubicBezTo>
                    <a:pt x="234711" y="79218"/>
                    <a:pt x="240000" y="99242"/>
                    <a:pt x="240000" y="120000"/>
                  </a:cubicBezTo>
                  <a:cubicBezTo>
                    <a:pt x="240000" y="186275"/>
                    <a:pt x="186275" y="240000"/>
                    <a:pt x="120000" y="240000"/>
                  </a:cubicBezTo>
                  <a:cubicBezTo>
                    <a:pt x="53726" y="240000"/>
                    <a:pt x="0" y="186275"/>
                    <a:pt x="0" y="120000"/>
                  </a:cubicBezTo>
                  <a:cubicBezTo>
                    <a:pt x="0" y="53726"/>
                    <a:pt x="53726" y="0"/>
                    <a:pt x="120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76" name="Рисунок 316">
            <a:extLst>
              <a:ext uri="{FF2B5EF4-FFF2-40B4-BE49-F238E27FC236}">
                <a16:creationId xmlns:a16="http://schemas.microsoft.com/office/drawing/2014/main" id="{8BEEA2F5-1CB1-3745-9CAD-D468B6604FDC}"/>
              </a:ext>
            </a:extLst>
          </p:cNvPr>
          <p:cNvGrpSpPr/>
          <p:nvPr/>
        </p:nvGrpSpPr>
        <p:grpSpPr>
          <a:xfrm>
            <a:off x="661871" y="1711862"/>
            <a:ext cx="405212" cy="417344"/>
            <a:chOff x="695324" y="2028584"/>
            <a:chExt cx="405212" cy="417344"/>
          </a:xfrm>
        </p:grpSpPr>
        <p:sp>
          <p:nvSpPr>
            <p:cNvPr id="1377" name="Полилиния 1376">
              <a:extLst>
                <a:ext uri="{FF2B5EF4-FFF2-40B4-BE49-F238E27FC236}">
                  <a16:creationId xmlns:a16="http://schemas.microsoft.com/office/drawing/2014/main" id="{77F22805-DE07-4F4C-95D0-9144D1EDE475}"/>
                </a:ext>
              </a:extLst>
            </p:cNvPr>
            <p:cNvSpPr/>
            <p:nvPr/>
          </p:nvSpPr>
          <p:spPr>
            <a:xfrm>
              <a:off x="695324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8" name="Полилиния 1377">
              <a:extLst>
                <a:ext uri="{FF2B5EF4-FFF2-40B4-BE49-F238E27FC236}">
                  <a16:creationId xmlns:a16="http://schemas.microsoft.com/office/drawing/2014/main" id="{8D4C6BAC-CFA5-A747-9648-B8E72CBD94C4}"/>
                </a:ext>
              </a:extLst>
            </p:cNvPr>
            <p:cNvSpPr/>
            <p:nvPr/>
          </p:nvSpPr>
          <p:spPr>
            <a:xfrm rot="2700000">
              <a:off x="767291" y="2085759"/>
              <a:ext cx="276067" cy="276071"/>
            </a:xfrm>
            <a:custGeom>
              <a:avLst/>
              <a:gdLst>
                <a:gd name="connsiteX0" fmla="*/ 1267 w 276067"/>
                <a:gd name="connsiteY0" fmla="*/ 258701 h 276071"/>
                <a:gd name="connsiteX1" fmla="*/ 127300 w 276067"/>
                <a:gd name="connsiteY1" fmla="*/ 6636 h 276071"/>
                <a:gd name="connsiteX2" fmla="*/ 143399 w 276067"/>
                <a:gd name="connsiteY2" fmla="*/ 1270 h 276071"/>
                <a:gd name="connsiteX3" fmla="*/ 148765 w 276067"/>
                <a:gd name="connsiteY3" fmla="*/ 6636 h 276071"/>
                <a:gd name="connsiteX4" fmla="*/ 274798 w 276067"/>
                <a:gd name="connsiteY4" fmla="*/ 258701 h 276071"/>
                <a:gd name="connsiteX5" fmla="*/ 269431 w 276067"/>
                <a:gd name="connsiteY5" fmla="*/ 274800 h 276071"/>
                <a:gd name="connsiteX6" fmla="*/ 260101 w 276067"/>
                <a:gd name="connsiteY6" fmla="*/ 275394 h 276071"/>
                <a:gd name="connsiteX7" fmla="*/ 138032 w 276067"/>
                <a:gd name="connsiteY7" fmla="*/ 232670 h 276071"/>
                <a:gd name="connsiteX8" fmla="*/ 15964 w 276067"/>
                <a:gd name="connsiteY8" fmla="*/ 275394 h 276071"/>
                <a:gd name="connsiteX9" fmla="*/ 674 w 276067"/>
                <a:gd name="connsiteY9" fmla="*/ 268032 h 276071"/>
                <a:gd name="connsiteX10" fmla="*/ 1267 w 276067"/>
                <a:gd name="connsiteY10" fmla="*/ 258701 h 27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067" h="276071">
                  <a:moveTo>
                    <a:pt x="1267" y="258701"/>
                  </a:moveTo>
                  <a:lnTo>
                    <a:pt x="127300" y="6636"/>
                  </a:lnTo>
                  <a:cubicBezTo>
                    <a:pt x="130262" y="708"/>
                    <a:pt x="137471" y="-1694"/>
                    <a:pt x="143399" y="1270"/>
                  </a:cubicBezTo>
                  <a:cubicBezTo>
                    <a:pt x="145721" y="2431"/>
                    <a:pt x="147604" y="4314"/>
                    <a:pt x="148765" y="6636"/>
                  </a:cubicBezTo>
                  <a:lnTo>
                    <a:pt x="274798" y="258701"/>
                  </a:lnTo>
                  <a:cubicBezTo>
                    <a:pt x="277762" y="264629"/>
                    <a:pt x="275359" y="271836"/>
                    <a:pt x="269431" y="274800"/>
                  </a:cubicBezTo>
                  <a:cubicBezTo>
                    <a:pt x="266530" y="276252"/>
                    <a:pt x="263162" y="276465"/>
                    <a:pt x="260101" y="275394"/>
                  </a:cubicBezTo>
                  <a:lnTo>
                    <a:pt x="138032" y="232670"/>
                  </a:lnTo>
                  <a:lnTo>
                    <a:pt x="15964" y="275394"/>
                  </a:lnTo>
                  <a:cubicBezTo>
                    <a:pt x="9709" y="277583"/>
                    <a:pt x="2863" y="274287"/>
                    <a:pt x="674" y="268032"/>
                  </a:cubicBezTo>
                  <a:cubicBezTo>
                    <a:pt x="-398" y="264969"/>
                    <a:pt x="-184" y="261603"/>
                    <a:pt x="1267" y="258701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79" name="Рисунок 317">
            <a:extLst>
              <a:ext uri="{FF2B5EF4-FFF2-40B4-BE49-F238E27FC236}">
                <a16:creationId xmlns:a16="http://schemas.microsoft.com/office/drawing/2014/main" id="{A77126E3-0125-2945-B2AF-9A61097C7DFC}"/>
              </a:ext>
            </a:extLst>
          </p:cNvPr>
          <p:cNvGrpSpPr/>
          <p:nvPr/>
        </p:nvGrpSpPr>
        <p:grpSpPr>
          <a:xfrm>
            <a:off x="10478600" y="2442261"/>
            <a:ext cx="360000" cy="360000"/>
            <a:chOff x="10512053" y="2758983"/>
            <a:chExt cx="360000" cy="360000"/>
          </a:xfrm>
        </p:grpSpPr>
        <p:sp>
          <p:nvSpPr>
            <p:cNvPr id="1380" name="Полилиния 1379">
              <a:extLst>
                <a:ext uri="{FF2B5EF4-FFF2-40B4-BE49-F238E27FC236}">
                  <a16:creationId xmlns:a16="http://schemas.microsoft.com/office/drawing/2014/main" id="{E861649B-8479-2E46-BFBF-0C9A75815085}"/>
                </a:ext>
              </a:extLst>
            </p:cNvPr>
            <p:cNvSpPr/>
            <p:nvPr/>
          </p:nvSpPr>
          <p:spPr>
            <a:xfrm>
              <a:off x="10512053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1" name="Полилиния 1380">
              <a:extLst>
                <a:ext uri="{FF2B5EF4-FFF2-40B4-BE49-F238E27FC236}">
                  <a16:creationId xmlns:a16="http://schemas.microsoft.com/office/drawing/2014/main" id="{CD835D8F-89B4-5342-AFC6-0CDD25F69135}"/>
                </a:ext>
              </a:extLst>
            </p:cNvPr>
            <p:cNvSpPr/>
            <p:nvPr/>
          </p:nvSpPr>
          <p:spPr>
            <a:xfrm>
              <a:off x="10677053" y="2788983"/>
              <a:ext cx="30000" cy="150000"/>
            </a:xfrm>
            <a:custGeom>
              <a:avLst/>
              <a:gdLst>
                <a:gd name="connsiteX0" fmla="*/ 15000 w 30000"/>
                <a:gd name="connsiteY0" fmla="*/ 0 h 150000"/>
                <a:gd name="connsiteX1" fmla="*/ 30000 w 30000"/>
                <a:gd name="connsiteY1" fmla="*/ 15000 h 150000"/>
                <a:gd name="connsiteX2" fmla="*/ 30000 w 30000"/>
                <a:gd name="connsiteY2" fmla="*/ 135000 h 150000"/>
                <a:gd name="connsiteX3" fmla="*/ 15000 w 30000"/>
                <a:gd name="connsiteY3" fmla="*/ 150000 h 150000"/>
                <a:gd name="connsiteX4" fmla="*/ 0 w 30000"/>
                <a:gd name="connsiteY4" fmla="*/ 135000 h 150000"/>
                <a:gd name="connsiteX5" fmla="*/ 0 w 30000"/>
                <a:gd name="connsiteY5" fmla="*/ 15000 h 150000"/>
                <a:gd name="connsiteX6" fmla="*/ 15000 w 30000"/>
                <a:gd name="connsiteY6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" h="150000">
                  <a:moveTo>
                    <a:pt x="15000" y="0"/>
                  </a:moveTo>
                  <a:cubicBezTo>
                    <a:pt x="23285" y="0"/>
                    <a:pt x="30000" y="6716"/>
                    <a:pt x="30000" y="15000"/>
                  </a:cubicBezTo>
                  <a:lnTo>
                    <a:pt x="30000" y="135000"/>
                  </a:lnTo>
                  <a:cubicBezTo>
                    <a:pt x="30000" y="143285"/>
                    <a:pt x="23285" y="150000"/>
                    <a:pt x="15000" y="150000"/>
                  </a:cubicBezTo>
                  <a:cubicBezTo>
                    <a:pt x="6715" y="150000"/>
                    <a:pt x="0" y="143285"/>
                    <a:pt x="0" y="135000"/>
                  </a:cubicBezTo>
                  <a:lnTo>
                    <a:pt x="0" y="15000"/>
                  </a:lnTo>
                  <a:cubicBezTo>
                    <a:pt x="0" y="6716"/>
                    <a:pt x="6715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2" name="Полилиния 1381">
              <a:extLst>
                <a:ext uri="{FF2B5EF4-FFF2-40B4-BE49-F238E27FC236}">
                  <a16:creationId xmlns:a16="http://schemas.microsoft.com/office/drawing/2014/main" id="{3A2C7A26-0EF0-364C-A07F-F1523F3C5E56}"/>
                </a:ext>
              </a:extLst>
            </p:cNvPr>
            <p:cNvSpPr/>
            <p:nvPr/>
          </p:nvSpPr>
          <p:spPr>
            <a:xfrm>
              <a:off x="10633943" y="3043983"/>
              <a:ext cx="116219" cy="45000"/>
            </a:xfrm>
            <a:custGeom>
              <a:avLst/>
              <a:gdLst>
                <a:gd name="connsiteX0" fmla="*/ 0 w 116219"/>
                <a:gd name="connsiteY0" fmla="*/ 0 h 45000"/>
                <a:gd name="connsiteX1" fmla="*/ 116220 w 116219"/>
                <a:gd name="connsiteY1" fmla="*/ 0 h 45000"/>
                <a:gd name="connsiteX2" fmla="*/ 58110 w 116219"/>
                <a:gd name="connsiteY2" fmla="*/ 45000 h 45000"/>
                <a:gd name="connsiteX3" fmla="*/ 0 w 116219"/>
                <a:gd name="connsiteY3" fmla="*/ 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219" h="45000">
                  <a:moveTo>
                    <a:pt x="0" y="0"/>
                  </a:moveTo>
                  <a:lnTo>
                    <a:pt x="116220" y="0"/>
                  </a:lnTo>
                  <a:cubicBezTo>
                    <a:pt x="109558" y="25878"/>
                    <a:pt x="86067" y="45000"/>
                    <a:pt x="58110" y="45000"/>
                  </a:cubicBezTo>
                  <a:cubicBezTo>
                    <a:pt x="30153" y="45000"/>
                    <a:pt x="6661" y="25878"/>
                    <a:pt x="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3" name="Полилиния 1382">
              <a:extLst>
                <a:ext uri="{FF2B5EF4-FFF2-40B4-BE49-F238E27FC236}">
                  <a16:creationId xmlns:a16="http://schemas.microsoft.com/office/drawing/2014/main" id="{CAB1C39A-68FF-A049-A696-F1A8D36B8517}"/>
                </a:ext>
              </a:extLst>
            </p:cNvPr>
            <p:cNvSpPr/>
            <p:nvPr/>
          </p:nvSpPr>
          <p:spPr>
            <a:xfrm>
              <a:off x="10557053" y="2878983"/>
              <a:ext cx="270000" cy="135000"/>
            </a:xfrm>
            <a:custGeom>
              <a:avLst/>
              <a:gdLst>
                <a:gd name="connsiteX0" fmla="*/ 135000 w 270000"/>
                <a:gd name="connsiteY0" fmla="*/ 0 h 135000"/>
                <a:gd name="connsiteX1" fmla="*/ 135000 w 270000"/>
                <a:gd name="connsiteY1" fmla="*/ 0 h 135000"/>
                <a:gd name="connsiteX2" fmla="*/ 270000 w 270000"/>
                <a:gd name="connsiteY2" fmla="*/ 135000 h 135000"/>
                <a:gd name="connsiteX3" fmla="*/ 0 w 270000"/>
                <a:gd name="connsiteY3" fmla="*/ 135000 h 135000"/>
                <a:gd name="connsiteX4" fmla="*/ 0 w 270000"/>
                <a:gd name="connsiteY4" fmla="*/ 135000 h 135000"/>
                <a:gd name="connsiteX5" fmla="*/ 135000 w 270000"/>
                <a:gd name="connsiteY5" fmla="*/ 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0000" h="135000">
                  <a:moveTo>
                    <a:pt x="135000" y="0"/>
                  </a:moveTo>
                  <a:lnTo>
                    <a:pt x="135000" y="0"/>
                  </a:lnTo>
                  <a:cubicBezTo>
                    <a:pt x="209559" y="0"/>
                    <a:pt x="270000" y="60441"/>
                    <a:pt x="270000" y="135000"/>
                  </a:cubicBezTo>
                  <a:lnTo>
                    <a:pt x="0" y="135000"/>
                  </a:lnTo>
                  <a:lnTo>
                    <a:pt x="0" y="135000"/>
                  </a:lnTo>
                  <a:cubicBezTo>
                    <a:pt x="0" y="60441"/>
                    <a:pt x="60442" y="0"/>
                    <a:pt x="13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84" name="Рисунок 318">
            <a:extLst>
              <a:ext uri="{FF2B5EF4-FFF2-40B4-BE49-F238E27FC236}">
                <a16:creationId xmlns:a16="http://schemas.microsoft.com/office/drawing/2014/main" id="{7B7BBAD1-0FBD-5F48-ACE1-C68356A4F731}"/>
              </a:ext>
            </a:extLst>
          </p:cNvPr>
          <p:cNvGrpSpPr/>
          <p:nvPr/>
        </p:nvGrpSpPr>
        <p:grpSpPr>
          <a:xfrm>
            <a:off x="5947802" y="2442261"/>
            <a:ext cx="360000" cy="360000"/>
            <a:chOff x="5981255" y="2758983"/>
            <a:chExt cx="360000" cy="360000"/>
          </a:xfrm>
        </p:grpSpPr>
        <p:sp>
          <p:nvSpPr>
            <p:cNvPr id="1385" name="Полилиния 1384">
              <a:extLst>
                <a:ext uri="{FF2B5EF4-FFF2-40B4-BE49-F238E27FC236}">
                  <a16:creationId xmlns:a16="http://schemas.microsoft.com/office/drawing/2014/main" id="{70AC25E9-CF15-764F-A999-1E721B38DD5B}"/>
                </a:ext>
              </a:extLst>
            </p:cNvPr>
            <p:cNvSpPr/>
            <p:nvPr/>
          </p:nvSpPr>
          <p:spPr>
            <a:xfrm>
              <a:off x="5981255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6" name="Полилиния 1385">
              <a:extLst>
                <a:ext uri="{FF2B5EF4-FFF2-40B4-BE49-F238E27FC236}">
                  <a16:creationId xmlns:a16="http://schemas.microsoft.com/office/drawing/2014/main" id="{20F33511-FDD9-4144-944C-6113A868032A}"/>
                </a:ext>
              </a:extLst>
            </p:cNvPr>
            <p:cNvSpPr/>
            <p:nvPr/>
          </p:nvSpPr>
          <p:spPr>
            <a:xfrm>
              <a:off x="6002660" y="2848983"/>
              <a:ext cx="317190" cy="180000"/>
            </a:xfrm>
            <a:custGeom>
              <a:avLst/>
              <a:gdLst>
                <a:gd name="connsiteX0" fmla="*/ 68594 w 317190"/>
                <a:gd name="connsiteY0" fmla="*/ 30000 h 180000"/>
                <a:gd name="connsiteX1" fmla="*/ 68594 w 317190"/>
                <a:gd name="connsiteY1" fmla="*/ 150000 h 180000"/>
                <a:gd name="connsiteX2" fmla="*/ 248594 w 317190"/>
                <a:gd name="connsiteY2" fmla="*/ 150000 h 180000"/>
                <a:gd name="connsiteX3" fmla="*/ 248594 w 317190"/>
                <a:gd name="connsiteY3" fmla="*/ 30000 h 180000"/>
                <a:gd name="connsiteX4" fmla="*/ 68594 w 317190"/>
                <a:gd name="connsiteY4" fmla="*/ 30000 h 180000"/>
                <a:gd name="connsiteX5" fmla="*/ 278594 w 317190"/>
                <a:gd name="connsiteY5" fmla="*/ 150000 h 180000"/>
                <a:gd name="connsiteX6" fmla="*/ 299324 w 317190"/>
                <a:gd name="connsiteY6" fmla="*/ 150000 h 180000"/>
                <a:gd name="connsiteX7" fmla="*/ 312740 w 317190"/>
                <a:gd name="connsiteY7" fmla="*/ 158292 h 180000"/>
                <a:gd name="connsiteX8" fmla="*/ 316094 w 317190"/>
                <a:gd name="connsiteY8" fmla="*/ 165000 h 180000"/>
                <a:gd name="connsiteX9" fmla="*/ 311459 w 317190"/>
                <a:gd name="connsiteY9" fmla="*/ 178906 h 180000"/>
                <a:gd name="connsiteX10" fmla="*/ 306824 w 317190"/>
                <a:gd name="connsiteY10" fmla="*/ 180000 h 180000"/>
                <a:gd name="connsiteX11" fmla="*/ 10365 w 317190"/>
                <a:gd name="connsiteY11" fmla="*/ 180000 h 180000"/>
                <a:gd name="connsiteX12" fmla="*/ 0 w 317190"/>
                <a:gd name="connsiteY12" fmla="*/ 169635 h 180000"/>
                <a:gd name="connsiteX13" fmla="*/ 1094 w 317190"/>
                <a:gd name="connsiteY13" fmla="*/ 165000 h 180000"/>
                <a:gd name="connsiteX14" fmla="*/ 4448 w 317190"/>
                <a:gd name="connsiteY14" fmla="*/ 158292 h 180000"/>
                <a:gd name="connsiteX15" fmla="*/ 17865 w 317190"/>
                <a:gd name="connsiteY15" fmla="*/ 150000 h 180000"/>
                <a:gd name="connsiteX16" fmla="*/ 38594 w 317190"/>
                <a:gd name="connsiteY16" fmla="*/ 150000 h 180000"/>
                <a:gd name="connsiteX17" fmla="*/ 38594 w 317190"/>
                <a:gd name="connsiteY17" fmla="*/ 30000 h 180000"/>
                <a:gd name="connsiteX18" fmla="*/ 68594 w 317190"/>
                <a:gd name="connsiteY18" fmla="*/ 0 h 180000"/>
                <a:gd name="connsiteX19" fmla="*/ 248594 w 317190"/>
                <a:gd name="connsiteY19" fmla="*/ 0 h 180000"/>
                <a:gd name="connsiteX20" fmla="*/ 278594 w 317190"/>
                <a:gd name="connsiteY20" fmla="*/ 30000 h 180000"/>
                <a:gd name="connsiteX21" fmla="*/ 278594 w 317190"/>
                <a:gd name="connsiteY21" fmla="*/ 15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17190" h="180000">
                  <a:moveTo>
                    <a:pt x="68594" y="30000"/>
                  </a:moveTo>
                  <a:lnTo>
                    <a:pt x="68594" y="150000"/>
                  </a:lnTo>
                  <a:lnTo>
                    <a:pt x="248594" y="150000"/>
                  </a:lnTo>
                  <a:lnTo>
                    <a:pt x="248594" y="30000"/>
                  </a:lnTo>
                  <a:lnTo>
                    <a:pt x="68594" y="30000"/>
                  </a:lnTo>
                  <a:close/>
                  <a:moveTo>
                    <a:pt x="278594" y="150000"/>
                  </a:moveTo>
                  <a:lnTo>
                    <a:pt x="299324" y="150000"/>
                  </a:lnTo>
                  <a:cubicBezTo>
                    <a:pt x="305005" y="150000"/>
                    <a:pt x="310199" y="153210"/>
                    <a:pt x="312740" y="158292"/>
                  </a:cubicBezTo>
                  <a:lnTo>
                    <a:pt x="316094" y="165000"/>
                  </a:lnTo>
                  <a:cubicBezTo>
                    <a:pt x="318655" y="170119"/>
                    <a:pt x="316579" y="176346"/>
                    <a:pt x="311459" y="178906"/>
                  </a:cubicBezTo>
                  <a:cubicBezTo>
                    <a:pt x="310019" y="179625"/>
                    <a:pt x="308432" y="180000"/>
                    <a:pt x="306824" y="180000"/>
                  </a:cubicBezTo>
                  <a:lnTo>
                    <a:pt x="10365" y="180000"/>
                  </a:lnTo>
                  <a:cubicBezTo>
                    <a:pt x="4640" y="180000"/>
                    <a:pt x="0" y="175359"/>
                    <a:pt x="0" y="169635"/>
                  </a:cubicBezTo>
                  <a:cubicBezTo>
                    <a:pt x="0" y="168026"/>
                    <a:pt x="375" y="166439"/>
                    <a:pt x="1094" y="165000"/>
                  </a:cubicBezTo>
                  <a:lnTo>
                    <a:pt x="4448" y="158292"/>
                  </a:lnTo>
                  <a:cubicBezTo>
                    <a:pt x="6989" y="153210"/>
                    <a:pt x="12183" y="150000"/>
                    <a:pt x="17865" y="150000"/>
                  </a:cubicBezTo>
                  <a:lnTo>
                    <a:pt x="38594" y="150000"/>
                  </a:lnTo>
                  <a:lnTo>
                    <a:pt x="38594" y="30000"/>
                  </a:lnTo>
                  <a:cubicBezTo>
                    <a:pt x="38594" y="13431"/>
                    <a:pt x="52026" y="0"/>
                    <a:pt x="68594" y="0"/>
                  </a:cubicBezTo>
                  <a:lnTo>
                    <a:pt x="248594" y="0"/>
                  </a:lnTo>
                  <a:cubicBezTo>
                    <a:pt x="265163" y="0"/>
                    <a:pt x="278594" y="13431"/>
                    <a:pt x="278594" y="30000"/>
                  </a:cubicBezTo>
                  <a:lnTo>
                    <a:pt x="278594" y="15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7" name="Полилиния 1386">
              <a:extLst>
                <a:ext uri="{FF2B5EF4-FFF2-40B4-BE49-F238E27FC236}">
                  <a16:creationId xmlns:a16="http://schemas.microsoft.com/office/drawing/2014/main" id="{4A564C2B-8B4D-C74C-B0F6-EDE2F277D300}"/>
                </a:ext>
              </a:extLst>
            </p:cNvPr>
            <p:cNvSpPr/>
            <p:nvPr/>
          </p:nvSpPr>
          <p:spPr>
            <a:xfrm>
              <a:off x="6071255" y="2878983"/>
              <a:ext cx="180000" cy="120000"/>
            </a:xfrm>
            <a:custGeom>
              <a:avLst/>
              <a:gdLst>
                <a:gd name="connsiteX0" fmla="*/ 0 w 180000"/>
                <a:gd name="connsiteY0" fmla="*/ 0 h 120000"/>
                <a:gd name="connsiteX1" fmla="*/ 0 w 180000"/>
                <a:gd name="connsiteY1" fmla="*/ 120000 h 120000"/>
                <a:gd name="connsiteX2" fmla="*/ 180000 w 180000"/>
                <a:gd name="connsiteY2" fmla="*/ 120000 h 120000"/>
                <a:gd name="connsiteX3" fmla="*/ 180000 w 180000"/>
                <a:gd name="connsiteY3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00" h="120000">
                  <a:moveTo>
                    <a:pt x="0" y="0"/>
                  </a:moveTo>
                  <a:lnTo>
                    <a:pt x="0" y="120000"/>
                  </a:lnTo>
                  <a:lnTo>
                    <a:pt x="180000" y="120000"/>
                  </a:lnTo>
                  <a:lnTo>
                    <a:pt x="18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88" name="Рисунок 319">
            <a:extLst>
              <a:ext uri="{FF2B5EF4-FFF2-40B4-BE49-F238E27FC236}">
                <a16:creationId xmlns:a16="http://schemas.microsoft.com/office/drawing/2014/main" id="{2092B174-D7C7-4E49-A2EF-E27241CE6AD9}"/>
              </a:ext>
            </a:extLst>
          </p:cNvPr>
          <p:cNvGrpSpPr/>
          <p:nvPr/>
        </p:nvGrpSpPr>
        <p:grpSpPr>
          <a:xfrm>
            <a:off x="5192669" y="2442261"/>
            <a:ext cx="360000" cy="360000"/>
            <a:chOff x="5226122" y="2758983"/>
            <a:chExt cx="360000" cy="360000"/>
          </a:xfrm>
        </p:grpSpPr>
        <p:sp>
          <p:nvSpPr>
            <p:cNvPr id="1389" name="Полилиния 1388">
              <a:extLst>
                <a:ext uri="{FF2B5EF4-FFF2-40B4-BE49-F238E27FC236}">
                  <a16:creationId xmlns:a16="http://schemas.microsoft.com/office/drawing/2014/main" id="{C0FC3482-2E8E-0442-B38F-F78E93417153}"/>
                </a:ext>
              </a:extLst>
            </p:cNvPr>
            <p:cNvSpPr/>
            <p:nvPr/>
          </p:nvSpPr>
          <p:spPr>
            <a:xfrm>
              <a:off x="5226122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0" name="Полилиния 1389">
              <a:extLst>
                <a:ext uri="{FF2B5EF4-FFF2-40B4-BE49-F238E27FC236}">
                  <a16:creationId xmlns:a16="http://schemas.microsoft.com/office/drawing/2014/main" id="{4286D5A6-6425-5F41-8132-F4D824F64725}"/>
                </a:ext>
              </a:extLst>
            </p:cNvPr>
            <p:cNvSpPr/>
            <p:nvPr/>
          </p:nvSpPr>
          <p:spPr>
            <a:xfrm>
              <a:off x="5286122" y="2848983"/>
              <a:ext cx="240000" cy="165000"/>
            </a:xfrm>
            <a:custGeom>
              <a:avLst/>
              <a:gdLst>
                <a:gd name="connsiteX0" fmla="*/ 15000 w 240000"/>
                <a:gd name="connsiteY0" fmla="*/ 0 h 165000"/>
                <a:gd name="connsiteX1" fmla="*/ 225000 w 240000"/>
                <a:gd name="connsiteY1" fmla="*/ 0 h 165000"/>
                <a:gd name="connsiteX2" fmla="*/ 240000 w 240000"/>
                <a:gd name="connsiteY2" fmla="*/ 15000 h 165000"/>
                <a:gd name="connsiteX3" fmla="*/ 240000 w 240000"/>
                <a:gd name="connsiteY3" fmla="*/ 165000 h 165000"/>
                <a:gd name="connsiteX4" fmla="*/ 0 w 240000"/>
                <a:gd name="connsiteY4" fmla="*/ 165000 h 165000"/>
                <a:gd name="connsiteX5" fmla="*/ 0 w 240000"/>
                <a:gd name="connsiteY5" fmla="*/ 15000 h 165000"/>
                <a:gd name="connsiteX6" fmla="*/ 15000 w 240000"/>
                <a:gd name="connsiteY6" fmla="*/ 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0000" h="165000">
                  <a:moveTo>
                    <a:pt x="15000" y="0"/>
                  </a:moveTo>
                  <a:lnTo>
                    <a:pt x="225000" y="0"/>
                  </a:lnTo>
                  <a:cubicBezTo>
                    <a:pt x="233285" y="0"/>
                    <a:pt x="240000" y="6716"/>
                    <a:pt x="240000" y="15000"/>
                  </a:cubicBezTo>
                  <a:lnTo>
                    <a:pt x="240000" y="165000"/>
                  </a:lnTo>
                  <a:lnTo>
                    <a:pt x="0" y="165000"/>
                  </a:ln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1" name="Полилиния 1390">
              <a:extLst>
                <a:ext uri="{FF2B5EF4-FFF2-40B4-BE49-F238E27FC236}">
                  <a16:creationId xmlns:a16="http://schemas.microsoft.com/office/drawing/2014/main" id="{8A84ABF5-9D58-6847-A25A-EFDE98D23DE2}"/>
                </a:ext>
              </a:extLst>
            </p:cNvPr>
            <p:cNvSpPr/>
            <p:nvPr/>
          </p:nvSpPr>
          <p:spPr>
            <a:xfrm>
              <a:off x="5241122" y="3028983"/>
              <a:ext cx="330000" cy="15000"/>
            </a:xfrm>
            <a:custGeom>
              <a:avLst/>
              <a:gdLst>
                <a:gd name="connsiteX0" fmla="*/ 322500 w 330000"/>
                <a:gd name="connsiteY0" fmla="*/ 0 h 15000"/>
                <a:gd name="connsiteX1" fmla="*/ 330000 w 330000"/>
                <a:gd name="connsiteY1" fmla="*/ 0 h 15000"/>
                <a:gd name="connsiteX2" fmla="*/ 330000 w 330000"/>
                <a:gd name="connsiteY2" fmla="*/ 15000 h 15000"/>
                <a:gd name="connsiteX3" fmla="*/ 322500 w 330000"/>
                <a:gd name="connsiteY3" fmla="*/ 15000 h 15000"/>
                <a:gd name="connsiteX4" fmla="*/ 7500 w 330000"/>
                <a:gd name="connsiteY4" fmla="*/ 15000 h 15000"/>
                <a:gd name="connsiteX5" fmla="*/ 0 w 330000"/>
                <a:gd name="connsiteY5" fmla="*/ 15000 h 15000"/>
                <a:gd name="connsiteX6" fmla="*/ 0 w 330000"/>
                <a:gd name="connsiteY6" fmla="*/ 0 h 15000"/>
                <a:gd name="connsiteX7" fmla="*/ 7500 w 330000"/>
                <a:gd name="connsiteY7" fmla="*/ 0 h 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0000" h="15000">
                  <a:moveTo>
                    <a:pt x="322500" y="0"/>
                  </a:moveTo>
                  <a:cubicBezTo>
                    <a:pt x="326642" y="0"/>
                    <a:pt x="330000" y="0"/>
                    <a:pt x="330000" y="0"/>
                  </a:cubicBezTo>
                  <a:lnTo>
                    <a:pt x="330000" y="15000"/>
                  </a:lnTo>
                  <a:cubicBezTo>
                    <a:pt x="330000" y="15000"/>
                    <a:pt x="326642" y="15000"/>
                    <a:pt x="322500" y="15000"/>
                  </a:cubicBezTo>
                  <a:lnTo>
                    <a:pt x="7500" y="15000"/>
                  </a:lnTo>
                  <a:cubicBezTo>
                    <a:pt x="3358" y="15000"/>
                    <a:pt x="0" y="15000"/>
                    <a:pt x="0" y="15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92" name="Рисунок 320">
            <a:extLst>
              <a:ext uri="{FF2B5EF4-FFF2-40B4-BE49-F238E27FC236}">
                <a16:creationId xmlns:a16="http://schemas.microsoft.com/office/drawing/2014/main" id="{F091FF1E-3876-314F-9709-A6427E77D829}"/>
              </a:ext>
            </a:extLst>
          </p:cNvPr>
          <p:cNvGrpSpPr/>
          <p:nvPr/>
        </p:nvGrpSpPr>
        <p:grpSpPr>
          <a:xfrm>
            <a:off x="4437536" y="2442261"/>
            <a:ext cx="360000" cy="360000"/>
            <a:chOff x="4470989" y="2758983"/>
            <a:chExt cx="360000" cy="360000"/>
          </a:xfrm>
        </p:grpSpPr>
        <p:sp>
          <p:nvSpPr>
            <p:cNvPr id="1393" name="Полилиния 1392">
              <a:extLst>
                <a:ext uri="{FF2B5EF4-FFF2-40B4-BE49-F238E27FC236}">
                  <a16:creationId xmlns:a16="http://schemas.microsoft.com/office/drawing/2014/main" id="{D79A7844-F7C8-0B43-8F4E-0F6A4E61D6AA}"/>
                </a:ext>
              </a:extLst>
            </p:cNvPr>
            <p:cNvSpPr/>
            <p:nvPr/>
          </p:nvSpPr>
          <p:spPr>
            <a:xfrm>
              <a:off x="4470989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4" name="Полилиния 1393">
              <a:extLst>
                <a:ext uri="{FF2B5EF4-FFF2-40B4-BE49-F238E27FC236}">
                  <a16:creationId xmlns:a16="http://schemas.microsoft.com/office/drawing/2014/main" id="{E01F822B-6A5B-4845-B0A1-B37AC4F7CC1A}"/>
                </a:ext>
              </a:extLst>
            </p:cNvPr>
            <p:cNvSpPr/>
            <p:nvPr/>
          </p:nvSpPr>
          <p:spPr>
            <a:xfrm>
              <a:off x="4529615" y="2802731"/>
              <a:ext cx="242678" cy="202235"/>
            </a:xfrm>
            <a:custGeom>
              <a:avLst/>
              <a:gdLst>
                <a:gd name="connsiteX0" fmla="*/ 135377 w 242678"/>
                <a:gd name="connsiteY0" fmla="*/ 197338 h 202235"/>
                <a:gd name="connsiteX1" fmla="*/ 231773 w 242678"/>
                <a:gd name="connsiteY1" fmla="*/ 120599 h 202235"/>
                <a:gd name="connsiteX2" fmla="*/ 234146 w 242678"/>
                <a:gd name="connsiteY2" fmla="*/ 118720 h 202235"/>
                <a:gd name="connsiteX3" fmla="*/ 237817 w 242678"/>
                <a:gd name="connsiteY3" fmla="*/ 87113 h 202235"/>
                <a:gd name="connsiteX4" fmla="*/ 234184 w 242678"/>
                <a:gd name="connsiteY4" fmla="*/ 83471 h 202235"/>
                <a:gd name="connsiteX5" fmla="*/ 135379 w 242678"/>
                <a:gd name="connsiteY5" fmla="*/ 4890 h 202235"/>
                <a:gd name="connsiteX6" fmla="*/ 107368 w 242678"/>
                <a:gd name="connsiteY6" fmla="*/ 4890 h 202235"/>
                <a:gd name="connsiteX7" fmla="*/ 8496 w 242678"/>
                <a:gd name="connsiteY7" fmla="*/ 83525 h 202235"/>
                <a:gd name="connsiteX8" fmla="*/ 4891 w 242678"/>
                <a:gd name="connsiteY8" fmla="*/ 115141 h 202235"/>
                <a:gd name="connsiteX9" fmla="*/ 8481 w 242678"/>
                <a:gd name="connsiteY9" fmla="*/ 118733 h 202235"/>
                <a:gd name="connsiteX10" fmla="*/ 10823 w 242678"/>
                <a:gd name="connsiteY10" fmla="*/ 120599 h 202235"/>
                <a:gd name="connsiteX11" fmla="*/ 107362 w 242678"/>
                <a:gd name="connsiteY11" fmla="*/ 197348 h 202235"/>
                <a:gd name="connsiteX12" fmla="*/ 135377 w 242678"/>
                <a:gd name="connsiteY12" fmla="*/ 197338 h 20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2678" h="202235">
                  <a:moveTo>
                    <a:pt x="135377" y="197338"/>
                  </a:moveTo>
                  <a:lnTo>
                    <a:pt x="231773" y="120599"/>
                  </a:lnTo>
                  <a:lnTo>
                    <a:pt x="234146" y="118720"/>
                  </a:lnTo>
                  <a:cubicBezTo>
                    <a:pt x="243887" y="111007"/>
                    <a:pt x="245531" y="96855"/>
                    <a:pt x="237817" y="87113"/>
                  </a:cubicBezTo>
                  <a:cubicBezTo>
                    <a:pt x="236749" y="85764"/>
                    <a:pt x="235529" y="84542"/>
                    <a:pt x="234184" y="83471"/>
                  </a:cubicBezTo>
                  <a:lnTo>
                    <a:pt x="135379" y="4890"/>
                  </a:lnTo>
                  <a:cubicBezTo>
                    <a:pt x="127180" y="-1630"/>
                    <a:pt x="115567" y="-1630"/>
                    <a:pt x="107368" y="4890"/>
                  </a:cubicBezTo>
                  <a:lnTo>
                    <a:pt x="8496" y="83525"/>
                  </a:lnTo>
                  <a:cubicBezTo>
                    <a:pt x="-1230" y="91260"/>
                    <a:pt x="-2844" y="105414"/>
                    <a:pt x="4891" y="115141"/>
                  </a:cubicBezTo>
                  <a:cubicBezTo>
                    <a:pt x="5948" y="116470"/>
                    <a:pt x="7152" y="117674"/>
                    <a:pt x="8481" y="118733"/>
                  </a:cubicBezTo>
                  <a:lnTo>
                    <a:pt x="10823" y="120599"/>
                  </a:lnTo>
                  <a:lnTo>
                    <a:pt x="107362" y="197348"/>
                  </a:lnTo>
                  <a:cubicBezTo>
                    <a:pt x="115564" y="203869"/>
                    <a:pt x="127180" y="203864"/>
                    <a:pt x="135377" y="197338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5" name="Полилиния 1394">
              <a:extLst>
                <a:ext uri="{FF2B5EF4-FFF2-40B4-BE49-F238E27FC236}">
                  <a16:creationId xmlns:a16="http://schemas.microsoft.com/office/drawing/2014/main" id="{CD35F5EF-7141-C541-A3BA-1152107D920C}"/>
                </a:ext>
              </a:extLst>
            </p:cNvPr>
            <p:cNvSpPr/>
            <p:nvPr/>
          </p:nvSpPr>
          <p:spPr>
            <a:xfrm>
              <a:off x="4529033" y="2967772"/>
              <a:ext cx="243863" cy="107885"/>
            </a:xfrm>
            <a:custGeom>
              <a:avLst/>
              <a:gdLst>
                <a:gd name="connsiteX0" fmla="*/ 107802 w 243863"/>
                <a:gd name="connsiteY0" fmla="*/ 71271 h 107885"/>
                <a:gd name="connsiteX1" fmla="*/ 21995 w 243863"/>
                <a:gd name="connsiteY1" fmla="*/ 3054 h 107885"/>
                <a:gd name="connsiteX2" fmla="*/ 2962 w 243863"/>
                <a:gd name="connsiteY2" fmla="*/ 5227 h 107885"/>
                <a:gd name="connsiteX3" fmla="*/ 2856 w 243863"/>
                <a:gd name="connsiteY3" fmla="*/ 5364 h 107885"/>
                <a:gd name="connsiteX4" fmla="*/ 2856 w 243863"/>
                <a:gd name="connsiteY4" fmla="*/ 5364 h 107885"/>
                <a:gd name="connsiteX5" fmla="*/ 5288 w 243863"/>
                <a:gd name="connsiteY5" fmla="*/ 24495 h 107885"/>
                <a:gd name="connsiteX6" fmla="*/ 5353 w 243863"/>
                <a:gd name="connsiteY6" fmla="*/ 24544 h 107885"/>
                <a:gd name="connsiteX7" fmla="*/ 108265 w 243863"/>
                <a:gd name="connsiteY7" fmla="*/ 103257 h 107885"/>
                <a:gd name="connsiteX8" fmla="*/ 135600 w 243863"/>
                <a:gd name="connsiteY8" fmla="*/ 103260 h 107885"/>
                <a:gd name="connsiteX9" fmla="*/ 238473 w 243863"/>
                <a:gd name="connsiteY9" fmla="*/ 24607 h 107885"/>
                <a:gd name="connsiteX10" fmla="*/ 241041 w 243863"/>
                <a:gd name="connsiteY10" fmla="*/ 5364 h 107885"/>
                <a:gd name="connsiteX11" fmla="*/ 240981 w 243863"/>
                <a:gd name="connsiteY11" fmla="*/ 5287 h 107885"/>
                <a:gd name="connsiteX12" fmla="*/ 240981 w 243863"/>
                <a:gd name="connsiteY12" fmla="*/ 5287 h 107885"/>
                <a:gd name="connsiteX13" fmla="*/ 221814 w 243863"/>
                <a:gd name="connsiteY13" fmla="*/ 2868 h 107885"/>
                <a:gd name="connsiteX14" fmla="*/ 221685 w 243863"/>
                <a:gd name="connsiteY14" fmla="*/ 2970 h 107885"/>
                <a:gd name="connsiteX15" fmla="*/ 135808 w 243863"/>
                <a:gd name="connsiteY15" fmla="*/ 71268 h 107885"/>
                <a:gd name="connsiteX16" fmla="*/ 107802 w 243863"/>
                <a:gd name="connsiteY16" fmla="*/ 71271 h 107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3863" h="107885">
                  <a:moveTo>
                    <a:pt x="107802" y="71271"/>
                  </a:moveTo>
                  <a:lnTo>
                    <a:pt x="21995" y="3054"/>
                  </a:lnTo>
                  <a:cubicBezTo>
                    <a:pt x="16139" y="-1601"/>
                    <a:pt x="7618" y="-629"/>
                    <a:pt x="2962" y="5227"/>
                  </a:cubicBezTo>
                  <a:cubicBezTo>
                    <a:pt x="2927" y="5272"/>
                    <a:pt x="2891" y="5317"/>
                    <a:pt x="2856" y="5364"/>
                  </a:cubicBezTo>
                  <a:lnTo>
                    <a:pt x="2856" y="5364"/>
                  </a:lnTo>
                  <a:cubicBezTo>
                    <a:pt x="-1756" y="11319"/>
                    <a:pt x="-667" y="19884"/>
                    <a:pt x="5288" y="24495"/>
                  </a:cubicBezTo>
                  <a:cubicBezTo>
                    <a:pt x="5310" y="24511"/>
                    <a:pt x="5331" y="24528"/>
                    <a:pt x="5353" y="24544"/>
                  </a:cubicBezTo>
                  <a:lnTo>
                    <a:pt x="108265" y="103257"/>
                  </a:lnTo>
                  <a:cubicBezTo>
                    <a:pt x="116332" y="109428"/>
                    <a:pt x="127533" y="109428"/>
                    <a:pt x="135600" y="103260"/>
                  </a:cubicBezTo>
                  <a:lnTo>
                    <a:pt x="238473" y="24607"/>
                  </a:lnTo>
                  <a:cubicBezTo>
                    <a:pt x="244495" y="20002"/>
                    <a:pt x="245646" y="11386"/>
                    <a:pt x="241041" y="5364"/>
                  </a:cubicBezTo>
                  <a:cubicBezTo>
                    <a:pt x="241020" y="5338"/>
                    <a:pt x="241000" y="5313"/>
                    <a:pt x="240981" y="5287"/>
                  </a:cubicBezTo>
                  <a:lnTo>
                    <a:pt x="240981" y="5287"/>
                  </a:lnTo>
                  <a:cubicBezTo>
                    <a:pt x="236356" y="-674"/>
                    <a:pt x="227775" y="-1757"/>
                    <a:pt x="221814" y="2868"/>
                  </a:cubicBezTo>
                  <a:cubicBezTo>
                    <a:pt x="221772" y="2901"/>
                    <a:pt x="221728" y="2935"/>
                    <a:pt x="221685" y="2970"/>
                  </a:cubicBezTo>
                  <a:lnTo>
                    <a:pt x="135808" y="71268"/>
                  </a:lnTo>
                  <a:cubicBezTo>
                    <a:pt x="127611" y="77787"/>
                    <a:pt x="115999" y="77788"/>
                    <a:pt x="107802" y="71271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96" name="Рисунок 321">
            <a:extLst>
              <a:ext uri="{FF2B5EF4-FFF2-40B4-BE49-F238E27FC236}">
                <a16:creationId xmlns:a16="http://schemas.microsoft.com/office/drawing/2014/main" id="{DF706B7A-83F9-524E-AC77-065C885D45C4}"/>
              </a:ext>
            </a:extLst>
          </p:cNvPr>
          <p:cNvGrpSpPr/>
          <p:nvPr/>
        </p:nvGrpSpPr>
        <p:grpSpPr>
          <a:xfrm>
            <a:off x="8213201" y="2442261"/>
            <a:ext cx="360000" cy="360000"/>
            <a:chOff x="8246654" y="2758983"/>
            <a:chExt cx="360000" cy="360000"/>
          </a:xfrm>
        </p:grpSpPr>
        <p:sp>
          <p:nvSpPr>
            <p:cNvPr id="1397" name="Полилиния 1396">
              <a:extLst>
                <a:ext uri="{FF2B5EF4-FFF2-40B4-BE49-F238E27FC236}">
                  <a16:creationId xmlns:a16="http://schemas.microsoft.com/office/drawing/2014/main" id="{8964CBEB-4115-974E-8B2D-8904BC5251C6}"/>
                </a:ext>
              </a:extLst>
            </p:cNvPr>
            <p:cNvSpPr/>
            <p:nvPr/>
          </p:nvSpPr>
          <p:spPr>
            <a:xfrm>
              <a:off x="8246654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8" name="Полилиния 1397">
              <a:extLst>
                <a:ext uri="{FF2B5EF4-FFF2-40B4-BE49-F238E27FC236}">
                  <a16:creationId xmlns:a16="http://schemas.microsoft.com/office/drawing/2014/main" id="{8E762D11-F045-524D-A6A6-94827281E5F9}"/>
                </a:ext>
              </a:extLst>
            </p:cNvPr>
            <p:cNvSpPr/>
            <p:nvPr/>
          </p:nvSpPr>
          <p:spPr>
            <a:xfrm>
              <a:off x="8246654" y="2833983"/>
              <a:ext cx="360000" cy="210000"/>
            </a:xfrm>
            <a:custGeom>
              <a:avLst/>
              <a:gdLst>
                <a:gd name="connsiteX0" fmla="*/ 22500 w 360000"/>
                <a:gd name="connsiteY0" fmla="*/ 0 h 210000"/>
                <a:gd name="connsiteX1" fmla="*/ 67500 w 360000"/>
                <a:gd name="connsiteY1" fmla="*/ 0 h 210000"/>
                <a:gd name="connsiteX2" fmla="*/ 90000 w 360000"/>
                <a:gd name="connsiteY2" fmla="*/ 22500 h 210000"/>
                <a:gd name="connsiteX3" fmla="*/ 90000 w 360000"/>
                <a:gd name="connsiteY3" fmla="*/ 187500 h 210000"/>
                <a:gd name="connsiteX4" fmla="*/ 67500 w 360000"/>
                <a:gd name="connsiteY4" fmla="*/ 210000 h 210000"/>
                <a:gd name="connsiteX5" fmla="*/ 22500 w 360000"/>
                <a:gd name="connsiteY5" fmla="*/ 210000 h 210000"/>
                <a:gd name="connsiteX6" fmla="*/ 0 w 360000"/>
                <a:gd name="connsiteY6" fmla="*/ 187500 h 210000"/>
                <a:gd name="connsiteX7" fmla="*/ 0 w 360000"/>
                <a:gd name="connsiteY7" fmla="*/ 22500 h 210000"/>
                <a:gd name="connsiteX8" fmla="*/ 22500 w 360000"/>
                <a:gd name="connsiteY8" fmla="*/ 0 h 210000"/>
                <a:gd name="connsiteX9" fmla="*/ 277500 w 360000"/>
                <a:gd name="connsiteY9" fmla="*/ 0 h 210000"/>
                <a:gd name="connsiteX10" fmla="*/ 337500 w 360000"/>
                <a:gd name="connsiteY10" fmla="*/ 0 h 210000"/>
                <a:gd name="connsiteX11" fmla="*/ 360000 w 360000"/>
                <a:gd name="connsiteY11" fmla="*/ 22500 h 210000"/>
                <a:gd name="connsiteX12" fmla="*/ 360000 w 360000"/>
                <a:gd name="connsiteY12" fmla="*/ 187500 h 210000"/>
                <a:gd name="connsiteX13" fmla="*/ 337500 w 360000"/>
                <a:gd name="connsiteY13" fmla="*/ 210000 h 210000"/>
                <a:gd name="connsiteX14" fmla="*/ 277500 w 360000"/>
                <a:gd name="connsiteY14" fmla="*/ 210000 h 210000"/>
                <a:gd name="connsiteX15" fmla="*/ 255000 w 360000"/>
                <a:gd name="connsiteY15" fmla="*/ 187500 h 210000"/>
                <a:gd name="connsiteX16" fmla="*/ 255000 w 360000"/>
                <a:gd name="connsiteY16" fmla="*/ 22500 h 210000"/>
                <a:gd name="connsiteX17" fmla="*/ 277500 w 360000"/>
                <a:gd name="connsiteY17" fmla="*/ 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0000" h="210000">
                  <a:moveTo>
                    <a:pt x="22500" y="0"/>
                  </a:moveTo>
                  <a:lnTo>
                    <a:pt x="67500" y="0"/>
                  </a:lnTo>
                  <a:cubicBezTo>
                    <a:pt x="79926" y="0"/>
                    <a:pt x="90000" y="10074"/>
                    <a:pt x="90000" y="22500"/>
                  </a:cubicBezTo>
                  <a:lnTo>
                    <a:pt x="90000" y="187500"/>
                  </a:lnTo>
                  <a:cubicBezTo>
                    <a:pt x="90000" y="199926"/>
                    <a:pt x="79926" y="210000"/>
                    <a:pt x="67500" y="210000"/>
                  </a:cubicBezTo>
                  <a:lnTo>
                    <a:pt x="22500" y="210000"/>
                  </a:lnTo>
                  <a:cubicBezTo>
                    <a:pt x="10074" y="210000"/>
                    <a:pt x="0" y="199926"/>
                    <a:pt x="0" y="187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277500" y="0"/>
                  </a:moveTo>
                  <a:lnTo>
                    <a:pt x="337500" y="0"/>
                  </a:lnTo>
                  <a:cubicBezTo>
                    <a:pt x="349926" y="0"/>
                    <a:pt x="360000" y="10074"/>
                    <a:pt x="360000" y="22500"/>
                  </a:cubicBezTo>
                  <a:lnTo>
                    <a:pt x="360000" y="187500"/>
                  </a:lnTo>
                  <a:cubicBezTo>
                    <a:pt x="360000" y="199926"/>
                    <a:pt x="349926" y="210000"/>
                    <a:pt x="337500" y="210000"/>
                  </a:cubicBezTo>
                  <a:lnTo>
                    <a:pt x="277500" y="210000"/>
                  </a:lnTo>
                  <a:cubicBezTo>
                    <a:pt x="265074" y="210000"/>
                    <a:pt x="255000" y="199926"/>
                    <a:pt x="255000" y="187500"/>
                  </a:cubicBezTo>
                  <a:lnTo>
                    <a:pt x="255000" y="22500"/>
                  </a:lnTo>
                  <a:cubicBezTo>
                    <a:pt x="255000" y="10074"/>
                    <a:pt x="265074" y="0"/>
                    <a:pt x="2775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9" name="Скругленный прямоугольник 1398">
              <a:extLst>
                <a:ext uri="{FF2B5EF4-FFF2-40B4-BE49-F238E27FC236}">
                  <a16:creationId xmlns:a16="http://schemas.microsoft.com/office/drawing/2014/main" id="{2347C0E0-2D46-3D48-A09C-848516007F86}"/>
                </a:ext>
              </a:extLst>
            </p:cNvPr>
            <p:cNvSpPr/>
            <p:nvPr/>
          </p:nvSpPr>
          <p:spPr>
            <a:xfrm>
              <a:off x="8366654" y="2833983"/>
              <a:ext cx="105000" cy="21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00" name="Рисунок 322">
            <a:extLst>
              <a:ext uri="{FF2B5EF4-FFF2-40B4-BE49-F238E27FC236}">
                <a16:creationId xmlns:a16="http://schemas.microsoft.com/office/drawing/2014/main" id="{E2D04BBB-5141-0149-9B54-00D6BA40AA11}"/>
              </a:ext>
            </a:extLst>
          </p:cNvPr>
          <p:cNvGrpSpPr/>
          <p:nvPr/>
        </p:nvGrpSpPr>
        <p:grpSpPr>
          <a:xfrm>
            <a:off x="8968334" y="2442261"/>
            <a:ext cx="360000" cy="360000"/>
            <a:chOff x="9001787" y="2758983"/>
            <a:chExt cx="360000" cy="360000"/>
          </a:xfrm>
        </p:grpSpPr>
        <p:sp>
          <p:nvSpPr>
            <p:cNvPr id="1401" name="Полилиния 1400">
              <a:extLst>
                <a:ext uri="{FF2B5EF4-FFF2-40B4-BE49-F238E27FC236}">
                  <a16:creationId xmlns:a16="http://schemas.microsoft.com/office/drawing/2014/main" id="{6F8C16AA-4EA5-6C40-94DB-DC22A3770F43}"/>
                </a:ext>
              </a:extLst>
            </p:cNvPr>
            <p:cNvSpPr/>
            <p:nvPr/>
          </p:nvSpPr>
          <p:spPr>
            <a:xfrm>
              <a:off x="9001787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2" name="Скругленный прямоугольник 1401">
              <a:extLst>
                <a:ext uri="{FF2B5EF4-FFF2-40B4-BE49-F238E27FC236}">
                  <a16:creationId xmlns:a16="http://schemas.microsoft.com/office/drawing/2014/main" id="{61DAC205-8D0D-8248-B23F-3B3D2A3B9808}"/>
                </a:ext>
              </a:extLst>
            </p:cNvPr>
            <p:cNvSpPr/>
            <p:nvPr/>
          </p:nvSpPr>
          <p:spPr>
            <a:xfrm>
              <a:off x="9061787" y="2818983"/>
              <a:ext cx="105000" cy="105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3" name="Полилиния 1402">
              <a:extLst>
                <a:ext uri="{FF2B5EF4-FFF2-40B4-BE49-F238E27FC236}">
                  <a16:creationId xmlns:a16="http://schemas.microsoft.com/office/drawing/2014/main" id="{16777506-C66A-8640-9B6F-AA34E7997D54}"/>
                </a:ext>
              </a:extLst>
            </p:cNvPr>
            <p:cNvSpPr/>
            <p:nvPr/>
          </p:nvSpPr>
          <p:spPr>
            <a:xfrm>
              <a:off x="9061787" y="2818983"/>
              <a:ext cx="240000" cy="240000"/>
            </a:xfrm>
            <a:custGeom>
              <a:avLst/>
              <a:gdLst>
                <a:gd name="connsiteX0" fmla="*/ 22500 w 240000"/>
                <a:gd name="connsiteY0" fmla="*/ 135000 h 240000"/>
                <a:gd name="connsiteX1" fmla="*/ 82500 w 240000"/>
                <a:gd name="connsiteY1" fmla="*/ 135000 h 240000"/>
                <a:gd name="connsiteX2" fmla="*/ 105000 w 240000"/>
                <a:gd name="connsiteY2" fmla="*/ 157500 h 240000"/>
                <a:gd name="connsiteX3" fmla="*/ 105000 w 240000"/>
                <a:gd name="connsiteY3" fmla="*/ 217500 h 240000"/>
                <a:gd name="connsiteX4" fmla="*/ 82500 w 240000"/>
                <a:gd name="connsiteY4" fmla="*/ 240000 h 240000"/>
                <a:gd name="connsiteX5" fmla="*/ 22500 w 240000"/>
                <a:gd name="connsiteY5" fmla="*/ 240000 h 240000"/>
                <a:gd name="connsiteX6" fmla="*/ 0 w 240000"/>
                <a:gd name="connsiteY6" fmla="*/ 217500 h 240000"/>
                <a:gd name="connsiteX7" fmla="*/ 0 w 240000"/>
                <a:gd name="connsiteY7" fmla="*/ 157500 h 240000"/>
                <a:gd name="connsiteX8" fmla="*/ 22500 w 240000"/>
                <a:gd name="connsiteY8" fmla="*/ 135000 h 240000"/>
                <a:gd name="connsiteX9" fmla="*/ 157500 w 240000"/>
                <a:gd name="connsiteY9" fmla="*/ 0 h 240000"/>
                <a:gd name="connsiteX10" fmla="*/ 217500 w 240000"/>
                <a:gd name="connsiteY10" fmla="*/ 0 h 240000"/>
                <a:gd name="connsiteX11" fmla="*/ 240000 w 240000"/>
                <a:gd name="connsiteY11" fmla="*/ 22500 h 240000"/>
                <a:gd name="connsiteX12" fmla="*/ 240000 w 240000"/>
                <a:gd name="connsiteY12" fmla="*/ 82500 h 240000"/>
                <a:gd name="connsiteX13" fmla="*/ 217500 w 240000"/>
                <a:gd name="connsiteY13" fmla="*/ 105000 h 240000"/>
                <a:gd name="connsiteX14" fmla="*/ 157500 w 240000"/>
                <a:gd name="connsiteY14" fmla="*/ 105000 h 240000"/>
                <a:gd name="connsiteX15" fmla="*/ 135000 w 240000"/>
                <a:gd name="connsiteY15" fmla="*/ 82500 h 240000"/>
                <a:gd name="connsiteX16" fmla="*/ 135000 w 240000"/>
                <a:gd name="connsiteY16" fmla="*/ 22500 h 240000"/>
                <a:gd name="connsiteX17" fmla="*/ 157500 w 240000"/>
                <a:gd name="connsiteY17" fmla="*/ 0 h 240000"/>
                <a:gd name="connsiteX18" fmla="*/ 157500 w 240000"/>
                <a:gd name="connsiteY18" fmla="*/ 135000 h 240000"/>
                <a:gd name="connsiteX19" fmla="*/ 217500 w 240000"/>
                <a:gd name="connsiteY19" fmla="*/ 135000 h 240000"/>
                <a:gd name="connsiteX20" fmla="*/ 240000 w 240000"/>
                <a:gd name="connsiteY20" fmla="*/ 157500 h 240000"/>
                <a:gd name="connsiteX21" fmla="*/ 240000 w 240000"/>
                <a:gd name="connsiteY21" fmla="*/ 217500 h 240000"/>
                <a:gd name="connsiteX22" fmla="*/ 217500 w 240000"/>
                <a:gd name="connsiteY22" fmla="*/ 240000 h 240000"/>
                <a:gd name="connsiteX23" fmla="*/ 157500 w 240000"/>
                <a:gd name="connsiteY23" fmla="*/ 240000 h 240000"/>
                <a:gd name="connsiteX24" fmla="*/ 135000 w 240000"/>
                <a:gd name="connsiteY24" fmla="*/ 217500 h 240000"/>
                <a:gd name="connsiteX25" fmla="*/ 135000 w 240000"/>
                <a:gd name="connsiteY25" fmla="*/ 157500 h 240000"/>
                <a:gd name="connsiteX26" fmla="*/ 157500 w 240000"/>
                <a:gd name="connsiteY26" fmla="*/ 135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40000" h="240000">
                  <a:moveTo>
                    <a:pt x="22500" y="135000"/>
                  </a:moveTo>
                  <a:lnTo>
                    <a:pt x="82500" y="135000"/>
                  </a:lnTo>
                  <a:cubicBezTo>
                    <a:pt x="94926" y="135000"/>
                    <a:pt x="105000" y="145074"/>
                    <a:pt x="105000" y="157500"/>
                  </a:cubicBezTo>
                  <a:lnTo>
                    <a:pt x="105000" y="217500"/>
                  </a:lnTo>
                  <a:cubicBezTo>
                    <a:pt x="105000" y="229926"/>
                    <a:pt x="94926" y="240000"/>
                    <a:pt x="82500" y="240000"/>
                  </a:cubicBezTo>
                  <a:lnTo>
                    <a:pt x="22500" y="240000"/>
                  </a:lnTo>
                  <a:cubicBezTo>
                    <a:pt x="10074" y="240000"/>
                    <a:pt x="0" y="229926"/>
                    <a:pt x="0" y="217500"/>
                  </a:cubicBezTo>
                  <a:lnTo>
                    <a:pt x="0" y="157500"/>
                  </a:lnTo>
                  <a:cubicBezTo>
                    <a:pt x="0" y="145074"/>
                    <a:pt x="10074" y="135000"/>
                    <a:pt x="22500" y="135000"/>
                  </a:cubicBezTo>
                  <a:close/>
                  <a:moveTo>
                    <a:pt x="157500" y="0"/>
                  </a:moveTo>
                  <a:lnTo>
                    <a:pt x="217500" y="0"/>
                  </a:lnTo>
                  <a:cubicBezTo>
                    <a:pt x="229926" y="0"/>
                    <a:pt x="240000" y="10074"/>
                    <a:pt x="240000" y="22500"/>
                  </a:cubicBezTo>
                  <a:lnTo>
                    <a:pt x="240000" y="82500"/>
                  </a:lnTo>
                  <a:cubicBezTo>
                    <a:pt x="240000" y="94926"/>
                    <a:pt x="229926" y="105000"/>
                    <a:pt x="217500" y="105000"/>
                  </a:cubicBezTo>
                  <a:lnTo>
                    <a:pt x="157500" y="105000"/>
                  </a:lnTo>
                  <a:cubicBezTo>
                    <a:pt x="145074" y="105000"/>
                    <a:pt x="135000" y="94926"/>
                    <a:pt x="135000" y="82500"/>
                  </a:cubicBezTo>
                  <a:lnTo>
                    <a:pt x="135000" y="22500"/>
                  </a:lnTo>
                  <a:cubicBezTo>
                    <a:pt x="135000" y="10074"/>
                    <a:pt x="145074" y="0"/>
                    <a:pt x="157500" y="0"/>
                  </a:cubicBezTo>
                  <a:close/>
                  <a:moveTo>
                    <a:pt x="157500" y="135000"/>
                  </a:moveTo>
                  <a:lnTo>
                    <a:pt x="217500" y="135000"/>
                  </a:lnTo>
                  <a:cubicBezTo>
                    <a:pt x="229926" y="135000"/>
                    <a:pt x="240000" y="145074"/>
                    <a:pt x="240000" y="157500"/>
                  </a:cubicBezTo>
                  <a:lnTo>
                    <a:pt x="240000" y="217500"/>
                  </a:lnTo>
                  <a:cubicBezTo>
                    <a:pt x="240000" y="229926"/>
                    <a:pt x="229926" y="240000"/>
                    <a:pt x="217500" y="240000"/>
                  </a:cubicBezTo>
                  <a:lnTo>
                    <a:pt x="157500" y="240000"/>
                  </a:lnTo>
                  <a:cubicBezTo>
                    <a:pt x="145074" y="240000"/>
                    <a:pt x="135000" y="229926"/>
                    <a:pt x="135000" y="217500"/>
                  </a:cubicBezTo>
                  <a:lnTo>
                    <a:pt x="135000" y="157500"/>
                  </a:lnTo>
                  <a:cubicBezTo>
                    <a:pt x="135000" y="145074"/>
                    <a:pt x="145074" y="135000"/>
                    <a:pt x="157500" y="13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04" name="Рисунок 323">
            <a:extLst>
              <a:ext uri="{FF2B5EF4-FFF2-40B4-BE49-F238E27FC236}">
                <a16:creationId xmlns:a16="http://schemas.microsoft.com/office/drawing/2014/main" id="{CF8EC0DC-6D49-F145-8591-184FFCDF3309}"/>
              </a:ext>
            </a:extLst>
          </p:cNvPr>
          <p:cNvGrpSpPr/>
          <p:nvPr/>
        </p:nvGrpSpPr>
        <p:grpSpPr>
          <a:xfrm>
            <a:off x="9723467" y="2442261"/>
            <a:ext cx="360000" cy="360000"/>
            <a:chOff x="9756920" y="2758983"/>
            <a:chExt cx="360000" cy="360000"/>
          </a:xfrm>
        </p:grpSpPr>
        <p:sp>
          <p:nvSpPr>
            <p:cNvPr id="1405" name="Полилиния 1404">
              <a:extLst>
                <a:ext uri="{FF2B5EF4-FFF2-40B4-BE49-F238E27FC236}">
                  <a16:creationId xmlns:a16="http://schemas.microsoft.com/office/drawing/2014/main" id="{70C3679E-0CA0-A64A-911A-B4B44D264B18}"/>
                </a:ext>
              </a:extLst>
            </p:cNvPr>
            <p:cNvSpPr/>
            <p:nvPr/>
          </p:nvSpPr>
          <p:spPr>
            <a:xfrm>
              <a:off x="9756920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6" name="Полилиния 1405">
              <a:extLst>
                <a:ext uri="{FF2B5EF4-FFF2-40B4-BE49-F238E27FC236}">
                  <a16:creationId xmlns:a16="http://schemas.microsoft.com/office/drawing/2014/main" id="{7BB76331-B98B-A049-97A2-8D5D3444AAEC}"/>
                </a:ext>
              </a:extLst>
            </p:cNvPr>
            <p:cNvSpPr/>
            <p:nvPr/>
          </p:nvSpPr>
          <p:spPr>
            <a:xfrm>
              <a:off x="9816920" y="2818983"/>
              <a:ext cx="240000" cy="240000"/>
            </a:xfrm>
            <a:custGeom>
              <a:avLst/>
              <a:gdLst>
                <a:gd name="connsiteX0" fmla="*/ 22500 w 240000"/>
                <a:gd name="connsiteY0" fmla="*/ 0 h 240000"/>
                <a:gd name="connsiteX1" fmla="*/ 82500 w 240000"/>
                <a:gd name="connsiteY1" fmla="*/ 0 h 240000"/>
                <a:gd name="connsiteX2" fmla="*/ 105000 w 240000"/>
                <a:gd name="connsiteY2" fmla="*/ 22500 h 240000"/>
                <a:gd name="connsiteX3" fmla="*/ 105000 w 240000"/>
                <a:gd name="connsiteY3" fmla="*/ 37500 h 240000"/>
                <a:gd name="connsiteX4" fmla="*/ 82500 w 240000"/>
                <a:gd name="connsiteY4" fmla="*/ 60000 h 240000"/>
                <a:gd name="connsiteX5" fmla="*/ 22500 w 240000"/>
                <a:gd name="connsiteY5" fmla="*/ 60000 h 240000"/>
                <a:gd name="connsiteX6" fmla="*/ 0 w 240000"/>
                <a:gd name="connsiteY6" fmla="*/ 37500 h 240000"/>
                <a:gd name="connsiteX7" fmla="*/ 0 w 240000"/>
                <a:gd name="connsiteY7" fmla="*/ 22500 h 240000"/>
                <a:gd name="connsiteX8" fmla="*/ 22500 w 240000"/>
                <a:gd name="connsiteY8" fmla="*/ 0 h 240000"/>
                <a:gd name="connsiteX9" fmla="*/ 157500 w 240000"/>
                <a:gd name="connsiteY9" fmla="*/ 180000 h 240000"/>
                <a:gd name="connsiteX10" fmla="*/ 217500 w 240000"/>
                <a:gd name="connsiteY10" fmla="*/ 180000 h 240000"/>
                <a:gd name="connsiteX11" fmla="*/ 240000 w 240000"/>
                <a:gd name="connsiteY11" fmla="*/ 202500 h 240000"/>
                <a:gd name="connsiteX12" fmla="*/ 240000 w 240000"/>
                <a:gd name="connsiteY12" fmla="*/ 217500 h 240000"/>
                <a:gd name="connsiteX13" fmla="*/ 217500 w 240000"/>
                <a:gd name="connsiteY13" fmla="*/ 240000 h 240000"/>
                <a:gd name="connsiteX14" fmla="*/ 157500 w 240000"/>
                <a:gd name="connsiteY14" fmla="*/ 240000 h 240000"/>
                <a:gd name="connsiteX15" fmla="*/ 135000 w 240000"/>
                <a:gd name="connsiteY15" fmla="*/ 217500 h 240000"/>
                <a:gd name="connsiteX16" fmla="*/ 135000 w 240000"/>
                <a:gd name="connsiteY16" fmla="*/ 202500 h 240000"/>
                <a:gd name="connsiteX17" fmla="*/ 157500 w 240000"/>
                <a:gd name="connsiteY17" fmla="*/ 18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000" h="240000">
                  <a:moveTo>
                    <a:pt x="22500" y="0"/>
                  </a:moveTo>
                  <a:lnTo>
                    <a:pt x="82500" y="0"/>
                  </a:lnTo>
                  <a:cubicBezTo>
                    <a:pt x="94926" y="0"/>
                    <a:pt x="105000" y="10074"/>
                    <a:pt x="105000" y="22500"/>
                  </a:cubicBezTo>
                  <a:lnTo>
                    <a:pt x="105000" y="37500"/>
                  </a:lnTo>
                  <a:cubicBezTo>
                    <a:pt x="105000" y="49926"/>
                    <a:pt x="94926" y="60000"/>
                    <a:pt x="82500" y="60000"/>
                  </a:cubicBezTo>
                  <a:lnTo>
                    <a:pt x="22500" y="60000"/>
                  </a:lnTo>
                  <a:cubicBezTo>
                    <a:pt x="10074" y="60000"/>
                    <a:pt x="0" y="49926"/>
                    <a:pt x="0" y="37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157500" y="180000"/>
                  </a:moveTo>
                  <a:lnTo>
                    <a:pt x="217500" y="180000"/>
                  </a:lnTo>
                  <a:cubicBezTo>
                    <a:pt x="229926" y="180000"/>
                    <a:pt x="240000" y="190074"/>
                    <a:pt x="240000" y="202500"/>
                  </a:cubicBezTo>
                  <a:lnTo>
                    <a:pt x="240000" y="217500"/>
                  </a:lnTo>
                  <a:cubicBezTo>
                    <a:pt x="240000" y="229926"/>
                    <a:pt x="229926" y="240000"/>
                    <a:pt x="217500" y="240000"/>
                  </a:cubicBezTo>
                  <a:lnTo>
                    <a:pt x="157500" y="240000"/>
                  </a:lnTo>
                  <a:cubicBezTo>
                    <a:pt x="145074" y="240000"/>
                    <a:pt x="135000" y="229926"/>
                    <a:pt x="135000" y="217500"/>
                  </a:cubicBezTo>
                  <a:lnTo>
                    <a:pt x="135000" y="202500"/>
                  </a:lnTo>
                  <a:cubicBezTo>
                    <a:pt x="135000" y="190074"/>
                    <a:pt x="145074" y="180000"/>
                    <a:pt x="157500" y="18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7" name="Полилиния 1406">
              <a:extLst>
                <a:ext uri="{FF2B5EF4-FFF2-40B4-BE49-F238E27FC236}">
                  <a16:creationId xmlns:a16="http://schemas.microsoft.com/office/drawing/2014/main" id="{81DBD7EE-ABBC-2949-8842-188F6B10F6E4}"/>
                </a:ext>
              </a:extLst>
            </p:cNvPr>
            <p:cNvSpPr/>
            <p:nvPr/>
          </p:nvSpPr>
          <p:spPr>
            <a:xfrm>
              <a:off x="9816920" y="2818983"/>
              <a:ext cx="240000" cy="240000"/>
            </a:xfrm>
            <a:custGeom>
              <a:avLst/>
              <a:gdLst>
                <a:gd name="connsiteX0" fmla="*/ 22500 w 240000"/>
                <a:gd name="connsiteY0" fmla="*/ 90000 h 240000"/>
                <a:gd name="connsiteX1" fmla="*/ 82500 w 240000"/>
                <a:gd name="connsiteY1" fmla="*/ 90000 h 240000"/>
                <a:gd name="connsiteX2" fmla="*/ 105000 w 240000"/>
                <a:gd name="connsiteY2" fmla="*/ 112500 h 240000"/>
                <a:gd name="connsiteX3" fmla="*/ 105000 w 240000"/>
                <a:gd name="connsiteY3" fmla="*/ 217500 h 240000"/>
                <a:gd name="connsiteX4" fmla="*/ 82500 w 240000"/>
                <a:gd name="connsiteY4" fmla="*/ 240000 h 240000"/>
                <a:gd name="connsiteX5" fmla="*/ 22500 w 240000"/>
                <a:gd name="connsiteY5" fmla="*/ 240000 h 240000"/>
                <a:gd name="connsiteX6" fmla="*/ 0 w 240000"/>
                <a:gd name="connsiteY6" fmla="*/ 217500 h 240000"/>
                <a:gd name="connsiteX7" fmla="*/ 0 w 240000"/>
                <a:gd name="connsiteY7" fmla="*/ 112500 h 240000"/>
                <a:gd name="connsiteX8" fmla="*/ 22500 w 240000"/>
                <a:gd name="connsiteY8" fmla="*/ 90000 h 240000"/>
                <a:gd name="connsiteX9" fmla="*/ 157500 w 240000"/>
                <a:gd name="connsiteY9" fmla="*/ 0 h 240000"/>
                <a:gd name="connsiteX10" fmla="*/ 217500 w 240000"/>
                <a:gd name="connsiteY10" fmla="*/ 0 h 240000"/>
                <a:gd name="connsiteX11" fmla="*/ 240000 w 240000"/>
                <a:gd name="connsiteY11" fmla="*/ 22500 h 240000"/>
                <a:gd name="connsiteX12" fmla="*/ 240000 w 240000"/>
                <a:gd name="connsiteY12" fmla="*/ 127500 h 240000"/>
                <a:gd name="connsiteX13" fmla="*/ 217500 w 240000"/>
                <a:gd name="connsiteY13" fmla="*/ 150000 h 240000"/>
                <a:gd name="connsiteX14" fmla="*/ 157500 w 240000"/>
                <a:gd name="connsiteY14" fmla="*/ 150000 h 240000"/>
                <a:gd name="connsiteX15" fmla="*/ 135000 w 240000"/>
                <a:gd name="connsiteY15" fmla="*/ 127500 h 240000"/>
                <a:gd name="connsiteX16" fmla="*/ 135000 w 240000"/>
                <a:gd name="connsiteY16" fmla="*/ 22500 h 240000"/>
                <a:gd name="connsiteX17" fmla="*/ 157500 w 240000"/>
                <a:gd name="connsiteY17" fmla="*/ 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000" h="240000">
                  <a:moveTo>
                    <a:pt x="22500" y="90000"/>
                  </a:moveTo>
                  <a:lnTo>
                    <a:pt x="82500" y="90000"/>
                  </a:lnTo>
                  <a:cubicBezTo>
                    <a:pt x="94926" y="90000"/>
                    <a:pt x="105000" y="100074"/>
                    <a:pt x="105000" y="112500"/>
                  </a:cubicBezTo>
                  <a:lnTo>
                    <a:pt x="105000" y="217500"/>
                  </a:lnTo>
                  <a:cubicBezTo>
                    <a:pt x="105000" y="229926"/>
                    <a:pt x="94926" y="240000"/>
                    <a:pt x="82500" y="240000"/>
                  </a:cubicBezTo>
                  <a:lnTo>
                    <a:pt x="22500" y="240000"/>
                  </a:lnTo>
                  <a:cubicBezTo>
                    <a:pt x="10074" y="240000"/>
                    <a:pt x="0" y="229926"/>
                    <a:pt x="0" y="217500"/>
                  </a:cubicBezTo>
                  <a:lnTo>
                    <a:pt x="0" y="112500"/>
                  </a:lnTo>
                  <a:cubicBezTo>
                    <a:pt x="0" y="100074"/>
                    <a:pt x="10074" y="90000"/>
                    <a:pt x="22500" y="90000"/>
                  </a:cubicBezTo>
                  <a:close/>
                  <a:moveTo>
                    <a:pt x="157500" y="0"/>
                  </a:moveTo>
                  <a:lnTo>
                    <a:pt x="217500" y="0"/>
                  </a:lnTo>
                  <a:cubicBezTo>
                    <a:pt x="229926" y="0"/>
                    <a:pt x="240000" y="10074"/>
                    <a:pt x="240000" y="22500"/>
                  </a:cubicBezTo>
                  <a:lnTo>
                    <a:pt x="240000" y="127500"/>
                  </a:lnTo>
                  <a:cubicBezTo>
                    <a:pt x="240000" y="139926"/>
                    <a:pt x="229926" y="150000"/>
                    <a:pt x="217500" y="150000"/>
                  </a:cubicBezTo>
                  <a:lnTo>
                    <a:pt x="157500" y="150000"/>
                  </a:lnTo>
                  <a:cubicBezTo>
                    <a:pt x="145074" y="150000"/>
                    <a:pt x="135000" y="139926"/>
                    <a:pt x="135000" y="127500"/>
                  </a:cubicBezTo>
                  <a:lnTo>
                    <a:pt x="135000" y="22500"/>
                  </a:lnTo>
                  <a:cubicBezTo>
                    <a:pt x="135000" y="10074"/>
                    <a:pt x="145074" y="0"/>
                    <a:pt x="15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08" name="Рисунок 324">
            <a:extLst>
              <a:ext uri="{FF2B5EF4-FFF2-40B4-BE49-F238E27FC236}">
                <a16:creationId xmlns:a16="http://schemas.microsoft.com/office/drawing/2014/main" id="{C4068192-03FD-384E-86F8-5D9C00868321}"/>
              </a:ext>
            </a:extLst>
          </p:cNvPr>
          <p:cNvGrpSpPr/>
          <p:nvPr/>
        </p:nvGrpSpPr>
        <p:grpSpPr>
          <a:xfrm>
            <a:off x="7458068" y="2442261"/>
            <a:ext cx="360000" cy="360000"/>
            <a:chOff x="7491521" y="2758983"/>
            <a:chExt cx="360000" cy="360000"/>
          </a:xfrm>
        </p:grpSpPr>
        <p:sp>
          <p:nvSpPr>
            <p:cNvPr id="1409" name="Полилиния 1408">
              <a:extLst>
                <a:ext uri="{FF2B5EF4-FFF2-40B4-BE49-F238E27FC236}">
                  <a16:creationId xmlns:a16="http://schemas.microsoft.com/office/drawing/2014/main" id="{04E67685-C04B-BD48-9CEB-41C46EFEEA00}"/>
                </a:ext>
              </a:extLst>
            </p:cNvPr>
            <p:cNvSpPr/>
            <p:nvPr/>
          </p:nvSpPr>
          <p:spPr>
            <a:xfrm>
              <a:off x="7491521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0" name="Скругленный прямоугольник 1409">
              <a:extLst>
                <a:ext uri="{FF2B5EF4-FFF2-40B4-BE49-F238E27FC236}">
                  <a16:creationId xmlns:a16="http://schemas.microsoft.com/office/drawing/2014/main" id="{25389824-3BC9-154B-A935-0E2CC0D2A73E}"/>
                </a:ext>
              </a:extLst>
            </p:cNvPr>
            <p:cNvSpPr/>
            <p:nvPr/>
          </p:nvSpPr>
          <p:spPr>
            <a:xfrm>
              <a:off x="7551521" y="2818983"/>
              <a:ext cx="60000" cy="6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1" name="Полилиния 1410">
              <a:extLst>
                <a:ext uri="{FF2B5EF4-FFF2-40B4-BE49-F238E27FC236}">
                  <a16:creationId xmlns:a16="http://schemas.microsoft.com/office/drawing/2014/main" id="{82CBDAEB-3235-C04D-B437-1C5F227C56DC}"/>
                </a:ext>
              </a:extLst>
            </p:cNvPr>
            <p:cNvSpPr/>
            <p:nvPr/>
          </p:nvSpPr>
          <p:spPr>
            <a:xfrm>
              <a:off x="7551521" y="2818983"/>
              <a:ext cx="240000" cy="240000"/>
            </a:xfrm>
            <a:custGeom>
              <a:avLst/>
              <a:gdLst>
                <a:gd name="connsiteX0" fmla="*/ 15000 w 240000"/>
                <a:gd name="connsiteY0" fmla="*/ 90000 h 240000"/>
                <a:gd name="connsiteX1" fmla="*/ 45000 w 240000"/>
                <a:gd name="connsiteY1" fmla="*/ 90000 h 240000"/>
                <a:gd name="connsiteX2" fmla="*/ 60000 w 240000"/>
                <a:gd name="connsiteY2" fmla="*/ 105000 h 240000"/>
                <a:gd name="connsiteX3" fmla="*/ 60000 w 240000"/>
                <a:gd name="connsiteY3" fmla="*/ 135000 h 240000"/>
                <a:gd name="connsiteX4" fmla="*/ 45000 w 240000"/>
                <a:gd name="connsiteY4" fmla="*/ 150000 h 240000"/>
                <a:gd name="connsiteX5" fmla="*/ 15000 w 240000"/>
                <a:gd name="connsiteY5" fmla="*/ 150000 h 240000"/>
                <a:gd name="connsiteX6" fmla="*/ 0 w 240000"/>
                <a:gd name="connsiteY6" fmla="*/ 135000 h 240000"/>
                <a:gd name="connsiteX7" fmla="*/ 0 w 240000"/>
                <a:gd name="connsiteY7" fmla="*/ 105000 h 240000"/>
                <a:gd name="connsiteX8" fmla="*/ 15000 w 240000"/>
                <a:gd name="connsiteY8" fmla="*/ 90000 h 240000"/>
                <a:gd name="connsiteX9" fmla="*/ 105000 w 240000"/>
                <a:gd name="connsiteY9" fmla="*/ 0 h 240000"/>
                <a:gd name="connsiteX10" fmla="*/ 135000 w 240000"/>
                <a:gd name="connsiteY10" fmla="*/ 0 h 240000"/>
                <a:gd name="connsiteX11" fmla="*/ 150000 w 240000"/>
                <a:gd name="connsiteY11" fmla="*/ 15000 h 240000"/>
                <a:gd name="connsiteX12" fmla="*/ 150000 w 240000"/>
                <a:gd name="connsiteY12" fmla="*/ 45000 h 240000"/>
                <a:gd name="connsiteX13" fmla="*/ 135000 w 240000"/>
                <a:gd name="connsiteY13" fmla="*/ 60000 h 240000"/>
                <a:gd name="connsiteX14" fmla="*/ 105000 w 240000"/>
                <a:gd name="connsiteY14" fmla="*/ 60000 h 240000"/>
                <a:gd name="connsiteX15" fmla="*/ 90000 w 240000"/>
                <a:gd name="connsiteY15" fmla="*/ 45000 h 240000"/>
                <a:gd name="connsiteX16" fmla="*/ 90000 w 240000"/>
                <a:gd name="connsiteY16" fmla="*/ 15000 h 240000"/>
                <a:gd name="connsiteX17" fmla="*/ 105000 w 240000"/>
                <a:gd name="connsiteY17" fmla="*/ 0 h 240000"/>
                <a:gd name="connsiteX18" fmla="*/ 105000 w 240000"/>
                <a:gd name="connsiteY18" fmla="*/ 90000 h 240000"/>
                <a:gd name="connsiteX19" fmla="*/ 135000 w 240000"/>
                <a:gd name="connsiteY19" fmla="*/ 90000 h 240000"/>
                <a:gd name="connsiteX20" fmla="*/ 150000 w 240000"/>
                <a:gd name="connsiteY20" fmla="*/ 105000 h 240000"/>
                <a:gd name="connsiteX21" fmla="*/ 150000 w 240000"/>
                <a:gd name="connsiteY21" fmla="*/ 135000 h 240000"/>
                <a:gd name="connsiteX22" fmla="*/ 135000 w 240000"/>
                <a:gd name="connsiteY22" fmla="*/ 150000 h 240000"/>
                <a:gd name="connsiteX23" fmla="*/ 105000 w 240000"/>
                <a:gd name="connsiteY23" fmla="*/ 150000 h 240000"/>
                <a:gd name="connsiteX24" fmla="*/ 90000 w 240000"/>
                <a:gd name="connsiteY24" fmla="*/ 135000 h 240000"/>
                <a:gd name="connsiteX25" fmla="*/ 90000 w 240000"/>
                <a:gd name="connsiteY25" fmla="*/ 105000 h 240000"/>
                <a:gd name="connsiteX26" fmla="*/ 105000 w 240000"/>
                <a:gd name="connsiteY26" fmla="*/ 90000 h 240000"/>
                <a:gd name="connsiteX27" fmla="*/ 195000 w 240000"/>
                <a:gd name="connsiteY27" fmla="*/ 0 h 240000"/>
                <a:gd name="connsiteX28" fmla="*/ 225000 w 240000"/>
                <a:gd name="connsiteY28" fmla="*/ 0 h 240000"/>
                <a:gd name="connsiteX29" fmla="*/ 240000 w 240000"/>
                <a:gd name="connsiteY29" fmla="*/ 15000 h 240000"/>
                <a:gd name="connsiteX30" fmla="*/ 240000 w 240000"/>
                <a:gd name="connsiteY30" fmla="*/ 45000 h 240000"/>
                <a:gd name="connsiteX31" fmla="*/ 225000 w 240000"/>
                <a:gd name="connsiteY31" fmla="*/ 60000 h 240000"/>
                <a:gd name="connsiteX32" fmla="*/ 195000 w 240000"/>
                <a:gd name="connsiteY32" fmla="*/ 60000 h 240000"/>
                <a:gd name="connsiteX33" fmla="*/ 180000 w 240000"/>
                <a:gd name="connsiteY33" fmla="*/ 45000 h 240000"/>
                <a:gd name="connsiteX34" fmla="*/ 180000 w 240000"/>
                <a:gd name="connsiteY34" fmla="*/ 15000 h 240000"/>
                <a:gd name="connsiteX35" fmla="*/ 195000 w 240000"/>
                <a:gd name="connsiteY35" fmla="*/ 0 h 240000"/>
                <a:gd name="connsiteX36" fmla="*/ 195000 w 240000"/>
                <a:gd name="connsiteY36" fmla="*/ 90000 h 240000"/>
                <a:gd name="connsiteX37" fmla="*/ 225000 w 240000"/>
                <a:gd name="connsiteY37" fmla="*/ 90000 h 240000"/>
                <a:gd name="connsiteX38" fmla="*/ 240000 w 240000"/>
                <a:gd name="connsiteY38" fmla="*/ 105000 h 240000"/>
                <a:gd name="connsiteX39" fmla="*/ 240000 w 240000"/>
                <a:gd name="connsiteY39" fmla="*/ 135000 h 240000"/>
                <a:gd name="connsiteX40" fmla="*/ 225000 w 240000"/>
                <a:gd name="connsiteY40" fmla="*/ 150000 h 240000"/>
                <a:gd name="connsiteX41" fmla="*/ 195000 w 240000"/>
                <a:gd name="connsiteY41" fmla="*/ 150000 h 240000"/>
                <a:gd name="connsiteX42" fmla="*/ 180000 w 240000"/>
                <a:gd name="connsiteY42" fmla="*/ 135000 h 240000"/>
                <a:gd name="connsiteX43" fmla="*/ 180000 w 240000"/>
                <a:gd name="connsiteY43" fmla="*/ 105000 h 240000"/>
                <a:gd name="connsiteX44" fmla="*/ 195000 w 240000"/>
                <a:gd name="connsiteY44" fmla="*/ 90000 h 240000"/>
                <a:gd name="connsiteX45" fmla="*/ 15000 w 240000"/>
                <a:gd name="connsiteY45" fmla="*/ 180000 h 240000"/>
                <a:gd name="connsiteX46" fmla="*/ 45000 w 240000"/>
                <a:gd name="connsiteY46" fmla="*/ 180000 h 240000"/>
                <a:gd name="connsiteX47" fmla="*/ 60000 w 240000"/>
                <a:gd name="connsiteY47" fmla="*/ 195000 h 240000"/>
                <a:gd name="connsiteX48" fmla="*/ 60000 w 240000"/>
                <a:gd name="connsiteY48" fmla="*/ 225000 h 240000"/>
                <a:gd name="connsiteX49" fmla="*/ 45000 w 240000"/>
                <a:gd name="connsiteY49" fmla="*/ 240000 h 240000"/>
                <a:gd name="connsiteX50" fmla="*/ 15000 w 240000"/>
                <a:gd name="connsiteY50" fmla="*/ 240000 h 240000"/>
                <a:gd name="connsiteX51" fmla="*/ 0 w 240000"/>
                <a:gd name="connsiteY51" fmla="*/ 225000 h 240000"/>
                <a:gd name="connsiteX52" fmla="*/ 0 w 240000"/>
                <a:gd name="connsiteY52" fmla="*/ 195000 h 240000"/>
                <a:gd name="connsiteX53" fmla="*/ 15000 w 240000"/>
                <a:gd name="connsiteY53" fmla="*/ 180000 h 240000"/>
                <a:gd name="connsiteX54" fmla="*/ 105000 w 240000"/>
                <a:gd name="connsiteY54" fmla="*/ 180000 h 240000"/>
                <a:gd name="connsiteX55" fmla="*/ 135000 w 240000"/>
                <a:gd name="connsiteY55" fmla="*/ 180000 h 240000"/>
                <a:gd name="connsiteX56" fmla="*/ 150000 w 240000"/>
                <a:gd name="connsiteY56" fmla="*/ 195000 h 240000"/>
                <a:gd name="connsiteX57" fmla="*/ 150000 w 240000"/>
                <a:gd name="connsiteY57" fmla="*/ 225000 h 240000"/>
                <a:gd name="connsiteX58" fmla="*/ 135000 w 240000"/>
                <a:gd name="connsiteY58" fmla="*/ 240000 h 240000"/>
                <a:gd name="connsiteX59" fmla="*/ 105000 w 240000"/>
                <a:gd name="connsiteY59" fmla="*/ 240000 h 240000"/>
                <a:gd name="connsiteX60" fmla="*/ 90000 w 240000"/>
                <a:gd name="connsiteY60" fmla="*/ 225000 h 240000"/>
                <a:gd name="connsiteX61" fmla="*/ 90000 w 240000"/>
                <a:gd name="connsiteY61" fmla="*/ 195000 h 240000"/>
                <a:gd name="connsiteX62" fmla="*/ 105000 w 240000"/>
                <a:gd name="connsiteY62" fmla="*/ 180000 h 240000"/>
                <a:gd name="connsiteX63" fmla="*/ 195000 w 240000"/>
                <a:gd name="connsiteY63" fmla="*/ 180000 h 240000"/>
                <a:gd name="connsiteX64" fmla="*/ 225000 w 240000"/>
                <a:gd name="connsiteY64" fmla="*/ 180000 h 240000"/>
                <a:gd name="connsiteX65" fmla="*/ 240000 w 240000"/>
                <a:gd name="connsiteY65" fmla="*/ 195000 h 240000"/>
                <a:gd name="connsiteX66" fmla="*/ 240000 w 240000"/>
                <a:gd name="connsiteY66" fmla="*/ 225000 h 240000"/>
                <a:gd name="connsiteX67" fmla="*/ 225000 w 240000"/>
                <a:gd name="connsiteY67" fmla="*/ 240000 h 240000"/>
                <a:gd name="connsiteX68" fmla="*/ 195000 w 240000"/>
                <a:gd name="connsiteY68" fmla="*/ 240000 h 240000"/>
                <a:gd name="connsiteX69" fmla="*/ 180000 w 240000"/>
                <a:gd name="connsiteY69" fmla="*/ 225000 h 240000"/>
                <a:gd name="connsiteX70" fmla="*/ 180000 w 240000"/>
                <a:gd name="connsiteY70" fmla="*/ 195000 h 240000"/>
                <a:gd name="connsiteX71" fmla="*/ 195000 w 240000"/>
                <a:gd name="connsiteY71" fmla="*/ 18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40000" h="240000">
                  <a:moveTo>
                    <a:pt x="15000" y="90000"/>
                  </a:moveTo>
                  <a:lnTo>
                    <a:pt x="45000" y="90000"/>
                  </a:lnTo>
                  <a:cubicBezTo>
                    <a:pt x="53284" y="90000"/>
                    <a:pt x="60000" y="96715"/>
                    <a:pt x="60000" y="105000"/>
                  </a:cubicBezTo>
                  <a:lnTo>
                    <a:pt x="60000" y="135000"/>
                  </a:lnTo>
                  <a:cubicBezTo>
                    <a:pt x="60000" y="143285"/>
                    <a:pt x="53284" y="150000"/>
                    <a:pt x="45000" y="150000"/>
                  </a:cubicBez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lnTo>
                    <a:pt x="0" y="105000"/>
                  </a:lnTo>
                  <a:cubicBezTo>
                    <a:pt x="0" y="96715"/>
                    <a:pt x="6716" y="90000"/>
                    <a:pt x="15000" y="90000"/>
                  </a:cubicBezTo>
                  <a:close/>
                  <a:moveTo>
                    <a:pt x="105000" y="0"/>
                  </a:moveTo>
                  <a:lnTo>
                    <a:pt x="135000" y="0"/>
                  </a:lnTo>
                  <a:cubicBezTo>
                    <a:pt x="143285" y="0"/>
                    <a:pt x="150000" y="6716"/>
                    <a:pt x="150000" y="15000"/>
                  </a:cubicBezTo>
                  <a:lnTo>
                    <a:pt x="150000" y="45000"/>
                  </a:lnTo>
                  <a:cubicBezTo>
                    <a:pt x="150000" y="53284"/>
                    <a:pt x="143285" y="60000"/>
                    <a:pt x="135000" y="60000"/>
                  </a:cubicBezTo>
                  <a:lnTo>
                    <a:pt x="105000" y="60000"/>
                  </a:lnTo>
                  <a:cubicBezTo>
                    <a:pt x="96715" y="60000"/>
                    <a:pt x="90000" y="53284"/>
                    <a:pt x="90000" y="45000"/>
                  </a:cubicBezTo>
                  <a:lnTo>
                    <a:pt x="90000" y="15000"/>
                  </a:lnTo>
                  <a:cubicBezTo>
                    <a:pt x="90000" y="6716"/>
                    <a:pt x="96715" y="0"/>
                    <a:pt x="105000" y="0"/>
                  </a:cubicBezTo>
                  <a:close/>
                  <a:moveTo>
                    <a:pt x="105000" y="90000"/>
                  </a:moveTo>
                  <a:lnTo>
                    <a:pt x="135000" y="90000"/>
                  </a:lnTo>
                  <a:cubicBezTo>
                    <a:pt x="143285" y="90000"/>
                    <a:pt x="150000" y="96715"/>
                    <a:pt x="150000" y="105000"/>
                  </a:cubicBezTo>
                  <a:lnTo>
                    <a:pt x="150000" y="135000"/>
                  </a:lnTo>
                  <a:cubicBezTo>
                    <a:pt x="150000" y="143285"/>
                    <a:pt x="143285" y="150000"/>
                    <a:pt x="135000" y="150000"/>
                  </a:cubicBezTo>
                  <a:lnTo>
                    <a:pt x="105000" y="150000"/>
                  </a:lnTo>
                  <a:cubicBezTo>
                    <a:pt x="96715" y="150000"/>
                    <a:pt x="90000" y="143285"/>
                    <a:pt x="90000" y="135000"/>
                  </a:cubicBezTo>
                  <a:lnTo>
                    <a:pt x="90000" y="105000"/>
                  </a:lnTo>
                  <a:cubicBezTo>
                    <a:pt x="90000" y="96715"/>
                    <a:pt x="96715" y="90000"/>
                    <a:pt x="105000" y="90000"/>
                  </a:cubicBezTo>
                  <a:close/>
                  <a:moveTo>
                    <a:pt x="195000" y="0"/>
                  </a:moveTo>
                  <a:lnTo>
                    <a:pt x="225000" y="0"/>
                  </a:lnTo>
                  <a:cubicBezTo>
                    <a:pt x="233285" y="0"/>
                    <a:pt x="240000" y="6716"/>
                    <a:pt x="240000" y="15000"/>
                  </a:cubicBezTo>
                  <a:lnTo>
                    <a:pt x="240000" y="45000"/>
                  </a:lnTo>
                  <a:cubicBezTo>
                    <a:pt x="240000" y="53284"/>
                    <a:pt x="233285" y="60000"/>
                    <a:pt x="225000" y="60000"/>
                  </a:cubicBezTo>
                  <a:lnTo>
                    <a:pt x="195000" y="60000"/>
                  </a:lnTo>
                  <a:cubicBezTo>
                    <a:pt x="186716" y="60000"/>
                    <a:pt x="180000" y="53284"/>
                    <a:pt x="180000" y="45000"/>
                  </a:cubicBezTo>
                  <a:lnTo>
                    <a:pt x="180000" y="15000"/>
                  </a:lnTo>
                  <a:cubicBezTo>
                    <a:pt x="180000" y="6716"/>
                    <a:pt x="186716" y="0"/>
                    <a:pt x="195000" y="0"/>
                  </a:cubicBezTo>
                  <a:close/>
                  <a:moveTo>
                    <a:pt x="195000" y="90000"/>
                  </a:moveTo>
                  <a:lnTo>
                    <a:pt x="225000" y="90000"/>
                  </a:lnTo>
                  <a:cubicBezTo>
                    <a:pt x="233285" y="90000"/>
                    <a:pt x="240000" y="96715"/>
                    <a:pt x="240000" y="105000"/>
                  </a:cubicBezTo>
                  <a:lnTo>
                    <a:pt x="240000" y="135000"/>
                  </a:lnTo>
                  <a:cubicBezTo>
                    <a:pt x="240000" y="143285"/>
                    <a:pt x="233285" y="150000"/>
                    <a:pt x="225000" y="150000"/>
                  </a:cubicBezTo>
                  <a:lnTo>
                    <a:pt x="195000" y="150000"/>
                  </a:lnTo>
                  <a:cubicBezTo>
                    <a:pt x="186716" y="150000"/>
                    <a:pt x="180000" y="143285"/>
                    <a:pt x="180000" y="135000"/>
                  </a:cubicBezTo>
                  <a:lnTo>
                    <a:pt x="180000" y="105000"/>
                  </a:lnTo>
                  <a:cubicBezTo>
                    <a:pt x="180000" y="96715"/>
                    <a:pt x="186716" y="90000"/>
                    <a:pt x="195000" y="90000"/>
                  </a:cubicBezTo>
                  <a:close/>
                  <a:moveTo>
                    <a:pt x="15000" y="180000"/>
                  </a:moveTo>
                  <a:lnTo>
                    <a:pt x="45000" y="180000"/>
                  </a:lnTo>
                  <a:cubicBezTo>
                    <a:pt x="53284" y="180000"/>
                    <a:pt x="60000" y="186716"/>
                    <a:pt x="60000" y="195000"/>
                  </a:cubicBezTo>
                  <a:lnTo>
                    <a:pt x="60000" y="225000"/>
                  </a:lnTo>
                  <a:cubicBezTo>
                    <a:pt x="60000" y="233285"/>
                    <a:pt x="53284" y="240000"/>
                    <a:pt x="45000" y="240000"/>
                  </a:cubicBezTo>
                  <a:lnTo>
                    <a:pt x="15000" y="240000"/>
                  </a:lnTo>
                  <a:cubicBezTo>
                    <a:pt x="6716" y="240000"/>
                    <a:pt x="0" y="233285"/>
                    <a:pt x="0" y="225000"/>
                  </a:cubicBezTo>
                  <a:lnTo>
                    <a:pt x="0" y="195000"/>
                  </a:lnTo>
                  <a:cubicBezTo>
                    <a:pt x="0" y="186716"/>
                    <a:pt x="6716" y="180000"/>
                    <a:pt x="15000" y="180000"/>
                  </a:cubicBezTo>
                  <a:close/>
                  <a:moveTo>
                    <a:pt x="105000" y="180000"/>
                  </a:moveTo>
                  <a:lnTo>
                    <a:pt x="135000" y="180000"/>
                  </a:lnTo>
                  <a:cubicBezTo>
                    <a:pt x="143285" y="180000"/>
                    <a:pt x="150000" y="186716"/>
                    <a:pt x="150000" y="195000"/>
                  </a:cubicBezTo>
                  <a:lnTo>
                    <a:pt x="150000" y="225000"/>
                  </a:lnTo>
                  <a:cubicBezTo>
                    <a:pt x="150000" y="233285"/>
                    <a:pt x="143285" y="240000"/>
                    <a:pt x="135000" y="240000"/>
                  </a:cubicBezTo>
                  <a:lnTo>
                    <a:pt x="105000" y="240000"/>
                  </a:lnTo>
                  <a:cubicBezTo>
                    <a:pt x="96715" y="240000"/>
                    <a:pt x="90000" y="233285"/>
                    <a:pt x="90000" y="225000"/>
                  </a:cubicBezTo>
                  <a:lnTo>
                    <a:pt x="90000" y="195000"/>
                  </a:lnTo>
                  <a:cubicBezTo>
                    <a:pt x="90000" y="186716"/>
                    <a:pt x="96715" y="180000"/>
                    <a:pt x="105000" y="180000"/>
                  </a:cubicBezTo>
                  <a:close/>
                  <a:moveTo>
                    <a:pt x="195000" y="180000"/>
                  </a:moveTo>
                  <a:lnTo>
                    <a:pt x="225000" y="180000"/>
                  </a:lnTo>
                  <a:cubicBezTo>
                    <a:pt x="233285" y="180000"/>
                    <a:pt x="240000" y="186716"/>
                    <a:pt x="240000" y="195000"/>
                  </a:cubicBezTo>
                  <a:lnTo>
                    <a:pt x="240000" y="225000"/>
                  </a:lnTo>
                  <a:cubicBezTo>
                    <a:pt x="240000" y="233285"/>
                    <a:pt x="233285" y="240000"/>
                    <a:pt x="225000" y="240000"/>
                  </a:cubicBezTo>
                  <a:lnTo>
                    <a:pt x="195000" y="240000"/>
                  </a:lnTo>
                  <a:cubicBezTo>
                    <a:pt x="186716" y="240000"/>
                    <a:pt x="180000" y="233285"/>
                    <a:pt x="180000" y="225000"/>
                  </a:cubicBezTo>
                  <a:lnTo>
                    <a:pt x="180000" y="195000"/>
                  </a:lnTo>
                  <a:cubicBezTo>
                    <a:pt x="180000" y="186716"/>
                    <a:pt x="186716" y="180000"/>
                    <a:pt x="195000" y="18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12" name="Рисунок 325">
            <a:extLst>
              <a:ext uri="{FF2B5EF4-FFF2-40B4-BE49-F238E27FC236}">
                <a16:creationId xmlns:a16="http://schemas.microsoft.com/office/drawing/2014/main" id="{3252C085-7247-E345-8C6E-CB1A6DF1BD3D}"/>
              </a:ext>
            </a:extLst>
          </p:cNvPr>
          <p:cNvGrpSpPr/>
          <p:nvPr/>
        </p:nvGrpSpPr>
        <p:grpSpPr>
          <a:xfrm>
            <a:off x="6702935" y="2442261"/>
            <a:ext cx="360000" cy="360000"/>
            <a:chOff x="6736388" y="2758983"/>
            <a:chExt cx="360000" cy="360000"/>
          </a:xfrm>
        </p:grpSpPr>
        <p:sp>
          <p:nvSpPr>
            <p:cNvPr id="1413" name="Полилиния 1412">
              <a:extLst>
                <a:ext uri="{FF2B5EF4-FFF2-40B4-BE49-F238E27FC236}">
                  <a16:creationId xmlns:a16="http://schemas.microsoft.com/office/drawing/2014/main" id="{DD86B3D4-54C9-3347-8DA4-45457A2667A5}"/>
                </a:ext>
              </a:extLst>
            </p:cNvPr>
            <p:cNvSpPr/>
            <p:nvPr/>
          </p:nvSpPr>
          <p:spPr>
            <a:xfrm>
              <a:off x="6736388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4" name="Скругленный прямоугольник 1413">
              <a:extLst>
                <a:ext uri="{FF2B5EF4-FFF2-40B4-BE49-F238E27FC236}">
                  <a16:creationId xmlns:a16="http://schemas.microsoft.com/office/drawing/2014/main" id="{D15665AA-0ED4-9C4C-89BC-1AB87C027F75}"/>
                </a:ext>
              </a:extLst>
            </p:cNvPr>
            <p:cNvSpPr/>
            <p:nvPr/>
          </p:nvSpPr>
          <p:spPr>
            <a:xfrm>
              <a:off x="6796388" y="2833983"/>
              <a:ext cx="240000" cy="9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5" name="Скругленный прямоугольник 1414">
              <a:extLst>
                <a:ext uri="{FF2B5EF4-FFF2-40B4-BE49-F238E27FC236}">
                  <a16:creationId xmlns:a16="http://schemas.microsoft.com/office/drawing/2014/main" id="{7238E174-AC6E-E048-B452-4E6887D01D56}"/>
                </a:ext>
              </a:extLst>
            </p:cNvPr>
            <p:cNvSpPr/>
            <p:nvPr/>
          </p:nvSpPr>
          <p:spPr>
            <a:xfrm>
              <a:off x="6796388" y="2953983"/>
              <a:ext cx="240000" cy="9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16" name="Рисунок 326">
            <a:extLst>
              <a:ext uri="{FF2B5EF4-FFF2-40B4-BE49-F238E27FC236}">
                <a16:creationId xmlns:a16="http://schemas.microsoft.com/office/drawing/2014/main" id="{0CCC3C84-96DE-AB43-A5C1-6071E028E73D}"/>
              </a:ext>
            </a:extLst>
          </p:cNvPr>
          <p:cNvGrpSpPr/>
          <p:nvPr/>
        </p:nvGrpSpPr>
        <p:grpSpPr>
          <a:xfrm>
            <a:off x="3682403" y="2442261"/>
            <a:ext cx="360000" cy="360000"/>
            <a:chOff x="3715856" y="2758983"/>
            <a:chExt cx="360000" cy="360000"/>
          </a:xfrm>
        </p:grpSpPr>
        <p:sp>
          <p:nvSpPr>
            <p:cNvPr id="1417" name="Полилиния 1416">
              <a:extLst>
                <a:ext uri="{FF2B5EF4-FFF2-40B4-BE49-F238E27FC236}">
                  <a16:creationId xmlns:a16="http://schemas.microsoft.com/office/drawing/2014/main" id="{7E92F748-45C5-C845-B774-10B1FE4E792C}"/>
                </a:ext>
              </a:extLst>
            </p:cNvPr>
            <p:cNvSpPr/>
            <p:nvPr/>
          </p:nvSpPr>
          <p:spPr>
            <a:xfrm>
              <a:off x="3715856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8" name="Скругленный прямоугольник 1417">
              <a:extLst>
                <a:ext uri="{FF2B5EF4-FFF2-40B4-BE49-F238E27FC236}">
                  <a16:creationId xmlns:a16="http://schemas.microsoft.com/office/drawing/2014/main" id="{AFDD8054-795D-254B-8EC5-C82C1D11CE69}"/>
                </a:ext>
              </a:extLst>
            </p:cNvPr>
            <p:cNvSpPr/>
            <p:nvPr/>
          </p:nvSpPr>
          <p:spPr>
            <a:xfrm>
              <a:off x="3850856" y="2833983"/>
              <a:ext cx="195000" cy="21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9" name="Скругленный прямоугольник 1418">
              <a:extLst>
                <a:ext uri="{FF2B5EF4-FFF2-40B4-BE49-F238E27FC236}">
                  <a16:creationId xmlns:a16="http://schemas.microsoft.com/office/drawing/2014/main" id="{5C0CD97C-9325-8D40-A26B-7CA58D92E600}"/>
                </a:ext>
              </a:extLst>
            </p:cNvPr>
            <p:cNvSpPr/>
            <p:nvPr/>
          </p:nvSpPr>
          <p:spPr>
            <a:xfrm>
              <a:off x="3745856" y="2833983"/>
              <a:ext cx="75000" cy="21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20" name="Рисунок 327">
            <a:extLst>
              <a:ext uri="{FF2B5EF4-FFF2-40B4-BE49-F238E27FC236}">
                <a16:creationId xmlns:a16="http://schemas.microsoft.com/office/drawing/2014/main" id="{9EFD98F4-C840-AC40-B87E-844180FCD126}"/>
              </a:ext>
            </a:extLst>
          </p:cNvPr>
          <p:cNvGrpSpPr/>
          <p:nvPr/>
        </p:nvGrpSpPr>
        <p:grpSpPr>
          <a:xfrm>
            <a:off x="2927270" y="2442261"/>
            <a:ext cx="360000" cy="360000"/>
            <a:chOff x="2960723" y="2758983"/>
            <a:chExt cx="360000" cy="360000"/>
          </a:xfrm>
        </p:grpSpPr>
        <p:sp>
          <p:nvSpPr>
            <p:cNvPr id="1421" name="Полилиния 1420">
              <a:extLst>
                <a:ext uri="{FF2B5EF4-FFF2-40B4-BE49-F238E27FC236}">
                  <a16:creationId xmlns:a16="http://schemas.microsoft.com/office/drawing/2014/main" id="{01F3C685-2735-E949-81C2-646EDAB00754}"/>
                </a:ext>
              </a:extLst>
            </p:cNvPr>
            <p:cNvSpPr/>
            <p:nvPr/>
          </p:nvSpPr>
          <p:spPr>
            <a:xfrm>
              <a:off x="2960723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2" name="Полилиния 1421">
              <a:extLst>
                <a:ext uri="{FF2B5EF4-FFF2-40B4-BE49-F238E27FC236}">
                  <a16:creationId xmlns:a16="http://schemas.microsoft.com/office/drawing/2014/main" id="{40BA144F-B1C1-4D4E-BEB7-89AEF0E339F3}"/>
                </a:ext>
              </a:extLst>
            </p:cNvPr>
            <p:cNvSpPr/>
            <p:nvPr/>
          </p:nvSpPr>
          <p:spPr>
            <a:xfrm>
              <a:off x="3095723" y="2818983"/>
              <a:ext cx="195000" cy="240000"/>
            </a:xfrm>
            <a:custGeom>
              <a:avLst/>
              <a:gdLst>
                <a:gd name="connsiteX0" fmla="*/ 15000 w 195000"/>
                <a:gd name="connsiteY0" fmla="*/ 0 h 240000"/>
                <a:gd name="connsiteX1" fmla="*/ 180000 w 195000"/>
                <a:gd name="connsiteY1" fmla="*/ 0 h 240000"/>
                <a:gd name="connsiteX2" fmla="*/ 195000 w 195000"/>
                <a:gd name="connsiteY2" fmla="*/ 15000 h 240000"/>
                <a:gd name="connsiteX3" fmla="*/ 195000 w 195000"/>
                <a:gd name="connsiteY3" fmla="*/ 45000 h 240000"/>
                <a:gd name="connsiteX4" fmla="*/ 180000 w 195000"/>
                <a:gd name="connsiteY4" fmla="*/ 60000 h 240000"/>
                <a:gd name="connsiteX5" fmla="*/ 15000 w 195000"/>
                <a:gd name="connsiteY5" fmla="*/ 60000 h 240000"/>
                <a:gd name="connsiteX6" fmla="*/ 0 w 195000"/>
                <a:gd name="connsiteY6" fmla="*/ 45000 h 240000"/>
                <a:gd name="connsiteX7" fmla="*/ 0 w 195000"/>
                <a:gd name="connsiteY7" fmla="*/ 15000 h 240000"/>
                <a:gd name="connsiteX8" fmla="*/ 15000 w 195000"/>
                <a:gd name="connsiteY8" fmla="*/ 0 h 240000"/>
                <a:gd name="connsiteX9" fmla="*/ 15000 w 195000"/>
                <a:gd name="connsiteY9" fmla="*/ 90000 h 240000"/>
                <a:gd name="connsiteX10" fmla="*/ 180000 w 195000"/>
                <a:gd name="connsiteY10" fmla="*/ 90000 h 240000"/>
                <a:gd name="connsiteX11" fmla="*/ 195000 w 195000"/>
                <a:gd name="connsiteY11" fmla="*/ 105000 h 240000"/>
                <a:gd name="connsiteX12" fmla="*/ 195000 w 195000"/>
                <a:gd name="connsiteY12" fmla="*/ 135000 h 240000"/>
                <a:gd name="connsiteX13" fmla="*/ 180000 w 195000"/>
                <a:gd name="connsiteY13" fmla="*/ 150000 h 240000"/>
                <a:gd name="connsiteX14" fmla="*/ 15000 w 195000"/>
                <a:gd name="connsiteY14" fmla="*/ 150000 h 240000"/>
                <a:gd name="connsiteX15" fmla="*/ 0 w 195000"/>
                <a:gd name="connsiteY15" fmla="*/ 135000 h 240000"/>
                <a:gd name="connsiteX16" fmla="*/ 0 w 195000"/>
                <a:gd name="connsiteY16" fmla="*/ 105000 h 240000"/>
                <a:gd name="connsiteX17" fmla="*/ 15000 w 195000"/>
                <a:gd name="connsiteY17" fmla="*/ 90000 h 240000"/>
                <a:gd name="connsiteX18" fmla="*/ 15000 w 195000"/>
                <a:gd name="connsiteY18" fmla="*/ 180000 h 240000"/>
                <a:gd name="connsiteX19" fmla="*/ 180000 w 195000"/>
                <a:gd name="connsiteY19" fmla="*/ 180000 h 240000"/>
                <a:gd name="connsiteX20" fmla="*/ 195000 w 195000"/>
                <a:gd name="connsiteY20" fmla="*/ 195000 h 240000"/>
                <a:gd name="connsiteX21" fmla="*/ 195000 w 195000"/>
                <a:gd name="connsiteY21" fmla="*/ 225000 h 240000"/>
                <a:gd name="connsiteX22" fmla="*/ 180000 w 195000"/>
                <a:gd name="connsiteY22" fmla="*/ 240000 h 240000"/>
                <a:gd name="connsiteX23" fmla="*/ 15000 w 195000"/>
                <a:gd name="connsiteY23" fmla="*/ 240000 h 240000"/>
                <a:gd name="connsiteX24" fmla="*/ 0 w 195000"/>
                <a:gd name="connsiteY24" fmla="*/ 225000 h 240000"/>
                <a:gd name="connsiteX25" fmla="*/ 0 w 195000"/>
                <a:gd name="connsiteY25" fmla="*/ 195000 h 240000"/>
                <a:gd name="connsiteX26" fmla="*/ 15000 w 195000"/>
                <a:gd name="connsiteY26" fmla="*/ 18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95000" h="240000">
                  <a:moveTo>
                    <a:pt x="15000" y="0"/>
                  </a:moveTo>
                  <a:lnTo>
                    <a:pt x="180000" y="0"/>
                  </a:lnTo>
                  <a:cubicBezTo>
                    <a:pt x="188285" y="0"/>
                    <a:pt x="195000" y="6716"/>
                    <a:pt x="195000" y="15000"/>
                  </a:cubicBezTo>
                  <a:lnTo>
                    <a:pt x="195000" y="45000"/>
                  </a:lnTo>
                  <a:cubicBezTo>
                    <a:pt x="195000" y="53284"/>
                    <a:pt x="188285" y="60000"/>
                    <a:pt x="180000" y="60000"/>
                  </a:cubicBezTo>
                  <a:lnTo>
                    <a:pt x="15000" y="60000"/>
                  </a:lnTo>
                  <a:cubicBezTo>
                    <a:pt x="6716" y="60000"/>
                    <a:pt x="0" y="53284"/>
                    <a:pt x="0" y="4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000" y="90000"/>
                  </a:moveTo>
                  <a:lnTo>
                    <a:pt x="180000" y="90000"/>
                  </a:lnTo>
                  <a:cubicBezTo>
                    <a:pt x="188285" y="90000"/>
                    <a:pt x="195000" y="96715"/>
                    <a:pt x="195000" y="105000"/>
                  </a:cubicBezTo>
                  <a:lnTo>
                    <a:pt x="195000" y="135000"/>
                  </a:lnTo>
                  <a:cubicBezTo>
                    <a:pt x="195000" y="143285"/>
                    <a:pt x="188285" y="150000"/>
                    <a:pt x="180000" y="150000"/>
                  </a:cubicBez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lnTo>
                    <a:pt x="0" y="105000"/>
                  </a:lnTo>
                  <a:cubicBezTo>
                    <a:pt x="0" y="96715"/>
                    <a:pt x="6716" y="90000"/>
                    <a:pt x="15000" y="90000"/>
                  </a:cubicBezTo>
                  <a:close/>
                  <a:moveTo>
                    <a:pt x="15000" y="180000"/>
                  </a:moveTo>
                  <a:lnTo>
                    <a:pt x="180000" y="180000"/>
                  </a:lnTo>
                  <a:cubicBezTo>
                    <a:pt x="188285" y="180000"/>
                    <a:pt x="195000" y="186716"/>
                    <a:pt x="195000" y="195000"/>
                  </a:cubicBezTo>
                  <a:lnTo>
                    <a:pt x="195000" y="225000"/>
                  </a:lnTo>
                  <a:cubicBezTo>
                    <a:pt x="195000" y="233285"/>
                    <a:pt x="188285" y="240000"/>
                    <a:pt x="180000" y="240000"/>
                  </a:cubicBezTo>
                  <a:lnTo>
                    <a:pt x="15000" y="240000"/>
                  </a:lnTo>
                  <a:cubicBezTo>
                    <a:pt x="6716" y="240000"/>
                    <a:pt x="0" y="233285"/>
                    <a:pt x="0" y="225000"/>
                  </a:cubicBezTo>
                  <a:lnTo>
                    <a:pt x="0" y="195000"/>
                  </a:lnTo>
                  <a:cubicBezTo>
                    <a:pt x="0" y="186716"/>
                    <a:pt x="6716" y="180000"/>
                    <a:pt x="15000" y="18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3" name="Скругленный прямоугольник 1422">
              <a:extLst>
                <a:ext uri="{FF2B5EF4-FFF2-40B4-BE49-F238E27FC236}">
                  <a16:creationId xmlns:a16="http://schemas.microsoft.com/office/drawing/2014/main" id="{3E4D4650-722C-5E4D-A9C4-3D5F37950F87}"/>
                </a:ext>
              </a:extLst>
            </p:cNvPr>
            <p:cNvSpPr/>
            <p:nvPr/>
          </p:nvSpPr>
          <p:spPr>
            <a:xfrm>
              <a:off x="2990723" y="2818983"/>
              <a:ext cx="75000" cy="24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24" name="Рисунок 328">
            <a:extLst>
              <a:ext uri="{FF2B5EF4-FFF2-40B4-BE49-F238E27FC236}">
                <a16:creationId xmlns:a16="http://schemas.microsoft.com/office/drawing/2014/main" id="{7AF80C55-AE0A-9649-97D5-5C985D1C550F}"/>
              </a:ext>
            </a:extLst>
          </p:cNvPr>
          <p:cNvGrpSpPr/>
          <p:nvPr/>
        </p:nvGrpSpPr>
        <p:grpSpPr>
          <a:xfrm>
            <a:off x="2172137" y="2442261"/>
            <a:ext cx="360000" cy="360000"/>
            <a:chOff x="2205590" y="2758983"/>
            <a:chExt cx="360000" cy="360000"/>
          </a:xfrm>
        </p:grpSpPr>
        <p:sp>
          <p:nvSpPr>
            <p:cNvPr id="1425" name="Полилиния 1424">
              <a:extLst>
                <a:ext uri="{FF2B5EF4-FFF2-40B4-BE49-F238E27FC236}">
                  <a16:creationId xmlns:a16="http://schemas.microsoft.com/office/drawing/2014/main" id="{4BC2B6C1-F9E0-9844-BFCC-C112AA63791C}"/>
                </a:ext>
              </a:extLst>
            </p:cNvPr>
            <p:cNvSpPr/>
            <p:nvPr/>
          </p:nvSpPr>
          <p:spPr>
            <a:xfrm>
              <a:off x="2205590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6" name="Скругленный прямоугольник 1425">
              <a:extLst>
                <a:ext uri="{FF2B5EF4-FFF2-40B4-BE49-F238E27FC236}">
                  <a16:creationId xmlns:a16="http://schemas.microsoft.com/office/drawing/2014/main" id="{AA688A6A-6AF8-0246-8F77-C173B543B009}"/>
                </a:ext>
              </a:extLst>
            </p:cNvPr>
            <p:cNvSpPr/>
            <p:nvPr/>
          </p:nvSpPr>
          <p:spPr>
            <a:xfrm>
              <a:off x="2235590" y="2833983"/>
              <a:ext cx="195000" cy="21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7" name="Скругленный прямоугольник 1426">
              <a:extLst>
                <a:ext uri="{FF2B5EF4-FFF2-40B4-BE49-F238E27FC236}">
                  <a16:creationId xmlns:a16="http://schemas.microsoft.com/office/drawing/2014/main" id="{11F0E94E-75BF-9A47-A344-83F78AA9F45C}"/>
                </a:ext>
              </a:extLst>
            </p:cNvPr>
            <p:cNvSpPr/>
            <p:nvPr/>
          </p:nvSpPr>
          <p:spPr>
            <a:xfrm>
              <a:off x="2460590" y="2833983"/>
              <a:ext cx="75000" cy="21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28" name="Рисунок 329">
            <a:extLst>
              <a:ext uri="{FF2B5EF4-FFF2-40B4-BE49-F238E27FC236}">
                <a16:creationId xmlns:a16="http://schemas.microsoft.com/office/drawing/2014/main" id="{3B86AD14-C1DF-FC45-9E46-AEABC4B2F40A}"/>
              </a:ext>
            </a:extLst>
          </p:cNvPr>
          <p:cNvGrpSpPr/>
          <p:nvPr/>
        </p:nvGrpSpPr>
        <p:grpSpPr>
          <a:xfrm>
            <a:off x="1417004" y="2442261"/>
            <a:ext cx="360000" cy="360000"/>
            <a:chOff x="1450457" y="2758983"/>
            <a:chExt cx="360000" cy="360000"/>
          </a:xfrm>
        </p:grpSpPr>
        <p:sp>
          <p:nvSpPr>
            <p:cNvPr id="1429" name="Полилиния 1428">
              <a:extLst>
                <a:ext uri="{FF2B5EF4-FFF2-40B4-BE49-F238E27FC236}">
                  <a16:creationId xmlns:a16="http://schemas.microsoft.com/office/drawing/2014/main" id="{4588B10F-3C76-3745-B609-E56F90AAB27B}"/>
                </a:ext>
              </a:extLst>
            </p:cNvPr>
            <p:cNvSpPr/>
            <p:nvPr/>
          </p:nvSpPr>
          <p:spPr>
            <a:xfrm>
              <a:off x="1450457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0" name="Полилиния 1429">
              <a:extLst>
                <a:ext uri="{FF2B5EF4-FFF2-40B4-BE49-F238E27FC236}">
                  <a16:creationId xmlns:a16="http://schemas.microsoft.com/office/drawing/2014/main" id="{BAA1F8E5-9EAE-894F-B742-BF3860FB7750}"/>
                </a:ext>
              </a:extLst>
            </p:cNvPr>
            <p:cNvSpPr/>
            <p:nvPr/>
          </p:nvSpPr>
          <p:spPr>
            <a:xfrm>
              <a:off x="1585457" y="2833983"/>
              <a:ext cx="195000" cy="210000"/>
            </a:xfrm>
            <a:custGeom>
              <a:avLst/>
              <a:gdLst>
                <a:gd name="connsiteX0" fmla="*/ 22500 w 195000"/>
                <a:gd name="connsiteY0" fmla="*/ 0 h 210000"/>
                <a:gd name="connsiteX1" fmla="*/ 172500 w 195000"/>
                <a:gd name="connsiteY1" fmla="*/ 0 h 210000"/>
                <a:gd name="connsiteX2" fmla="*/ 195000 w 195000"/>
                <a:gd name="connsiteY2" fmla="*/ 22500 h 210000"/>
                <a:gd name="connsiteX3" fmla="*/ 195000 w 195000"/>
                <a:gd name="connsiteY3" fmla="*/ 67500 h 210000"/>
                <a:gd name="connsiteX4" fmla="*/ 172500 w 195000"/>
                <a:gd name="connsiteY4" fmla="*/ 90000 h 210000"/>
                <a:gd name="connsiteX5" fmla="*/ 22500 w 195000"/>
                <a:gd name="connsiteY5" fmla="*/ 90000 h 210000"/>
                <a:gd name="connsiteX6" fmla="*/ 0 w 195000"/>
                <a:gd name="connsiteY6" fmla="*/ 67500 h 210000"/>
                <a:gd name="connsiteX7" fmla="*/ 0 w 195000"/>
                <a:gd name="connsiteY7" fmla="*/ 22500 h 210000"/>
                <a:gd name="connsiteX8" fmla="*/ 22500 w 195000"/>
                <a:gd name="connsiteY8" fmla="*/ 0 h 210000"/>
                <a:gd name="connsiteX9" fmla="*/ 22500 w 195000"/>
                <a:gd name="connsiteY9" fmla="*/ 120000 h 210000"/>
                <a:gd name="connsiteX10" fmla="*/ 172500 w 195000"/>
                <a:gd name="connsiteY10" fmla="*/ 120000 h 210000"/>
                <a:gd name="connsiteX11" fmla="*/ 195000 w 195000"/>
                <a:gd name="connsiteY11" fmla="*/ 142500 h 210000"/>
                <a:gd name="connsiteX12" fmla="*/ 195000 w 195000"/>
                <a:gd name="connsiteY12" fmla="*/ 187500 h 210000"/>
                <a:gd name="connsiteX13" fmla="*/ 172500 w 195000"/>
                <a:gd name="connsiteY13" fmla="*/ 210000 h 210000"/>
                <a:gd name="connsiteX14" fmla="*/ 22500 w 195000"/>
                <a:gd name="connsiteY14" fmla="*/ 210000 h 210000"/>
                <a:gd name="connsiteX15" fmla="*/ 0 w 195000"/>
                <a:gd name="connsiteY15" fmla="*/ 187500 h 210000"/>
                <a:gd name="connsiteX16" fmla="*/ 0 w 195000"/>
                <a:gd name="connsiteY16" fmla="*/ 142500 h 210000"/>
                <a:gd name="connsiteX17" fmla="*/ 22500 w 195000"/>
                <a:gd name="connsiteY17" fmla="*/ 12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5000" h="210000">
                  <a:moveTo>
                    <a:pt x="22500" y="0"/>
                  </a:moveTo>
                  <a:lnTo>
                    <a:pt x="172500" y="0"/>
                  </a:lnTo>
                  <a:cubicBezTo>
                    <a:pt x="184926" y="0"/>
                    <a:pt x="195000" y="10074"/>
                    <a:pt x="195000" y="22500"/>
                  </a:cubicBezTo>
                  <a:lnTo>
                    <a:pt x="195000" y="67500"/>
                  </a:lnTo>
                  <a:cubicBezTo>
                    <a:pt x="195000" y="79926"/>
                    <a:pt x="184926" y="90000"/>
                    <a:pt x="172500" y="90000"/>
                  </a:cubicBezTo>
                  <a:lnTo>
                    <a:pt x="22500" y="90000"/>
                  </a:lnTo>
                  <a:cubicBezTo>
                    <a:pt x="10074" y="90000"/>
                    <a:pt x="0" y="79926"/>
                    <a:pt x="0" y="67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22500" y="120000"/>
                  </a:moveTo>
                  <a:lnTo>
                    <a:pt x="172500" y="120000"/>
                  </a:lnTo>
                  <a:cubicBezTo>
                    <a:pt x="184926" y="120000"/>
                    <a:pt x="195000" y="130074"/>
                    <a:pt x="195000" y="142500"/>
                  </a:cubicBezTo>
                  <a:lnTo>
                    <a:pt x="195000" y="187500"/>
                  </a:lnTo>
                  <a:cubicBezTo>
                    <a:pt x="195000" y="199926"/>
                    <a:pt x="184926" y="210000"/>
                    <a:pt x="172500" y="210000"/>
                  </a:cubicBezTo>
                  <a:lnTo>
                    <a:pt x="22500" y="210000"/>
                  </a:lnTo>
                  <a:cubicBezTo>
                    <a:pt x="10074" y="210000"/>
                    <a:pt x="0" y="199926"/>
                    <a:pt x="0" y="187500"/>
                  </a:cubicBezTo>
                  <a:lnTo>
                    <a:pt x="0" y="142500"/>
                  </a:lnTo>
                  <a:cubicBezTo>
                    <a:pt x="0" y="130074"/>
                    <a:pt x="10074" y="120000"/>
                    <a:pt x="225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1" name="Скругленный прямоугольник 1430">
              <a:extLst>
                <a:ext uri="{FF2B5EF4-FFF2-40B4-BE49-F238E27FC236}">
                  <a16:creationId xmlns:a16="http://schemas.microsoft.com/office/drawing/2014/main" id="{DB59774F-8B81-C84A-8129-3C4236E453C7}"/>
                </a:ext>
              </a:extLst>
            </p:cNvPr>
            <p:cNvSpPr/>
            <p:nvPr/>
          </p:nvSpPr>
          <p:spPr>
            <a:xfrm>
              <a:off x="1480457" y="2833983"/>
              <a:ext cx="75000" cy="21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32" name="Рисунок 330">
            <a:extLst>
              <a:ext uri="{FF2B5EF4-FFF2-40B4-BE49-F238E27FC236}">
                <a16:creationId xmlns:a16="http://schemas.microsoft.com/office/drawing/2014/main" id="{E28EFEA3-68F0-8E48-BF4C-55F73A13808C}"/>
              </a:ext>
            </a:extLst>
          </p:cNvPr>
          <p:cNvGrpSpPr/>
          <p:nvPr/>
        </p:nvGrpSpPr>
        <p:grpSpPr>
          <a:xfrm>
            <a:off x="661871" y="2442261"/>
            <a:ext cx="360000" cy="360000"/>
            <a:chOff x="695324" y="2758983"/>
            <a:chExt cx="360000" cy="360000"/>
          </a:xfrm>
        </p:grpSpPr>
        <p:sp>
          <p:nvSpPr>
            <p:cNvPr id="1433" name="Полилиния 1432">
              <a:extLst>
                <a:ext uri="{FF2B5EF4-FFF2-40B4-BE49-F238E27FC236}">
                  <a16:creationId xmlns:a16="http://schemas.microsoft.com/office/drawing/2014/main" id="{8655D546-49E5-AF45-A8F0-42608DB4FB2A}"/>
                </a:ext>
              </a:extLst>
            </p:cNvPr>
            <p:cNvSpPr/>
            <p:nvPr/>
          </p:nvSpPr>
          <p:spPr>
            <a:xfrm>
              <a:off x="695324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4" name="Скругленный прямоугольник 1433">
              <a:extLst>
                <a:ext uri="{FF2B5EF4-FFF2-40B4-BE49-F238E27FC236}">
                  <a16:creationId xmlns:a16="http://schemas.microsoft.com/office/drawing/2014/main" id="{0E530E1D-E262-6945-983A-1FE9635E0C57}"/>
                </a:ext>
              </a:extLst>
            </p:cNvPr>
            <p:cNvSpPr/>
            <p:nvPr/>
          </p:nvSpPr>
          <p:spPr>
            <a:xfrm>
              <a:off x="725324" y="2818983"/>
              <a:ext cx="285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5" name="Полилиния 1434">
              <a:extLst>
                <a:ext uri="{FF2B5EF4-FFF2-40B4-BE49-F238E27FC236}">
                  <a16:creationId xmlns:a16="http://schemas.microsoft.com/office/drawing/2014/main" id="{22765041-2DA3-6C44-B9D1-CC95B85226EC}"/>
                </a:ext>
              </a:extLst>
            </p:cNvPr>
            <p:cNvSpPr/>
            <p:nvPr/>
          </p:nvSpPr>
          <p:spPr>
            <a:xfrm>
              <a:off x="725324" y="2908983"/>
              <a:ext cx="285000" cy="150000"/>
            </a:xfrm>
            <a:custGeom>
              <a:avLst/>
              <a:gdLst>
                <a:gd name="connsiteX0" fmla="*/ 15000 w 285000"/>
                <a:gd name="connsiteY0" fmla="*/ 0 h 150000"/>
                <a:gd name="connsiteX1" fmla="*/ 60000 w 285000"/>
                <a:gd name="connsiteY1" fmla="*/ 0 h 150000"/>
                <a:gd name="connsiteX2" fmla="*/ 75000 w 285000"/>
                <a:gd name="connsiteY2" fmla="*/ 15000 h 150000"/>
                <a:gd name="connsiteX3" fmla="*/ 75000 w 285000"/>
                <a:gd name="connsiteY3" fmla="*/ 135000 h 150000"/>
                <a:gd name="connsiteX4" fmla="*/ 60000 w 285000"/>
                <a:gd name="connsiteY4" fmla="*/ 150000 h 150000"/>
                <a:gd name="connsiteX5" fmla="*/ 15000 w 285000"/>
                <a:gd name="connsiteY5" fmla="*/ 150000 h 150000"/>
                <a:gd name="connsiteX6" fmla="*/ 0 w 285000"/>
                <a:gd name="connsiteY6" fmla="*/ 135000 h 150000"/>
                <a:gd name="connsiteX7" fmla="*/ 0 w 285000"/>
                <a:gd name="connsiteY7" fmla="*/ 15000 h 150000"/>
                <a:gd name="connsiteX8" fmla="*/ 15000 w 285000"/>
                <a:gd name="connsiteY8" fmla="*/ 0 h 150000"/>
                <a:gd name="connsiteX9" fmla="*/ 120000 w 285000"/>
                <a:gd name="connsiteY9" fmla="*/ 0 h 150000"/>
                <a:gd name="connsiteX10" fmla="*/ 165000 w 285000"/>
                <a:gd name="connsiteY10" fmla="*/ 0 h 150000"/>
                <a:gd name="connsiteX11" fmla="*/ 180000 w 285000"/>
                <a:gd name="connsiteY11" fmla="*/ 15000 h 150000"/>
                <a:gd name="connsiteX12" fmla="*/ 180000 w 285000"/>
                <a:gd name="connsiteY12" fmla="*/ 135000 h 150000"/>
                <a:gd name="connsiteX13" fmla="*/ 165000 w 285000"/>
                <a:gd name="connsiteY13" fmla="*/ 150000 h 150000"/>
                <a:gd name="connsiteX14" fmla="*/ 120000 w 285000"/>
                <a:gd name="connsiteY14" fmla="*/ 150000 h 150000"/>
                <a:gd name="connsiteX15" fmla="*/ 105000 w 285000"/>
                <a:gd name="connsiteY15" fmla="*/ 135000 h 150000"/>
                <a:gd name="connsiteX16" fmla="*/ 105000 w 285000"/>
                <a:gd name="connsiteY16" fmla="*/ 15000 h 150000"/>
                <a:gd name="connsiteX17" fmla="*/ 120000 w 285000"/>
                <a:gd name="connsiteY17" fmla="*/ 0 h 150000"/>
                <a:gd name="connsiteX18" fmla="*/ 225000 w 285000"/>
                <a:gd name="connsiteY18" fmla="*/ 0 h 150000"/>
                <a:gd name="connsiteX19" fmla="*/ 270000 w 285000"/>
                <a:gd name="connsiteY19" fmla="*/ 0 h 150000"/>
                <a:gd name="connsiteX20" fmla="*/ 285000 w 285000"/>
                <a:gd name="connsiteY20" fmla="*/ 15000 h 150000"/>
                <a:gd name="connsiteX21" fmla="*/ 285000 w 285000"/>
                <a:gd name="connsiteY21" fmla="*/ 135000 h 150000"/>
                <a:gd name="connsiteX22" fmla="*/ 270000 w 285000"/>
                <a:gd name="connsiteY22" fmla="*/ 150000 h 150000"/>
                <a:gd name="connsiteX23" fmla="*/ 225000 w 285000"/>
                <a:gd name="connsiteY23" fmla="*/ 150000 h 150000"/>
                <a:gd name="connsiteX24" fmla="*/ 210000 w 285000"/>
                <a:gd name="connsiteY24" fmla="*/ 135000 h 150000"/>
                <a:gd name="connsiteX25" fmla="*/ 210000 w 285000"/>
                <a:gd name="connsiteY25" fmla="*/ 15000 h 150000"/>
                <a:gd name="connsiteX26" fmla="*/ 225000 w 285000"/>
                <a:gd name="connsiteY26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85000" h="150000">
                  <a:moveTo>
                    <a:pt x="15000" y="0"/>
                  </a:moveTo>
                  <a:lnTo>
                    <a:pt x="60000" y="0"/>
                  </a:lnTo>
                  <a:cubicBezTo>
                    <a:pt x="68284" y="0"/>
                    <a:pt x="75000" y="6715"/>
                    <a:pt x="75000" y="15000"/>
                  </a:cubicBezTo>
                  <a:lnTo>
                    <a:pt x="75000" y="135000"/>
                  </a:lnTo>
                  <a:cubicBezTo>
                    <a:pt x="75000" y="143285"/>
                    <a:pt x="68284" y="150000"/>
                    <a:pt x="60000" y="150000"/>
                  </a:cubicBezTo>
                  <a:lnTo>
                    <a:pt x="15000" y="150000"/>
                  </a:lnTo>
                  <a:cubicBezTo>
                    <a:pt x="6716" y="150000"/>
                    <a:pt x="0" y="143285"/>
                    <a:pt x="0" y="135000"/>
                  </a:cubicBezTo>
                  <a:lnTo>
                    <a:pt x="0" y="15000"/>
                  </a:lnTo>
                  <a:cubicBezTo>
                    <a:pt x="0" y="6715"/>
                    <a:pt x="6716" y="0"/>
                    <a:pt x="15000" y="0"/>
                  </a:cubicBezTo>
                  <a:close/>
                  <a:moveTo>
                    <a:pt x="120000" y="0"/>
                  </a:moveTo>
                  <a:lnTo>
                    <a:pt x="165000" y="0"/>
                  </a:lnTo>
                  <a:cubicBezTo>
                    <a:pt x="173285" y="0"/>
                    <a:pt x="180000" y="6715"/>
                    <a:pt x="180000" y="15000"/>
                  </a:cubicBezTo>
                  <a:lnTo>
                    <a:pt x="180000" y="135000"/>
                  </a:lnTo>
                  <a:cubicBezTo>
                    <a:pt x="180000" y="143285"/>
                    <a:pt x="173285" y="150000"/>
                    <a:pt x="165000" y="150000"/>
                  </a:cubicBezTo>
                  <a:lnTo>
                    <a:pt x="120000" y="150000"/>
                  </a:lnTo>
                  <a:cubicBezTo>
                    <a:pt x="111716" y="150000"/>
                    <a:pt x="105000" y="143285"/>
                    <a:pt x="105000" y="135000"/>
                  </a:cubicBezTo>
                  <a:lnTo>
                    <a:pt x="105000" y="15000"/>
                  </a:lnTo>
                  <a:cubicBezTo>
                    <a:pt x="105000" y="6715"/>
                    <a:pt x="111716" y="0"/>
                    <a:pt x="120000" y="0"/>
                  </a:cubicBezTo>
                  <a:close/>
                  <a:moveTo>
                    <a:pt x="225000" y="0"/>
                  </a:moveTo>
                  <a:lnTo>
                    <a:pt x="270000" y="0"/>
                  </a:lnTo>
                  <a:cubicBezTo>
                    <a:pt x="278285" y="0"/>
                    <a:pt x="285000" y="6715"/>
                    <a:pt x="285000" y="15000"/>
                  </a:cubicBezTo>
                  <a:lnTo>
                    <a:pt x="285000" y="135000"/>
                  </a:lnTo>
                  <a:cubicBezTo>
                    <a:pt x="285000" y="143285"/>
                    <a:pt x="278285" y="150000"/>
                    <a:pt x="270000" y="150000"/>
                  </a:cubicBezTo>
                  <a:lnTo>
                    <a:pt x="225000" y="150000"/>
                  </a:lnTo>
                  <a:cubicBezTo>
                    <a:pt x="216716" y="150000"/>
                    <a:pt x="210000" y="143285"/>
                    <a:pt x="210000" y="135000"/>
                  </a:cubicBezTo>
                  <a:lnTo>
                    <a:pt x="210000" y="15000"/>
                  </a:lnTo>
                  <a:cubicBezTo>
                    <a:pt x="210000" y="6715"/>
                    <a:pt x="216716" y="0"/>
                    <a:pt x="22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36" name="Рисунок 331">
            <a:extLst>
              <a:ext uri="{FF2B5EF4-FFF2-40B4-BE49-F238E27FC236}">
                <a16:creationId xmlns:a16="http://schemas.microsoft.com/office/drawing/2014/main" id="{BC57A29B-30CB-BD44-AD4F-22EF6707E703}"/>
              </a:ext>
            </a:extLst>
          </p:cNvPr>
          <p:cNvGrpSpPr/>
          <p:nvPr/>
        </p:nvGrpSpPr>
        <p:grpSpPr>
          <a:xfrm>
            <a:off x="11233735" y="2442261"/>
            <a:ext cx="360000" cy="360000"/>
            <a:chOff x="11267188" y="2758983"/>
            <a:chExt cx="360000" cy="360000"/>
          </a:xfrm>
        </p:grpSpPr>
        <p:sp>
          <p:nvSpPr>
            <p:cNvPr id="1437" name="Полилиния 1436">
              <a:extLst>
                <a:ext uri="{FF2B5EF4-FFF2-40B4-BE49-F238E27FC236}">
                  <a16:creationId xmlns:a16="http://schemas.microsoft.com/office/drawing/2014/main" id="{9487B0D0-E721-9144-80FC-1C5FBADD53FA}"/>
                </a:ext>
              </a:extLst>
            </p:cNvPr>
            <p:cNvSpPr/>
            <p:nvPr/>
          </p:nvSpPr>
          <p:spPr>
            <a:xfrm>
              <a:off x="11267188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8" name="Полилиния 1437">
              <a:extLst>
                <a:ext uri="{FF2B5EF4-FFF2-40B4-BE49-F238E27FC236}">
                  <a16:creationId xmlns:a16="http://schemas.microsoft.com/office/drawing/2014/main" id="{2AD643C3-7289-7840-9574-5C8AD911BF84}"/>
                </a:ext>
              </a:extLst>
            </p:cNvPr>
            <p:cNvSpPr/>
            <p:nvPr/>
          </p:nvSpPr>
          <p:spPr>
            <a:xfrm>
              <a:off x="11297188" y="2812085"/>
              <a:ext cx="300000" cy="253920"/>
            </a:xfrm>
            <a:custGeom>
              <a:avLst/>
              <a:gdLst>
                <a:gd name="connsiteX0" fmla="*/ 201764 w 300000"/>
                <a:gd name="connsiteY0" fmla="*/ 207942 h 253920"/>
                <a:gd name="connsiteX1" fmla="*/ 182678 w 300000"/>
                <a:gd name="connsiteY1" fmla="*/ 184796 h 253920"/>
                <a:gd name="connsiteX2" fmla="*/ 210000 w 300000"/>
                <a:gd name="connsiteY2" fmla="*/ 126897 h 253920"/>
                <a:gd name="connsiteX3" fmla="*/ 182841 w 300000"/>
                <a:gd name="connsiteY3" fmla="*/ 69134 h 253920"/>
                <a:gd name="connsiteX4" fmla="*/ 201992 w 300000"/>
                <a:gd name="connsiteY4" fmla="*/ 46042 h 253920"/>
                <a:gd name="connsiteX5" fmla="*/ 240000 w 300000"/>
                <a:gd name="connsiteY5" fmla="*/ 126897 h 253920"/>
                <a:gd name="connsiteX6" fmla="*/ 201764 w 300000"/>
                <a:gd name="connsiteY6" fmla="*/ 207942 h 253920"/>
                <a:gd name="connsiteX7" fmla="*/ 240316 w 300000"/>
                <a:gd name="connsiteY7" fmla="*/ 253920 h 253920"/>
                <a:gd name="connsiteX8" fmla="*/ 221157 w 300000"/>
                <a:gd name="connsiteY8" fmla="*/ 230835 h 253920"/>
                <a:gd name="connsiteX9" fmla="*/ 270000 w 300000"/>
                <a:gd name="connsiteY9" fmla="*/ 126897 h 253920"/>
                <a:gd name="connsiteX10" fmla="*/ 221280 w 300000"/>
                <a:gd name="connsiteY10" fmla="*/ 23062 h 253920"/>
                <a:gd name="connsiteX11" fmla="*/ 240466 w 300000"/>
                <a:gd name="connsiteY11" fmla="*/ 0 h 253920"/>
                <a:gd name="connsiteX12" fmla="*/ 300000 w 300000"/>
                <a:gd name="connsiteY12" fmla="*/ 126897 h 253920"/>
                <a:gd name="connsiteX13" fmla="*/ 240316 w 300000"/>
                <a:gd name="connsiteY13" fmla="*/ 253920 h 253920"/>
                <a:gd name="connsiteX14" fmla="*/ 98237 w 300000"/>
                <a:gd name="connsiteY14" fmla="*/ 207942 h 253920"/>
                <a:gd name="connsiteX15" fmla="*/ 60000 w 300000"/>
                <a:gd name="connsiteY15" fmla="*/ 126897 h 253920"/>
                <a:gd name="connsiteX16" fmla="*/ 98008 w 300000"/>
                <a:gd name="connsiteY16" fmla="*/ 46042 h 253920"/>
                <a:gd name="connsiteX17" fmla="*/ 117159 w 300000"/>
                <a:gd name="connsiteY17" fmla="*/ 69134 h 253920"/>
                <a:gd name="connsiteX18" fmla="*/ 90000 w 300000"/>
                <a:gd name="connsiteY18" fmla="*/ 126897 h 253920"/>
                <a:gd name="connsiteX19" fmla="*/ 117323 w 300000"/>
                <a:gd name="connsiteY19" fmla="*/ 184796 h 253920"/>
                <a:gd name="connsiteX20" fmla="*/ 98237 w 300000"/>
                <a:gd name="connsiteY20" fmla="*/ 207942 h 253920"/>
                <a:gd name="connsiteX21" fmla="*/ 59683 w 300000"/>
                <a:gd name="connsiteY21" fmla="*/ 253920 h 253920"/>
                <a:gd name="connsiteX22" fmla="*/ 0 w 300000"/>
                <a:gd name="connsiteY22" fmla="*/ 126897 h 253920"/>
                <a:gd name="connsiteX23" fmla="*/ 59533 w 300000"/>
                <a:gd name="connsiteY23" fmla="*/ 0 h 253920"/>
                <a:gd name="connsiteX24" fmla="*/ 78720 w 300000"/>
                <a:gd name="connsiteY24" fmla="*/ 23062 h 253920"/>
                <a:gd name="connsiteX25" fmla="*/ 30000 w 300000"/>
                <a:gd name="connsiteY25" fmla="*/ 126897 h 253920"/>
                <a:gd name="connsiteX26" fmla="*/ 78843 w 300000"/>
                <a:gd name="connsiteY26" fmla="*/ 230835 h 253920"/>
                <a:gd name="connsiteX27" fmla="*/ 59683 w 300000"/>
                <a:gd name="connsiteY27" fmla="*/ 253920 h 25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0000" h="253920">
                  <a:moveTo>
                    <a:pt x="201764" y="207942"/>
                  </a:moveTo>
                  <a:lnTo>
                    <a:pt x="182678" y="184796"/>
                  </a:lnTo>
                  <a:cubicBezTo>
                    <a:pt x="199868" y="170621"/>
                    <a:pt x="210000" y="149603"/>
                    <a:pt x="210000" y="126897"/>
                  </a:cubicBezTo>
                  <a:cubicBezTo>
                    <a:pt x="210000" y="104265"/>
                    <a:pt x="199935" y="83310"/>
                    <a:pt x="182841" y="69134"/>
                  </a:cubicBezTo>
                  <a:lnTo>
                    <a:pt x="201992" y="46042"/>
                  </a:lnTo>
                  <a:cubicBezTo>
                    <a:pt x="225886" y="65858"/>
                    <a:pt x="240000" y="95241"/>
                    <a:pt x="240000" y="126897"/>
                  </a:cubicBezTo>
                  <a:cubicBezTo>
                    <a:pt x="240000" y="158658"/>
                    <a:pt x="225794" y="188127"/>
                    <a:pt x="201764" y="207942"/>
                  </a:cubicBezTo>
                  <a:close/>
                  <a:moveTo>
                    <a:pt x="240316" y="253920"/>
                  </a:moveTo>
                  <a:lnTo>
                    <a:pt x="221157" y="230835"/>
                  </a:lnTo>
                  <a:cubicBezTo>
                    <a:pt x="251891" y="205328"/>
                    <a:pt x="270000" y="167607"/>
                    <a:pt x="270000" y="126897"/>
                  </a:cubicBezTo>
                  <a:cubicBezTo>
                    <a:pt x="270000" y="86243"/>
                    <a:pt x="251942" y="48570"/>
                    <a:pt x="221280" y="23062"/>
                  </a:cubicBezTo>
                  <a:lnTo>
                    <a:pt x="240466" y="0"/>
                  </a:lnTo>
                  <a:cubicBezTo>
                    <a:pt x="277908" y="31149"/>
                    <a:pt x="300000" y="77236"/>
                    <a:pt x="300000" y="126897"/>
                  </a:cubicBezTo>
                  <a:cubicBezTo>
                    <a:pt x="300000" y="176628"/>
                    <a:pt x="277847" y="222771"/>
                    <a:pt x="240316" y="253920"/>
                  </a:cubicBezTo>
                  <a:close/>
                  <a:moveTo>
                    <a:pt x="98237" y="207942"/>
                  </a:moveTo>
                  <a:cubicBezTo>
                    <a:pt x="74207" y="188127"/>
                    <a:pt x="60000" y="158658"/>
                    <a:pt x="60000" y="126897"/>
                  </a:cubicBezTo>
                  <a:cubicBezTo>
                    <a:pt x="60000" y="95241"/>
                    <a:pt x="74114" y="65858"/>
                    <a:pt x="98008" y="46042"/>
                  </a:cubicBezTo>
                  <a:lnTo>
                    <a:pt x="117159" y="69134"/>
                  </a:lnTo>
                  <a:cubicBezTo>
                    <a:pt x="100066" y="83310"/>
                    <a:pt x="90000" y="104265"/>
                    <a:pt x="90000" y="126897"/>
                  </a:cubicBezTo>
                  <a:cubicBezTo>
                    <a:pt x="90000" y="149603"/>
                    <a:pt x="100133" y="170621"/>
                    <a:pt x="117323" y="184796"/>
                  </a:cubicBezTo>
                  <a:lnTo>
                    <a:pt x="98237" y="207942"/>
                  </a:lnTo>
                  <a:close/>
                  <a:moveTo>
                    <a:pt x="59683" y="253920"/>
                  </a:moveTo>
                  <a:cubicBezTo>
                    <a:pt x="22154" y="222771"/>
                    <a:pt x="0" y="176628"/>
                    <a:pt x="0" y="126897"/>
                  </a:cubicBezTo>
                  <a:cubicBezTo>
                    <a:pt x="0" y="77236"/>
                    <a:pt x="22092" y="31149"/>
                    <a:pt x="59533" y="0"/>
                  </a:cubicBezTo>
                  <a:lnTo>
                    <a:pt x="78720" y="23062"/>
                  </a:lnTo>
                  <a:cubicBezTo>
                    <a:pt x="48059" y="48570"/>
                    <a:pt x="30000" y="86243"/>
                    <a:pt x="30000" y="126897"/>
                  </a:cubicBezTo>
                  <a:cubicBezTo>
                    <a:pt x="30000" y="167607"/>
                    <a:pt x="48110" y="205328"/>
                    <a:pt x="78843" y="230835"/>
                  </a:cubicBezTo>
                  <a:lnTo>
                    <a:pt x="59683" y="25392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439" name="Полилиния 1438">
              <a:extLst>
                <a:ext uri="{FF2B5EF4-FFF2-40B4-BE49-F238E27FC236}">
                  <a16:creationId xmlns:a16="http://schemas.microsoft.com/office/drawing/2014/main" id="{F1B553C1-A46B-4F43-90A0-9B7A024FD8D0}"/>
                </a:ext>
              </a:extLst>
            </p:cNvPr>
            <p:cNvSpPr/>
            <p:nvPr/>
          </p:nvSpPr>
          <p:spPr>
            <a:xfrm>
              <a:off x="11417188" y="2908983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40" name="Рисунок 333">
            <a:extLst>
              <a:ext uri="{FF2B5EF4-FFF2-40B4-BE49-F238E27FC236}">
                <a16:creationId xmlns:a16="http://schemas.microsoft.com/office/drawing/2014/main" id="{BB17142A-742D-8D4B-AB64-2AAB15253493}"/>
              </a:ext>
            </a:extLst>
          </p:cNvPr>
          <p:cNvGrpSpPr/>
          <p:nvPr/>
        </p:nvGrpSpPr>
        <p:grpSpPr>
          <a:xfrm>
            <a:off x="6702935" y="1096153"/>
            <a:ext cx="360000" cy="360000"/>
            <a:chOff x="6736388" y="1412875"/>
            <a:chExt cx="360000" cy="360000"/>
          </a:xfrm>
        </p:grpSpPr>
        <p:sp>
          <p:nvSpPr>
            <p:cNvPr id="1441" name="Полилиния 1440">
              <a:extLst>
                <a:ext uri="{FF2B5EF4-FFF2-40B4-BE49-F238E27FC236}">
                  <a16:creationId xmlns:a16="http://schemas.microsoft.com/office/drawing/2014/main" id="{3FF70E2C-2DB0-7543-AF73-0218F5FADFA0}"/>
                </a:ext>
              </a:extLst>
            </p:cNvPr>
            <p:cNvSpPr/>
            <p:nvPr/>
          </p:nvSpPr>
          <p:spPr>
            <a:xfrm>
              <a:off x="6736388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2" name="Полилиния 1441">
              <a:extLst>
                <a:ext uri="{FF2B5EF4-FFF2-40B4-BE49-F238E27FC236}">
                  <a16:creationId xmlns:a16="http://schemas.microsoft.com/office/drawing/2014/main" id="{FD05CE6F-5EEC-3C42-8506-9EBB4F6153BD}"/>
                </a:ext>
              </a:extLst>
            </p:cNvPr>
            <p:cNvSpPr/>
            <p:nvPr/>
          </p:nvSpPr>
          <p:spPr>
            <a:xfrm>
              <a:off x="6766388" y="1442875"/>
              <a:ext cx="300000" cy="300000"/>
            </a:xfrm>
            <a:custGeom>
              <a:avLst/>
              <a:gdLst>
                <a:gd name="connsiteX0" fmla="*/ 300000 w 300000"/>
                <a:gd name="connsiteY0" fmla="*/ 150000 h 300000"/>
                <a:gd name="connsiteX1" fmla="*/ 150000 w 300000"/>
                <a:gd name="connsiteY1" fmla="*/ 300000 h 300000"/>
                <a:gd name="connsiteX2" fmla="*/ 0 w 300000"/>
                <a:gd name="connsiteY2" fmla="*/ 150000 h 300000"/>
                <a:gd name="connsiteX3" fmla="*/ 150000 w 300000"/>
                <a:gd name="connsiteY3" fmla="*/ 0 h 300000"/>
                <a:gd name="connsiteX4" fmla="*/ 300000 w 300000"/>
                <a:gd name="connsiteY4" fmla="*/ 15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0" h="300000">
                  <a:moveTo>
                    <a:pt x="300000" y="150000"/>
                  </a:moveTo>
                  <a:cubicBezTo>
                    <a:pt x="300000" y="232843"/>
                    <a:pt x="232843" y="300000"/>
                    <a:pt x="150000" y="300000"/>
                  </a:cubicBezTo>
                  <a:cubicBezTo>
                    <a:pt x="67157" y="300000"/>
                    <a:pt x="0" y="232843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3" y="0"/>
                    <a:pt x="300000" y="67157"/>
                    <a:pt x="300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3" name="Полилиния 1442">
              <a:extLst>
                <a:ext uri="{FF2B5EF4-FFF2-40B4-BE49-F238E27FC236}">
                  <a16:creationId xmlns:a16="http://schemas.microsoft.com/office/drawing/2014/main" id="{D49CABCB-8DDB-5741-A32C-5B91093FE907}"/>
                </a:ext>
              </a:extLst>
            </p:cNvPr>
            <p:cNvSpPr/>
            <p:nvPr/>
          </p:nvSpPr>
          <p:spPr>
            <a:xfrm>
              <a:off x="6863888" y="1532875"/>
              <a:ext cx="105000" cy="120000"/>
            </a:xfrm>
            <a:custGeom>
              <a:avLst/>
              <a:gdLst>
                <a:gd name="connsiteX0" fmla="*/ 90000 w 105000"/>
                <a:gd name="connsiteY0" fmla="*/ 45000 h 120000"/>
                <a:gd name="connsiteX1" fmla="*/ 105000 w 105000"/>
                <a:gd name="connsiteY1" fmla="*/ 60000 h 120000"/>
                <a:gd name="connsiteX2" fmla="*/ 105000 w 105000"/>
                <a:gd name="connsiteY2" fmla="*/ 105000 h 120000"/>
                <a:gd name="connsiteX3" fmla="*/ 90000 w 105000"/>
                <a:gd name="connsiteY3" fmla="*/ 120000 h 120000"/>
                <a:gd name="connsiteX4" fmla="*/ 15000 w 105000"/>
                <a:gd name="connsiteY4" fmla="*/ 120000 h 120000"/>
                <a:gd name="connsiteX5" fmla="*/ 0 w 105000"/>
                <a:gd name="connsiteY5" fmla="*/ 105000 h 120000"/>
                <a:gd name="connsiteX6" fmla="*/ 0 w 105000"/>
                <a:gd name="connsiteY6" fmla="*/ 60000 h 120000"/>
                <a:gd name="connsiteX7" fmla="*/ 15000 w 105000"/>
                <a:gd name="connsiteY7" fmla="*/ 45000 h 120000"/>
                <a:gd name="connsiteX8" fmla="*/ 15000 w 105000"/>
                <a:gd name="connsiteY8" fmla="*/ 37500 h 120000"/>
                <a:gd name="connsiteX9" fmla="*/ 52500 w 105000"/>
                <a:gd name="connsiteY9" fmla="*/ 0 h 120000"/>
                <a:gd name="connsiteX10" fmla="*/ 90000 w 105000"/>
                <a:gd name="connsiteY10" fmla="*/ 37500 h 120000"/>
                <a:gd name="connsiteX11" fmla="*/ 90000 w 105000"/>
                <a:gd name="connsiteY11" fmla="*/ 45000 h 120000"/>
                <a:gd name="connsiteX12" fmla="*/ 52500 w 105000"/>
                <a:gd name="connsiteY12" fmla="*/ 15000 h 120000"/>
                <a:gd name="connsiteX13" fmla="*/ 30000 w 105000"/>
                <a:gd name="connsiteY13" fmla="*/ 37500 h 120000"/>
                <a:gd name="connsiteX14" fmla="*/ 30000 w 105000"/>
                <a:gd name="connsiteY14" fmla="*/ 45000 h 120000"/>
                <a:gd name="connsiteX15" fmla="*/ 75000 w 105000"/>
                <a:gd name="connsiteY15" fmla="*/ 45000 h 120000"/>
                <a:gd name="connsiteX16" fmla="*/ 75000 w 105000"/>
                <a:gd name="connsiteY16" fmla="*/ 37500 h 120000"/>
                <a:gd name="connsiteX17" fmla="*/ 52500 w 105000"/>
                <a:gd name="connsiteY17" fmla="*/ 1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000" h="120000">
                  <a:moveTo>
                    <a:pt x="90000" y="45000"/>
                  </a:moveTo>
                  <a:cubicBezTo>
                    <a:pt x="98285" y="45000"/>
                    <a:pt x="105000" y="51715"/>
                    <a:pt x="105000" y="60000"/>
                  </a:cubicBezTo>
                  <a:lnTo>
                    <a:pt x="105000" y="105000"/>
                  </a:lnTo>
                  <a:cubicBezTo>
                    <a:pt x="105000" y="113285"/>
                    <a:pt x="98285" y="120000"/>
                    <a:pt x="90000" y="120000"/>
                  </a:cubicBezTo>
                  <a:lnTo>
                    <a:pt x="15000" y="120000"/>
                  </a:lnTo>
                  <a:cubicBezTo>
                    <a:pt x="6716" y="120000"/>
                    <a:pt x="0" y="113285"/>
                    <a:pt x="0" y="105000"/>
                  </a:cubicBezTo>
                  <a:lnTo>
                    <a:pt x="0" y="60000"/>
                  </a:lnTo>
                  <a:cubicBezTo>
                    <a:pt x="0" y="51715"/>
                    <a:pt x="6716" y="45000"/>
                    <a:pt x="15000" y="45000"/>
                  </a:cubicBezTo>
                  <a:lnTo>
                    <a:pt x="15000" y="37500"/>
                  </a:lnTo>
                  <a:cubicBezTo>
                    <a:pt x="15000" y="16789"/>
                    <a:pt x="31789" y="0"/>
                    <a:pt x="52500" y="0"/>
                  </a:cubicBezTo>
                  <a:cubicBezTo>
                    <a:pt x="73211" y="0"/>
                    <a:pt x="90000" y="16789"/>
                    <a:pt x="90000" y="37500"/>
                  </a:cubicBezTo>
                  <a:lnTo>
                    <a:pt x="90000" y="45000"/>
                  </a:lnTo>
                  <a:close/>
                  <a:moveTo>
                    <a:pt x="52500" y="15000"/>
                  </a:moveTo>
                  <a:cubicBezTo>
                    <a:pt x="40074" y="15000"/>
                    <a:pt x="30000" y="25074"/>
                    <a:pt x="30000" y="37500"/>
                  </a:cubicBezTo>
                  <a:lnTo>
                    <a:pt x="30000" y="45000"/>
                  </a:lnTo>
                  <a:lnTo>
                    <a:pt x="75000" y="45000"/>
                  </a:lnTo>
                  <a:lnTo>
                    <a:pt x="75000" y="37500"/>
                  </a:lnTo>
                  <a:cubicBezTo>
                    <a:pt x="75000" y="25074"/>
                    <a:pt x="64926" y="15000"/>
                    <a:pt x="52500" y="1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44" name="Рисунок 334">
            <a:extLst>
              <a:ext uri="{FF2B5EF4-FFF2-40B4-BE49-F238E27FC236}">
                <a16:creationId xmlns:a16="http://schemas.microsoft.com/office/drawing/2014/main" id="{D38C242F-AEBF-EF42-84C7-41D43E4DE54B}"/>
              </a:ext>
            </a:extLst>
          </p:cNvPr>
          <p:cNvGrpSpPr/>
          <p:nvPr/>
        </p:nvGrpSpPr>
        <p:grpSpPr>
          <a:xfrm>
            <a:off x="5947802" y="1096153"/>
            <a:ext cx="360000" cy="360000"/>
            <a:chOff x="5981255" y="1412875"/>
            <a:chExt cx="360000" cy="360000"/>
          </a:xfrm>
        </p:grpSpPr>
        <p:sp>
          <p:nvSpPr>
            <p:cNvPr id="1445" name="Полилиния 1444">
              <a:extLst>
                <a:ext uri="{FF2B5EF4-FFF2-40B4-BE49-F238E27FC236}">
                  <a16:creationId xmlns:a16="http://schemas.microsoft.com/office/drawing/2014/main" id="{6C7C8A63-1E5B-7C41-A480-6689949F3E30}"/>
                </a:ext>
              </a:extLst>
            </p:cNvPr>
            <p:cNvSpPr/>
            <p:nvPr/>
          </p:nvSpPr>
          <p:spPr>
            <a:xfrm>
              <a:off x="5981255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6" name="Полилиния 1445">
              <a:extLst>
                <a:ext uri="{FF2B5EF4-FFF2-40B4-BE49-F238E27FC236}">
                  <a16:creationId xmlns:a16="http://schemas.microsoft.com/office/drawing/2014/main" id="{24E3461B-A305-C749-AFF3-47C3259366AF}"/>
                </a:ext>
              </a:extLst>
            </p:cNvPr>
            <p:cNvSpPr/>
            <p:nvPr/>
          </p:nvSpPr>
          <p:spPr>
            <a:xfrm>
              <a:off x="6011255" y="1472875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7" name="Полилиния 1446">
              <a:extLst>
                <a:ext uri="{FF2B5EF4-FFF2-40B4-BE49-F238E27FC236}">
                  <a16:creationId xmlns:a16="http://schemas.microsoft.com/office/drawing/2014/main" id="{EED953B0-47E3-6949-86CF-87C3ADF50EF5}"/>
                </a:ext>
              </a:extLst>
            </p:cNvPr>
            <p:cNvSpPr/>
            <p:nvPr/>
          </p:nvSpPr>
          <p:spPr>
            <a:xfrm>
              <a:off x="6108755" y="1562875"/>
              <a:ext cx="105000" cy="120000"/>
            </a:xfrm>
            <a:custGeom>
              <a:avLst/>
              <a:gdLst>
                <a:gd name="connsiteX0" fmla="*/ 90000 w 105000"/>
                <a:gd name="connsiteY0" fmla="*/ 45000 h 120000"/>
                <a:gd name="connsiteX1" fmla="*/ 105000 w 105000"/>
                <a:gd name="connsiteY1" fmla="*/ 60000 h 120000"/>
                <a:gd name="connsiteX2" fmla="*/ 105000 w 105000"/>
                <a:gd name="connsiteY2" fmla="*/ 105000 h 120000"/>
                <a:gd name="connsiteX3" fmla="*/ 90000 w 105000"/>
                <a:gd name="connsiteY3" fmla="*/ 120000 h 120000"/>
                <a:gd name="connsiteX4" fmla="*/ 15000 w 105000"/>
                <a:gd name="connsiteY4" fmla="*/ 120000 h 120000"/>
                <a:gd name="connsiteX5" fmla="*/ 0 w 105000"/>
                <a:gd name="connsiteY5" fmla="*/ 105000 h 120000"/>
                <a:gd name="connsiteX6" fmla="*/ 0 w 105000"/>
                <a:gd name="connsiteY6" fmla="*/ 60000 h 120000"/>
                <a:gd name="connsiteX7" fmla="*/ 15000 w 105000"/>
                <a:gd name="connsiteY7" fmla="*/ 45000 h 120000"/>
                <a:gd name="connsiteX8" fmla="*/ 15000 w 105000"/>
                <a:gd name="connsiteY8" fmla="*/ 37500 h 120000"/>
                <a:gd name="connsiteX9" fmla="*/ 52500 w 105000"/>
                <a:gd name="connsiteY9" fmla="*/ 0 h 120000"/>
                <a:gd name="connsiteX10" fmla="*/ 90000 w 105000"/>
                <a:gd name="connsiteY10" fmla="*/ 37500 h 120000"/>
                <a:gd name="connsiteX11" fmla="*/ 90000 w 105000"/>
                <a:gd name="connsiteY11" fmla="*/ 45000 h 120000"/>
                <a:gd name="connsiteX12" fmla="*/ 52500 w 105000"/>
                <a:gd name="connsiteY12" fmla="*/ 15000 h 120000"/>
                <a:gd name="connsiteX13" fmla="*/ 30000 w 105000"/>
                <a:gd name="connsiteY13" fmla="*/ 37500 h 120000"/>
                <a:gd name="connsiteX14" fmla="*/ 30000 w 105000"/>
                <a:gd name="connsiteY14" fmla="*/ 45000 h 120000"/>
                <a:gd name="connsiteX15" fmla="*/ 75000 w 105000"/>
                <a:gd name="connsiteY15" fmla="*/ 45000 h 120000"/>
                <a:gd name="connsiteX16" fmla="*/ 75000 w 105000"/>
                <a:gd name="connsiteY16" fmla="*/ 37500 h 120000"/>
                <a:gd name="connsiteX17" fmla="*/ 52500 w 105000"/>
                <a:gd name="connsiteY17" fmla="*/ 1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000" h="120000">
                  <a:moveTo>
                    <a:pt x="90000" y="45000"/>
                  </a:moveTo>
                  <a:cubicBezTo>
                    <a:pt x="98285" y="45000"/>
                    <a:pt x="105000" y="51715"/>
                    <a:pt x="105000" y="60000"/>
                  </a:cubicBezTo>
                  <a:lnTo>
                    <a:pt x="105000" y="105000"/>
                  </a:lnTo>
                  <a:cubicBezTo>
                    <a:pt x="105000" y="113284"/>
                    <a:pt x="98285" y="120000"/>
                    <a:pt x="90000" y="120000"/>
                  </a:cubicBezTo>
                  <a:lnTo>
                    <a:pt x="15000" y="120000"/>
                  </a:lnTo>
                  <a:cubicBezTo>
                    <a:pt x="6716" y="120000"/>
                    <a:pt x="0" y="113284"/>
                    <a:pt x="0" y="105000"/>
                  </a:cubicBezTo>
                  <a:lnTo>
                    <a:pt x="0" y="60000"/>
                  </a:lnTo>
                  <a:cubicBezTo>
                    <a:pt x="0" y="51715"/>
                    <a:pt x="6716" y="45000"/>
                    <a:pt x="15000" y="45000"/>
                  </a:cubicBezTo>
                  <a:lnTo>
                    <a:pt x="15000" y="37500"/>
                  </a:lnTo>
                  <a:cubicBezTo>
                    <a:pt x="15000" y="16789"/>
                    <a:pt x="31789" y="0"/>
                    <a:pt x="52500" y="0"/>
                  </a:cubicBezTo>
                  <a:cubicBezTo>
                    <a:pt x="73211" y="0"/>
                    <a:pt x="90000" y="16789"/>
                    <a:pt x="90000" y="37500"/>
                  </a:cubicBezTo>
                  <a:lnTo>
                    <a:pt x="90000" y="45000"/>
                  </a:lnTo>
                  <a:close/>
                  <a:moveTo>
                    <a:pt x="52500" y="15000"/>
                  </a:moveTo>
                  <a:cubicBezTo>
                    <a:pt x="40074" y="15000"/>
                    <a:pt x="30000" y="25074"/>
                    <a:pt x="30000" y="37500"/>
                  </a:cubicBezTo>
                  <a:lnTo>
                    <a:pt x="30000" y="45000"/>
                  </a:lnTo>
                  <a:lnTo>
                    <a:pt x="75000" y="45000"/>
                  </a:lnTo>
                  <a:lnTo>
                    <a:pt x="75000" y="37500"/>
                  </a:lnTo>
                  <a:cubicBezTo>
                    <a:pt x="75000" y="25074"/>
                    <a:pt x="64926" y="15000"/>
                    <a:pt x="52500" y="1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48" name="Рисунок 335">
            <a:extLst>
              <a:ext uri="{FF2B5EF4-FFF2-40B4-BE49-F238E27FC236}">
                <a16:creationId xmlns:a16="http://schemas.microsoft.com/office/drawing/2014/main" id="{FF5B0B53-D855-E946-9E9B-B58BBB2D38AD}"/>
              </a:ext>
            </a:extLst>
          </p:cNvPr>
          <p:cNvGrpSpPr/>
          <p:nvPr/>
        </p:nvGrpSpPr>
        <p:grpSpPr>
          <a:xfrm>
            <a:off x="10478600" y="1096153"/>
            <a:ext cx="360000" cy="360000"/>
            <a:chOff x="10512053" y="1412875"/>
            <a:chExt cx="360000" cy="360000"/>
          </a:xfrm>
        </p:grpSpPr>
        <p:sp>
          <p:nvSpPr>
            <p:cNvPr id="1449" name="Полилиния 1448">
              <a:extLst>
                <a:ext uri="{FF2B5EF4-FFF2-40B4-BE49-F238E27FC236}">
                  <a16:creationId xmlns:a16="http://schemas.microsoft.com/office/drawing/2014/main" id="{BA02BE9A-A2BB-914D-B458-AEDDC5F3AE48}"/>
                </a:ext>
              </a:extLst>
            </p:cNvPr>
            <p:cNvSpPr/>
            <p:nvPr/>
          </p:nvSpPr>
          <p:spPr>
            <a:xfrm>
              <a:off x="10512053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0" name="Полилиния 1449">
              <a:extLst>
                <a:ext uri="{FF2B5EF4-FFF2-40B4-BE49-F238E27FC236}">
                  <a16:creationId xmlns:a16="http://schemas.microsoft.com/office/drawing/2014/main" id="{FDCBE19D-5A37-8A4A-9EE9-E94589F7F4D0}"/>
                </a:ext>
              </a:extLst>
            </p:cNvPr>
            <p:cNvSpPr/>
            <p:nvPr/>
          </p:nvSpPr>
          <p:spPr>
            <a:xfrm>
              <a:off x="10527053" y="1431469"/>
              <a:ext cx="315000" cy="326405"/>
            </a:xfrm>
            <a:custGeom>
              <a:avLst/>
              <a:gdLst>
                <a:gd name="connsiteX0" fmla="*/ 95847 w 315000"/>
                <a:gd name="connsiteY0" fmla="*/ 23930 h 326405"/>
                <a:gd name="connsiteX1" fmla="*/ 157500 w 315000"/>
                <a:gd name="connsiteY1" fmla="*/ 11406 h 326405"/>
                <a:gd name="connsiteX2" fmla="*/ 315000 w 315000"/>
                <a:gd name="connsiteY2" fmla="*/ 168906 h 326405"/>
                <a:gd name="connsiteX3" fmla="*/ 157500 w 315000"/>
                <a:gd name="connsiteY3" fmla="*/ 326406 h 326405"/>
                <a:gd name="connsiteX4" fmla="*/ 0 w 315000"/>
                <a:gd name="connsiteY4" fmla="*/ 168906 h 326405"/>
                <a:gd name="connsiteX5" fmla="*/ 5837 w 315000"/>
                <a:gd name="connsiteY5" fmla="*/ 126277 h 326405"/>
                <a:gd name="connsiteX6" fmla="*/ 34722 w 315000"/>
                <a:gd name="connsiteY6" fmla="*/ 134379 h 326405"/>
                <a:gd name="connsiteX7" fmla="*/ 30000 w 315000"/>
                <a:gd name="connsiteY7" fmla="*/ 168906 h 326405"/>
                <a:gd name="connsiteX8" fmla="*/ 157500 w 315000"/>
                <a:gd name="connsiteY8" fmla="*/ 296406 h 326405"/>
                <a:gd name="connsiteX9" fmla="*/ 285000 w 315000"/>
                <a:gd name="connsiteY9" fmla="*/ 168906 h 326405"/>
                <a:gd name="connsiteX10" fmla="*/ 157500 w 315000"/>
                <a:gd name="connsiteY10" fmla="*/ 41406 h 326405"/>
                <a:gd name="connsiteX11" fmla="*/ 116231 w 315000"/>
                <a:gd name="connsiteY11" fmla="*/ 48223 h 326405"/>
                <a:gd name="connsiteX12" fmla="*/ 134092 w 315000"/>
                <a:gd name="connsiteY12" fmla="*/ 69509 h 326405"/>
                <a:gd name="connsiteX13" fmla="*/ 135836 w 315000"/>
                <a:gd name="connsiteY13" fmla="*/ 73906 h 326405"/>
                <a:gd name="connsiteX14" fmla="*/ 128771 w 315000"/>
                <a:gd name="connsiteY14" fmla="*/ 81818 h 326405"/>
                <a:gd name="connsiteX15" fmla="*/ 55767 w 315000"/>
                <a:gd name="connsiteY15" fmla="*/ 85955 h 326405"/>
                <a:gd name="connsiteX16" fmla="*/ 53602 w 315000"/>
                <a:gd name="connsiteY16" fmla="*/ 85762 h 326405"/>
                <a:gd name="connsiteX17" fmla="*/ 48047 w 315000"/>
                <a:gd name="connsiteY17" fmla="*/ 76727 h 326405"/>
                <a:gd name="connsiteX18" fmla="*/ 64975 w 315000"/>
                <a:gd name="connsiteY18" fmla="*/ 5760 h 326405"/>
                <a:gd name="connsiteX19" fmla="*/ 67449 w 315000"/>
                <a:gd name="connsiteY19" fmla="*/ 1755 h 326405"/>
                <a:gd name="connsiteX20" fmla="*/ 78015 w 315000"/>
                <a:gd name="connsiteY20" fmla="*/ 2679 h 326405"/>
                <a:gd name="connsiteX21" fmla="*/ 95847 w 315000"/>
                <a:gd name="connsiteY21" fmla="*/ 23930 h 326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15000" h="326405">
                  <a:moveTo>
                    <a:pt x="95847" y="23930"/>
                  </a:moveTo>
                  <a:cubicBezTo>
                    <a:pt x="114783" y="15867"/>
                    <a:pt x="135620" y="11406"/>
                    <a:pt x="157500" y="11406"/>
                  </a:cubicBezTo>
                  <a:cubicBezTo>
                    <a:pt x="244485" y="11406"/>
                    <a:pt x="315000" y="81921"/>
                    <a:pt x="315000" y="168906"/>
                  </a:cubicBezTo>
                  <a:cubicBezTo>
                    <a:pt x="315000" y="255891"/>
                    <a:pt x="244485" y="326406"/>
                    <a:pt x="157500" y="326406"/>
                  </a:cubicBezTo>
                  <a:cubicBezTo>
                    <a:pt x="70515" y="326406"/>
                    <a:pt x="0" y="255891"/>
                    <a:pt x="0" y="168906"/>
                  </a:cubicBezTo>
                  <a:cubicBezTo>
                    <a:pt x="0" y="154132"/>
                    <a:pt x="2034" y="139834"/>
                    <a:pt x="5837" y="126277"/>
                  </a:cubicBezTo>
                  <a:lnTo>
                    <a:pt x="34722" y="134379"/>
                  </a:lnTo>
                  <a:cubicBezTo>
                    <a:pt x="31601" y="145507"/>
                    <a:pt x="30000" y="157084"/>
                    <a:pt x="30000" y="168906"/>
                  </a:cubicBezTo>
                  <a:cubicBezTo>
                    <a:pt x="30000" y="239322"/>
                    <a:pt x="87084" y="296406"/>
                    <a:pt x="157500" y="296406"/>
                  </a:cubicBezTo>
                  <a:cubicBezTo>
                    <a:pt x="227916" y="296406"/>
                    <a:pt x="285000" y="239322"/>
                    <a:pt x="285000" y="168906"/>
                  </a:cubicBezTo>
                  <a:cubicBezTo>
                    <a:pt x="285000" y="98490"/>
                    <a:pt x="227916" y="41406"/>
                    <a:pt x="157500" y="41406"/>
                  </a:cubicBezTo>
                  <a:cubicBezTo>
                    <a:pt x="143232" y="41406"/>
                    <a:pt x="129335" y="43745"/>
                    <a:pt x="116231" y="48223"/>
                  </a:cubicBezTo>
                  <a:lnTo>
                    <a:pt x="134092" y="69509"/>
                  </a:lnTo>
                  <a:cubicBezTo>
                    <a:pt x="135132" y="70748"/>
                    <a:pt x="135744" y="72291"/>
                    <a:pt x="135836" y="73906"/>
                  </a:cubicBezTo>
                  <a:cubicBezTo>
                    <a:pt x="136070" y="78041"/>
                    <a:pt x="132907" y="81584"/>
                    <a:pt x="128771" y="81818"/>
                  </a:cubicBezTo>
                  <a:lnTo>
                    <a:pt x="55767" y="85955"/>
                  </a:lnTo>
                  <a:cubicBezTo>
                    <a:pt x="55040" y="85996"/>
                    <a:pt x="54311" y="85931"/>
                    <a:pt x="53602" y="85762"/>
                  </a:cubicBezTo>
                  <a:cubicBezTo>
                    <a:pt x="49573" y="84801"/>
                    <a:pt x="47086" y="80756"/>
                    <a:pt x="48047" y="76727"/>
                  </a:cubicBezTo>
                  <a:lnTo>
                    <a:pt x="64975" y="5760"/>
                  </a:lnTo>
                  <a:cubicBezTo>
                    <a:pt x="65348" y="4194"/>
                    <a:pt x="66216" y="2790"/>
                    <a:pt x="67449" y="1755"/>
                  </a:cubicBezTo>
                  <a:cubicBezTo>
                    <a:pt x="70622" y="-908"/>
                    <a:pt x="75353" y="-494"/>
                    <a:pt x="78015" y="2679"/>
                  </a:cubicBezTo>
                  <a:lnTo>
                    <a:pt x="95847" y="2393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1" name="Полилиния 1450">
              <a:extLst>
                <a:ext uri="{FF2B5EF4-FFF2-40B4-BE49-F238E27FC236}">
                  <a16:creationId xmlns:a16="http://schemas.microsoft.com/office/drawing/2014/main" id="{32BB3FCE-7685-F643-BB59-C9DC336FD243}"/>
                </a:ext>
              </a:extLst>
            </p:cNvPr>
            <p:cNvSpPr/>
            <p:nvPr/>
          </p:nvSpPr>
          <p:spPr>
            <a:xfrm>
              <a:off x="10639553" y="1532875"/>
              <a:ext cx="105000" cy="120000"/>
            </a:xfrm>
            <a:custGeom>
              <a:avLst/>
              <a:gdLst>
                <a:gd name="connsiteX0" fmla="*/ 90000 w 105000"/>
                <a:gd name="connsiteY0" fmla="*/ 45000 h 120000"/>
                <a:gd name="connsiteX1" fmla="*/ 105000 w 105000"/>
                <a:gd name="connsiteY1" fmla="*/ 60000 h 120000"/>
                <a:gd name="connsiteX2" fmla="*/ 105000 w 105000"/>
                <a:gd name="connsiteY2" fmla="*/ 105000 h 120000"/>
                <a:gd name="connsiteX3" fmla="*/ 90000 w 105000"/>
                <a:gd name="connsiteY3" fmla="*/ 120000 h 120000"/>
                <a:gd name="connsiteX4" fmla="*/ 15000 w 105000"/>
                <a:gd name="connsiteY4" fmla="*/ 120000 h 120000"/>
                <a:gd name="connsiteX5" fmla="*/ 0 w 105000"/>
                <a:gd name="connsiteY5" fmla="*/ 105000 h 120000"/>
                <a:gd name="connsiteX6" fmla="*/ 0 w 105000"/>
                <a:gd name="connsiteY6" fmla="*/ 60000 h 120000"/>
                <a:gd name="connsiteX7" fmla="*/ 15000 w 105000"/>
                <a:gd name="connsiteY7" fmla="*/ 45000 h 120000"/>
                <a:gd name="connsiteX8" fmla="*/ 15000 w 105000"/>
                <a:gd name="connsiteY8" fmla="*/ 37500 h 120000"/>
                <a:gd name="connsiteX9" fmla="*/ 52500 w 105000"/>
                <a:gd name="connsiteY9" fmla="*/ 0 h 120000"/>
                <a:gd name="connsiteX10" fmla="*/ 90000 w 105000"/>
                <a:gd name="connsiteY10" fmla="*/ 37500 h 120000"/>
                <a:gd name="connsiteX11" fmla="*/ 90000 w 105000"/>
                <a:gd name="connsiteY11" fmla="*/ 45000 h 120000"/>
                <a:gd name="connsiteX12" fmla="*/ 52500 w 105000"/>
                <a:gd name="connsiteY12" fmla="*/ 15000 h 120000"/>
                <a:gd name="connsiteX13" fmla="*/ 30000 w 105000"/>
                <a:gd name="connsiteY13" fmla="*/ 37500 h 120000"/>
                <a:gd name="connsiteX14" fmla="*/ 30000 w 105000"/>
                <a:gd name="connsiteY14" fmla="*/ 45000 h 120000"/>
                <a:gd name="connsiteX15" fmla="*/ 75000 w 105000"/>
                <a:gd name="connsiteY15" fmla="*/ 45000 h 120000"/>
                <a:gd name="connsiteX16" fmla="*/ 75000 w 105000"/>
                <a:gd name="connsiteY16" fmla="*/ 37500 h 120000"/>
                <a:gd name="connsiteX17" fmla="*/ 52500 w 105000"/>
                <a:gd name="connsiteY17" fmla="*/ 1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000" h="120000">
                  <a:moveTo>
                    <a:pt x="90000" y="45000"/>
                  </a:moveTo>
                  <a:cubicBezTo>
                    <a:pt x="98285" y="45000"/>
                    <a:pt x="105000" y="51715"/>
                    <a:pt x="105000" y="60000"/>
                  </a:cubicBezTo>
                  <a:lnTo>
                    <a:pt x="105000" y="105000"/>
                  </a:lnTo>
                  <a:cubicBezTo>
                    <a:pt x="105000" y="113285"/>
                    <a:pt x="98285" y="120000"/>
                    <a:pt x="90000" y="120000"/>
                  </a:cubicBezTo>
                  <a:lnTo>
                    <a:pt x="15000" y="120000"/>
                  </a:lnTo>
                  <a:cubicBezTo>
                    <a:pt x="6716" y="120000"/>
                    <a:pt x="0" y="113285"/>
                    <a:pt x="0" y="105000"/>
                  </a:cubicBezTo>
                  <a:lnTo>
                    <a:pt x="0" y="60000"/>
                  </a:lnTo>
                  <a:cubicBezTo>
                    <a:pt x="0" y="51715"/>
                    <a:pt x="6716" y="45000"/>
                    <a:pt x="15000" y="45000"/>
                  </a:cubicBezTo>
                  <a:lnTo>
                    <a:pt x="15000" y="37500"/>
                  </a:lnTo>
                  <a:cubicBezTo>
                    <a:pt x="15000" y="16789"/>
                    <a:pt x="31789" y="0"/>
                    <a:pt x="52500" y="0"/>
                  </a:cubicBezTo>
                  <a:cubicBezTo>
                    <a:pt x="73211" y="0"/>
                    <a:pt x="90000" y="16789"/>
                    <a:pt x="90000" y="37500"/>
                  </a:cubicBezTo>
                  <a:lnTo>
                    <a:pt x="90000" y="45000"/>
                  </a:lnTo>
                  <a:close/>
                  <a:moveTo>
                    <a:pt x="52500" y="15000"/>
                  </a:moveTo>
                  <a:cubicBezTo>
                    <a:pt x="40074" y="15000"/>
                    <a:pt x="30000" y="25074"/>
                    <a:pt x="30000" y="37500"/>
                  </a:cubicBezTo>
                  <a:lnTo>
                    <a:pt x="30000" y="45000"/>
                  </a:lnTo>
                  <a:lnTo>
                    <a:pt x="75000" y="45000"/>
                  </a:lnTo>
                  <a:lnTo>
                    <a:pt x="75000" y="37500"/>
                  </a:lnTo>
                  <a:cubicBezTo>
                    <a:pt x="75000" y="25074"/>
                    <a:pt x="64926" y="15000"/>
                    <a:pt x="52500" y="1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52" name="Рисунок 336">
            <a:extLst>
              <a:ext uri="{FF2B5EF4-FFF2-40B4-BE49-F238E27FC236}">
                <a16:creationId xmlns:a16="http://schemas.microsoft.com/office/drawing/2014/main" id="{27CA490B-6E60-F943-A064-F44436E1516D}"/>
              </a:ext>
            </a:extLst>
          </p:cNvPr>
          <p:cNvGrpSpPr/>
          <p:nvPr/>
        </p:nvGrpSpPr>
        <p:grpSpPr>
          <a:xfrm>
            <a:off x="9723467" y="1096153"/>
            <a:ext cx="360000" cy="360000"/>
            <a:chOff x="9756920" y="1412875"/>
            <a:chExt cx="360000" cy="360000"/>
          </a:xfrm>
        </p:grpSpPr>
        <p:sp>
          <p:nvSpPr>
            <p:cNvPr id="1453" name="Полилиния 1452">
              <a:extLst>
                <a:ext uri="{FF2B5EF4-FFF2-40B4-BE49-F238E27FC236}">
                  <a16:creationId xmlns:a16="http://schemas.microsoft.com/office/drawing/2014/main" id="{4014A9B6-9E43-894D-85DC-392E26F7C3B4}"/>
                </a:ext>
              </a:extLst>
            </p:cNvPr>
            <p:cNvSpPr/>
            <p:nvPr/>
          </p:nvSpPr>
          <p:spPr>
            <a:xfrm>
              <a:off x="975692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4" name="Полилиния 1453">
              <a:extLst>
                <a:ext uri="{FF2B5EF4-FFF2-40B4-BE49-F238E27FC236}">
                  <a16:creationId xmlns:a16="http://schemas.microsoft.com/office/drawing/2014/main" id="{CFB9C715-4DBA-DE40-BC23-730034910BE1}"/>
                </a:ext>
              </a:extLst>
            </p:cNvPr>
            <p:cNvSpPr/>
            <p:nvPr/>
          </p:nvSpPr>
          <p:spPr>
            <a:xfrm>
              <a:off x="9771920" y="1465977"/>
              <a:ext cx="330000" cy="253920"/>
            </a:xfrm>
            <a:custGeom>
              <a:avLst/>
              <a:gdLst>
                <a:gd name="connsiteX0" fmla="*/ 231763 w 330000"/>
                <a:gd name="connsiteY0" fmla="*/ 207942 h 253920"/>
                <a:gd name="connsiteX1" fmla="*/ 212678 w 330000"/>
                <a:gd name="connsiteY1" fmla="*/ 184796 h 253920"/>
                <a:gd name="connsiteX2" fmla="*/ 240000 w 330000"/>
                <a:gd name="connsiteY2" fmla="*/ 126897 h 253920"/>
                <a:gd name="connsiteX3" fmla="*/ 212841 w 330000"/>
                <a:gd name="connsiteY3" fmla="*/ 69134 h 253920"/>
                <a:gd name="connsiteX4" fmla="*/ 231992 w 330000"/>
                <a:gd name="connsiteY4" fmla="*/ 46042 h 253920"/>
                <a:gd name="connsiteX5" fmla="*/ 270000 w 330000"/>
                <a:gd name="connsiteY5" fmla="*/ 126897 h 253920"/>
                <a:gd name="connsiteX6" fmla="*/ 231763 w 330000"/>
                <a:gd name="connsiteY6" fmla="*/ 207942 h 253920"/>
                <a:gd name="connsiteX7" fmla="*/ 270317 w 330000"/>
                <a:gd name="connsiteY7" fmla="*/ 253920 h 253920"/>
                <a:gd name="connsiteX8" fmla="*/ 251157 w 330000"/>
                <a:gd name="connsiteY8" fmla="*/ 230835 h 253920"/>
                <a:gd name="connsiteX9" fmla="*/ 300000 w 330000"/>
                <a:gd name="connsiteY9" fmla="*/ 126897 h 253920"/>
                <a:gd name="connsiteX10" fmla="*/ 251280 w 330000"/>
                <a:gd name="connsiteY10" fmla="*/ 23062 h 253920"/>
                <a:gd name="connsiteX11" fmla="*/ 270467 w 330000"/>
                <a:gd name="connsiteY11" fmla="*/ 0 h 253920"/>
                <a:gd name="connsiteX12" fmla="*/ 330000 w 330000"/>
                <a:gd name="connsiteY12" fmla="*/ 126897 h 253920"/>
                <a:gd name="connsiteX13" fmla="*/ 270317 w 330000"/>
                <a:gd name="connsiteY13" fmla="*/ 253920 h 253920"/>
                <a:gd name="connsiteX14" fmla="*/ 98237 w 330000"/>
                <a:gd name="connsiteY14" fmla="*/ 207942 h 253920"/>
                <a:gd name="connsiteX15" fmla="*/ 60000 w 330000"/>
                <a:gd name="connsiteY15" fmla="*/ 126897 h 253920"/>
                <a:gd name="connsiteX16" fmla="*/ 98008 w 330000"/>
                <a:gd name="connsiteY16" fmla="*/ 46042 h 253920"/>
                <a:gd name="connsiteX17" fmla="*/ 117159 w 330000"/>
                <a:gd name="connsiteY17" fmla="*/ 69134 h 253920"/>
                <a:gd name="connsiteX18" fmla="*/ 90000 w 330000"/>
                <a:gd name="connsiteY18" fmla="*/ 126897 h 253920"/>
                <a:gd name="connsiteX19" fmla="*/ 117323 w 330000"/>
                <a:gd name="connsiteY19" fmla="*/ 184796 h 253920"/>
                <a:gd name="connsiteX20" fmla="*/ 98237 w 330000"/>
                <a:gd name="connsiteY20" fmla="*/ 207942 h 253920"/>
                <a:gd name="connsiteX21" fmla="*/ 59683 w 330000"/>
                <a:gd name="connsiteY21" fmla="*/ 253920 h 253920"/>
                <a:gd name="connsiteX22" fmla="*/ 0 w 330000"/>
                <a:gd name="connsiteY22" fmla="*/ 126897 h 253920"/>
                <a:gd name="connsiteX23" fmla="*/ 59533 w 330000"/>
                <a:gd name="connsiteY23" fmla="*/ 0 h 253920"/>
                <a:gd name="connsiteX24" fmla="*/ 78720 w 330000"/>
                <a:gd name="connsiteY24" fmla="*/ 23062 h 253920"/>
                <a:gd name="connsiteX25" fmla="*/ 30000 w 330000"/>
                <a:gd name="connsiteY25" fmla="*/ 126897 h 253920"/>
                <a:gd name="connsiteX26" fmla="*/ 78843 w 330000"/>
                <a:gd name="connsiteY26" fmla="*/ 230835 h 253920"/>
                <a:gd name="connsiteX27" fmla="*/ 59683 w 330000"/>
                <a:gd name="connsiteY27" fmla="*/ 253920 h 25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30000" h="253920">
                  <a:moveTo>
                    <a:pt x="231763" y="207942"/>
                  </a:moveTo>
                  <a:lnTo>
                    <a:pt x="212678" y="184796"/>
                  </a:lnTo>
                  <a:cubicBezTo>
                    <a:pt x="229867" y="170621"/>
                    <a:pt x="240000" y="149603"/>
                    <a:pt x="240000" y="126897"/>
                  </a:cubicBezTo>
                  <a:cubicBezTo>
                    <a:pt x="240000" y="104265"/>
                    <a:pt x="229935" y="83310"/>
                    <a:pt x="212841" y="69134"/>
                  </a:cubicBezTo>
                  <a:lnTo>
                    <a:pt x="231992" y="46042"/>
                  </a:lnTo>
                  <a:cubicBezTo>
                    <a:pt x="255886" y="65858"/>
                    <a:pt x="270000" y="95241"/>
                    <a:pt x="270000" y="126897"/>
                  </a:cubicBezTo>
                  <a:cubicBezTo>
                    <a:pt x="270000" y="158658"/>
                    <a:pt x="255794" y="188127"/>
                    <a:pt x="231763" y="207942"/>
                  </a:cubicBezTo>
                  <a:close/>
                  <a:moveTo>
                    <a:pt x="270317" y="253920"/>
                  </a:moveTo>
                  <a:lnTo>
                    <a:pt x="251157" y="230835"/>
                  </a:lnTo>
                  <a:cubicBezTo>
                    <a:pt x="281891" y="205328"/>
                    <a:pt x="300000" y="167607"/>
                    <a:pt x="300000" y="126897"/>
                  </a:cubicBezTo>
                  <a:cubicBezTo>
                    <a:pt x="300000" y="86243"/>
                    <a:pt x="281942" y="48570"/>
                    <a:pt x="251280" y="23062"/>
                  </a:cubicBezTo>
                  <a:lnTo>
                    <a:pt x="270467" y="0"/>
                  </a:lnTo>
                  <a:cubicBezTo>
                    <a:pt x="307908" y="31149"/>
                    <a:pt x="330000" y="77236"/>
                    <a:pt x="330000" y="126897"/>
                  </a:cubicBezTo>
                  <a:cubicBezTo>
                    <a:pt x="330000" y="176628"/>
                    <a:pt x="307847" y="222771"/>
                    <a:pt x="270317" y="253920"/>
                  </a:cubicBezTo>
                  <a:close/>
                  <a:moveTo>
                    <a:pt x="98237" y="207942"/>
                  </a:moveTo>
                  <a:cubicBezTo>
                    <a:pt x="74207" y="188127"/>
                    <a:pt x="60000" y="158658"/>
                    <a:pt x="60000" y="126897"/>
                  </a:cubicBezTo>
                  <a:cubicBezTo>
                    <a:pt x="60000" y="95241"/>
                    <a:pt x="74114" y="65858"/>
                    <a:pt x="98008" y="46042"/>
                  </a:cubicBezTo>
                  <a:lnTo>
                    <a:pt x="117159" y="69134"/>
                  </a:lnTo>
                  <a:cubicBezTo>
                    <a:pt x="100066" y="83310"/>
                    <a:pt x="90000" y="104265"/>
                    <a:pt x="90000" y="126897"/>
                  </a:cubicBezTo>
                  <a:cubicBezTo>
                    <a:pt x="90000" y="149603"/>
                    <a:pt x="100133" y="170621"/>
                    <a:pt x="117323" y="184796"/>
                  </a:cubicBezTo>
                  <a:lnTo>
                    <a:pt x="98237" y="207942"/>
                  </a:lnTo>
                  <a:close/>
                  <a:moveTo>
                    <a:pt x="59683" y="253920"/>
                  </a:moveTo>
                  <a:cubicBezTo>
                    <a:pt x="22154" y="222771"/>
                    <a:pt x="0" y="176628"/>
                    <a:pt x="0" y="126897"/>
                  </a:cubicBezTo>
                  <a:cubicBezTo>
                    <a:pt x="0" y="77236"/>
                    <a:pt x="22092" y="31149"/>
                    <a:pt x="59533" y="0"/>
                  </a:cubicBezTo>
                  <a:lnTo>
                    <a:pt x="78720" y="23062"/>
                  </a:lnTo>
                  <a:cubicBezTo>
                    <a:pt x="48059" y="48570"/>
                    <a:pt x="30000" y="86243"/>
                    <a:pt x="30000" y="126897"/>
                  </a:cubicBezTo>
                  <a:cubicBezTo>
                    <a:pt x="30000" y="167607"/>
                    <a:pt x="48110" y="205328"/>
                    <a:pt x="78843" y="230835"/>
                  </a:cubicBezTo>
                  <a:lnTo>
                    <a:pt x="59683" y="25392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5" name="Полилиния 1454">
              <a:extLst>
                <a:ext uri="{FF2B5EF4-FFF2-40B4-BE49-F238E27FC236}">
                  <a16:creationId xmlns:a16="http://schemas.microsoft.com/office/drawing/2014/main" id="{A56D1BA8-B07F-614F-B32D-37A6B3FB1482}"/>
                </a:ext>
              </a:extLst>
            </p:cNvPr>
            <p:cNvSpPr/>
            <p:nvPr/>
          </p:nvSpPr>
          <p:spPr>
            <a:xfrm>
              <a:off x="9899420" y="1555375"/>
              <a:ext cx="75000" cy="172500"/>
            </a:xfrm>
            <a:custGeom>
              <a:avLst/>
              <a:gdLst>
                <a:gd name="connsiteX0" fmla="*/ 22500 w 75000"/>
                <a:gd name="connsiteY0" fmla="*/ 71880 h 172500"/>
                <a:gd name="connsiteX1" fmla="*/ 0 w 75000"/>
                <a:gd name="connsiteY1" fmla="*/ 37500 h 172500"/>
                <a:gd name="connsiteX2" fmla="*/ 37500 w 75000"/>
                <a:gd name="connsiteY2" fmla="*/ 0 h 172500"/>
                <a:gd name="connsiteX3" fmla="*/ 75000 w 75000"/>
                <a:gd name="connsiteY3" fmla="*/ 37500 h 172500"/>
                <a:gd name="connsiteX4" fmla="*/ 52500 w 75000"/>
                <a:gd name="connsiteY4" fmla="*/ 71880 h 172500"/>
                <a:gd name="connsiteX5" fmla="*/ 52500 w 75000"/>
                <a:gd name="connsiteY5" fmla="*/ 157500 h 172500"/>
                <a:gd name="connsiteX6" fmla="*/ 37500 w 75000"/>
                <a:gd name="connsiteY6" fmla="*/ 172500 h 172500"/>
                <a:gd name="connsiteX7" fmla="*/ 22500 w 75000"/>
                <a:gd name="connsiteY7" fmla="*/ 157500 h 172500"/>
                <a:gd name="connsiteX8" fmla="*/ 22500 w 75000"/>
                <a:gd name="connsiteY8" fmla="*/ 71880 h 17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000" h="172500">
                  <a:moveTo>
                    <a:pt x="22500" y="71880"/>
                  </a:moveTo>
                  <a:cubicBezTo>
                    <a:pt x="9255" y="66093"/>
                    <a:pt x="0" y="52878"/>
                    <a:pt x="0" y="37500"/>
                  </a:cubicBezTo>
                  <a:cubicBezTo>
                    <a:pt x="0" y="16789"/>
                    <a:pt x="16789" y="0"/>
                    <a:pt x="37500" y="0"/>
                  </a:cubicBezTo>
                  <a:cubicBezTo>
                    <a:pt x="58211" y="0"/>
                    <a:pt x="75000" y="16789"/>
                    <a:pt x="75000" y="37500"/>
                  </a:cubicBezTo>
                  <a:cubicBezTo>
                    <a:pt x="75000" y="52878"/>
                    <a:pt x="65745" y="66093"/>
                    <a:pt x="52500" y="71880"/>
                  </a:cubicBezTo>
                  <a:lnTo>
                    <a:pt x="52500" y="157500"/>
                  </a:lnTo>
                  <a:cubicBezTo>
                    <a:pt x="52500" y="165785"/>
                    <a:pt x="45785" y="172500"/>
                    <a:pt x="37500" y="172500"/>
                  </a:cubicBezTo>
                  <a:cubicBezTo>
                    <a:pt x="29215" y="172500"/>
                    <a:pt x="22500" y="165785"/>
                    <a:pt x="22500" y="157500"/>
                  </a:cubicBezTo>
                  <a:lnTo>
                    <a:pt x="22500" y="7188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56" name="Рисунок 337">
            <a:extLst>
              <a:ext uri="{FF2B5EF4-FFF2-40B4-BE49-F238E27FC236}">
                <a16:creationId xmlns:a16="http://schemas.microsoft.com/office/drawing/2014/main" id="{DD11A1C8-A2BC-D747-BF9F-410ECF198279}"/>
              </a:ext>
            </a:extLst>
          </p:cNvPr>
          <p:cNvGrpSpPr/>
          <p:nvPr/>
        </p:nvGrpSpPr>
        <p:grpSpPr>
          <a:xfrm>
            <a:off x="8968334" y="1096153"/>
            <a:ext cx="360000" cy="360000"/>
            <a:chOff x="9001787" y="1412875"/>
            <a:chExt cx="360000" cy="360000"/>
          </a:xfrm>
        </p:grpSpPr>
        <p:sp>
          <p:nvSpPr>
            <p:cNvPr id="1457" name="Полилиния 1456">
              <a:extLst>
                <a:ext uri="{FF2B5EF4-FFF2-40B4-BE49-F238E27FC236}">
                  <a16:creationId xmlns:a16="http://schemas.microsoft.com/office/drawing/2014/main" id="{1B1A6D68-484E-EB46-8B89-2E5837277781}"/>
                </a:ext>
              </a:extLst>
            </p:cNvPr>
            <p:cNvSpPr/>
            <p:nvPr/>
          </p:nvSpPr>
          <p:spPr>
            <a:xfrm>
              <a:off x="9001787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8" name="Полилиния 1457">
              <a:extLst>
                <a:ext uri="{FF2B5EF4-FFF2-40B4-BE49-F238E27FC236}">
                  <a16:creationId xmlns:a16="http://schemas.microsoft.com/office/drawing/2014/main" id="{2A298400-C73E-FD4A-A5AC-7EAB7D5B617F}"/>
                </a:ext>
              </a:extLst>
            </p:cNvPr>
            <p:cNvSpPr/>
            <p:nvPr/>
          </p:nvSpPr>
          <p:spPr>
            <a:xfrm rot="8100000">
              <a:off x="8986787" y="1562874"/>
              <a:ext cx="330000" cy="90000"/>
            </a:xfrm>
            <a:custGeom>
              <a:avLst/>
              <a:gdLst>
                <a:gd name="connsiteX0" fmla="*/ 30000 w 330000"/>
                <a:gd name="connsiteY0" fmla="*/ 30000 h 90000"/>
                <a:gd name="connsiteX1" fmla="*/ 30000 w 330000"/>
                <a:gd name="connsiteY1" fmla="*/ 60000 h 90000"/>
                <a:gd name="connsiteX2" fmla="*/ 105000 w 330000"/>
                <a:gd name="connsiteY2" fmla="*/ 60000 h 90000"/>
                <a:gd name="connsiteX3" fmla="*/ 105000 w 330000"/>
                <a:gd name="connsiteY3" fmla="*/ 30000 h 90000"/>
                <a:gd name="connsiteX4" fmla="*/ 30000 w 330000"/>
                <a:gd name="connsiteY4" fmla="*/ 30000 h 90000"/>
                <a:gd name="connsiteX5" fmla="*/ 15000 w 330000"/>
                <a:gd name="connsiteY5" fmla="*/ 0 h 90000"/>
                <a:gd name="connsiteX6" fmla="*/ 315000 w 330000"/>
                <a:gd name="connsiteY6" fmla="*/ 0 h 90000"/>
                <a:gd name="connsiteX7" fmla="*/ 330000 w 330000"/>
                <a:gd name="connsiteY7" fmla="*/ 15000 h 90000"/>
                <a:gd name="connsiteX8" fmla="*/ 330000 w 330000"/>
                <a:gd name="connsiteY8" fmla="*/ 75000 h 90000"/>
                <a:gd name="connsiteX9" fmla="*/ 315000 w 330000"/>
                <a:gd name="connsiteY9" fmla="*/ 90000 h 90000"/>
                <a:gd name="connsiteX10" fmla="*/ 15000 w 330000"/>
                <a:gd name="connsiteY10" fmla="*/ 90000 h 90000"/>
                <a:gd name="connsiteX11" fmla="*/ 0 w 330000"/>
                <a:gd name="connsiteY11" fmla="*/ 75000 h 90000"/>
                <a:gd name="connsiteX12" fmla="*/ 0 w 330000"/>
                <a:gd name="connsiteY12" fmla="*/ 15000 h 90000"/>
                <a:gd name="connsiteX13" fmla="*/ 15000 w 330000"/>
                <a:gd name="connsiteY13" fmla="*/ 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0000" h="90000">
                  <a:moveTo>
                    <a:pt x="30000" y="30000"/>
                  </a:moveTo>
                  <a:lnTo>
                    <a:pt x="30000" y="60000"/>
                  </a:lnTo>
                  <a:lnTo>
                    <a:pt x="105000" y="60000"/>
                  </a:lnTo>
                  <a:lnTo>
                    <a:pt x="105000" y="30000"/>
                  </a:lnTo>
                  <a:lnTo>
                    <a:pt x="30000" y="30000"/>
                  </a:lnTo>
                  <a:close/>
                  <a:moveTo>
                    <a:pt x="15000" y="0"/>
                  </a:moveTo>
                  <a:lnTo>
                    <a:pt x="315000" y="0"/>
                  </a:lnTo>
                  <a:cubicBezTo>
                    <a:pt x="323285" y="0"/>
                    <a:pt x="330000" y="6715"/>
                    <a:pt x="330000" y="15000"/>
                  </a:cubicBezTo>
                  <a:lnTo>
                    <a:pt x="330000" y="75000"/>
                  </a:lnTo>
                  <a:cubicBezTo>
                    <a:pt x="330000" y="83285"/>
                    <a:pt x="323285" y="90000"/>
                    <a:pt x="315000" y="90000"/>
                  </a:cubicBezTo>
                  <a:lnTo>
                    <a:pt x="15000" y="90000"/>
                  </a:lnTo>
                  <a:cubicBezTo>
                    <a:pt x="6716" y="90000"/>
                    <a:pt x="0" y="83285"/>
                    <a:pt x="0" y="75000"/>
                  </a:cubicBezTo>
                  <a:lnTo>
                    <a:pt x="0" y="15000"/>
                  </a:lnTo>
                  <a:cubicBezTo>
                    <a:pt x="0" y="6715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9" name="Полилиния 1458">
              <a:extLst>
                <a:ext uri="{FF2B5EF4-FFF2-40B4-BE49-F238E27FC236}">
                  <a16:creationId xmlns:a16="http://schemas.microsoft.com/office/drawing/2014/main" id="{1A706169-DFA6-F74B-8607-7B7D939D60E8}"/>
                </a:ext>
              </a:extLst>
            </p:cNvPr>
            <p:cNvSpPr/>
            <p:nvPr/>
          </p:nvSpPr>
          <p:spPr>
            <a:xfrm>
              <a:off x="9256787" y="1547875"/>
              <a:ext cx="90000" cy="90000"/>
            </a:xfrm>
            <a:custGeom>
              <a:avLst/>
              <a:gdLst>
                <a:gd name="connsiteX0" fmla="*/ 7500 w 90000"/>
                <a:gd name="connsiteY0" fmla="*/ 45000 h 90000"/>
                <a:gd name="connsiteX1" fmla="*/ 22500 w 90000"/>
                <a:gd name="connsiteY1" fmla="*/ 45000 h 90000"/>
                <a:gd name="connsiteX2" fmla="*/ 30000 w 90000"/>
                <a:gd name="connsiteY2" fmla="*/ 52500 h 90000"/>
                <a:gd name="connsiteX3" fmla="*/ 30000 w 90000"/>
                <a:gd name="connsiteY3" fmla="*/ 67500 h 90000"/>
                <a:gd name="connsiteX4" fmla="*/ 22500 w 90000"/>
                <a:gd name="connsiteY4" fmla="*/ 75000 h 90000"/>
                <a:gd name="connsiteX5" fmla="*/ 7500 w 90000"/>
                <a:gd name="connsiteY5" fmla="*/ 75000 h 90000"/>
                <a:gd name="connsiteX6" fmla="*/ 0 w 90000"/>
                <a:gd name="connsiteY6" fmla="*/ 67500 h 90000"/>
                <a:gd name="connsiteX7" fmla="*/ 0 w 90000"/>
                <a:gd name="connsiteY7" fmla="*/ 52500 h 90000"/>
                <a:gd name="connsiteX8" fmla="*/ 7500 w 90000"/>
                <a:gd name="connsiteY8" fmla="*/ 45000 h 90000"/>
                <a:gd name="connsiteX9" fmla="*/ 52500 w 90000"/>
                <a:gd name="connsiteY9" fmla="*/ 0 h 90000"/>
                <a:gd name="connsiteX10" fmla="*/ 67500 w 90000"/>
                <a:gd name="connsiteY10" fmla="*/ 0 h 90000"/>
                <a:gd name="connsiteX11" fmla="*/ 75000 w 90000"/>
                <a:gd name="connsiteY11" fmla="*/ 7500 h 90000"/>
                <a:gd name="connsiteX12" fmla="*/ 75000 w 90000"/>
                <a:gd name="connsiteY12" fmla="*/ 22500 h 90000"/>
                <a:gd name="connsiteX13" fmla="*/ 67500 w 90000"/>
                <a:gd name="connsiteY13" fmla="*/ 30000 h 90000"/>
                <a:gd name="connsiteX14" fmla="*/ 52500 w 90000"/>
                <a:gd name="connsiteY14" fmla="*/ 30000 h 90000"/>
                <a:gd name="connsiteX15" fmla="*/ 45000 w 90000"/>
                <a:gd name="connsiteY15" fmla="*/ 22500 h 90000"/>
                <a:gd name="connsiteX16" fmla="*/ 45000 w 90000"/>
                <a:gd name="connsiteY16" fmla="*/ 7500 h 90000"/>
                <a:gd name="connsiteX17" fmla="*/ 52500 w 90000"/>
                <a:gd name="connsiteY17" fmla="*/ 0 h 90000"/>
                <a:gd name="connsiteX18" fmla="*/ 67500 w 90000"/>
                <a:gd name="connsiteY18" fmla="*/ 60000 h 90000"/>
                <a:gd name="connsiteX19" fmla="*/ 82500 w 90000"/>
                <a:gd name="connsiteY19" fmla="*/ 60000 h 90000"/>
                <a:gd name="connsiteX20" fmla="*/ 90000 w 90000"/>
                <a:gd name="connsiteY20" fmla="*/ 67500 h 90000"/>
                <a:gd name="connsiteX21" fmla="*/ 90000 w 90000"/>
                <a:gd name="connsiteY21" fmla="*/ 82500 h 90000"/>
                <a:gd name="connsiteX22" fmla="*/ 82500 w 90000"/>
                <a:gd name="connsiteY22" fmla="*/ 90000 h 90000"/>
                <a:gd name="connsiteX23" fmla="*/ 67500 w 90000"/>
                <a:gd name="connsiteY23" fmla="*/ 90000 h 90000"/>
                <a:gd name="connsiteX24" fmla="*/ 60000 w 90000"/>
                <a:gd name="connsiteY24" fmla="*/ 82500 h 90000"/>
                <a:gd name="connsiteX25" fmla="*/ 60000 w 90000"/>
                <a:gd name="connsiteY25" fmla="*/ 67500 h 90000"/>
                <a:gd name="connsiteX26" fmla="*/ 67500 w 90000"/>
                <a:gd name="connsiteY26" fmla="*/ 6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0000" h="90000">
                  <a:moveTo>
                    <a:pt x="7500" y="45000"/>
                  </a:moveTo>
                  <a:lnTo>
                    <a:pt x="22500" y="45000"/>
                  </a:lnTo>
                  <a:cubicBezTo>
                    <a:pt x="26642" y="45000"/>
                    <a:pt x="30000" y="48358"/>
                    <a:pt x="30000" y="52500"/>
                  </a:cubicBezTo>
                  <a:lnTo>
                    <a:pt x="30000" y="67500"/>
                  </a:lnTo>
                  <a:cubicBezTo>
                    <a:pt x="30000" y="71642"/>
                    <a:pt x="26642" y="75000"/>
                    <a:pt x="22500" y="75000"/>
                  </a:cubicBezTo>
                  <a:lnTo>
                    <a:pt x="7500" y="75000"/>
                  </a:lnTo>
                  <a:cubicBezTo>
                    <a:pt x="3358" y="75000"/>
                    <a:pt x="0" y="71642"/>
                    <a:pt x="0" y="67500"/>
                  </a:cubicBezTo>
                  <a:lnTo>
                    <a:pt x="0" y="52500"/>
                  </a:lnTo>
                  <a:cubicBezTo>
                    <a:pt x="0" y="48358"/>
                    <a:pt x="3358" y="45000"/>
                    <a:pt x="7500" y="45000"/>
                  </a:cubicBezTo>
                  <a:close/>
                  <a:moveTo>
                    <a:pt x="52500" y="0"/>
                  </a:moveTo>
                  <a:lnTo>
                    <a:pt x="67500" y="0"/>
                  </a:lnTo>
                  <a:cubicBezTo>
                    <a:pt x="71642" y="0"/>
                    <a:pt x="75000" y="3358"/>
                    <a:pt x="75000" y="7500"/>
                  </a:cubicBezTo>
                  <a:lnTo>
                    <a:pt x="75000" y="22500"/>
                  </a:lnTo>
                  <a:cubicBezTo>
                    <a:pt x="75000" y="26642"/>
                    <a:pt x="71642" y="30000"/>
                    <a:pt x="67500" y="30000"/>
                  </a:cubicBezTo>
                  <a:lnTo>
                    <a:pt x="52500" y="30000"/>
                  </a:lnTo>
                  <a:cubicBezTo>
                    <a:pt x="48358" y="30000"/>
                    <a:pt x="45000" y="26642"/>
                    <a:pt x="45000" y="22500"/>
                  </a:cubicBezTo>
                  <a:lnTo>
                    <a:pt x="45000" y="7500"/>
                  </a:lnTo>
                  <a:cubicBezTo>
                    <a:pt x="45000" y="3358"/>
                    <a:pt x="48358" y="0"/>
                    <a:pt x="52500" y="0"/>
                  </a:cubicBezTo>
                  <a:close/>
                  <a:moveTo>
                    <a:pt x="67500" y="60000"/>
                  </a:moveTo>
                  <a:lnTo>
                    <a:pt x="82500" y="60000"/>
                  </a:lnTo>
                  <a:cubicBezTo>
                    <a:pt x="86642" y="60000"/>
                    <a:pt x="90000" y="63358"/>
                    <a:pt x="90000" y="67500"/>
                  </a:cubicBezTo>
                  <a:lnTo>
                    <a:pt x="90000" y="82500"/>
                  </a:lnTo>
                  <a:cubicBezTo>
                    <a:pt x="90000" y="86642"/>
                    <a:pt x="86642" y="90000"/>
                    <a:pt x="82500" y="90000"/>
                  </a:cubicBezTo>
                  <a:lnTo>
                    <a:pt x="67500" y="90000"/>
                  </a:lnTo>
                  <a:cubicBezTo>
                    <a:pt x="63358" y="90000"/>
                    <a:pt x="60000" y="86642"/>
                    <a:pt x="60000" y="82500"/>
                  </a:cubicBezTo>
                  <a:lnTo>
                    <a:pt x="60000" y="67500"/>
                  </a:lnTo>
                  <a:cubicBezTo>
                    <a:pt x="60000" y="63358"/>
                    <a:pt x="63358" y="60000"/>
                    <a:pt x="67500" y="6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60" name="Рисунок 338">
            <a:extLst>
              <a:ext uri="{FF2B5EF4-FFF2-40B4-BE49-F238E27FC236}">
                <a16:creationId xmlns:a16="http://schemas.microsoft.com/office/drawing/2014/main" id="{D94B25AE-02F2-2140-B09B-55418B668CCE}"/>
              </a:ext>
            </a:extLst>
          </p:cNvPr>
          <p:cNvGrpSpPr/>
          <p:nvPr/>
        </p:nvGrpSpPr>
        <p:grpSpPr>
          <a:xfrm>
            <a:off x="7458068" y="1096153"/>
            <a:ext cx="360000" cy="360000"/>
            <a:chOff x="7491521" y="1412875"/>
            <a:chExt cx="360000" cy="360000"/>
          </a:xfrm>
        </p:grpSpPr>
        <p:sp>
          <p:nvSpPr>
            <p:cNvPr id="1461" name="Полилиния 1460">
              <a:extLst>
                <a:ext uri="{FF2B5EF4-FFF2-40B4-BE49-F238E27FC236}">
                  <a16:creationId xmlns:a16="http://schemas.microsoft.com/office/drawing/2014/main" id="{ED0B606D-2284-7B4E-B6B0-53795027C136}"/>
                </a:ext>
              </a:extLst>
            </p:cNvPr>
            <p:cNvSpPr/>
            <p:nvPr/>
          </p:nvSpPr>
          <p:spPr>
            <a:xfrm>
              <a:off x="7491521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2" name="Полилиния 1461">
              <a:extLst>
                <a:ext uri="{FF2B5EF4-FFF2-40B4-BE49-F238E27FC236}">
                  <a16:creationId xmlns:a16="http://schemas.microsoft.com/office/drawing/2014/main" id="{02E627B7-2836-C343-9E3D-E1760525BB8E}"/>
                </a:ext>
              </a:extLst>
            </p:cNvPr>
            <p:cNvSpPr/>
            <p:nvPr/>
          </p:nvSpPr>
          <p:spPr>
            <a:xfrm>
              <a:off x="7536521" y="1502875"/>
              <a:ext cx="270000" cy="195000"/>
            </a:xfrm>
            <a:custGeom>
              <a:avLst/>
              <a:gdLst>
                <a:gd name="connsiteX0" fmla="*/ 30000 w 270000"/>
                <a:gd name="connsiteY0" fmla="*/ 0 h 195000"/>
                <a:gd name="connsiteX1" fmla="*/ 240000 w 270000"/>
                <a:gd name="connsiteY1" fmla="*/ 0 h 195000"/>
                <a:gd name="connsiteX2" fmla="*/ 270000 w 270000"/>
                <a:gd name="connsiteY2" fmla="*/ 30000 h 195000"/>
                <a:gd name="connsiteX3" fmla="*/ 270000 w 270000"/>
                <a:gd name="connsiteY3" fmla="*/ 165000 h 195000"/>
                <a:gd name="connsiteX4" fmla="*/ 240000 w 270000"/>
                <a:gd name="connsiteY4" fmla="*/ 195000 h 195000"/>
                <a:gd name="connsiteX5" fmla="*/ 30000 w 270000"/>
                <a:gd name="connsiteY5" fmla="*/ 195000 h 195000"/>
                <a:gd name="connsiteX6" fmla="*/ 0 w 270000"/>
                <a:gd name="connsiteY6" fmla="*/ 165000 h 195000"/>
                <a:gd name="connsiteX7" fmla="*/ 0 w 270000"/>
                <a:gd name="connsiteY7" fmla="*/ 30000 h 195000"/>
                <a:gd name="connsiteX8" fmla="*/ 30000 w 270000"/>
                <a:gd name="connsiteY8" fmla="*/ 0 h 195000"/>
                <a:gd name="connsiteX9" fmla="*/ 227166 w 270000"/>
                <a:gd name="connsiteY9" fmla="*/ 27595 h 195000"/>
                <a:gd name="connsiteX10" fmla="*/ 135000 w 270000"/>
                <a:gd name="connsiteY10" fmla="*/ 77223 h 195000"/>
                <a:gd name="connsiteX11" fmla="*/ 42834 w 270000"/>
                <a:gd name="connsiteY11" fmla="*/ 27595 h 195000"/>
                <a:gd name="connsiteX12" fmla="*/ 27595 w 270000"/>
                <a:gd name="connsiteY12" fmla="*/ 32166 h 195000"/>
                <a:gd name="connsiteX13" fmla="*/ 32166 w 270000"/>
                <a:gd name="connsiteY13" fmla="*/ 47405 h 195000"/>
                <a:gd name="connsiteX14" fmla="*/ 129666 w 270000"/>
                <a:gd name="connsiteY14" fmla="*/ 99906 h 195000"/>
                <a:gd name="connsiteX15" fmla="*/ 140334 w 270000"/>
                <a:gd name="connsiteY15" fmla="*/ 99906 h 195000"/>
                <a:gd name="connsiteX16" fmla="*/ 237834 w 270000"/>
                <a:gd name="connsiteY16" fmla="*/ 47405 h 195000"/>
                <a:gd name="connsiteX17" fmla="*/ 242406 w 270000"/>
                <a:gd name="connsiteY17" fmla="*/ 32166 h 195000"/>
                <a:gd name="connsiteX18" fmla="*/ 227166 w 270000"/>
                <a:gd name="connsiteY18" fmla="*/ 27595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0000" h="195000">
                  <a:moveTo>
                    <a:pt x="30000" y="0"/>
                  </a:move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65000"/>
                  </a:lnTo>
                  <a:cubicBezTo>
                    <a:pt x="270000" y="181569"/>
                    <a:pt x="256569" y="195000"/>
                    <a:pt x="240000" y="195000"/>
                  </a:cubicBezTo>
                  <a:lnTo>
                    <a:pt x="30000" y="195000"/>
                  </a:lnTo>
                  <a:cubicBezTo>
                    <a:pt x="13431" y="195000"/>
                    <a:pt x="0" y="181569"/>
                    <a:pt x="0" y="165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227166" y="27595"/>
                  </a:moveTo>
                  <a:lnTo>
                    <a:pt x="135000" y="77223"/>
                  </a:lnTo>
                  <a:lnTo>
                    <a:pt x="42834" y="27595"/>
                  </a:lnTo>
                  <a:cubicBezTo>
                    <a:pt x="37363" y="24649"/>
                    <a:pt x="30540" y="26696"/>
                    <a:pt x="27595" y="32166"/>
                  </a:cubicBezTo>
                  <a:cubicBezTo>
                    <a:pt x="24649" y="37637"/>
                    <a:pt x="26696" y="44460"/>
                    <a:pt x="32166" y="47405"/>
                  </a:cubicBezTo>
                  <a:lnTo>
                    <a:pt x="129666" y="99906"/>
                  </a:lnTo>
                  <a:cubicBezTo>
                    <a:pt x="132996" y="101698"/>
                    <a:pt x="137004" y="101698"/>
                    <a:pt x="140334" y="99906"/>
                  </a:cubicBezTo>
                  <a:lnTo>
                    <a:pt x="237834" y="47405"/>
                  </a:lnTo>
                  <a:cubicBezTo>
                    <a:pt x="243305" y="44460"/>
                    <a:pt x="245351" y="37637"/>
                    <a:pt x="242406" y="32166"/>
                  </a:cubicBezTo>
                  <a:cubicBezTo>
                    <a:pt x="239460" y="26696"/>
                    <a:pt x="232637" y="24649"/>
                    <a:pt x="227166" y="2759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63" name="Рисунок 339">
            <a:extLst>
              <a:ext uri="{FF2B5EF4-FFF2-40B4-BE49-F238E27FC236}">
                <a16:creationId xmlns:a16="http://schemas.microsoft.com/office/drawing/2014/main" id="{9D98A3FF-4596-A244-93FD-7947016D969F}"/>
              </a:ext>
            </a:extLst>
          </p:cNvPr>
          <p:cNvGrpSpPr/>
          <p:nvPr/>
        </p:nvGrpSpPr>
        <p:grpSpPr>
          <a:xfrm>
            <a:off x="5192669" y="1096153"/>
            <a:ext cx="360000" cy="360000"/>
            <a:chOff x="5226122" y="1412875"/>
            <a:chExt cx="360000" cy="360000"/>
          </a:xfrm>
        </p:grpSpPr>
        <p:sp>
          <p:nvSpPr>
            <p:cNvPr id="1464" name="Полилиния 1463">
              <a:extLst>
                <a:ext uri="{FF2B5EF4-FFF2-40B4-BE49-F238E27FC236}">
                  <a16:creationId xmlns:a16="http://schemas.microsoft.com/office/drawing/2014/main" id="{59E01CED-20F9-7240-B1DE-D72031D8B13D}"/>
                </a:ext>
              </a:extLst>
            </p:cNvPr>
            <p:cNvSpPr/>
            <p:nvPr/>
          </p:nvSpPr>
          <p:spPr>
            <a:xfrm>
              <a:off x="5226122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5" name="Полилиния 1464">
              <a:extLst>
                <a:ext uri="{FF2B5EF4-FFF2-40B4-BE49-F238E27FC236}">
                  <a16:creationId xmlns:a16="http://schemas.microsoft.com/office/drawing/2014/main" id="{A4FF7E9B-8B21-324C-93C3-B5785A6A0C6D}"/>
                </a:ext>
              </a:extLst>
            </p:cNvPr>
            <p:cNvSpPr/>
            <p:nvPr/>
          </p:nvSpPr>
          <p:spPr>
            <a:xfrm>
              <a:off x="5268871" y="1458624"/>
              <a:ext cx="274125" cy="272250"/>
            </a:xfrm>
            <a:custGeom>
              <a:avLst/>
              <a:gdLst>
                <a:gd name="connsiteX0" fmla="*/ 130875 w 274125"/>
                <a:gd name="connsiteY0" fmla="*/ 272250 h 272250"/>
                <a:gd name="connsiteX1" fmla="*/ 0 w 274125"/>
                <a:gd name="connsiteY1" fmla="*/ 142875 h 272250"/>
                <a:gd name="connsiteX2" fmla="*/ 145125 w 274125"/>
                <a:gd name="connsiteY2" fmla="*/ 0 h 272250"/>
                <a:gd name="connsiteX3" fmla="*/ 274125 w 274125"/>
                <a:gd name="connsiteY3" fmla="*/ 117000 h 272250"/>
                <a:gd name="connsiteX4" fmla="*/ 205125 w 274125"/>
                <a:gd name="connsiteY4" fmla="*/ 208125 h 272250"/>
                <a:gd name="connsiteX5" fmla="*/ 168375 w 274125"/>
                <a:gd name="connsiteY5" fmla="*/ 189000 h 272250"/>
                <a:gd name="connsiteX6" fmla="*/ 122250 w 274125"/>
                <a:gd name="connsiteY6" fmla="*/ 207375 h 272250"/>
                <a:gd name="connsiteX7" fmla="*/ 60000 w 274125"/>
                <a:gd name="connsiteY7" fmla="*/ 142875 h 272250"/>
                <a:gd name="connsiteX8" fmla="*/ 141375 w 274125"/>
                <a:gd name="connsiteY8" fmla="*/ 60750 h 272250"/>
                <a:gd name="connsiteX9" fmla="*/ 175125 w 274125"/>
                <a:gd name="connsiteY9" fmla="*/ 70875 h 272250"/>
                <a:gd name="connsiteX10" fmla="*/ 176625 w 274125"/>
                <a:gd name="connsiteY10" fmla="*/ 64500 h 272250"/>
                <a:gd name="connsiteX11" fmla="*/ 212250 w 274125"/>
                <a:gd name="connsiteY11" fmla="*/ 64500 h 272250"/>
                <a:gd name="connsiteX12" fmla="*/ 194625 w 274125"/>
                <a:gd name="connsiteY12" fmla="*/ 147000 h 272250"/>
                <a:gd name="connsiteX13" fmla="*/ 211125 w 274125"/>
                <a:gd name="connsiteY13" fmla="*/ 176625 h 272250"/>
                <a:gd name="connsiteX14" fmla="*/ 242625 w 274125"/>
                <a:gd name="connsiteY14" fmla="*/ 116250 h 272250"/>
                <a:gd name="connsiteX15" fmla="*/ 144750 w 274125"/>
                <a:gd name="connsiteY15" fmla="*/ 30375 h 272250"/>
                <a:gd name="connsiteX16" fmla="*/ 33000 w 274125"/>
                <a:gd name="connsiteY16" fmla="*/ 142875 h 272250"/>
                <a:gd name="connsiteX17" fmla="*/ 130875 w 274125"/>
                <a:gd name="connsiteY17" fmla="*/ 240750 h 272250"/>
                <a:gd name="connsiteX18" fmla="*/ 196875 w 274125"/>
                <a:gd name="connsiteY18" fmla="*/ 225375 h 272250"/>
                <a:gd name="connsiteX19" fmla="*/ 209250 w 274125"/>
                <a:gd name="connsiteY19" fmla="*/ 255750 h 272250"/>
                <a:gd name="connsiteX20" fmla="*/ 130875 w 274125"/>
                <a:gd name="connsiteY20" fmla="*/ 272250 h 272250"/>
                <a:gd name="connsiteX21" fmla="*/ 128250 w 274125"/>
                <a:gd name="connsiteY21" fmla="*/ 172125 h 272250"/>
                <a:gd name="connsiteX22" fmla="*/ 155625 w 274125"/>
                <a:gd name="connsiteY22" fmla="*/ 161625 h 272250"/>
                <a:gd name="connsiteX23" fmla="*/ 167625 w 274125"/>
                <a:gd name="connsiteY23" fmla="*/ 106125 h 272250"/>
                <a:gd name="connsiteX24" fmla="*/ 141750 w 274125"/>
                <a:gd name="connsiteY24" fmla="*/ 95625 h 272250"/>
                <a:gd name="connsiteX25" fmla="*/ 99000 w 274125"/>
                <a:gd name="connsiteY25" fmla="*/ 139875 h 272250"/>
                <a:gd name="connsiteX26" fmla="*/ 128250 w 274125"/>
                <a:gd name="connsiteY26" fmla="*/ 172125 h 27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74125" h="272250">
                  <a:moveTo>
                    <a:pt x="130875" y="272250"/>
                  </a:moveTo>
                  <a:cubicBezTo>
                    <a:pt x="49875" y="272250"/>
                    <a:pt x="0" y="215250"/>
                    <a:pt x="0" y="142875"/>
                  </a:cubicBezTo>
                  <a:cubicBezTo>
                    <a:pt x="0" y="57375"/>
                    <a:pt x="67875" y="0"/>
                    <a:pt x="145125" y="0"/>
                  </a:cubicBezTo>
                  <a:cubicBezTo>
                    <a:pt x="219000" y="0"/>
                    <a:pt x="274125" y="45375"/>
                    <a:pt x="274125" y="117000"/>
                  </a:cubicBezTo>
                  <a:cubicBezTo>
                    <a:pt x="274125" y="182250"/>
                    <a:pt x="239625" y="208125"/>
                    <a:pt x="205125" y="208125"/>
                  </a:cubicBezTo>
                  <a:cubicBezTo>
                    <a:pt x="188250" y="208125"/>
                    <a:pt x="174375" y="200250"/>
                    <a:pt x="168375" y="189000"/>
                  </a:cubicBezTo>
                  <a:cubicBezTo>
                    <a:pt x="156750" y="200250"/>
                    <a:pt x="139125" y="207375"/>
                    <a:pt x="122250" y="207375"/>
                  </a:cubicBezTo>
                  <a:cubicBezTo>
                    <a:pt x="81000" y="207375"/>
                    <a:pt x="60000" y="178125"/>
                    <a:pt x="60000" y="142875"/>
                  </a:cubicBezTo>
                  <a:cubicBezTo>
                    <a:pt x="60000" y="97500"/>
                    <a:pt x="93000" y="60750"/>
                    <a:pt x="141375" y="60750"/>
                  </a:cubicBezTo>
                  <a:cubicBezTo>
                    <a:pt x="155250" y="60750"/>
                    <a:pt x="166500" y="64500"/>
                    <a:pt x="175125" y="70875"/>
                  </a:cubicBezTo>
                  <a:lnTo>
                    <a:pt x="176625" y="64500"/>
                  </a:lnTo>
                  <a:lnTo>
                    <a:pt x="212250" y="64500"/>
                  </a:lnTo>
                  <a:lnTo>
                    <a:pt x="194625" y="147000"/>
                  </a:lnTo>
                  <a:cubicBezTo>
                    <a:pt x="191250" y="163500"/>
                    <a:pt x="195000" y="176625"/>
                    <a:pt x="211125" y="176625"/>
                  </a:cubicBezTo>
                  <a:cubicBezTo>
                    <a:pt x="231000" y="176625"/>
                    <a:pt x="242625" y="160125"/>
                    <a:pt x="242625" y="116250"/>
                  </a:cubicBezTo>
                  <a:cubicBezTo>
                    <a:pt x="242625" y="57750"/>
                    <a:pt x="196500" y="30375"/>
                    <a:pt x="144750" y="30375"/>
                  </a:cubicBezTo>
                  <a:cubicBezTo>
                    <a:pt x="86625" y="30375"/>
                    <a:pt x="33000" y="70500"/>
                    <a:pt x="33000" y="142875"/>
                  </a:cubicBezTo>
                  <a:cubicBezTo>
                    <a:pt x="33000" y="202125"/>
                    <a:pt x="70875" y="240750"/>
                    <a:pt x="130875" y="240750"/>
                  </a:cubicBezTo>
                  <a:cubicBezTo>
                    <a:pt x="153375" y="240750"/>
                    <a:pt x="176625" y="235875"/>
                    <a:pt x="196875" y="225375"/>
                  </a:cubicBezTo>
                  <a:lnTo>
                    <a:pt x="209250" y="255750"/>
                  </a:lnTo>
                  <a:cubicBezTo>
                    <a:pt x="186000" y="266250"/>
                    <a:pt x="155250" y="272250"/>
                    <a:pt x="130875" y="272250"/>
                  </a:cubicBezTo>
                  <a:close/>
                  <a:moveTo>
                    <a:pt x="128250" y="172125"/>
                  </a:moveTo>
                  <a:cubicBezTo>
                    <a:pt x="138000" y="172125"/>
                    <a:pt x="147750" y="169500"/>
                    <a:pt x="155625" y="161625"/>
                  </a:cubicBezTo>
                  <a:lnTo>
                    <a:pt x="167625" y="106125"/>
                  </a:lnTo>
                  <a:cubicBezTo>
                    <a:pt x="160875" y="99000"/>
                    <a:pt x="151125" y="95625"/>
                    <a:pt x="141750" y="95625"/>
                  </a:cubicBezTo>
                  <a:cubicBezTo>
                    <a:pt x="117000" y="95625"/>
                    <a:pt x="99000" y="114750"/>
                    <a:pt x="99000" y="139875"/>
                  </a:cubicBezTo>
                  <a:cubicBezTo>
                    <a:pt x="99000" y="159375"/>
                    <a:pt x="108375" y="172125"/>
                    <a:pt x="128250" y="17212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66" name="Рисунок 340">
            <a:extLst>
              <a:ext uri="{FF2B5EF4-FFF2-40B4-BE49-F238E27FC236}">
                <a16:creationId xmlns:a16="http://schemas.microsoft.com/office/drawing/2014/main" id="{33306C4F-2566-9046-89F5-5F7D1D955408}"/>
              </a:ext>
            </a:extLst>
          </p:cNvPr>
          <p:cNvGrpSpPr/>
          <p:nvPr/>
        </p:nvGrpSpPr>
        <p:grpSpPr>
          <a:xfrm>
            <a:off x="4437536" y="1096153"/>
            <a:ext cx="360000" cy="360000"/>
            <a:chOff x="4470989" y="1412875"/>
            <a:chExt cx="360000" cy="360000"/>
          </a:xfrm>
        </p:grpSpPr>
        <p:sp>
          <p:nvSpPr>
            <p:cNvPr id="1467" name="Полилиния 1466">
              <a:extLst>
                <a:ext uri="{FF2B5EF4-FFF2-40B4-BE49-F238E27FC236}">
                  <a16:creationId xmlns:a16="http://schemas.microsoft.com/office/drawing/2014/main" id="{997671C7-1785-4B4D-8A55-1CCF082F15F4}"/>
                </a:ext>
              </a:extLst>
            </p:cNvPr>
            <p:cNvSpPr/>
            <p:nvPr/>
          </p:nvSpPr>
          <p:spPr>
            <a:xfrm>
              <a:off x="4470989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8" name="Полилиния 1467">
              <a:extLst>
                <a:ext uri="{FF2B5EF4-FFF2-40B4-BE49-F238E27FC236}">
                  <a16:creationId xmlns:a16="http://schemas.microsoft.com/office/drawing/2014/main" id="{A884AFE2-AB46-CA42-BD96-69F35CB27AF7}"/>
                </a:ext>
              </a:extLst>
            </p:cNvPr>
            <p:cNvSpPr/>
            <p:nvPr/>
          </p:nvSpPr>
          <p:spPr>
            <a:xfrm>
              <a:off x="4545989" y="1442875"/>
              <a:ext cx="210000" cy="165000"/>
            </a:xfrm>
            <a:custGeom>
              <a:avLst/>
              <a:gdLst>
                <a:gd name="connsiteX0" fmla="*/ 147858 w 210000"/>
                <a:gd name="connsiteY0" fmla="*/ 165000 h 165000"/>
                <a:gd name="connsiteX1" fmla="*/ 150000 w 210000"/>
                <a:gd name="connsiteY1" fmla="*/ 151785 h 165000"/>
                <a:gd name="connsiteX2" fmla="*/ 150000 w 210000"/>
                <a:gd name="connsiteY2" fmla="*/ 73214 h 165000"/>
                <a:gd name="connsiteX3" fmla="*/ 105000 w 210000"/>
                <a:gd name="connsiteY3" fmla="*/ 30000 h 165000"/>
                <a:gd name="connsiteX4" fmla="*/ 100909 w 210000"/>
                <a:gd name="connsiteY4" fmla="*/ 30000 h 165000"/>
                <a:gd name="connsiteX5" fmla="*/ 60000 w 210000"/>
                <a:gd name="connsiteY5" fmla="*/ 69286 h 165000"/>
                <a:gd name="connsiteX6" fmla="*/ 76364 w 210000"/>
                <a:gd name="connsiteY6" fmla="*/ 69286 h 165000"/>
                <a:gd name="connsiteX7" fmla="*/ 100909 w 210000"/>
                <a:gd name="connsiteY7" fmla="*/ 45714 h 165000"/>
                <a:gd name="connsiteX8" fmla="*/ 105000 w 210000"/>
                <a:gd name="connsiteY8" fmla="*/ 45714 h 165000"/>
                <a:gd name="connsiteX9" fmla="*/ 133637 w 210000"/>
                <a:gd name="connsiteY9" fmla="*/ 73214 h 165000"/>
                <a:gd name="connsiteX10" fmla="*/ 133637 w 210000"/>
                <a:gd name="connsiteY10" fmla="*/ 151785 h 165000"/>
                <a:gd name="connsiteX11" fmla="*/ 130119 w 210000"/>
                <a:gd name="connsiteY11" fmla="*/ 165000 h 165000"/>
                <a:gd name="connsiteX12" fmla="*/ 79881 w 210000"/>
                <a:gd name="connsiteY12" fmla="*/ 165000 h 165000"/>
                <a:gd name="connsiteX13" fmla="*/ 76364 w 210000"/>
                <a:gd name="connsiteY13" fmla="*/ 151785 h 165000"/>
                <a:gd name="connsiteX14" fmla="*/ 76364 w 210000"/>
                <a:gd name="connsiteY14" fmla="*/ 112500 h 165000"/>
                <a:gd name="connsiteX15" fmla="*/ 88636 w 210000"/>
                <a:gd name="connsiteY15" fmla="*/ 100714 h 165000"/>
                <a:gd name="connsiteX16" fmla="*/ 100909 w 210000"/>
                <a:gd name="connsiteY16" fmla="*/ 112500 h 165000"/>
                <a:gd name="connsiteX17" fmla="*/ 100909 w 210000"/>
                <a:gd name="connsiteY17" fmla="*/ 140000 h 165000"/>
                <a:gd name="connsiteX18" fmla="*/ 117273 w 210000"/>
                <a:gd name="connsiteY18" fmla="*/ 140000 h 165000"/>
                <a:gd name="connsiteX19" fmla="*/ 117273 w 210000"/>
                <a:gd name="connsiteY19" fmla="*/ 112500 h 165000"/>
                <a:gd name="connsiteX20" fmla="*/ 88636 w 210000"/>
                <a:gd name="connsiteY20" fmla="*/ 85000 h 165000"/>
                <a:gd name="connsiteX21" fmla="*/ 60000 w 210000"/>
                <a:gd name="connsiteY21" fmla="*/ 112500 h 165000"/>
                <a:gd name="connsiteX22" fmla="*/ 60000 w 210000"/>
                <a:gd name="connsiteY22" fmla="*/ 151785 h 165000"/>
                <a:gd name="connsiteX23" fmla="*/ 62143 w 210000"/>
                <a:gd name="connsiteY23" fmla="*/ 165000 h 165000"/>
                <a:gd name="connsiteX24" fmla="*/ 15000 w 210000"/>
                <a:gd name="connsiteY24" fmla="*/ 165000 h 165000"/>
                <a:gd name="connsiteX25" fmla="*/ 0 w 210000"/>
                <a:gd name="connsiteY25" fmla="*/ 150000 h 165000"/>
                <a:gd name="connsiteX26" fmla="*/ 0 w 210000"/>
                <a:gd name="connsiteY26" fmla="*/ 15000 h 165000"/>
                <a:gd name="connsiteX27" fmla="*/ 15000 w 210000"/>
                <a:gd name="connsiteY27" fmla="*/ 0 h 165000"/>
                <a:gd name="connsiteX28" fmla="*/ 195000 w 210000"/>
                <a:gd name="connsiteY28" fmla="*/ 0 h 165000"/>
                <a:gd name="connsiteX29" fmla="*/ 210000 w 210000"/>
                <a:gd name="connsiteY29" fmla="*/ 15000 h 165000"/>
                <a:gd name="connsiteX30" fmla="*/ 210000 w 210000"/>
                <a:gd name="connsiteY30" fmla="*/ 150000 h 165000"/>
                <a:gd name="connsiteX31" fmla="*/ 195000 w 210000"/>
                <a:gd name="connsiteY31" fmla="*/ 165000 h 165000"/>
                <a:gd name="connsiteX32" fmla="*/ 147858 w 210000"/>
                <a:gd name="connsiteY32" fmla="*/ 165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0000" h="165000">
                  <a:moveTo>
                    <a:pt x="147858" y="165000"/>
                  </a:moveTo>
                  <a:cubicBezTo>
                    <a:pt x="149249" y="160835"/>
                    <a:pt x="150000" y="156395"/>
                    <a:pt x="150000" y="151785"/>
                  </a:cubicBezTo>
                  <a:lnTo>
                    <a:pt x="150000" y="73214"/>
                  </a:lnTo>
                  <a:cubicBezTo>
                    <a:pt x="150000" y="49348"/>
                    <a:pt x="129854" y="30000"/>
                    <a:pt x="105000" y="30000"/>
                  </a:cubicBezTo>
                  <a:lnTo>
                    <a:pt x="100909" y="30000"/>
                  </a:lnTo>
                  <a:cubicBezTo>
                    <a:pt x="78315" y="30000"/>
                    <a:pt x="60000" y="47589"/>
                    <a:pt x="60000" y="69286"/>
                  </a:cubicBezTo>
                  <a:lnTo>
                    <a:pt x="76364" y="69286"/>
                  </a:lnTo>
                  <a:cubicBezTo>
                    <a:pt x="76364" y="56268"/>
                    <a:pt x="87352" y="45714"/>
                    <a:pt x="100909" y="45714"/>
                  </a:cubicBezTo>
                  <a:lnTo>
                    <a:pt x="105000" y="45714"/>
                  </a:lnTo>
                  <a:cubicBezTo>
                    <a:pt x="120816" y="45714"/>
                    <a:pt x="133637" y="58026"/>
                    <a:pt x="133637" y="73214"/>
                  </a:cubicBezTo>
                  <a:lnTo>
                    <a:pt x="133637" y="151785"/>
                  </a:lnTo>
                  <a:cubicBezTo>
                    <a:pt x="133637" y="156575"/>
                    <a:pt x="132362" y="161079"/>
                    <a:pt x="130119" y="165000"/>
                  </a:cubicBezTo>
                  <a:lnTo>
                    <a:pt x="79881" y="165000"/>
                  </a:lnTo>
                  <a:cubicBezTo>
                    <a:pt x="77639" y="161079"/>
                    <a:pt x="76364" y="156575"/>
                    <a:pt x="76364" y="151785"/>
                  </a:cubicBezTo>
                  <a:lnTo>
                    <a:pt x="76364" y="112500"/>
                  </a:lnTo>
                  <a:cubicBezTo>
                    <a:pt x="76364" y="105991"/>
                    <a:pt x="81858" y="100714"/>
                    <a:pt x="88636" y="100714"/>
                  </a:cubicBezTo>
                  <a:cubicBezTo>
                    <a:pt x="95415" y="100714"/>
                    <a:pt x="100909" y="105991"/>
                    <a:pt x="100909" y="112500"/>
                  </a:cubicBezTo>
                  <a:lnTo>
                    <a:pt x="100909" y="140000"/>
                  </a:lnTo>
                  <a:lnTo>
                    <a:pt x="117273" y="140000"/>
                  </a:lnTo>
                  <a:lnTo>
                    <a:pt x="117273" y="112500"/>
                  </a:lnTo>
                  <a:cubicBezTo>
                    <a:pt x="117273" y="97312"/>
                    <a:pt x="104453" y="85000"/>
                    <a:pt x="88636" y="85000"/>
                  </a:cubicBezTo>
                  <a:cubicBezTo>
                    <a:pt x="72821" y="85000"/>
                    <a:pt x="60000" y="97312"/>
                    <a:pt x="60000" y="112500"/>
                  </a:cubicBezTo>
                  <a:lnTo>
                    <a:pt x="60000" y="151785"/>
                  </a:lnTo>
                  <a:cubicBezTo>
                    <a:pt x="60000" y="156395"/>
                    <a:pt x="60751" y="160835"/>
                    <a:pt x="62143" y="165000"/>
                  </a:cubicBezTo>
                  <a:lnTo>
                    <a:pt x="15000" y="165000"/>
                  </a:lnTo>
                  <a:cubicBezTo>
                    <a:pt x="6716" y="165000"/>
                    <a:pt x="0" y="158285"/>
                    <a:pt x="0" y="150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195000" y="0"/>
                  </a:lnTo>
                  <a:cubicBezTo>
                    <a:pt x="203285" y="0"/>
                    <a:pt x="210000" y="6716"/>
                    <a:pt x="210000" y="15000"/>
                  </a:cubicBezTo>
                  <a:lnTo>
                    <a:pt x="210000" y="150000"/>
                  </a:lnTo>
                  <a:cubicBezTo>
                    <a:pt x="210000" y="158285"/>
                    <a:pt x="203285" y="165000"/>
                    <a:pt x="195000" y="165000"/>
                  </a:cubicBezTo>
                  <a:lnTo>
                    <a:pt x="147858" y="16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9" name="Полилиния 1468">
              <a:extLst>
                <a:ext uri="{FF2B5EF4-FFF2-40B4-BE49-F238E27FC236}">
                  <a16:creationId xmlns:a16="http://schemas.microsoft.com/office/drawing/2014/main" id="{BFC23033-2F03-E141-BDEB-E3A4B0469D01}"/>
                </a:ext>
              </a:extLst>
            </p:cNvPr>
            <p:cNvSpPr/>
            <p:nvPr/>
          </p:nvSpPr>
          <p:spPr>
            <a:xfrm>
              <a:off x="4515989" y="1510042"/>
              <a:ext cx="270000" cy="187832"/>
            </a:xfrm>
            <a:custGeom>
              <a:avLst/>
              <a:gdLst>
                <a:gd name="connsiteX0" fmla="*/ 90000 w 270000"/>
                <a:gd name="connsiteY0" fmla="*/ 57832 h 187832"/>
                <a:gd name="connsiteX1" fmla="*/ 90000 w 270000"/>
                <a:gd name="connsiteY1" fmla="*/ 84617 h 187832"/>
                <a:gd name="connsiteX2" fmla="*/ 135000 w 270000"/>
                <a:gd name="connsiteY2" fmla="*/ 127832 h 187832"/>
                <a:gd name="connsiteX3" fmla="*/ 180000 w 270000"/>
                <a:gd name="connsiteY3" fmla="*/ 84617 h 187832"/>
                <a:gd name="connsiteX4" fmla="*/ 180000 w 270000"/>
                <a:gd name="connsiteY4" fmla="*/ 57832 h 187832"/>
                <a:gd name="connsiteX5" fmla="*/ 258110 w 270000"/>
                <a:gd name="connsiteY5" fmla="*/ 1420 h 187832"/>
                <a:gd name="connsiteX6" fmla="*/ 268580 w 270000"/>
                <a:gd name="connsiteY6" fmla="*/ 3109 h 187832"/>
                <a:gd name="connsiteX7" fmla="*/ 270000 w 270000"/>
                <a:gd name="connsiteY7" fmla="*/ 7501 h 187832"/>
                <a:gd name="connsiteX8" fmla="*/ 270000 w 270000"/>
                <a:gd name="connsiteY8" fmla="*/ 157832 h 187832"/>
                <a:gd name="connsiteX9" fmla="*/ 240000 w 270000"/>
                <a:gd name="connsiteY9" fmla="*/ 187832 h 187832"/>
                <a:gd name="connsiteX10" fmla="*/ 30000 w 270000"/>
                <a:gd name="connsiteY10" fmla="*/ 187832 h 187832"/>
                <a:gd name="connsiteX11" fmla="*/ 0 w 270000"/>
                <a:gd name="connsiteY11" fmla="*/ 157832 h 187832"/>
                <a:gd name="connsiteX12" fmla="*/ 0 w 270000"/>
                <a:gd name="connsiteY12" fmla="*/ 7501 h 187832"/>
                <a:gd name="connsiteX13" fmla="*/ 7500 w 270000"/>
                <a:gd name="connsiteY13" fmla="*/ 1 h 187832"/>
                <a:gd name="connsiteX14" fmla="*/ 11891 w 270000"/>
                <a:gd name="connsiteY14" fmla="*/ 1420 h 187832"/>
                <a:gd name="connsiteX15" fmla="*/ 90000 w 270000"/>
                <a:gd name="connsiteY15" fmla="*/ 57832 h 187832"/>
                <a:gd name="connsiteX16" fmla="*/ 106364 w 270000"/>
                <a:gd name="connsiteY16" fmla="*/ 69650 h 187832"/>
                <a:gd name="connsiteX17" fmla="*/ 135000 w 270000"/>
                <a:gd name="connsiteY17" fmla="*/ 90332 h 187832"/>
                <a:gd name="connsiteX18" fmla="*/ 163637 w 270000"/>
                <a:gd name="connsiteY18" fmla="*/ 69650 h 187832"/>
                <a:gd name="connsiteX19" fmla="*/ 163637 w 270000"/>
                <a:gd name="connsiteY19" fmla="*/ 84617 h 187832"/>
                <a:gd name="connsiteX20" fmla="*/ 135000 w 270000"/>
                <a:gd name="connsiteY20" fmla="*/ 112118 h 187832"/>
                <a:gd name="connsiteX21" fmla="*/ 106364 w 270000"/>
                <a:gd name="connsiteY21" fmla="*/ 84617 h 187832"/>
                <a:gd name="connsiteX22" fmla="*/ 106364 w 270000"/>
                <a:gd name="connsiteY22" fmla="*/ 69650 h 18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0000" h="187832">
                  <a:moveTo>
                    <a:pt x="90000" y="57832"/>
                  </a:moveTo>
                  <a:lnTo>
                    <a:pt x="90000" y="84617"/>
                  </a:lnTo>
                  <a:cubicBezTo>
                    <a:pt x="90000" y="108485"/>
                    <a:pt x="110146" y="127832"/>
                    <a:pt x="135000" y="127832"/>
                  </a:cubicBezTo>
                  <a:cubicBezTo>
                    <a:pt x="159854" y="127832"/>
                    <a:pt x="180000" y="108485"/>
                    <a:pt x="180000" y="84617"/>
                  </a:cubicBezTo>
                  <a:lnTo>
                    <a:pt x="180000" y="57832"/>
                  </a:lnTo>
                  <a:lnTo>
                    <a:pt x="258110" y="1420"/>
                  </a:lnTo>
                  <a:cubicBezTo>
                    <a:pt x="261467" y="-1005"/>
                    <a:pt x="266156" y="-249"/>
                    <a:pt x="268580" y="3109"/>
                  </a:cubicBezTo>
                  <a:cubicBezTo>
                    <a:pt x="269504" y="4387"/>
                    <a:pt x="270000" y="5924"/>
                    <a:pt x="270000" y="7501"/>
                  </a:cubicBezTo>
                  <a:lnTo>
                    <a:pt x="270000" y="157832"/>
                  </a:lnTo>
                  <a:cubicBezTo>
                    <a:pt x="270000" y="174401"/>
                    <a:pt x="256569" y="187832"/>
                    <a:pt x="240000" y="187832"/>
                  </a:cubicBezTo>
                  <a:lnTo>
                    <a:pt x="30000" y="187832"/>
                  </a:lnTo>
                  <a:cubicBezTo>
                    <a:pt x="13431" y="187832"/>
                    <a:pt x="0" y="174401"/>
                    <a:pt x="0" y="157832"/>
                  </a:cubicBezTo>
                  <a:lnTo>
                    <a:pt x="0" y="7501"/>
                  </a:lnTo>
                  <a:cubicBezTo>
                    <a:pt x="0" y="3358"/>
                    <a:pt x="3358" y="1"/>
                    <a:pt x="7500" y="1"/>
                  </a:cubicBezTo>
                  <a:cubicBezTo>
                    <a:pt x="9077" y="1"/>
                    <a:pt x="10613" y="497"/>
                    <a:pt x="11891" y="1420"/>
                  </a:cubicBezTo>
                  <a:lnTo>
                    <a:pt x="90000" y="57832"/>
                  </a:lnTo>
                  <a:close/>
                  <a:moveTo>
                    <a:pt x="106364" y="69650"/>
                  </a:moveTo>
                  <a:lnTo>
                    <a:pt x="135000" y="90332"/>
                  </a:lnTo>
                  <a:lnTo>
                    <a:pt x="163637" y="69650"/>
                  </a:lnTo>
                  <a:lnTo>
                    <a:pt x="163637" y="84617"/>
                  </a:lnTo>
                  <a:cubicBezTo>
                    <a:pt x="163637" y="99806"/>
                    <a:pt x="150816" y="112118"/>
                    <a:pt x="135000" y="112118"/>
                  </a:cubicBezTo>
                  <a:cubicBezTo>
                    <a:pt x="119184" y="112118"/>
                    <a:pt x="106364" y="99806"/>
                    <a:pt x="106364" y="84617"/>
                  </a:cubicBezTo>
                  <a:lnTo>
                    <a:pt x="106364" y="6965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70" name="Рисунок 341">
            <a:extLst>
              <a:ext uri="{FF2B5EF4-FFF2-40B4-BE49-F238E27FC236}">
                <a16:creationId xmlns:a16="http://schemas.microsoft.com/office/drawing/2014/main" id="{98E827CF-9D5A-FA40-8336-0916E29446EA}"/>
              </a:ext>
            </a:extLst>
          </p:cNvPr>
          <p:cNvGrpSpPr/>
          <p:nvPr/>
        </p:nvGrpSpPr>
        <p:grpSpPr>
          <a:xfrm>
            <a:off x="3682403" y="1096153"/>
            <a:ext cx="360000" cy="360000"/>
            <a:chOff x="3715856" y="1412875"/>
            <a:chExt cx="360000" cy="360000"/>
          </a:xfrm>
        </p:grpSpPr>
        <p:sp>
          <p:nvSpPr>
            <p:cNvPr id="1471" name="Полилиния 1470">
              <a:extLst>
                <a:ext uri="{FF2B5EF4-FFF2-40B4-BE49-F238E27FC236}">
                  <a16:creationId xmlns:a16="http://schemas.microsoft.com/office/drawing/2014/main" id="{68CF2548-30FB-EA40-B0D7-C6F7FCF66137}"/>
                </a:ext>
              </a:extLst>
            </p:cNvPr>
            <p:cNvSpPr/>
            <p:nvPr/>
          </p:nvSpPr>
          <p:spPr>
            <a:xfrm>
              <a:off x="3715856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2" name="Полилиния 1471">
              <a:extLst>
                <a:ext uri="{FF2B5EF4-FFF2-40B4-BE49-F238E27FC236}">
                  <a16:creationId xmlns:a16="http://schemas.microsoft.com/office/drawing/2014/main" id="{A2841241-6DA1-9F42-B76C-4F9FF03E7B9F}"/>
                </a:ext>
              </a:extLst>
            </p:cNvPr>
            <p:cNvSpPr/>
            <p:nvPr/>
          </p:nvSpPr>
          <p:spPr>
            <a:xfrm>
              <a:off x="3745856" y="1457875"/>
              <a:ext cx="300000" cy="270000"/>
            </a:xfrm>
            <a:custGeom>
              <a:avLst/>
              <a:gdLst>
                <a:gd name="connsiteX0" fmla="*/ 90000 w 300000"/>
                <a:gd name="connsiteY0" fmla="*/ 45000 h 270000"/>
                <a:gd name="connsiteX1" fmla="*/ 277500 w 300000"/>
                <a:gd name="connsiteY1" fmla="*/ 45000 h 270000"/>
                <a:gd name="connsiteX2" fmla="*/ 300000 w 300000"/>
                <a:gd name="connsiteY2" fmla="*/ 67500 h 270000"/>
                <a:gd name="connsiteX3" fmla="*/ 277500 w 300000"/>
                <a:gd name="connsiteY3" fmla="*/ 90000 h 270000"/>
                <a:gd name="connsiteX4" fmla="*/ 90000 w 300000"/>
                <a:gd name="connsiteY4" fmla="*/ 90000 h 270000"/>
                <a:gd name="connsiteX5" fmla="*/ 90000 w 300000"/>
                <a:gd name="connsiteY5" fmla="*/ 247500 h 270000"/>
                <a:gd name="connsiteX6" fmla="*/ 67500 w 300000"/>
                <a:gd name="connsiteY6" fmla="*/ 270000 h 270000"/>
                <a:gd name="connsiteX7" fmla="*/ 45000 w 300000"/>
                <a:gd name="connsiteY7" fmla="*/ 247500 h 270000"/>
                <a:gd name="connsiteX8" fmla="*/ 45000 w 300000"/>
                <a:gd name="connsiteY8" fmla="*/ 90000 h 270000"/>
                <a:gd name="connsiteX9" fmla="*/ 22500 w 300000"/>
                <a:gd name="connsiteY9" fmla="*/ 90000 h 270000"/>
                <a:gd name="connsiteX10" fmla="*/ 0 w 300000"/>
                <a:gd name="connsiteY10" fmla="*/ 67500 h 270000"/>
                <a:gd name="connsiteX11" fmla="*/ 22500 w 300000"/>
                <a:gd name="connsiteY11" fmla="*/ 45000 h 270000"/>
                <a:gd name="connsiteX12" fmla="*/ 45000 w 300000"/>
                <a:gd name="connsiteY12" fmla="*/ 45000 h 270000"/>
                <a:gd name="connsiteX13" fmla="*/ 45000 w 300000"/>
                <a:gd name="connsiteY13" fmla="*/ 22500 h 270000"/>
                <a:gd name="connsiteX14" fmla="*/ 67500 w 300000"/>
                <a:gd name="connsiteY14" fmla="*/ 0 h 270000"/>
                <a:gd name="connsiteX15" fmla="*/ 90000 w 300000"/>
                <a:gd name="connsiteY15" fmla="*/ 22500 h 270000"/>
                <a:gd name="connsiteX16" fmla="*/ 90000 w 300000"/>
                <a:gd name="connsiteY16" fmla="*/ 45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0000" h="270000">
                  <a:moveTo>
                    <a:pt x="90000" y="45000"/>
                  </a:moveTo>
                  <a:lnTo>
                    <a:pt x="277500" y="45000"/>
                  </a:lnTo>
                  <a:cubicBezTo>
                    <a:pt x="289926" y="45000"/>
                    <a:pt x="300000" y="55074"/>
                    <a:pt x="300000" y="67500"/>
                  </a:cubicBezTo>
                  <a:cubicBezTo>
                    <a:pt x="300000" y="79926"/>
                    <a:pt x="289926" y="90000"/>
                    <a:pt x="277500" y="90000"/>
                  </a:cubicBezTo>
                  <a:lnTo>
                    <a:pt x="90000" y="90000"/>
                  </a:lnTo>
                  <a:lnTo>
                    <a:pt x="90000" y="247500"/>
                  </a:lnTo>
                  <a:cubicBezTo>
                    <a:pt x="90000" y="259926"/>
                    <a:pt x="79926" y="270000"/>
                    <a:pt x="67500" y="270000"/>
                  </a:cubicBezTo>
                  <a:cubicBezTo>
                    <a:pt x="55074" y="270000"/>
                    <a:pt x="45000" y="259926"/>
                    <a:pt x="45000" y="247500"/>
                  </a:cubicBezTo>
                  <a:lnTo>
                    <a:pt x="45000" y="90000"/>
                  </a:lnTo>
                  <a:lnTo>
                    <a:pt x="22500" y="90000"/>
                  </a:lnTo>
                  <a:cubicBezTo>
                    <a:pt x="10074" y="90000"/>
                    <a:pt x="0" y="79926"/>
                    <a:pt x="0" y="67500"/>
                  </a:cubicBezTo>
                  <a:cubicBezTo>
                    <a:pt x="0" y="55074"/>
                    <a:pt x="10074" y="45000"/>
                    <a:pt x="22500" y="45000"/>
                  </a:cubicBezTo>
                  <a:lnTo>
                    <a:pt x="45000" y="45000"/>
                  </a:lnTo>
                  <a:lnTo>
                    <a:pt x="45000" y="22500"/>
                  </a:lnTo>
                  <a:cubicBezTo>
                    <a:pt x="45000" y="10074"/>
                    <a:pt x="55074" y="0"/>
                    <a:pt x="67500" y="0"/>
                  </a:cubicBezTo>
                  <a:cubicBezTo>
                    <a:pt x="79926" y="0"/>
                    <a:pt x="90000" y="10074"/>
                    <a:pt x="90000" y="22500"/>
                  </a:cubicBezTo>
                  <a:lnTo>
                    <a:pt x="90000" y="4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3" name="Полилиния 1472">
              <a:extLst>
                <a:ext uri="{FF2B5EF4-FFF2-40B4-BE49-F238E27FC236}">
                  <a16:creationId xmlns:a16="http://schemas.microsoft.com/office/drawing/2014/main" id="{663B9BC7-87CA-464A-8381-F531B9D25013}"/>
                </a:ext>
              </a:extLst>
            </p:cNvPr>
            <p:cNvSpPr/>
            <p:nvPr/>
          </p:nvSpPr>
          <p:spPr>
            <a:xfrm>
              <a:off x="3865856" y="1577875"/>
              <a:ext cx="180000" cy="120000"/>
            </a:xfrm>
            <a:custGeom>
              <a:avLst/>
              <a:gdLst>
                <a:gd name="connsiteX0" fmla="*/ 0 w 180000"/>
                <a:gd name="connsiteY0" fmla="*/ 0 h 120000"/>
                <a:gd name="connsiteX1" fmla="*/ 157500 w 180000"/>
                <a:gd name="connsiteY1" fmla="*/ 0 h 120000"/>
                <a:gd name="connsiteX2" fmla="*/ 180000 w 180000"/>
                <a:gd name="connsiteY2" fmla="*/ 22500 h 120000"/>
                <a:gd name="connsiteX3" fmla="*/ 180000 w 180000"/>
                <a:gd name="connsiteY3" fmla="*/ 60000 h 120000"/>
                <a:gd name="connsiteX4" fmla="*/ 120000 w 180000"/>
                <a:gd name="connsiteY4" fmla="*/ 120000 h 120000"/>
                <a:gd name="connsiteX5" fmla="*/ 22500 w 180000"/>
                <a:gd name="connsiteY5" fmla="*/ 120000 h 120000"/>
                <a:gd name="connsiteX6" fmla="*/ 0 w 180000"/>
                <a:gd name="connsiteY6" fmla="*/ 97500 h 120000"/>
                <a:gd name="connsiteX7" fmla="*/ 0 w 180000"/>
                <a:gd name="connsiteY7" fmla="*/ 0 h 120000"/>
                <a:gd name="connsiteX8" fmla="*/ 150000 w 180000"/>
                <a:gd name="connsiteY8" fmla="*/ 15000 h 120000"/>
                <a:gd name="connsiteX9" fmla="*/ 135000 w 180000"/>
                <a:gd name="connsiteY9" fmla="*/ 30000 h 120000"/>
                <a:gd name="connsiteX10" fmla="*/ 135000 w 180000"/>
                <a:gd name="connsiteY10" fmla="*/ 75000 h 120000"/>
                <a:gd name="connsiteX11" fmla="*/ 150000 w 180000"/>
                <a:gd name="connsiteY11" fmla="*/ 90000 h 120000"/>
                <a:gd name="connsiteX12" fmla="*/ 165000 w 180000"/>
                <a:gd name="connsiteY12" fmla="*/ 75000 h 120000"/>
                <a:gd name="connsiteX13" fmla="*/ 165000 w 180000"/>
                <a:gd name="connsiteY13" fmla="*/ 30000 h 120000"/>
                <a:gd name="connsiteX14" fmla="*/ 150000 w 180000"/>
                <a:gd name="connsiteY14" fmla="*/ 1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0000" h="120000">
                  <a:moveTo>
                    <a:pt x="0" y="0"/>
                  </a:moveTo>
                  <a:lnTo>
                    <a:pt x="157500" y="0"/>
                  </a:lnTo>
                  <a:cubicBezTo>
                    <a:pt x="169926" y="0"/>
                    <a:pt x="180000" y="10074"/>
                    <a:pt x="180000" y="22500"/>
                  </a:cubicBezTo>
                  <a:lnTo>
                    <a:pt x="180000" y="60000"/>
                  </a:lnTo>
                  <a:cubicBezTo>
                    <a:pt x="180000" y="93137"/>
                    <a:pt x="153137" y="120000"/>
                    <a:pt x="120000" y="120000"/>
                  </a:cubicBezTo>
                  <a:lnTo>
                    <a:pt x="22500" y="120000"/>
                  </a:lnTo>
                  <a:cubicBezTo>
                    <a:pt x="10074" y="120000"/>
                    <a:pt x="0" y="109926"/>
                    <a:pt x="0" y="97500"/>
                  </a:cubicBezTo>
                  <a:lnTo>
                    <a:pt x="0" y="0"/>
                  </a:lnTo>
                  <a:close/>
                  <a:moveTo>
                    <a:pt x="150000" y="15000"/>
                  </a:moveTo>
                  <a:cubicBezTo>
                    <a:pt x="141716" y="15000"/>
                    <a:pt x="135000" y="21715"/>
                    <a:pt x="135000" y="30000"/>
                  </a:cubicBezTo>
                  <a:lnTo>
                    <a:pt x="135000" y="75000"/>
                  </a:lnTo>
                  <a:cubicBezTo>
                    <a:pt x="135000" y="83284"/>
                    <a:pt x="141716" y="90000"/>
                    <a:pt x="150000" y="90000"/>
                  </a:cubicBezTo>
                  <a:cubicBezTo>
                    <a:pt x="158285" y="90000"/>
                    <a:pt x="165000" y="83284"/>
                    <a:pt x="165000" y="75000"/>
                  </a:cubicBezTo>
                  <a:lnTo>
                    <a:pt x="165000" y="30000"/>
                  </a:lnTo>
                  <a:cubicBezTo>
                    <a:pt x="165000" y="21715"/>
                    <a:pt x="158285" y="15000"/>
                    <a:pt x="150000" y="1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74" name="Рисунок 342">
            <a:extLst>
              <a:ext uri="{FF2B5EF4-FFF2-40B4-BE49-F238E27FC236}">
                <a16:creationId xmlns:a16="http://schemas.microsoft.com/office/drawing/2014/main" id="{84C1B69B-8F2F-6F4D-AACC-BC2547572759}"/>
              </a:ext>
            </a:extLst>
          </p:cNvPr>
          <p:cNvGrpSpPr/>
          <p:nvPr/>
        </p:nvGrpSpPr>
        <p:grpSpPr>
          <a:xfrm>
            <a:off x="2927270" y="1096153"/>
            <a:ext cx="360000" cy="360000"/>
            <a:chOff x="2960723" y="1412875"/>
            <a:chExt cx="360000" cy="360000"/>
          </a:xfrm>
        </p:grpSpPr>
        <p:sp>
          <p:nvSpPr>
            <p:cNvPr id="1475" name="Полилиния 1474">
              <a:extLst>
                <a:ext uri="{FF2B5EF4-FFF2-40B4-BE49-F238E27FC236}">
                  <a16:creationId xmlns:a16="http://schemas.microsoft.com/office/drawing/2014/main" id="{61B9B817-988C-2742-A445-746278705F6B}"/>
                </a:ext>
              </a:extLst>
            </p:cNvPr>
            <p:cNvSpPr/>
            <p:nvPr/>
          </p:nvSpPr>
          <p:spPr>
            <a:xfrm>
              <a:off x="2960723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6" name="Полилиния 1475">
              <a:extLst>
                <a:ext uri="{FF2B5EF4-FFF2-40B4-BE49-F238E27FC236}">
                  <a16:creationId xmlns:a16="http://schemas.microsoft.com/office/drawing/2014/main" id="{465C462E-D759-FE40-8295-6FDB56FEA9C7}"/>
                </a:ext>
              </a:extLst>
            </p:cNvPr>
            <p:cNvSpPr/>
            <p:nvPr/>
          </p:nvSpPr>
          <p:spPr>
            <a:xfrm>
              <a:off x="2990723" y="1637875"/>
              <a:ext cx="300000" cy="90000"/>
            </a:xfrm>
            <a:custGeom>
              <a:avLst/>
              <a:gdLst>
                <a:gd name="connsiteX0" fmla="*/ 300000 w 300000"/>
                <a:gd name="connsiteY0" fmla="*/ 0 h 90000"/>
                <a:gd name="connsiteX1" fmla="*/ 300000 w 300000"/>
                <a:gd name="connsiteY1" fmla="*/ 60000 h 90000"/>
                <a:gd name="connsiteX2" fmla="*/ 270000 w 300000"/>
                <a:gd name="connsiteY2" fmla="*/ 90000 h 90000"/>
                <a:gd name="connsiteX3" fmla="*/ 30000 w 300000"/>
                <a:gd name="connsiteY3" fmla="*/ 90000 h 90000"/>
                <a:gd name="connsiteX4" fmla="*/ 0 w 300000"/>
                <a:gd name="connsiteY4" fmla="*/ 60000 h 90000"/>
                <a:gd name="connsiteX5" fmla="*/ 0 w 300000"/>
                <a:gd name="connsiteY5" fmla="*/ 0 h 90000"/>
                <a:gd name="connsiteX6" fmla="*/ 64189 w 300000"/>
                <a:gd name="connsiteY6" fmla="*/ 0 h 90000"/>
                <a:gd name="connsiteX7" fmla="*/ 72351 w 300000"/>
                <a:gd name="connsiteY7" fmla="*/ 24487 h 90000"/>
                <a:gd name="connsiteX8" fmla="*/ 100811 w 300000"/>
                <a:gd name="connsiteY8" fmla="*/ 45000 h 90000"/>
                <a:gd name="connsiteX9" fmla="*/ 200730 w 300000"/>
                <a:gd name="connsiteY9" fmla="*/ 45000 h 90000"/>
                <a:gd name="connsiteX10" fmla="*/ 227562 w 300000"/>
                <a:gd name="connsiteY10" fmla="*/ 28416 h 90000"/>
                <a:gd name="connsiteX11" fmla="*/ 241770 w 300000"/>
                <a:gd name="connsiteY11" fmla="*/ 0 h 90000"/>
                <a:gd name="connsiteX12" fmla="*/ 300000 w 300000"/>
                <a:gd name="connsiteY12" fmla="*/ 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0000" h="90000">
                  <a:moveTo>
                    <a:pt x="300000" y="0"/>
                  </a:moveTo>
                  <a:lnTo>
                    <a:pt x="300000" y="60000"/>
                  </a:lnTo>
                  <a:cubicBezTo>
                    <a:pt x="300000" y="76569"/>
                    <a:pt x="286569" y="90000"/>
                    <a:pt x="270000" y="90000"/>
                  </a:cubicBezTo>
                  <a:lnTo>
                    <a:pt x="30000" y="90000"/>
                  </a:lnTo>
                  <a:cubicBezTo>
                    <a:pt x="13431" y="90000"/>
                    <a:pt x="0" y="76569"/>
                    <a:pt x="0" y="60000"/>
                  </a:cubicBezTo>
                  <a:lnTo>
                    <a:pt x="0" y="0"/>
                  </a:lnTo>
                  <a:lnTo>
                    <a:pt x="64189" y="0"/>
                  </a:lnTo>
                  <a:lnTo>
                    <a:pt x="72351" y="24487"/>
                  </a:lnTo>
                  <a:cubicBezTo>
                    <a:pt x="76434" y="36737"/>
                    <a:pt x="87899" y="45000"/>
                    <a:pt x="100811" y="45000"/>
                  </a:cubicBezTo>
                  <a:lnTo>
                    <a:pt x="200730" y="45000"/>
                  </a:lnTo>
                  <a:cubicBezTo>
                    <a:pt x="212093" y="45000"/>
                    <a:pt x="222480" y="38580"/>
                    <a:pt x="227562" y="28416"/>
                  </a:cubicBezTo>
                  <a:lnTo>
                    <a:pt x="241770" y="0"/>
                  </a:lnTo>
                  <a:lnTo>
                    <a:pt x="300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7" name="Полилиния 1476">
              <a:extLst>
                <a:ext uri="{FF2B5EF4-FFF2-40B4-BE49-F238E27FC236}">
                  <a16:creationId xmlns:a16="http://schemas.microsoft.com/office/drawing/2014/main" id="{3AA15249-0F98-704F-88E6-AE7CCDAD9CC0}"/>
                </a:ext>
              </a:extLst>
            </p:cNvPr>
            <p:cNvSpPr/>
            <p:nvPr/>
          </p:nvSpPr>
          <p:spPr>
            <a:xfrm>
              <a:off x="2999160" y="1502875"/>
              <a:ext cx="283125" cy="150000"/>
            </a:xfrm>
            <a:custGeom>
              <a:avLst/>
              <a:gdLst>
                <a:gd name="connsiteX0" fmla="*/ 0 w 283125"/>
                <a:gd name="connsiteY0" fmla="*/ 105000 h 150000"/>
                <a:gd name="connsiteX1" fmla="*/ 50461 w 283125"/>
                <a:gd name="connsiteY1" fmla="*/ 15292 h 150000"/>
                <a:gd name="connsiteX2" fmla="*/ 76608 w 283125"/>
                <a:gd name="connsiteY2" fmla="*/ 0 h 150000"/>
                <a:gd name="connsiteX3" fmla="*/ 206517 w 283125"/>
                <a:gd name="connsiteY3" fmla="*/ 0 h 150000"/>
                <a:gd name="connsiteX4" fmla="*/ 232665 w 283125"/>
                <a:gd name="connsiteY4" fmla="*/ 15292 h 150000"/>
                <a:gd name="connsiteX5" fmla="*/ 283125 w 283125"/>
                <a:gd name="connsiteY5" fmla="*/ 105000 h 150000"/>
                <a:gd name="connsiteX6" fmla="*/ 233333 w 283125"/>
                <a:gd name="connsiteY6" fmla="*/ 105000 h 150000"/>
                <a:gd name="connsiteX7" fmla="*/ 206501 w 283125"/>
                <a:gd name="connsiteY7" fmla="*/ 121584 h 150000"/>
                <a:gd name="connsiteX8" fmla="*/ 192293 w 283125"/>
                <a:gd name="connsiteY8" fmla="*/ 150000 h 150000"/>
                <a:gd name="connsiteX9" fmla="*/ 92374 w 283125"/>
                <a:gd name="connsiteY9" fmla="*/ 150000 h 150000"/>
                <a:gd name="connsiteX10" fmla="*/ 84212 w 283125"/>
                <a:gd name="connsiteY10" fmla="*/ 125513 h 150000"/>
                <a:gd name="connsiteX11" fmla="*/ 55751 w 283125"/>
                <a:gd name="connsiteY11" fmla="*/ 105000 h 150000"/>
                <a:gd name="connsiteX12" fmla="*/ 0 w 283125"/>
                <a:gd name="connsiteY12" fmla="*/ 10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125" h="150000">
                  <a:moveTo>
                    <a:pt x="0" y="105000"/>
                  </a:moveTo>
                  <a:lnTo>
                    <a:pt x="50461" y="15292"/>
                  </a:lnTo>
                  <a:cubicBezTo>
                    <a:pt x="55774" y="5846"/>
                    <a:pt x="65770" y="0"/>
                    <a:pt x="76608" y="0"/>
                  </a:cubicBezTo>
                  <a:lnTo>
                    <a:pt x="206517" y="0"/>
                  </a:lnTo>
                  <a:cubicBezTo>
                    <a:pt x="217356" y="0"/>
                    <a:pt x="227351" y="5846"/>
                    <a:pt x="232665" y="15292"/>
                  </a:cubicBezTo>
                  <a:lnTo>
                    <a:pt x="283125" y="105000"/>
                  </a:lnTo>
                  <a:lnTo>
                    <a:pt x="233333" y="105000"/>
                  </a:lnTo>
                  <a:cubicBezTo>
                    <a:pt x="221970" y="105000"/>
                    <a:pt x="211582" y="111420"/>
                    <a:pt x="206501" y="121584"/>
                  </a:cubicBezTo>
                  <a:lnTo>
                    <a:pt x="192293" y="150000"/>
                  </a:lnTo>
                  <a:lnTo>
                    <a:pt x="92374" y="150000"/>
                  </a:lnTo>
                  <a:lnTo>
                    <a:pt x="84212" y="125513"/>
                  </a:lnTo>
                  <a:cubicBezTo>
                    <a:pt x="80128" y="113264"/>
                    <a:pt x="68664" y="105000"/>
                    <a:pt x="55751" y="105000"/>
                  </a:cubicBezTo>
                  <a:lnTo>
                    <a:pt x="0" y="10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78" name="Рисунок 343">
            <a:extLst>
              <a:ext uri="{FF2B5EF4-FFF2-40B4-BE49-F238E27FC236}">
                <a16:creationId xmlns:a16="http://schemas.microsoft.com/office/drawing/2014/main" id="{46435354-FD1D-9C46-9F0A-C17DD4007391}"/>
              </a:ext>
            </a:extLst>
          </p:cNvPr>
          <p:cNvGrpSpPr/>
          <p:nvPr/>
        </p:nvGrpSpPr>
        <p:grpSpPr>
          <a:xfrm>
            <a:off x="2172137" y="1096153"/>
            <a:ext cx="360000" cy="360000"/>
            <a:chOff x="2205590" y="1412875"/>
            <a:chExt cx="360000" cy="360000"/>
          </a:xfrm>
        </p:grpSpPr>
        <p:sp>
          <p:nvSpPr>
            <p:cNvPr id="1479" name="Полилиния 1478">
              <a:extLst>
                <a:ext uri="{FF2B5EF4-FFF2-40B4-BE49-F238E27FC236}">
                  <a16:creationId xmlns:a16="http://schemas.microsoft.com/office/drawing/2014/main" id="{F28171B0-BD3B-E14B-9513-83F0FFD74557}"/>
                </a:ext>
              </a:extLst>
            </p:cNvPr>
            <p:cNvSpPr/>
            <p:nvPr/>
          </p:nvSpPr>
          <p:spPr>
            <a:xfrm>
              <a:off x="220559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0" name="Полилиния 1479">
              <a:extLst>
                <a:ext uri="{FF2B5EF4-FFF2-40B4-BE49-F238E27FC236}">
                  <a16:creationId xmlns:a16="http://schemas.microsoft.com/office/drawing/2014/main" id="{113F4076-8412-0B49-A3ED-30397FB48619}"/>
                </a:ext>
              </a:extLst>
            </p:cNvPr>
            <p:cNvSpPr/>
            <p:nvPr/>
          </p:nvSpPr>
          <p:spPr>
            <a:xfrm>
              <a:off x="2265590" y="1487875"/>
              <a:ext cx="270000" cy="195000"/>
            </a:xfrm>
            <a:custGeom>
              <a:avLst/>
              <a:gdLst>
                <a:gd name="connsiteX0" fmla="*/ 134754 w 270000"/>
                <a:gd name="connsiteY0" fmla="*/ 195000 h 195000"/>
                <a:gd name="connsiteX1" fmla="*/ 22500 w 270000"/>
                <a:gd name="connsiteY1" fmla="*/ 90000 h 195000"/>
                <a:gd name="connsiteX2" fmla="*/ 0 w 270000"/>
                <a:gd name="connsiteY2" fmla="*/ 92250 h 195000"/>
                <a:gd name="connsiteX3" fmla="*/ 0 w 270000"/>
                <a:gd name="connsiteY3" fmla="*/ 30000 h 195000"/>
                <a:gd name="connsiteX4" fmla="*/ 30000 w 270000"/>
                <a:gd name="connsiteY4" fmla="*/ 0 h 195000"/>
                <a:gd name="connsiteX5" fmla="*/ 240000 w 270000"/>
                <a:gd name="connsiteY5" fmla="*/ 0 h 195000"/>
                <a:gd name="connsiteX6" fmla="*/ 270000 w 270000"/>
                <a:gd name="connsiteY6" fmla="*/ 30000 h 195000"/>
                <a:gd name="connsiteX7" fmla="*/ 270000 w 270000"/>
                <a:gd name="connsiteY7" fmla="*/ 165000 h 195000"/>
                <a:gd name="connsiteX8" fmla="*/ 240000 w 270000"/>
                <a:gd name="connsiteY8" fmla="*/ 195000 h 195000"/>
                <a:gd name="connsiteX9" fmla="*/ 134754 w 270000"/>
                <a:gd name="connsiteY9" fmla="*/ 195000 h 195000"/>
                <a:gd name="connsiteX10" fmla="*/ 227166 w 270000"/>
                <a:gd name="connsiteY10" fmla="*/ 27595 h 195000"/>
                <a:gd name="connsiteX11" fmla="*/ 135000 w 270000"/>
                <a:gd name="connsiteY11" fmla="*/ 77223 h 195000"/>
                <a:gd name="connsiteX12" fmla="*/ 42834 w 270000"/>
                <a:gd name="connsiteY12" fmla="*/ 27595 h 195000"/>
                <a:gd name="connsiteX13" fmla="*/ 27595 w 270000"/>
                <a:gd name="connsiteY13" fmla="*/ 32166 h 195000"/>
                <a:gd name="connsiteX14" fmla="*/ 32166 w 270000"/>
                <a:gd name="connsiteY14" fmla="*/ 47405 h 195000"/>
                <a:gd name="connsiteX15" fmla="*/ 129666 w 270000"/>
                <a:gd name="connsiteY15" fmla="*/ 99906 h 195000"/>
                <a:gd name="connsiteX16" fmla="*/ 140334 w 270000"/>
                <a:gd name="connsiteY16" fmla="*/ 99906 h 195000"/>
                <a:gd name="connsiteX17" fmla="*/ 237834 w 270000"/>
                <a:gd name="connsiteY17" fmla="*/ 47405 h 195000"/>
                <a:gd name="connsiteX18" fmla="*/ 242406 w 270000"/>
                <a:gd name="connsiteY18" fmla="*/ 32166 h 195000"/>
                <a:gd name="connsiteX19" fmla="*/ 227166 w 270000"/>
                <a:gd name="connsiteY19" fmla="*/ 27595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0000" h="195000">
                  <a:moveTo>
                    <a:pt x="134754" y="195000"/>
                  </a:moveTo>
                  <a:cubicBezTo>
                    <a:pt x="130895" y="136365"/>
                    <a:pt x="82112" y="90000"/>
                    <a:pt x="22500" y="90000"/>
                  </a:cubicBezTo>
                  <a:cubicBezTo>
                    <a:pt x="14795" y="90000"/>
                    <a:pt x="7270" y="90774"/>
                    <a:pt x="0" y="9225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65000"/>
                  </a:lnTo>
                  <a:cubicBezTo>
                    <a:pt x="270000" y="181569"/>
                    <a:pt x="256569" y="195000"/>
                    <a:pt x="240000" y="195000"/>
                  </a:cubicBezTo>
                  <a:lnTo>
                    <a:pt x="134754" y="195000"/>
                  </a:lnTo>
                  <a:close/>
                  <a:moveTo>
                    <a:pt x="227166" y="27595"/>
                  </a:moveTo>
                  <a:lnTo>
                    <a:pt x="135000" y="77223"/>
                  </a:lnTo>
                  <a:lnTo>
                    <a:pt x="42834" y="27595"/>
                  </a:lnTo>
                  <a:cubicBezTo>
                    <a:pt x="37363" y="24649"/>
                    <a:pt x="30540" y="26696"/>
                    <a:pt x="27595" y="32166"/>
                  </a:cubicBezTo>
                  <a:cubicBezTo>
                    <a:pt x="24649" y="37637"/>
                    <a:pt x="26696" y="44460"/>
                    <a:pt x="32166" y="47405"/>
                  </a:cubicBezTo>
                  <a:lnTo>
                    <a:pt x="129666" y="99906"/>
                  </a:lnTo>
                  <a:cubicBezTo>
                    <a:pt x="132996" y="101698"/>
                    <a:pt x="137004" y="101698"/>
                    <a:pt x="140334" y="99906"/>
                  </a:cubicBezTo>
                  <a:lnTo>
                    <a:pt x="237834" y="47405"/>
                  </a:lnTo>
                  <a:cubicBezTo>
                    <a:pt x="243305" y="44460"/>
                    <a:pt x="245351" y="37637"/>
                    <a:pt x="242406" y="32166"/>
                  </a:cubicBezTo>
                  <a:cubicBezTo>
                    <a:pt x="239460" y="26696"/>
                    <a:pt x="232637" y="24649"/>
                    <a:pt x="227166" y="2759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1" name="Полилиния 1480">
              <a:extLst>
                <a:ext uri="{FF2B5EF4-FFF2-40B4-BE49-F238E27FC236}">
                  <a16:creationId xmlns:a16="http://schemas.microsoft.com/office/drawing/2014/main" id="{646FF4FF-D6C7-9F48-B271-ABABABBC8F1D}"/>
                </a:ext>
              </a:extLst>
            </p:cNvPr>
            <p:cNvSpPr/>
            <p:nvPr/>
          </p:nvSpPr>
          <p:spPr>
            <a:xfrm>
              <a:off x="2288090" y="1622875"/>
              <a:ext cx="30000" cy="105000"/>
            </a:xfrm>
            <a:custGeom>
              <a:avLst/>
              <a:gdLst>
                <a:gd name="connsiteX0" fmla="*/ 15000 w 30000"/>
                <a:gd name="connsiteY0" fmla="*/ 0 h 105000"/>
                <a:gd name="connsiteX1" fmla="*/ 30000 w 30000"/>
                <a:gd name="connsiteY1" fmla="*/ 15000 h 105000"/>
                <a:gd name="connsiteX2" fmla="*/ 30000 w 30000"/>
                <a:gd name="connsiteY2" fmla="*/ 45000 h 105000"/>
                <a:gd name="connsiteX3" fmla="*/ 15000 w 30000"/>
                <a:gd name="connsiteY3" fmla="*/ 60000 h 105000"/>
                <a:gd name="connsiteX4" fmla="*/ 0 w 30000"/>
                <a:gd name="connsiteY4" fmla="*/ 45000 h 105000"/>
                <a:gd name="connsiteX5" fmla="*/ 0 w 30000"/>
                <a:gd name="connsiteY5" fmla="*/ 15000 h 105000"/>
                <a:gd name="connsiteX6" fmla="*/ 15000 w 30000"/>
                <a:gd name="connsiteY6" fmla="*/ 0 h 105000"/>
                <a:gd name="connsiteX7" fmla="*/ 15000 w 30000"/>
                <a:gd name="connsiteY7" fmla="*/ 105000 h 105000"/>
                <a:gd name="connsiteX8" fmla="*/ 0 w 30000"/>
                <a:gd name="connsiteY8" fmla="*/ 90000 h 105000"/>
                <a:gd name="connsiteX9" fmla="*/ 15000 w 30000"/>
                <a:gd name="connsiteY9" fmla="*/ 75000 h 105000"/>
                <a:gd name="connsiteX10" fmla="*/ 30000 w 30000"/>
                <a:gd name="connsiteY10" fmla="*/ 90000 h 105000"/>
                <a:gd name="connsiteX11" fmla="*/ 15000 w 30000"/>
                <a:gd name="connsiteY11" fmla="*/ 10500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" h="105000">
                  <a:moveTo>
                    <a:pt x="15000" y="0"/>
                  </a:moveTo>
                  <a:cubicBezTo>
                    <a:pt x="23284" y="0"/>
                    <a:pt x="30000" y="6715"/>
                    <a:pt x="30000" y="15000"/>
                  </a:cubicBezTo>
                  <a:lnTo>
                    <a:pt x="30000" y="45000"/>
                  </a:lnTo>
                  <a:cubicBezTo>
                    <a:pt x="30000" y="53284"/>
                    <a:pt x="23284" y="60000"/>
                    <a:pt x="15000" y="60000"/>
                  </a:cubicBezTo>
                  <a:cubicBezTo>
                    <a:pt x="6716" y="60000"/>
                    <a:pt x="0" y="53284"/>
                    <a:pt x="0" y="45000"/>
                  </a:cubicBezTo>
                  <a:lnTo>
                    <a:pt x="0" y="15000"/>
                  </a:lnTo>
                  <a:cubicBezTo>
                    <a:pt x="0" y="6715"/>
                    <a:pt x="6716" y="0"/>
                    <a:pt x="15000" y="0"/>
                  </a:cubicBezTo>
                  <a:close/>
                  <a:moveTo>
                    <a:pt x="15000" y="105000"/>
                  </a:moveTo>
                  <a:cubicBezTo>
                    <a:pt x="6716" y="105000"/>
                    <a:pt x="0" y="98284"/>
                    <a:pt x="0" y="90000"/>
                  </a:cubicBezTo>
                  <a:cubicBezTo>
                    <a:pt x="0" y="81716"/>
                    <a:pt x="6716" y="75000"/>
                    <a:pt x="15000" y="75000"/>
                  </a:cubicBezTo>
                  <a:cubicBezTo>
                    <a:pt x="23284" y="75000"/>
                    <a:pt x="30000" y="81716"/>
                    <a:pt x="30000" y="90000"/>
                  </a:cubicBezTo>
                  <a:cubicBezTo>
                    <a:pt x="30000" y="98284"/>
                    <a:pt x="23284" y="105000"/>
                    <a:pt x="15000" y="10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482" name="Рисунок 344">
            <a:extLst>
              <a:ext uri="{FF2B5EF4-FFF2-40B4-BE49-F238E27FC236}">
                <a16:creationId xmlns:a16="http://schemas.microsoft.com/office/drawing/2014/main" id="{6D8CCFA9-D284-DF49-B315-BFE147C52E1D}"/>
              </a:ext>
            </a:extLst>
          </p:cNvPr>
          <p:cNvGrpSpPr/>
          <p:nvPr/>
        </p:nvGrpSpPr>
        <p:grpSpPr>
          <a:xfrm>
            <a:off x="1417004" y="1096153"/>
            <a:ext cx="360000" cy="360000"/>
            <a:chOff x="1450457" y="1412875"/>
            <a:chExt cx="360000" cy="360000"/>
          </a:xfrm>
        </p:grpSpPr>
        <p:sp>
          <p:nvSpPr>
            <p:cNvPr id="1483" name="Полилиния 1482">
              <a:extLst>
                <a:ext uri="{FF2B5EF4-FFF2-40B4-BE49-F238E27FC236}">
                  <a16:creationId xmlns:a16="http://schemas.microsoft.com/office/drawing/2014/main" id="{2BF9E296-CD6E-0047-AF6F-D5091CE157BF}"/>
                </a:ext>
              </a:extLst>
            </p:cNvPr>
            <p:cNvSpPr/>
            <p:nvPr/>
          </p:nvSpPr>
          <p:spPr>
            <a:xfrm>
              <a:off x="1450457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4" name="Полилиния 1483">
              <a:extLst>
                <a:ext uri="{FF2B5EF4-FFF2-40B4-BE49-F238E27FC236}">
                  <a16:creationId xmlns:a16="http://schemas.microsoft.com/office/drawing/2014/main" id="{1CE5339E-59B9-A947-8A58-1F7E12BBE51C}"/>
                </a:ext>
              </a:extLst>
            </p:cNvPr>
            <p:cNvSpPr/>
            <p:nvPr/>
          </p:nvSpPr>
          <p:spPr>
            <a:xfrm>
              <a:off x="1525457" y="1442875"/>
              <a:ext cx="210000" cy="180000"/>
            </a:xfrm>
            <a:custGeom>
              <a:avLst/>
              <a:gdLst>
                <a:gd name="connsiteX0" fmla="*/ 15000 w 210000"/>
                <a:gd name="connsiteY0" fmla="*/ 0 h 180000"/>
                <a:gd name="connsiteX1" fmla="*/ 195000 w 210000"/>
                <a:gd name="connsiteY1" fmla="*/ 0 h 180000"/>
                <a:gd name="connsiteX2" fmla="*/ 210000 w 210000"/>
                <a:gd name="connsiteY2" fmla="*/ 15000 h 180000"/>
                <a:gd name="connsiteX3" fmla="*/ 210000 w 210000"/>
                <a:gd name="connsiteY3" fmla="*/ 165000 h 180000"/>
                <a:gd name="connsiteX4" fmla="*/ 195000 w 210000"/>
                <a:gd name="connsiteY4" fmla="*/ 180000 h 180000"/>
                <a:gd name="connsiteX5" fmla="*/ 15000 w 210000"/>
                <a:gd name="connsiteY5" fmla="*/ 180000 h 180000"/>
                <a:gd name="connsiteX6" fmla="*/ 0 w 210000"/>
                <a:gd name="connsiteY6" fmla="*/ 165000 h 180000"/>
                <a:gd name="connsiteX7" fmla="*/ 0 w 210000"/>
                <a:gd name="connsiteY7" fmla="*/ 15000 h 180000"/>
                <a:gd name="connsiteX8" fmla="*/ 15000 w 210000"/>
                <a:gd name="connsiteY8" fmla="*/ 0 h 180000"/>
                <a:gd name="connsiteX9" fmla="*/ 132000 w 210000"/>
                <a:gd name="connsiteY9" fmla="*/ 30000 h 180000"/>
                <a:gd name="connsiteX10" fmla="*/ 105000 w 210000"/>
                <a:gd name="connsiteY10" fmla="*/ 48000 h 180000"/>
                <a:gd name="connsiteX11" fmla="*/ 78000 w 210000"/>
                <a:gd name="connsiteY11" fmla="*/ 30000 h 180000"/>
                <a:gd name="connsiteX12" fmla="*/ 51000 w 210000"/>
                <a:gd name="connsiteY12" fmla="*/ 60302 h 180000"/>
                <a:gd name="connsiteX13" fmla="*/ 105000 w 210000"/>
                <a:gd name="connsiteY13" fmla="*/ 120000 h 180000"/>
                <a:gd name="connsiteX14" fmla="*/ 159000 w 210000"/>
                <a:gd name="connsiteY14" fmla="*/ 61500 h 180000"/>
                <a:gd name="connsiteX15" fmla="*/ 132000 w 210000"/>
                <a:gd name="connsiteY15" fmla="*/ 3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000" h="180000">
                  <a:moveTo>
                    <a:pt x="15000" y="0"/>
                  </a:moveTo>
                  <a:lnTo>
                    <a:pt x="195000" y="0"/>
                  </a:lnTo>
                  <a:cubicBezTo>
                    <a:pt x="203285" y="0"/>
                    <a:pt x="210000" y="6716"/>
                    <a:pt x="210000" y="15000"/>
                  </a:cubicBezTo>
                  <a:lnTo>
                    <a:pt x="210000" y="165000"/>
                  </a:lnTo>
                  <a:cubicBezTo>
                    <a:pt x="210000" y="173285"/>
                    <a:pt x="203285" y="180000"/>
                    <a:pt x="195000" y="180000"/>
                  </a:cubicBezTo>
                  <a:lnTo>
                    <a:pt x="15000" y="180000"/>
                  </a:lnTo>
                  <a:cubicBezTo>
                    <a:pt x="6716" y="180000"/>
                    <a:pt x="0" y="173285"/>
                    <a:pt x="0" y="16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32000" y="30000"/>
                  </a:moveTo>
                  <a:cubicBezTo>
                    <a:pt x="122343" y="30000"/>
                    <a:pt x="111050" y="40948"/>
                    <a:pt x="105000" y="48000"/>
                  </a:cubicBezTo>
                  <a:cubicBezTo>
                    <a:pt x="98950" y="40948"/>
                    <a:pt x="87657" y="30000"/>
                    <a:pt x="78000" y="30000"/>
                  </a:cubicBezTo>
                  <a:cubicBezTo>
                    <a:pt x="60906" y="30000"/>
                    <a:pt x="51000" y="43333"/>
                    <a:pt x="51000" y="60302"/>
                  </a:cubicBezTo>
                  <a:cubicBezTo>
                    <a:pt x="51000" y="79101"/>
                    <a:pt x="69000" y="99000"/>
                    <a:pt x="105000" y="120000"/>
                  </a:cubicBezTo>
                  <a:cubicBezTo>
                    <a:pt x="141000" y="99000"/>
                    <a:pt x="159000" y="79500"/>
                    <a:pt x="159000" y="61500"/>
                  </a:cubicBezTo>
                  <a:cubicBezTo>
                    <a:pt x="159000" y="44531"/>
                    <a:pt x="149094" y="30000"/>
                    <a:pt x="132000" y="3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5" name="Полилиния 1484">
              <a:extLst>
                <a:ext uri="{FF2B5EF4-FFF2-40B4-BE49-F238E27FC236}">
                  <a16:creationId xmlns:a16="http://schemas.microsoft.com/office/drawing/2014/main" id="{5845E09E-078D-B74A-8148-B2847CA6AC21}"/>
                </a:ext>
              </a:extLst>
            </p:cNvPr>
            <p:cNvSpPr/>
            <p:nvPr/>
          </p:nvSpPr>
          <p:spPr>
            <a:xfrm>
              <a:off x="1495457" y="1510042"/>
              <a:ext cx="270000" cy="187832"/>
            </a:xfrm>
            <a:custGeom>
              <a:avLst/>
              <a:gdLst>
                <a:gd name="connsiteX0" fmla="*/ 11891 w 270000"/>
                <a:gd name="connsiteY0" fmla="*/ 1420 h 187832"/>
                <a:gd name="connsiteX1" fmla="*/ 135000 w 270000"/>
                <a:gd name="connsiteY1" fmla="*/ 90332 h 187832"/>
                <a:gd name="connsiteX2" fmla="*/ 258110 w 270000"/>
                <a:gd name="connsiteY2" fmla="*/ 1420 h 187832"/>
                <a:gd name="connsiteX3" fmla="*/ 268580 w 270000"/>
                <a:gd name="connsiteY3" fmla="*/ 3109 h 187832"/>
                <a:gd name="connsiteX4" fmla="*/ 270000 w 270000"/>
                <a:gd name="connsiteY4" fmla="*/ 7501 h 187832"/>
                <a:gd name="connsiteX5" fmla="*/ 270000 w 270000"/>
                <a:gd name="connsiteY5" fmla="*/ 157832 h 187832"/>
                <a:gd name="connsiteX6" fmla="*/ 240000 w 270000"/>
                <a:gd name="connsiteY6" fmla="*/ 187832 h 187832"/>
                <a:gd name="connsiteX7" fmla="*/ 30000 w 270000"/>
                <a:gd name="connsiteY7" fmla="*/ 187832 h 187832"/>
                <a:gd name="connsiteX8" fmla="*/ 0 w 270000"/>
                <a:gd name="connsiteY8" fmla="*/ 157832 h 187832"/>
                <a:gd name="connsiteX9" fmla="*/ 0 w 270000"/>
                <a:gd name="connsiteY9" fmla="*/ 7501 h 187832"/>
                <a:gd name="connsiteX10" fmla="*/ 7500 w 270000"/>
                <a:gd name="connsiteY10" fmla="*/ 1 h 187832"/>
                <a:gd name="connsiteX11" fmla="*/ 11891 w 270000"/>
                <a:gd name="connsiteY11" fmla="*/ 1420 h 18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0000" h="187832">
                  <a:moveTo>
                    <a:pt x="11891" y="1420"/>
                  </a:moveTo>
                  <a:lnTo>
                    <a:pt x="135000" y="90332"/>
                  </a:lnTo>
                  <a:lnTo>
                    <a:pt x="258110" y="1420"/>
                  </a:lnTo>
                  <a:cubicBezTo>
                    <a:pt x="261467" y="-1005"/>
                    <a:pt x="266156" y="-249"/>
                    <a:pt x="268580" y="3109"/>
                  </a:cubicBezTo>
                  <a:cubicBezTo>
                    <a:pt x="269504" y="4387"/>
                    <a:pt x="270000" y="5924"/>
                    <a:pt x="270000" y="7501"/>
                  </a:cubicBezTo>
                  <a:lnTo>
                    <a:pt x="270000" y="157832"/>
                  </a:lnTo>
                  <a:cubicBezTo>
                    <a:pt x="270000" y="174401"/>
                    <a:pt x="256569" y="187832"/>
                    <a:pt x="240000" y="187832"/>
                  </a:cubicBezTo>
                  <a:lnTo>
                    <a:pt x="30000" y="187832"/>
                  </a:lnTo>
                  <a:cubicBezTo>
                    <a:pt x="13431" y="187832"/>
                    <a:pt x="0" y="174401"/>
                    <a:pt x="0" y="157832"/>
                  </a:cubicBezTo>
                  <a:lnTo>
                    <a:pt x="0" y="7501"/>
                  </a:lnTo>
                  <a:cubicBezTo>
                    <a:pt x="0" y="3358"/>
                    <a:pt x="3358" y="1"/>
                    <a:pt x="7500" y="1"/>
                  </a:cubicBezTo>
                  <a:cubicBezTo>
                    <a:pt x="9077" y="1"/>
                    <a:pt x="10613" y="497"/>
                    <a:pt x="11891" y="142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86" name="Рисунок 345">
            <a:extLst>
              <a:ext uri="{FF2B5EF4-FFF2-40B4-BE49-F238E27FC236}">
                <a16:creationId xmlns:a16="http://schemas.microsoft.com/office/drawing/2014/main" id="{15B619BA-EF9F-3E4A-839D-3568AA392B00}"/>
              </a:ext>
            </a:extLst>
          </p:cNvPr>
          <p:cNvGrpSpPr/>
          <p:nvPr/>
        </p:nvGrpSpPr>
        <p:grpSpPr>
          <a:xfrm>
            <a:off x="11233735" y="1096153"/>
            <a:ext cx="360000" cy="360000"/>
            <a:chOff x="11267188" y="1412875"/>
            <a:chExt cx="360000" cy="360000"/>
          </a:xfrm>
        </p:grpSpPr>
        <p:sp>
          <p:nvSpPr>
            <p:cNvPr id="1487" name="Полилиния 1486">
              <a:extLst>
                <a:ext uri="{FF2B5EF4-FFF2-40B4-BE49-F238E27FC236}">
                  <a16:creationId xmlns:a16="http://schemas.microsoft.com/office/drawing/2014/main" id="{01C522B0-8E83-6B4E-8970-A861A14120B0}"/>
                </a:ext>
              </a:extLst>
            </p:cNvPr>
            <p:cNvSpPr/>
            <p:nvPr/>
          </p:nvSpPr>
          <p:spPr>
            <a:xfrm>
              <a:off x="11267188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8" name="Полилиния 1487">
              <a:extLst>
                <a:ext uri="{FF2B5EF4-FFF2-40B4-BE49-F238E27FC236}">
                  <a16:creationId xmlns:a16="http://schemas.microsoft.com/office/drawing/2014/main" id="{ADBEA20A-7908-254D-9848-AEBC56E57915}"/>
                </a:ext>
              </a:extLst>
            </p:cNvPr>
            <p:cNvSpPr/>
            <p:nvPr/>
          </p:nvSpPr>
          <p:spPr>
            <a:xfrm>
              <a:off x="11327188" y="1487875"/>
              <a:ext cx="270000" cy="195000"/>
            </a:xfrm>
            <a:custGeom>
              <a:avLst/>
              <a:gdLst>
                <a:gd name="connsiteX0" fmla="*/ 134754 w 270000"/>
                <a:gd name="connsiteY0" fmla="*/ 195000 h 195000"/>
                <a:gd name="connsiteX1" fmla="*/ 22500 w 270000"/>
                <a:gd name="connsiteY1" fmla="*/ 90000 h 195000"/>
                <a:gd name="connsiteX2" fmla="*/ 0 w 270000"/>
                <a:gd name="connsiteY2" fmla="*/ 92250 h 195000"/>
                <a:gd name="connsiteX3" fmla="*/ 0 w 270000"/>
                <a:gd name="connsiteY3" fmla="*/ 30000 h 195000"/>
                <a:gd name="connsiteX4" fmla="*/ 30000 w 270000"/>
                <a:gd name="connsiteY4" fmla="*/ 0 h 195000"/>
                <a:gd name="connsiteX5" fmla="*/ 240000 w 270000"/>
                <a:gd name="connsiteY5" fmla="*/ 0 h 195000"/>
                <a:gd name="connsiteX6" fmla="*/ 270000 w 270000"/>
                <a:gd name="connsiteY6" fmla="*/ 30000 h 195000"/>
                <a:gd name="connsiteX7" fmla="*/ 270000 w 270000"/>
                <a:gd name="connsiteY7" fmla="*/ 165000 h 195000"/>
                <a:gd name="connsiteX8" fmla="*/ 240000 w 270000"/>
                <a:gd name="connsiteY8" fmla="*/ 195000 h 195000"/>
                <a:gd name="connsiteX9" fmla="*/ 134754 w 270000"/>
                <a:gd name="connsiteY9" fmla="*/ 195000 h 195000"/>
                <a:gd name="connsiteX10" fmla="*/ 227166 w 270000"/>
                <a:gd name="connsiteY10" fmla="*/ 27595 h 195000"/>
                <a:gd name="connsiteX11" fmla="*/ 135000 w 270000"/>
                <a:gd name="connsiteY11" fmla="*/ 77223 h 195000"/>
                <a:gd name="connsiteX12" fmla="*/ 42834 w 270000"/>
                <a:gd name="connsiteY12" fmla="*/ 27595 h 195000"/>
                <a:gd name="connsiteX13" fmla="*/ 27595 w 270000"/>
                <a:gd name="connsiteY13" fmla="*/ 32166 h 195000"/>
                <a:gd name="connsiteX14" fmla="*/ 32166 w 270000"/>
                <a:gd name="connsiteY14" fmla="*/ 47405 h 195000"/>
                <a:gd name="connsiteX15" fmla="*/ 129666 w 270000"/>
                <a:gd name="connsiteY15" fmla="*/ 99906 h 195000"/>
                <a:gd name="connsiteX16" fmla="*/ 140334 w 270000"/>
                <a:gd name="connsiteY16" fmla="*/ 99906 h 195000"/>
                <a:gd name="connsiteX17" fmla="*/ 237834 w 270000"/>
                <a:gd name="connsiteY17" fmla="*/ 47405 h 195000"/>
                <a:gd name="connsiteX18" fmla="*/ 242406 w 270000"/>
                <a:gd name="connsiteY18" fmla="*/ 32166 h 195000"/>
                <a:gd name="connsiteX19" fmla="*/ 227166 w 270000"/>
                <a:gd name="connsiteY19" fmla="*/ 27595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0000" h="195000">
                  <a:moveTo>
                    <a:pt x="134754" y="195000"/>
                  </a:moveTo>
                  <a:cubicBezTo>
                    <a:pt x="130895" y="136365"/>
                    <a:pt x="82112" y="90000"/>
                    <a:pt x="22500" y="90000"/>
                  </a:cubicBezTo>
                  <a:cubicBezTo>
                    <a:pt x="14795" y="90000"/>
                    <a:pt x="7270" y="90774"/>
                    <a:pt x="0" y="9225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65000"/>
                  </a:lnTo>
                  <a:cubicBezTo>
                    <a:pt x="270000" y="181569"/>
                    <a:pt x="256569" y="195000"/>
                    <a:pt x="240000" y="195000"/>
                  </a:cubicBezTo>
                  <a:lnTo>
                    <a:pt x="134754" y="195000"/>
                  </a:lnTo>
                  <a:close/>
                  <a:moveTo>
                    <a:pt x="227166" y="27595"/>
                  </a:moveTo>
                  <a:lnTo>
                    <a:pt x="135000" y="77223"/>
                  </a:lnTo>
                  <a:lnTo>
                    <a:pt x="42834" y="27595"/>
                  </a:lnTo>
                  <a:cubicBezTo>
                    <a:pt x="37363" y="24649"/>
                    <a:pt x="30540" y="26696"/>
                    <a:pt x="27595" y="32166"/>
                  </a:cubicBezTo>
                  <a:cubicBezTo>
                    <a:pt x="24649" y="37637"/>
                    <a:pt x="26696" y="44460"/>
                    <a:pt x="32166" y="47405"/>
                  </a:cubicBezTo>
                  <a:lnTo>
                    <a:pt x="129666" y="99906"/>
                  </a:lnTo>
                  <a:cubicBezTo>
                    <a:pt x="132996" y="101698"/>
                    <a:pt x="137004" y="101698"/>
                    <a:pt x="140334" y="99906"/>
                  </a:cubicBezTo>
                  <a:lnTo>
                    <a:pt x="237834" y="47405"/>
                  </a:lnTo>
                  <a:cubicBezTo>
                    <a:pt x="243305" y="44460"/>
                    <a:pt x="245351" y="37637"/>
                    <a:pt x="242406" y="32166"/>
                  </a:cubicBezTo>
                  <a:cubicBezTo>
                    <a:pt x="239460" y="26696"/>
                    <a:pt x="232637" y="24649"/>
                    <a:pt x="227166" y="2759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9" name="Полилиния 1488">
              <a:extLst>
                <a:ext uri="{FF2B5EF4-FFF2-40B4-BE49-F238E27FC236}">
                  <a16:creationId xmlns:a16="http://schemas.microsoft.com/office/drawing/2014/main" id="{54769F9C-414A-2B42-BF86-9CD47395DC95}"/>
                </a:ext>
              </a:extLst>
            </p:cNvPr>
            <p:cNvSpPr/>
            <p:nvPr/>
          </p:nvSpPr>
          <p:spPr>
            <a:xfrm>
              <a:off x="11297188" y="1622875"/>
              <a:ext cx="105000" cy="120000"/>
            </a:xfrm>
            <a:custGeom>
              <a:avLst/>
              <a:gdLst>
                <a:gd name="connsiteX0" fmla="*/ 90000 w 105000"/>
                <a:gd name="connsiteY0" fmla="*/ 45000 h 120000"/>
                <a:gd name="connsiteX1" fmla="*/ 105000 w 105000"/>
                <a:gd name="connsiteY1" fmla="*/ 60000 h 120000"/>
                <a:gd name="connsiteX2" fmla="*/ 105000 w 105000"/>
                <a:gd name="connsiteY2" fmla="*/ 105000 h 120000"/>
                <a:gd name="connsiteX3" fmla="*/ 90000 w 105000"/>
                <a:gd name="connsiteY3" fmla="*/ 120000 h 120000"/>
                <a:gd name="connsiteX4" fmla="*/ 15000 w 105000"/>
                <a:gd name="connsiteY4" fmla="*/ 120000 h 120000"/>
                <a:gd name="connsiteX5" fmla="*/ 0 w 105000"/>
                <a:gd name="connsiteY5" fmla="*/ 105000 h 120000"/>
                <a:gd name="connsiteX6" fmla="*/ 0 w 105000"/>
                <a:gd name="connsiteY6" fmla="*/ 60000 h 120000"/>
                <a:gd name="connsiteX7" fmla="*/ 15000 w 105000"/>
                <a:gd name="connsiteY7" fmla="*/ 45000 h 120000"/>
                <a:gd name="connsiteX8" fmla="*/ 15000 w 105000"/>
                <a:gd name="connsiteY8" fmla="*/ 37500 h 120000"/>
                <a:gd name="connsiteX9" fmla="*/ 52500 w 105000"/>
                <a:gd name="connsiteY9" fmla="*/ 0 h 120000"/>
                <a:gd name="connsiteX10" fmla="*/ 90000 w 105000"/>
                <a:gd name="connsiteY10" fmla="*/ 37500 h 120000"/>
                <a:gd name="connsiteX11" fmla="*/ 90000 w 105000"/>
                <a:gd name="connsiteY11" fmla="*/ 45000 h 120000"/>
                <a:gd name="connsiteX12" fmla="*/ 52500 w 105000"/>
                <a:gd name="connsiteY12" fmla="*/ 15000 h 120000"/>
                <a:gd name="connsiteX13" fmla="*/ 30000 w 105000"/>
                <a:gd name="connsiteY13" fmla="*/ 37500 h 120000"/>
                <a:gd name="connsiteX14" fmla="*/ 30000 w 105000"/>
                <a:gd name="connsiteY14" fmla="*/ 45000 h 120000"/>
                <a:gd name="connsiteX15" fmla="*/ 75000 w 105000"/>
                <a:gd name="connsiteY15" fmla="*/ 45000 h 120000"/>
                <a:gd name="connsiteX16" fmla="*/ 75000 w 105000"/>
                <a:gd name="connsiteY16" fmla="*/ 37500 h 120000"/>
                <a:gd name="connsiteX17" fmla="*/ 52500 w 105000"/>
                <a:gd name="connsiteY17" fmla="*/ 1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000" h="120000">
                  <a:moveTo>
                    <a:pt x="90000" y="45000"/>
                  </a:moveTo>
                  <a:cubicBezTo>
                    <a:pt x="98284" y="45000"/>
                    <a:pt x="105000" y="51716"/>
                    <a:pt x="105000" y="60000"/>
                  </a:cubicBezTo>
                  <a:lnTo>
                    <a:pt x="105000" y="105000"/>
                  </a:lnTo>
                  <a:cubicBezTo>
                    <a:pt x="105000" y="113284"/>
                    <a:pt x="98284" y="120000"/>
                    <a:pt x="90000" y="120000"/>
                  </a:cubicBezTo>
                  <a:lnTo>
                    <a:pt x="15000" y="120000"/>
                  </a:lnTo>
                  <a:cubicBezTo>
                    <a:pt x="6716" y="120000"/>
                    <a:pt x="0" y="113284"/>
                    <a:pt x="0" y="105000"/>
                  </a:cubicBezTo>
                  <a:lnTo>
                    <a:pt x="0" y="60000"/>
                  </a:lnTo>
                  <a:cubicBezTo>
                    <a:pt x="0" y="51716"/>
                    <a:pt x="6716" y="45000"/>
                    <a:pt x="15000" y="45000"/>
                  </a:cubicBezTo>
                  <a:lnTo>
                    <a:pt x="15000" y="37500"/>
                  </a:lnTo>
                  <a:cubicBezTo>
                    <a:pt x="15000" y="16789"/>
                    <a:pt x="31789" y="0"/>
                    <a:pt x="52500" y="0"/>
                  </a:cubicBezTo>
                  <a:cubicBezTo>
                    <a:pt x="73211" y="0"/>
                    <a:pt x="90000" y="16789"/>
                    <a:pt x="90000" y="37500"/>
                  </a:cubicBezTo>
                  <a:lnTo>
                    <a:pt x="90000" y="45000"/>
                  </a:lnTo>
                  <a:close/>
                  <a:moveTo>
                    <a:pt x="52500" y="15000"/>
                  </a:moveTo>
                  <a:cubicBezTo>
                    <a:pt x="40074" y="15000"/>
                    <a:pt x="30000" y="25074"/>
                    <a:pt x="30000" y="37500"/>
                  </a:cubicBezTo>
                  <a:lnTo>
                    <a:pt x="30000" y="45000"/>
                  </a:lnTo>
                  <a:lnTo>
                    <a:pt x="75000" y="45000"/>
                  </a:lnTo>
                  <a:lnTo>
                    <a:pt x="75000" y="37500"/>
                  </a:lnTo>
                  <a:cubicBezTo>
                    <a:pt x="75000" y="25074"/>
                    <a:pt x="64926" y="15000"/>
                    <a:pt x="52500" y="1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90" name="Рисунок 346">
            <a:extLst>
              <a:ext uri="{FF2B5EF4-FFF2-40B4-BE49-F238E27FC236}">
                <a16:creationId xmlns:a16="http://schemas.microsoft.com/office/drawing/2014/main" id="{3930BC0B-7966-324D-96C4-F85F20091B7E}"/>
              </a:ext>
            </a:extLst>
          </p:cNvPr>
          <p:cNvGrpSpPr/>
          <p:nvPr/>
        </p:nvGrpSpPr>
        <p:grpSpPr>
          <a:xfrm>
            <a:off x="661871" y="1096153"/>
            <a:ext cx="360000" cy="360000"/>
            <a:chOff x="695324" y="1412875"/>
            <a:chExt cx="360000" cy="360000"/>
          </a:xfrm>
        </p:grpSpPr>
        <p:sp>
          <p:nvSpPr>
            <p:cNvPr id="1491" name="Полилиния 1490">
              <a:extLst>
                <a:ext uri="{FF2B5EF4-FFF2-40B4-BE49-F238E27FC236}">
                  <a16:creationId xmlns:a16="http://schemas.microsoft.com/office/drawing/2014/main" id="{8A8370EE-F1A0-8D45-8DEC-1370EC51AA80}"/>
                </a:ext>
              </a:extLst>
            </p:cNvPr>
            <p:cNvSpPr/>
            <p:nvPr/>
          </p:nvSpPr>
          <p:spPr>
            <a:xfrm>
              <a:off x="69532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2" name="Полилиния 1491">
              <a:extLst>
                <a:ext uri="{FF2B5EF4-FFF2-40B4-BE49-F238E27FC236}">
                  <a16:creationId xmlns:a16="http://schemas.microsoft.com/office/drawing/2014/main" id="{BD334AE0-3906-A241-ADAD-A6A579E22255}"/>
                </a:ext>
              </a:extLst>
            </p:cNvPr>
            <p:cNvSpPr/>
            <p:nvPr/>
          </p:nvSpPr>
          <p:spPr>
            <a:xfrm>
              <a:off x="740324" y="1502875"/>
              <a:ext cx="270000" cy="195000"/>
            </a:xfrm>
            <a:custGeom>
              <a:avLst/>
              <a:gdLst>
                <a:gd name="connsiteX0" fmla="*/ 270000 w 270000"/>
                <a:gd name="connsiteY0" fmla="*/ 91245 h 195000"/>
                <a:gd name="connsiteX1" fmla="*/ 255000 w 270000"/>
                <a:gd name="connsiteY1" fmla="*/ 90000 h 195000"/>
                <a:gd name="connsiteX2" fmla="*/ 165000 w 270000"/>
                <a:gd name="connsiteY2" fmla="*/ 180000 h 195000"/>
                <a:gd name="connsiteX3" fmla="*/ 166245 w 270000"/>
                <a:gd name="connsiteY3" fmla="*/ 195000 h 195000"/>
                <a:gd name="connsiteX4" fmla="*/ 30000 w 270000"/>
                <a:gd name="connsiteY4" fmla="*/ 195000 h 195000"/>
                <a:gd name="connsiteX5" fmla="*/ 0 w 270000"/>
                <a:gd name="connsiteY5" fmla="*/ 165000 h 195000"/>
                <a:gd name="connsiteX6" fmla="*/ 0 w 270000"/>
                <a:gd name="connsiteY6" fmla="*/ 30000 h 195000"/>
                <a:gd name="connsiteX7" fmla="*/ 30000 w 270000"/>
                <a:gd name="connsiteY7" fmla="*/ 0 h 195000"/>
                <a:gd name="connsiteX8" fmla="*/ 240000 w 270000"/>
                <a:gd name="connsiteY8" fmla="*/ 0 h 195000"/>
                <a:gd name="connsiteX9" fmla="*/ 270000 w 270000"/>
                <a:gd name="connsiteY9" fmla="*/ 30000 h 195000"/>
                <a:gd name="connsiteX10" fmla="*/ 270000 w 270000"/>
                <a:gd name="connsiteY10" fmla="*/ 91245 h 195000"/>
                <a:gd name="connsiteX11" fmla="*/ 227166 w 270000"/>
                <a:gd name="connsiteY11" fmla="*/ 27595 h 195000"/>
                <a:gd name="connsiteX12" fmla="*/ 135000 w 270000"/>
                <a:gd name="connsiteY12" fmla="*/ 77223 h 195000"/>
                <a:gd name="connsiteX13" fmla="*/ 42834 w 270000"/>
                <a:gd name="connsiteY13" fmla="*/ 27595 h 195000"/>
                <a:gd name="connsiteX14" fmla="*/ 27595 w 270000"/>
                <a:gd name="connsiteY14" fmla="*/ 32166 h 195000"/>
                <a:gd name="connsiteX15" fmla="*/ 32166 w 270000"/>
                <a:gd name="connsiteY15" fmla="*/ 47405 h 195000"/>
                <a:gd name="connsiteX16" fmla="*/ 129666 w 270000"/>
                <a:gd name="connsiteY16" fmla="*/ 99906 h 195000"/>
                <a:gd name="connsiteX17" fmla="*/ 140334 w 270000"/>
                <a:gd name="connsiteY17" fmla="*/ 99906 h 195000"/>
                <a:gd name="connsiteX18" fmla="*/ 237834 w 270000"/>
                <a:gd name="connsiteY18" fmla="*/ 47405 h 195000"/>
                <a:gd name="connsiteX19" fmla="*/ 242406 w 270000"/>
                <a:gd name="connsiteY19" fmla="*/ 32166 h 195000"/>
                <a:gd name="connsiteX20" fmla="*/ 227166 w 270000"/>
                <a:gd name="connsiteY20" fmla="*/ 27595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000" h="195000">
                  <a:moveTo>
                    <a:pt x="270000" y="91245"/>
                  </a:moveTo>
                  <a:cubicBezTo>
                    <a:pt x="265122" y="90426"/>
                    <a:pt x="260111" y="90000"/>
                    <a:pt x="255000" y="90000"/>
                  </a:cubicBezTo>
                  <a:cubicBezTo>
                    <a:pt x="205295" y="90000"/>
                    <a:pt x="165000" y="130295"/>
                    <a:pt x="165000" y="180000"/>
                  </a:cubicBezTo>
                  <a:cubicBezTo>
                    <a:pt x="165000" y="185111"/>
                    <a:pt x="165426" y="190122"/>
                    <a:pt x="166245" y="195000"/>
                  </a:cubicBezTo>
                  <a:lnTo>
                    <a:pt x="30000" y="195000"/>
                  </a:lnTo>
                  <a:cubicBezTo>
                    <a:pt x="13431" y="195000"/>
                    <a:pt x="0" y="181569"/>
                    <a:pt x="0" y="165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91245"/>
                  </a:lnTo>
                  <a:close/>
                  <a:moveTo>
                    <a:pt x="227166" y="27595"/>
                  </a:moveTo>
                  <a:lnTo>
                    <a:pt x="135000" y="77223"/>
                  </a:lnTo>
                  <a:lnTo>
                    <a:pt x="42834" y="27595"/>
                  </a:lnTo>
                  <a:cubicBezTo>
                    <a:pt x="37363" y="24649"/>
                    <a:pt x="30540" y="26696"/>
                    <a:pt x="27595" y="32166"/>
                  </a:cubicBezTo>
                  <a:cubicBezTo>
                    <a:pt x="24649" y="37637"/>
                    <a:pt x="26696" y="44460"/>
                    <a:pt x="32166" y="47405"/>
                  </a:cubicBezTo>
                  <a:lnTo>
                    <a:pt x="129666" y="99906"/>
                  </a:lnTo>
                  <a:cubicBezTo>
                    <a:pt x="132996" y="101698"/>
                    <a:pt x="137004" y="101698"/>
                    <a:pt x="140334" y="99906"/>
                  </a:cubicBezTo>
                  <a:lnTo>
                    <a:pt x="237834" y="47405"/>
                  </a:lnTo>
                  <a:cubicBezTo>
                    <a:pt x="243305" y="44460"/>
                    <a:pt x="245351" y="37637"/>
                    <a:pt x="242406" y="32166"/>
                  </a:cubicBezTo>
                  <a:cubicBezTo>
                    <a:pt x="239460" y="26696"/>
                    <a:pt x="232637" y="24649"/>
                    <a:pt x="227166" y="2759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3" name="Полилиния 1492">
              <a:extLst>
                <a:ext uri="{FF2B5EF4-FFF2-40B4-BE49-F238E27FC236}">
                  <a16:creationId xmlns:a16="http://schemas.microsoft.com/office/drawing/2014/main" id="{68756FA8-6349-A042-9AE4-5089CE110556}"/>
                </a:ext>
              </a:extLst>
            </p:cNvPr>
            <p:cNvSpPr/>
            <p:nvPr/>
          </p:nvSpPr>
          <p:spPr>
            <a:xfrm>
              <a:off x="950324" y="1637875"/>
              <a:ext cx="75000" cy="75000"/>
            </a:xfrm>
            <a:custGeom>
              <a:avLst/>
              <a:gdLst>
                <a:gd name="connsiteX0" fmla="*/ 75000 w 75000"/>
                <a:gd name="connsiteY0" fmla="*/ 37500 h 75000"/>
                <a:gd name="connsiteX1" fmla="*/ 37500 w 75000"/>
                <a:gd name="connsiteY1" fmla="*/ 75000 h 75000"/>
                <a:gd name="connsiteX2" fmla="*/ 0 w 75000"/>
                <a:gd name="connsiteY2" fmla="*/ 37500 h 75000"/>
                <a:gd name="connsiteX3" fmla="*/ 37500 w 75000"/>
                <a:gd name="connsiteY3" fmla="*/ 0 h 75000"/>
                <a:gd name="connsiteX4" fmla="*/ 75000 w 75000"/>
                <a:gd name="connsiteY4" fmla="*/ 375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00" h="75000">
                  <a:moveTo>
                    <a:pt x="75000" y="37500"/>
                  </a:moveTo>
                  <a:cubicBezTo>
                    <a:pt x="75000" y="58211"/>
                    <a:pt x="58211" y="75000"/>
                    <a:pt x="37500" y="75000"/>
                  </a:cubicBezTo>
                  <a:cubicBezTo>
                    <a:pt x="16789" y="75000"/>
                    <a:pt x="0" y="58211"/>
                    <a:pt x="0" y="37500"/>
                  </a:cubicBezTo>
                  <a:cubicBezTo>
                    <a:pt x="0" y="16789"/>
                    <a:pt x="16789" y="0"/>
                    <a:pt x="37500" y="0"/>
                  </a:cubicBezTo>
                  <a:cubicBezTo>
                    <a:pt x="58211" y="0"/>
                    <a:pt x="75000" y="16789"/>
                    <a:pt x="75000" y="37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94" name="Рисунок 347">
            <a:extLst>
              <a:ext uri="{FF2B5EF4-FFF2-40B4-BE49-F238E27FC236}">
                <a16:creationId xmlns:a16="http://schemas.microsoft.com/office/drawing/2014/main" id="{0DDF1CB9-A61F-7C4F-B418-6F072A9A1D8E}"/>
              </a:ext>
            </a:extLst>
          </p:cNvPr>
          <p:cNvGrpSpPr/>
          <p:nvPr/>
        </p:nvGrpSpPr>
        <p:grpSpPr>
          <a:xfrm>
            <a:off x="1442758" y="5807534"/>
            <a:ext cx="360000" cy="360000"/>
            <a:chOff x="1476211" y="6124256"/>
            <a:chExt cx="360000" cy="360000"/>
          </a:xfrm>
        </p:grpSpPr>
        <p:sp>
          <p:nvSpPr>
            <p:cNvPr id="1495" name="Полилиния 1494">
              <a:extLst>
                <a:ext uri="{FF2B5EF4-FFF2-40B4-BE49-F238E27FC236}">
                  <a16:creationId xmlns:a16="http://schemas.microsoft.com/office/drawing/2014/main" id="{7A809DD8-0908-C44C-BE31-E01C7ED3058C}"/>
                </a:ext>
              </a:extLst>
            </p:cNvPr>
            <p:cNvSpPr/>
            <p:nvPr/>
          </p:nvSpPr>
          <p:spPr>
            <a:xfrm>
              <a:off x="147621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6" name="Полилиния 1495">
              <a:extLst>
                <a:ext uri="{FF2B5EF4-FFF2-40B4-BE49-F238E27FC236}">
                  <a16:creationId xmlns:a16="http://schemas.microsoft.com/office/drawing/2014/main" id="{253D68F7-D5F3-3248-809E-6EA608054432}"/>
                </a:ext>
              </a:extLst>
            </p:cNvPr>
            <p:cNvSpPr/>
            <p:nvPr/>
          </p:nvSpPr>
          <p:spPr>
            <a:xfrm>
              <a:off x="1551211" y="6154256"/>
              <a:ext cx="210000" cy="165000"/>
            </a:xfrm>
            <a:custGeom>
              <a:avLst/>
              <a:gdLst>
                <a:gd name="connsiteX0" fmla="*/ 15000 w 210000"/>
                <a:gd name="connsiteY0" fmla="*/ 0 h 165000"/>
                <a:gd name="connsiteX1" fmla="*/ 195000 w 210000"/>
                <a:gd name="connsiteY1" fmla="*/ 0 h 165000"/>
                <a:gd name="connsiteX2" fmla="*/ 210000 w 210000"/>
                <a:gd name="connsiteY2" fmla="*/ 15000 h 165000"/>
                <a:gd name="connsiteX3" fmla="*/ 210000 w 210000"/>
                <a:gd name="connsiteY3" fmla="*/ 150000 h 165000"/>
                <a:gd name="connsiteX4" fmla="*/ 195000 w 210000"/>
                <a:gd name="connsiteY4" fmla="*/ 165000 h 165000"/>
                <a:gd name="connsiteX5" fmla="*/ 15000 w 210000"/>
                <a:gd name="connsiteY5" fmla="*/ 165000 h 165000"/>
                <a:gd name="connsiteX6" fmla="*/ 0 w 210000"/>
                <a:gd name="connsiteY6" fmla="*/ 150000 h 165000"/>
                <a:gd name="connsiteX7" fmla="*/ 0 w 210000"/>
                <a:gd name="connsiteY7" fmla="*/ 15000 h 165000"/>
                <a:gd name="connsiteX8" fmla="*/ 15000 w 210000"/>
                <a:gd name="connsiteY8" fmla="*/ 0 h 165000"/>
                <a:gd name="connsiteX9" fmla="*/ 37500 w 210000"/>
                <a:gd name="connsiteY9" fmla="*/ 45000 h 165000"/>
                <a:gd name="connsiteX10" fmla="*/ 30000 w 210000"/>
                <a:gd name="connsiteY10" fmla="*/ 52500 h 165000"/>
                <a:gd name="connsiteX11" fmla="*/ 37500 w 210000"/>
                <a:gd name="connsiteY11" fmla="*/ 60000 h 165000"/>
                <a:gd name="connsiteX12" fmla="*/ 127500 w 210000"/>
                <a:gd name="connsiteY12" fmla="*/ 60000 h 165000"/>
                <a:gd name="connsiteX13" fmla="*/ 135000 w 210000"/>
                <a:gd name="connsiteY13" fmla="*/ 52500 h 165000"/>
                <a:gd name="connsiteX14" fmla="*/ 127500 w 210000"/>
                <a:gd name="connsiteY14" fmla="*/ 45000 h 165000"/>
                <a:gd name="connsiteX15" fmla="*/ 37500 w 210000"/>
                <a:gd name="connsiteY15" fmla="*/ 45000 h 165000"/>
                <a:gd name="connsiteX16" fmla="*/ 37500 w 210000"/>
                <a:gd name="connsiteY16" fmla="*/ 75000 h 165000"/>
                <a:gd name="connsiteX17" fmla="*/ 30000 w 210000"/>
                <a:gd name="connsiteY17" fmla="*/ 82500 h 165000"/>
                <a:gd name="connsiteX18" fmla="*/ 37500 w 210000"/>
                <a:gd name="connsiteY18" fmla="*/ 90000 h 165000"/>
                <a:gd name="connsiteX19" fmla="*/ 82500 w 210000"/>
                <a:gd name="connsiteY19" fmla="*/ 90000 h 165000"/>
                <a:gd name="connsiteX20" fmla="*/ 90000 w 210000"/>
                <a:gd name="connsiteY20" fmla="*/ 82500 h 165000"/>
                <a:gd name="connsiteX21" fmla="*/ 82500 w 210000"/>
                <a:gd name="connsiteY21" fmla="*/ 75000 h 165000"/>
                <a:gd name="connsiteX22" fmla="*/ 37500 w 210000"/>
                <a:gd name="connsiteY22" fmla="*/ 75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10000" h="165000">
                  <a:moveTo>
                    <a:pt x="15000" y="0"/>
                  </a:moveTo>
                  <a:lnTo>
                    <a:pt x="195000" y="0"/>
                  </a:lnTo>
                  <a:cubicBezTo>
                    <a:pt x="203285" y="0"/>
                    <a:pt x="210000" y="6716"/>
                    <a:pt x="210000" y="15000"/>
                  </a:cubicBezTo>
                  <a:lnTo>
                    <a:pt x="210000" y="150000"/>
                  </a:lnTo>
                  <a:cubicBezTo>
                    <a:pt x="210000" y="158285"/>
                    <a:pt x="203285" y="165000"/>
                    <a:pt x="195000" y="165000"/>
                  </a:cubicBezTo>
                  <a:lnTo>
                    <a:pt x="15000" y="165000"/>
                  </a:lnTo>
                  <a:cubicBezTo>
                    <a:pt x="6716" y="165000"/>
                    <a:pt x="0" y="158285"/>
                    <a:pt x="0" y="150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37500" y="45000"/>
                  </a:moveTo>
                  <a:cubicBezTo>
                    <a:pt x="33358" y="45000"/>
                    <a:pt x="30000" y="48358"/>
                    <a:pt x="30000" y="52500"/>
                  </a:cubicBezTo>
                  <a:cubicBezTo>
                    <a:pt x="30000" y="56642"/>
                    <a:pt x="33358" y="60000"/>
                    <a:pt x="37500" y="60000"/>
                  </a:cubicBezTo>
                  <a:lnTo>
                    <a:pt x="127500" y="60000"/>
                  </a:lnTo>
                  <a:cubicBezTo>
                    <a:pt x="131642" y="60000"/>
                    <a:pt x="135000" y="56642"/>
                    <a:pt x="135000" y="52500"/>
                  </a:cubicBezTo>
                  <a:cubicBezTo>
                    <a:pt x="135000" y="48358"/>
                    <a:pt x="131642" y="45000"/>
                    <a:pt x="127500" y="45000"/>
                  </a:cubicBezTo>
                  <a:lnTo>
                    <a:pt x="37500" y="45000"/>
                  </a:lnTo>
                  <a:close/>
                  <a:moveTo>
                    <a:pt x="37500" y="75000"/>
                  </a:moveTo>
                  <a:cubicBezTo>
                    <a:pt x="33358" y="75000"/>
                    <a:pt x="30000" y="78358"/>
                    <a:pt x="30000" y="82500"/>
                  </a:cubicBezTo>
                  <a:cubicBezTo>
                    <a:pt x="30000" y="86642"/>
                    <a:pt x="33358" y="90000"/>
                    <a:pt x="37500" y="90000"/>
                  </a:cubicBezTo>
                  <a:lnTo>
                    <a:pt x="82500" y="90000"/>
                  </a:lnTo>
                  <a:cubicBezTo>
                    <a:pt x="86642" y="90000"/>
                    <a:pt x="90000" y="86642"/>
                    <a:pt x="90000" y="82500"/>
                  </a:cubicBezTo>
                  <a:cubicBezTo>
                    <a:pt x="90000" y="78358"/>
                    <a:pt x="86642" y="75000"/>
                    <a:pt x="82500" y="75000"/>
                  </a:cubicBezTo>
                  <a:lnTo>
                    <a:pt x="37500" y="7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7" name="Полилиния 1496">
              <a:extLst>
                <a:ext uri="{FF2B5EF4-FFF2-40B4-BE49-F238E27FC236}">
                  <a16:creationId xmlns:a16="http://schemas.microsoft.com/office/drawing/2014/main" id="{27137E13-00C0-B740-8E0D-0BA5278956FE}"/>
                </a:ext>
              </a:extLst>
            </p:cNvPr>
            <p:cNvSpPr/>
            <p:nvPr/>
          </p:nvSpPr>
          <p:spPr>
            <a:xfrm>
              <a:off x="1521211" y="6221423"/>
              <a:ext cx="270000" cy="187832"/>
            </a:xfrm>
            <a:custGeom>
              <a:avLst/>
              <a:gdLst>
                <a:gd name="connsiteX0" fmla="*/ 11891 w 270000"/>
                <a:gd name="connsiteY0" fmla="*/ 1420 h 187832"/>
                <a:gd name="connsiteX1" fmla="*/ 135000 w 270000"/>
                <a:gd name="connsiteY1" fmla="*/ 90332 h 187832"/>
                <a:gd name="connsiteX2" fmla="*/ 258110 w 270000"/>
                <a:gd name="connsiteY2" fmla="*/ 1420 h 187832"/>
                <a:gd name="connsiteX3" fmla="*/ 268580 w 270000"/>
                <a:gd name="connsiteY3" fmla="*/ 3109 h 187832"/>
                <a:gd name="connsiteX4" fmla="*/ 270000 w 270000"/>
                <a:gd name="connsiteY4" fmla="*/ 7501 h 187832"/>
                <a:gd name="connsiteX5" fmla="*/ 270000 w 270000"/>
                <a:gd name="connsiteY5" fmla="*/ 157832 h 187832"/>
                <a:gd name="connsiteX6" fmla="*/ 240000 w 270000"/>
                <a:gd name="connsiteY6" fmla="*/ 187832 h 187832"/>
                <a:gd name="connsiteX7" fmla="*/ 30000 w 270000"/>
                <a:gd name="connsiteY7" fmla="*/ 187832 h 187832"/>
                <a:gd name="connsiteX8" fmla="*/ 0 w 270000"/>
                <a:gd name="connsiteY8" fmla="*/ 157832 h 187832"/>
                <a:gd name="connsiteX9" fmla="*/ 0 w 270000"/>
                <a:gd name="connsiteY9" fmla="*/ 7501 h 187832"/>
                <a:gd name="connsiteX10" fmla="*/ 7500 w 270000"/>
                <a:gd name="connsiteY10" fmla="*/ 1 h 187832"/>
                <a:gd name="connsiteX11" fmla="*/ 11891 w 270000"/>
                <a:gd name="connsiteY11" fmla="*/ 1420 h 18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0000" h="187832">
                  <a:moveTo>
                    <a:pt x="11891" y="1420"/>
                  </a:moveTo>
                  <a:lnTo>
                    <a:pt x="135000" y="90332"/>
                  </a:lnTo>
                  <a:lnTo>
                    <a:pt x="258110" y="1420"/>
                  </a:lnTo>
                  <a:cubicBezTo>
                    <a:pt x="261467" y="-1005"/>
                    <a:pt x="266156" y="-249"/>
                    <a:pt x="268580" y="3109"/>
                  </a:cubicBezTo>
                  <a:cubicBezTo>
                    <a:pt x="269504" y="4387"/>
                    <a:pt x="270000" y="5924"/>
                    <a:pt x="270000" y="7501"/>
                  </a:cubicBezTo>
                  <a:lnTo>
                    <a:pt x="270000" y="157832"/>
                  </a:lnTo>
                  <a:cubicBezTo>
                    <a:pt x="270000" y="174401"/>
                    <a:pt x="256569" y="187832"/>
                    <a:pt x="240000" y="187832"/>
                  </a:cubicBezTo>
                  <a:lnTo>
                    <a:pt x="30000" y="187832"/>
                  </a:lnTo>
                  <a:cubicBezTo>
                    <a:pt x="13431" y="187832"/>
                    <a:pt x="0" y="174401"/>
                    <a:pt x="0" y="157832"/>
                  </a:cubicBezTo>
                  <a:lnTo>
                    <a:pt x="0" y="7501"/>
                  </a:lnTo>
                  <a:cubicBezTo>
                    <a:pt x="0" y="3358"/>
                    <a:pt x="3358" y="1"/>
                    <a:pt x="7500" y="1"/>
                  </a:cubicBezTo>
                  <a:cubicBezTo>
                    <a:pt x="9077" y="1"/>
                    <a:pt x="10613" y="497"/>
                    <a:pt x="11891" y="142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98" name="Рисунок 348">
            <a:extLst>
              <a:ext uri="{FF2B5EF4-FFF2-40B4-BE49-F238E27FC236}">
                <a16:creationId xmlns:a16="http://schemas.microsoft.com/office/drawing/2014/main" id="{C2187AAE-0EEF-8B47-8A6A-696EA3CC91CE}"/>
              </a:ext>
            </a:extLst>
          </p:cNvPr>
          <p:cNvGrpSpPr/>
          <p:nvPr/>
        </p:nvGrpSpPr>
        <p:grpSpPr>
          <a:xfrm>
            <a:off x="2195910" y="5807534"/>
            <a:ext cx="360000" cy="360000"/>
            <a:chOff x="2229363" y="6124256"/>
            <a:chExt cx="360000" cy="360000"/>
          </a:xfrm>
        </p:grpSpPr>
        <p:sp>
          <p:nvSpPr>
            <p:cNvPr id="1499" name="Полилиния 1498">
              <a:extLst>
                <a:ext uri="{FF2B5EF4-FFF2-40B4-BE49-F238E27FC236}">
                  <a16:creationId xmlns:a16="http://schemas.microsoft.com/office/drawing/2014/main" id="{815DD9A6-DA89-4348-96D6-CD2B6F77614E}"/>
                </a:ext>
              </a:extLst>
            </p:cNvPr>
            <p:cNvSpPr/>
            <p:nvPr/>
          </p:nvSpPr>
          <p:spPr>
            <a:xfrm>
              <a:off x="222936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0" name="Полилиния 1499">
              <a:extLst>
                <a:ext uri="{FF2B5EF4-FFF2-40B4-BE49-F238E27FC236}">
                  <a16:creationId xmlns:a16="http://schemas.microsoft.com/office/drawing/2014/main" id="{C913BC44-3543-5F41-89A4-2EE7DB31BEA4}"/>
                </a:ext>
              </a:extLst>
            </p:cNvPr>
            <p:cNvSpPr/>
            <p:nvPr/>
          </p:nvSpPr>
          <p:spPr>
            <a:xfrm>
              <a:off x="2229363" y="6334256"/>
              <a:ext cx="135000" cy="120000"/>
            </a:xfrm>
            <a:custGeom>
              <a:avLst/>
              <a:gdLst>
                <a:gd name="connsiteX0" fmla="*/ 45000 w 135000"/>
                <a:gd name="connsiteY0" fmla="*/ 45000 h 120000"/>
                <a:gd name="connsiteX1" fmla="*/ 45000 w 135000"/>
                <a:gd name="connsiteY1" fmla="*/ 30000 h 120000"/>
                <a:gd name="connsiteX2" fmla="*/ 30000 w 135000"/>
                <a:gd name="connsiteY2" fmla="*/ 15000 h 120000"/>
                <a:gd name="connsiteX3" fmla="*/ 15000 w 135000"/>
                <a:gd name="connsiteY3" fmla="*/ 30000 h 120000"/>
                <a:gd name="connsiteX4" fmla="*/ 0 w 135000"/>
                <a:gd name="connsiteY4" fmla="*/ 30000 h 120000"/>
                <a:gd name="connsiteX5" fmla="*/ 30000 w 135000"/>
                <a:gd name="connsiteY5" fmla="*/ 0 h 120000"/>
                <a:gd name="connsiteX6" fmla="*/ 60000 w 135000"/>
                <a:gd name="connsiteY6" fmla="*/ 30000 h 120000"/>
                <a:gd name="connsiteX7" fmla="*/ 60000 w 135000"/>
                <a:gd name="connsiteY7" fmla="*/ 45000 h 120000"/>
                <a:gd name="connsiteX8" fmla="*/ 120000 w 135000"/>
                <a:gd name="connsiteY8" fmla="*/ 45000 h 120000"/>
                <a:gd name="connsiteX9" fmla="*/ 135000 w 135000"/>
                <a:gd name="connsiteY9" fmla="*/ 60000 h 120000"/>
                <a:gd name="connsiteX10" fmla="*/ 135000 w 135000"/>
                <a:gd name="connsiteY10" fmla="*/ 105000 h 120000"/>
                <a:gd name="connsiteX11" fmla="*/ 120000 w 135000"/>
                <a:gd name="connsiteY11" fmla="*/ 120000 h 120000"/>
                <a:gd name="connsiteX12" fmla="*/ 45000 w 135000"/>
                <a:gd name="connsiteY12" fmla="*/ 120000 h 120000"/>
                <a:gd name="connsiteX13" fmla="*/ 30000 w 135000"/>
                <a:gd name="connsiteY13" fmla="*/ 105000 h 120000"/>
                <a:gd name="connsiteX14" fmla="*/ 30000 w 135000"/>
                <a:gd name="connsiteY14" fmla="*/ 60000 h 120000"/>
                <a:gd name="connsiteX15" fmla="*/ 45000 w 135000"/>
                <a:gd name="connsiteY15" fmla="*/ 4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5000" h="120000">
                  <a:moveTo>
                    <a:pt x="45000" y="45000"/>
                  </a:moveTo>
                  <a:lnTo>
                    <a:pt x="45000" y="30000"/>
                  </a:lnTo>
                  <a:cubicBezTo>
                    <a:pt x="45000" y="21715"/>
                    <a:pt x="38284" y="15000"/>
                    <a:pt x="30000" y="15000"/>
                  </a:cubicBezTo>
                  <a:cubicBezTo>
                    <a:pt x="21716" y="15000"/>
                    <a:pt x="15000" y="21715"/>
                    <a:pt x="15000" y="3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lnTo>
                    <a:pt x="60000" y="45000"/>
                  </a:lnTo>
                  <a:lnTo>
                    <a:pt x="120000" y="45000"/>
                  </a:lnTo>
                  <a:cubicBezTo>
                    <a:pt x="128284" y="45000"/>
                    <a:pt x="135000" y="51716"/>
                    <a:pt x="135000" y="60000"/>
                  </a:cubicBezTo>
                  <a:lnTo>
                    <a:pt x="135000" y="105000"/>
                  </a:lnTo>
                  <a:cubicBezTo>
                    <a:pt x="135000" y="113284"/>
                    <a:pt x="128284" y="120000"/>
                    <a:pt x="120000" y="120000"/>
                  </a:cubicBezTo>
                  <a:lnTo>
                    <a:pt x="45000" y="120000"/>
                  </a:lnTo>
                  <a:cubicBezTo>
                    <a:pt x="36716" y="120000"/>
                    <a:pt x="30000" y="113284"/>
                    <a:pt x="30000" y="105000"/>
                  </a:cubicBezTo>
                  <a:lnTo>
                    <a:pt x="30000" y="60000"/>
                  </a:lnTo>
                  <a:cubicBezTo>
                    <a:pt x="30000" y="51716"/>
                    <a:pt x="36716" y="45000"/>
                    <a:pt x="450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1" name="Полилиния 1500">
              <a:extLst>
                <a:ext uri="{FF2B5EF4-FFF2-40B4-BE49-F238E27FC236}">
                  <a16:creationId xmlns:a16="http://schemas.microsoft.com/office/drawing/2014/main" id="{F30C37DE-3063-DB4C-8207-9C45BC70186D}"/>
                </a:ext>
              </a:extLst>
            </p:cNvPr>
            <p:cNvSpPr/>
            <p:nvPr/>
          </p:nvSpPr>
          <p:spPr>
            <a:xfrm>
              <a:off x="2289363" y="6199256"/>
              <a:ext cx="270000" cy="195000"/>
            </a:xfrm>
            <a:custGeom>
              <a:avLst/>
              <a:gdLst>
                <a:gd name="connsiteX0" fmla="*/ 134754 w 270000"/>
                <a:gd name="connsiteY0" fmla="*/ 195000 h 195000"/>
                <a:gd name="connsiteX1" fmla="*/ 22500 w 270000"/>
                <a:gd name="connsiteY1" fmla="*/ 90000 h 195000"/>
                <a:gd name="connsiteX2" fmla="*/ 0 w 270000"/>
                <a:gd name="connsiteY2" fmla="*/ 92250 h 195000"/>
                <a:gd name="connsiteX3" fmla="*/ 0 w 270000"/>
                <a:gd name="connsiteY3" fmla="*/ 30000 h 195000"/>
                <a:gd name="connsiteX4" fmla="*/ 30000 w 270000"/>
                <a:gd name="connsiteY4" fmla="*/ 0 h 195000"/>
                <a:gd name="connsiteX5" fmla="*/ 240000 w 270000"/>
                <a:gd name="connsiteY5" fmla="*/ 0 h 195000"/>
                <a:gd name="connsiteX6" fmla="*/ 270000 w 270000"/>
                <a:gd name="connsiteY6" fmla="*/ 30000 h 195000"/>
                <a:gd name="connsiteX7" fmla="*/ 270000 w 270000"/>
                <a:gd name="connsiteY7" fmla="*/ 165000 h 195000"/>
                <a:gd name="connsiteX8" fmla="*/ 240000 w 270000"/>
                <a:gd name="connsiteY8" fmla="*/ 195000 h 195000"/>
                <a:gd name="connsiteX9" fmla="*/ 134754 w 270000"/>
                <a:gd name="connsiteY9" fmla="*/ 195000 h 195000"/>
                <a:gd name="connsiteX10" fmla="*/ 227166 w 270000"/>
                <a:gd name="connsiteY10" fmla="*/ 27595 h 195000"/>
                <a:gd name="connsiteX11" fmla="*/ 135000 w 270000"/>
                <a:gd name="connsiteY11" fmla="*/ 77223 h 195000"/>
                <a:gd name="connsiteX12" fmla="*/ 42834 w 270000"/>
                <a:gd name="connsiteY12" fmla="*/ 27595 h 195000"/>
                <a:gd name="connsiteX13" fmla="*/ 27595 w 270000"/>
                <a:gd name="connsiteY13" fmla="*/ 32166 h 195000"/>
                <a:gd name="connsiteX14" fmla="*/ 32166 w 270000"/>
                <a:gd name="connsiteY14" fmla="*/ 47405 h 195000"/>
                <a:gd name="connsiteX15" fmla="*/ 129666 w 270000"/>
                <a:gd name="connsiteY15" fmla="*/ 99906 h 195000"/>
                <a:gd name="connsiteX16" fmla="*/ 140334 w 270000"/>
                <a:gd name="connsiteY16" fmla="*/ 99906 h 195000"/>
                <a:gd name="connsiteX17" fmla="*/ 237834 w 270000"/>
                <a:gd name="connsiteY17" fmla="*/ 47405 h 195000"/>
                <a:gd name="connsiteX18" fmla="*/ 242406 w 270000"/>
                <a:gd name="connsiteY18" fmla="*/ 32166 h 195000"/>
                <a:gd name="connsiteX19" fmla="*/ 227166 w 270000"/>
                <a:gd name="connsiteY19" fmla="*/ 27595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0000" h="195000">
                  <a:moveTo>
                    <a:pt x="134754" y="195000"/>
                  </a:moveTo>
                  <a:cubicBezTo>
                    <a:pt x="130895" y="136365"/>
                    <a:pt x="82112" y="90000"/>
                    <a:pt x="22500" y="90000"/>
                  </a:cubicBezTo>
                  <a:cubicBezTo>
                    <a:pt x="14795" y="90000"/>
                    <a:pt x="7270" y="90774"/>
                    <a:pt x="0" y="9225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65000"/>
                  </a:lnTo>
                  <a:cubicBezTo>
                    <a:pt x="270000" y="181569"/>
                    <a:pt x="256569" y="195000"/>
                    <a:pt x="240000" y="195000"/>
                  </a:cubicBezTo>
                  <a:lnTo>
                    <a:pt x="134754" y="195000"/>
                  </a:lnTo>
                  <a:close/>
                  <a:moveTo>
                    <a:pt x="227166" y="27595"/>
                  </a:moveTo>
                  <a:lnTo>
                    <a:pt x="135000" y="77223"/>
                  </a:lnTo>
                  <a:lnTo>
                    <a:pt x="42834" y="27595"/>
                  </a:lnTo>
                  <a:cubicBezTo>
                    <a:pt x="37363" y="24649"/>
                    <a:pt x="30540" y="26696"/>
                    <a:pt x="27595" y="32166"/>
                  </a:cubicBezTo>
                  <a:cubicBezTo>
                    <a:pt x="24649" y="37637"/>
                    <a:pt x="26696" y="44460"/>
                    <a:pt x="32166" y="47405"/>
                  </a:cubicBezTo>
                  <a:lnTo>
                    <a:pt x="129666" y="99906"/>
                  </a:lnTo>
                  <a:cubicBezTo>
                    <a:pt x="132996" y="101698"/>
                    <a:pt x="137004" y="101698"/>
                    <a:pt x="140334" y="99906"/>
                  </a:cubicBezTo>
                  <a:lnTo>
                    <a:pt x="237834" y="47405"/>
                  </a:lnTo>
                  <a:cubicBezTo>
                    <a:pt x="243305" y="44460"/>
                    <a:pt x="245351" y="37637"/>
                    <a:pt x="242406" y="32166"/>
                  </a:cubicBezTo>
                  <a:cubicBezTo>
                    <a:pt x="239460" y="26696"/>
                    <a:pt x="232637" y="24649"/>
                    <a:pt x="227166" y="2759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02" name="Рисунок 349">
            <a:extLst>
              <a:ext uri="{FF2B5EF4-FFF2-40B4-BE49-F238E27FC236}">
                <a16:creationId xmlns:a16="http://schemas.microsoft.com/office/drawing/2014/main" id="{58E10025-E2DC-3742-9E1C-3FC32D84DFA5}"/>
              </a:ext>
            </a:extLst>
          </p:cNvPr>
          <p:cNvGrpSpPr/>
          <p:nvPr/>
        </p:nvGrpSpPr>
        <p:grpSpPr>
          <a:xfrm>
            <a:off x="2949062" y="5807534"/>
            <a:ext cx="360000" cy="360000"/>
            <a:chOff x="2982515" y="6124256"/>
            <a:chExt cx="360000" cy="360000"/>
          </a:xfrm>
        </p:grpSpPr>
        <p:sp>
          <p:nvSpPr>
            <p:cNvPr id="1503" name="Полилиния 1502">
              <a:extLst>
                <a:ext uri="{FF2B5EF4-FFF2-40B4-BE49-F238E27FC236}">
                  <a16:creationId xmlns:a16="http://schemas.microsoft.com/office/drawing/2014/main" id="{364FBE55-0F95-E948-9FC5-34F7ED74304F}"/>
                </a:ext>
              </a:extLst>
            </p:cNvPr>
            <p:cNvSpPr/>
            <p:nvPr/>
          </p:nvSpPr>
          <p:spPr>
            <a:xfrm>
              <a:off x="298251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4" name="Полилиния 1503">
              <a:extLst>
                <a:ext uri="{FF2B5EF4-FFF2-40B4-BE49-F238E27FC236}">
                  <a16:creationId xmlns:a16="http://schemas.microsoft.com/office/drawing/2014/main" id="{BDC6AEFC-2E96-934A-8569-7A43B980E1DB}"/>
                </a:ext>
              </a:extLst>
            </p:cNvPr>
            <p:cNvSpPr/>
            <p:nvPr/>
          </p:nvSpPr>
          <p:spPr>
            <a:xfrm>
              <a:off x="3057515" y="6169256"/>
              <a:ext cx="225000" cy="262711"/>
            </a:xfrm>
            <a:custGeom>
              <a:avLst/>
              <a:gdLst>
                <a:gd name="connsiteX0" fmla="*/ 0 w 225000"/>
                <a:gd name="connsiteY0" fmla="*/ 112500 h 262711"/>
                <a:gd name="connsiteX1" fmla="*/ 112500 w 225000"/>
                <a:gd name="connsiteY1" fmla="*/ 0 h 262711"/>
                <a:gd name="connsiteX2" fmla="*/ 225000 w 225000"/>
                <a:gd name="connsiteY2" fmla="*/ 112500 h 262711"/>
                <a:gd name="connsiteX3" fmla="*/ 127065 w 225000"/>
                <a:gd name="connsiteY3" fmla="*/ 256640 h 262711"/>
                <a:gd name="connsiteX4" fmla="*/ 97163 w 225000"/>
                <a:gd name="connsiteY4" fmla="*/ 257393 h 262711"/>
                <a:gd name="connsiteX5" fmla="*/ 0 w 225000"/>
                <a:gd name="connsiteY5" fmla="*/ 112500 h 262711"/>
                <a:gd name="connsiteX6" fmla="*/ 112500 w 225000"/>
                <a:gd name="connsiteY6" fmla="*/ 135000 h 262711"/>
                <a:gd name="connsiteX7" fmla="*/ 150000 w 225000"/>
                <a:gd name="connsiteY7" fmla="*/ 97500 h 262711"/>
                <a:gd name="connsiteX8" fmla="*/ 112500 w 225000"/>
                <a:gd name="connsiteY8" fmla="*/ 60000 h 262711"/>
                <a:gd name="connsiteX9" fmla="*/ 75000 w 225000"/>
                <a:gd name="connsiteY9" fmla="*/ 97500 h 262711"/>
                <a:gd name="connsiteX10" fmla="*/ 112500 w 225000"/>
                <a:gd name="connsiteY10" fmla="*/ 135000 h 26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5000" h="262711">
                  <a:moveTo>
                    <a:pt x="0" y="112500"/>
                  </a:moveTo>
                  <a:cubicBezTo>
                    <a:pt x="0" y="45000"/>
                    <a:pt x="45000" y="0"/>
                    <a:pt x="112500" y="0"/>
                  </a:cubicBezTo>
                  <a:cubicBezTo>
                    <a:pt x="180000" y="0"/>
                    <a:pt x="225000" y="56250"/>
                    <a:pt x="225000" y="112500"/>
                  </a:cubicBezTo>
                  <a:cubicBezTo>
                    <a:pt x="225000" y="147489"/>
                    <a:pt x="192356" y="195536"/>
                    <a:pt x="127065" y="256640"/>
                  </a:cubicBezTo>
                  <a:cubicBezTo>
                    <a:pt x="118731" y="264440"/>
                    <a:pt x="105878" y="264762"/>
                    <a:pt x="97163" y="257393"/>
                  </a:cubicBezTo>
                  <a:cubicBezTo>
                    <a:pt x="32387" y="202617"/>
                    <a:pt x="0" y="154320"/>
                    <a:pt x="0" y="112500"/>
                  </a:cubicBezTo>
                  <a:close/>
                  <a:moveTo>
                    <a:pt x="112500" y="135000"/>
                  </a:moveTo>
                  <a:cubicBezTo>
                    <a:pt x="133211" y="135000"/>
                    <a:pt x="150000" y="118211"/>
                    <a:pt x="150000" y="97500"/>
                  </a:cubicBezTo>
                  <a:cubicBezTo>
                    <a:pt x="150000" y="76789"/>
                    <a:pt x="133211" y="60000"/>
                    <a:pt x="112500" y="60000"/>
                  </a:cubicBezTo>
                  <a:cubicBezTo>
                    <a:pt x="91790" y="60000"/>
                    <a:pt x="75000" y="76789"/>
                    <a:pt x="75000" y="97500"/>
                  </a:cubicBezTo>
                  <a:cubicBezTo>
                    <a:pt x="75000" y="118211"/>
                    <a:pt x="91790" y="135000"/>
                    <a:pt x="112500" y="13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05" name="Рисунок 350">
            <a:extLst>
              <a:ext uri="{FF2B5EF4-FFF2-40B4-BE49-F238E27FC236}">
                <a16:creationId xmlns:a16="http://schemas.microsoft.com/office/drawing/2014/main" id="{90ECD6AF-FB71-5142-80C8-3B2B9D9DF518}"/>
              </a:ext>
            </a:extLst>
          </p:cNvPr>
          <p:cNvGrpSpPr/>
          <p:nvPr/>
        </p:nvGrpSpPr>
        <p:grpSpPr>
          <a:xfrm>
            <a:off x="3702214" y="5807534"/>
            <a:ext cx="360000" cy="360000"/>
            <a:chOff x="3735667" y="6124256"/>
            <a:chExt cx="360000" cy="360000"/>
          </a:xfrm>
        </p:grpSpPr>
        <p:sp>
          <p:nvSpPr>
            <p:cNvPr id="1506" name="Полилиния 1505">
              <a:extLst>
                <a:ext uri="{FF2B5EF4-FFF2-40B4-BE49-F238E27FC236}">
                  <a16:creationId xmlns:a16="http://schemas.microsoft.com/office/drawing/2014/main" id="{CFD5B24A-A625-4843-92FE-744A2A8367D9}"/>
                </a:ext>
              </a:extLst>
            </p:cNvPr>
            <p:cNvSpPr/>
            <p:nvPr/>
          </p:nvSpPr>
          <p:spPr>
            <a:xfrm>
              <a:off x="3735667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7" name="Полилиния 1506">
              <a:extLst>
                <a:ext uri="{FF2B5EF4-FFF2-40B4-BE49-F238E27FC236}">
                  <a16:creationId xmlns:a16="http://schemas.microsoft.com/office/drawing/2014/main" id="{002E51F9-8D04-494C-BFA8-CCE576BC6FBD}"/>
                </a:ext>
              </a:extLst>
            </p:cNvPr>
            <p:cNvSpPr/>
            <p:nvPr/>
          </p:nvSpPr>
          <p:spPr>
            <a:xfrm>
              <a:off x="3810667" y="6169256"/>
              <a:ext cx="210000" cy="270000"/>
            </a:xfrm>
            <a:custGeom>
              <a:avLst/>
              <a:gdLst>
                <a:gd name="connsiteX0" fmla="*/ 72424 w 210000"/>
                <a:gd name="connsiteY0" fmla="*/ 204849 h 270000"/>
                <a:gd name="connsiteX1" fmla="*/ 0 w 210000"/>
                <a:gd name="connsiteY1" fmla="*/ 105000 h 270000"/>
                <a:gd name="connsiteX2" fmla="*/ 105000 w 210000"/>
                <a:gd name="connsiteY2" fmla="*/ 0 h 270000"/>
                <a:gd name="connsiteX3" fmla="*/ 210000 w 210000"/>
                <a:gd name="connsiteY3" fmla="*/ 105000 h 270000"/>
                <a:gd name="connsiteX4" fmla="*/ 137576 w 210000"/>
                <a:gd name="connsiteY4" fmla="*/ 204849 h 270000"/>
                <a:gd name="connsiteX5" fmla="*/ 105000 w 210000"/>
                <a:gd name="connsiteY5" fmla="*/ 270000 h 270000"/>
                <a:gd name="connsiteX6" fmla="*/ 72424 w 210000"/>
                <a:gd name="connsiteY6" fmla="*/ 204849 h 270000"/>
                <a:gd name="connsiteX7" fmla="*/ 105000 w 210000"/>
                <a:gd name="connsiteY7" fmla="*/ 135000 h 270000"/>
                <a:gd name="connsiteX8" fmla="*/ 135000 w 210000"/>
                <a:gd name="connsiteY8" fmla="*/ 105000 h 270000"/>
                <a:gd name="connsiteX9" fmla="*/ 105000 w 210000"/>
                <a:gd name="connsiteY9" fmla="*/ 75000 h 270000"/>
                <a:gd name="connsiteX10" fmla="*/ 75000 w 210000"/>
                <a:gd name="connsiteY10" fmla="*/ 105000 h 270000"/>
                <a:gd name="connsiteX11" fmla="*/ 105000 w 210000"/>
                <a:gd name="connsiteY11" fmla="*/ 135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0000" h="270000">
                  <a:moveTo>
                    <a:pt x="72424" y="204849"/>
                  </a:moveTo>
                  <a:cubicBezTo>
                    <a:pt x="30381" y="191142"/>
                    <a:pt x="0" y="151619"/>
                    <a:pt x="0" y="105000"/>
                  </a:cubicBezTo>
                  <a:cubicBezTo>
                    <a:pt x="0" y="47010"/>
                    <a:pt x="47010" y="0"/>
                    <a:pt x="105000" y="0"/>
                  </a:cubicBezTo>
                  <a:cubicBezTo>
                    <a:pt x="162990" y="0"/>
                    <a:pt x="210000" y="47010"/>
                    <a:pt x="210000" y="105000"/>
                  </a:cubicBezTo>
                  <a:cubicBezTo>
                    <a:pt x="210000" y="151619"/>
                    <a:pt x="179619" y="191142"/>
                    <a:pt x="137576" y="204849"/>
                  </a:cubicBezTo>
                  <a:lnTo>
                    <a:pt x="105000" y="270000"/>
                  </a:lnTo>
                  <a:lnTo>
                    <a:pt x="72424" y="204849"/>
                  </a:lnTo>
                  <a:close/>
                  <a:moveTo>
                    <a:pt x="105000" y="135000"/>
                  </a:moveTo>
                  <a:cubicBezTo>
                    <a:pt x="121569" y="135000"/>
                    <a:pt x="135000" y="121569"/>
                    <a:pt x="135000" y="105000"/>
                  </a:cubicBezTo>
                  <a:cubicBezTo>
                    <a:pt x="135000" y="88431"/>
                    <a:pt x="121569" y="75000"/>
                    <a:pt x="105000" y="75000"/>
                  </a:cubicBezTo>
                  <a:cubicBezTo>
                    <a:pt x="88431" y="75000"/>
                    <a:pt x="75000" y="88431"/>
                    <a:pt x="75000" y="105000"/>
                  </a:cubicBezTo>
                  <a:cubicBezTo>
                    <a:pt x="75000" y="121569"/>
                    <a:pt x="88431" y="135000"/>
                    <a:pt x="105000" y="13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08" name="Рисунок 351">
            <a:extLst>
              <a:ext uri="{FF2B5EF4-FFF2-40B4-BE49-F238E27FC236}">
                <a16:creationId xmlns:a16="http://schemas.microsoft.com/office/drawing/2014/main" id="{876D1A17-03E1-6842-B8CD-C3379EEB8606}"/>
              </a:ext>
            </a:extLst>
          </p:cNvPr>
          <p:cNvGrpSpPr/>
          <p:nvPr/>
        </p:nvGrpSpPr>
        <p:grpSpPr>
          <a:xfrm>
            <a:off x="4455366" y="5807534"/>
            <a:ext cx="360000" cy="360000"/>
            <a:chOff x="4488819" y="6124256"/>
            <a:chExt cx="360000" cy="360000"/>
          </a:xfrm>
        </p:grpSpPr>
        <p:sp>
          <p:nvSpPr>
            <p:cNvPr id="1509" name="Полилиния 1508">
              <a:extLst>
                <a:ext uri="{FF2B5EF4-FFF2-40B4-BE49-F238E27FC236}">
                  <a16:creationId xmlns:a16="http://schemas.microsoft.com/office/drawing/2014/main" id="{F81D9D37-C1BB-1E46-9FCA-C50BCD42E5D7}"/>
                </a:ext>
              </a:extLst>
            </p:cNvPr>
            <p:cNvSpPr/>
            <p:nvPr/>
          </p:nvSpPr>
          <p:spPr>
            <a:xfrm>
              <a:off x="448881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0" name="Полилиния 1509">
              <a:extLst>
                <a:ext uri="{FF2B5EF4-FFF2-40B4-BE49-F238E27FC236}">
                  <a16:creationId xmlns:a16="http://schemas.microsoft.com/office/drawing/2014/main" id="{3FB54DBA-38FE-E14D-BE27-B686A05CBC93}"/>
                </a:ext>
              </a:extLst>
            </p:cNvPr>
            <p:cNvSpPr/>
            <p:nvPr/>
          </p:nvSpPr>
          <p:spPr>
            <a:xfrm>
              <a:off x="4592576" y="6184256"/>
              <a:ext cx="196242" cy="240000"/>
            </a:xfrm>
            <a:custGeom>
              <a:avLst/>
              <a:gdLst>
                <a:gd name="connsiteX0" fmla="*/ 11369 w 196242"/>
                <a:gd name="connsiteY0" fmla="*/ 220971 h 240000"/>
                <a:gd name="connsiteX1" fmla="*/ 61242 w 196242"/>
                <a:gd name="connsiteY1" fmla="*/ 127500 h 240000"/>
                <a:gd name="connsiteX2" fmla="*/ 0 w 196242"/>
                <a:gd name="connsiteY2" fmla="*/ 27329 h 240000"/>
                <a:gd name="connsiteX3" fmla="*/ 76242 w 196242"/>
                <a:gd name="connsiteY3" fmla="*/ 0 h 240000"/>
                <a:gd name="connsiteX4" fmla="*/ 196242 w 196242"/>
                <a:gd name="connsiteY4" fmla="*/ 120000 h 240000"/>
                <a:gd name="connsiteX5" fmla="*/ 76242 w 196242"/>
                <a:gd name="connsiteY5" fmla="*/ 240000 h 240000"/>
                <a:gd name="connsiteX6" fmla="*/ 11369 w 196242"/>
                <a:gd name="connsiteY6" fmla="*/ 220971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242" h="240000">
                  <a:moveTo>
                    <a:pt x="11369" y="220971"/>
                  </a:moveTo>
                  <a:cubicBezTo>
                    <a:pt x="41448" y="200778"/>
                    <a:pt x="61242" y="166451"/>
                    <a:pt x="61242" y="127500"/>
                  </a:cubicBezTo>
                  <a:cubicBezTo>
                    <a:pt x="61242" y="83830"/>
                    <a:pt x="36360" y="45972"/>
                    <a:pt x="0" y="27329"/>
                  </a:cubicBezTo>
                  <a:cubicBezTo>
                    <a:pt x="20730" y="10254"/>
                    <a:pt x="47289" y="0"/>
                    <a:pt x="76242" y="0"/>
                  </a:cubicBezTo>
                  <a:cubicBezTo>
                    <a:pt x="142517" y="0"/>
                    <a:pt x="196242" y="53726"/>
                    <a:pt x="196242" y="120000"/>
                  </a:cubicBezTo>
                  <a:cubicBezTo>
                    <a:pt x="196242" y="186275"/>
                    <a:pt x="142517" y="240000"/>
                    <a:pt x="76242" y="240000"/>
                  </a:cubicBezTo>
                  <a:cubicBezTo>
                    <a:pt x="52343" y="240000"/>
                    <a:pt x="30074" y="233013"/>
                    <a:pt x="11369" y="220971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1" name="Полилиния 1510">
              <a:extLst>
                <a:ext uri="{FF2B5EF4-FFF2-40B4-BE49-F238E27FC236}">
                  <a16:creationId xmlns:a16="http://schemas.microsoft.com/office/drawing/2014/main" id="{AE7F3325-7B78-C648-8012-25AE31148CF9}"/>
                </a:ext>
              </a:extLst>
            </p:cNvPr>
            <p:cNvSpPr/>
            <p:nvPr/>
          </p:nvSpPr>
          <p:spPr>
            <a:xfrm>
              <a:off x="4548819" y="6227959"/>
              <a:ext cx="75000" cy="161886"/>
            </a:xfrm>
            <a:custGeom>
              <a:avLst/>
              <a:gdLst>
                <a:gd name="connsiteX0" fmla="*/ 35890 w 75000"/>
                <a:gd name="connsiteY0" fmla="*/ 161886 h 161886"/>
                <a:gd name="connsiteX1" fmla="*/ 0 w 75000"/>
                <a:gd name="connsiteY1" fmla="*/ 76296 h 161886"/>
                <a:gd name="connsiteX2" fmla="*/ 27373 w 75000"/>
                <a:gd name="connsiteY2" fmla="*/ 0 h 161886"/>
                <a:gd name="connsiteX3" fmla="*/ 75000 w 75000"/>
                <a:gd name="connsiteY3" fmla="*/ 83796 h 161886"/>
                <a:gd name="connsiteX4" fmla="*/ 35890 w 75000"/>
                <a:gd name="connsiteY4" fmla="*/ 161886 h 161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00" h="161886">
                  <a:moveTo>
                    <a:pt x="35890" y="161886"/>
                  </a:moveTo>
                  <a:cubicBezTo>
                    <a:pt x="13738" y="140114"/>
                    <a:pt x="0" y="109809"/>
                    <a:pt x="0" y="76296"/>
                  </a:cubicBezTo>
                  <a:cubicBezTo>
                    <a:pt x="0" y="47318"/>
                    <a:pt x="10272" y="20738"/>
                    <a:pt x="27373" y="0"/>
                  </a:cubicBezTo>
                  <a:cubicBezTo>
                    <a:pt x="55896" y="17012"/>
                    <a:pt x="75000" y="48173"/>
                    <a:pt x="75000" y="83796"/>
                  </a:cubicBezTo>
                  <a:cubicBezTo>
                    <a:pt x="75000" y="115743"/>
                    <a:pt x="59634" y="144102"/>
                    <a:pt x="35890" y="161886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12" name="Рисунок 352">
            <a:extLst>
              <a:ext uri="{FF2B5EF4-FFF2-40B4-BE49-F238E27FC236}">
                <a16:creationId xmlns:a16="http://schemas.microsoft.com/office/drawing/2014/main" id="{B9AA552E-3549-D744-A651-FB0CD1F7595A}"/>
              </a:ext>
            </a:extLst>
          </p:cNvPr>
          <p:cNvGrpSpPr/>
          <p:nvPr/>
        </p:nvGrpSpPr>
        <p:grpSpPr>
          <a:xfrm>
            <a:off x="5208518" y="5807534"/>
            <a:ext cx="360000" cy="360000"/>
            <a:chOff x="5241971" y="6124256"/>
            <a:chExt cx="360000" cy="360000"/>
          </a:xfrm>
        </p:grpSpPr>
        <p:sp>
          <p:nvSpPr>
            <p:cNvPr id="1513" name="Полилиния 1512">
              <a:extLst>
                <a:ext uri="{FF2B5EF4-FFF2-40B4-BE49-F238E27FC236}">
                  <a16:creationId xmlns:a16="http://schemas.microsoft.com/office/drawing/2014/main" id="{6B87DB03-2A57-4647-8254-56E77EAF3CF8}"/>
                </a:ext>
              </a:extLst>
            </p:cNvPr>
            <p:cNvSpPr/>
            <p:nvPr/>
          </p:nvSpPr>
          <p:spPr>
            <a:xfrm>
              <a:off x="524197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4" name="Полилиния 1513">
              <a:extLst>
                <a:ext uri="{FF2B5EF4-FFF2-40B4-BE49-F238E27FC236}">
                  <a16:creationId xmlns:a16="http://schemas.microsoft.com/office/drawing/2014/main" id="{0E47947D-E19E-2644-937E-2159DEF9DD22}"/>
                </a:ext>
              </a:extLst>
            </p:cNvPr>
            <p:cNvSpPr/>
            <p:nvPr/>
          </p:nvSpPr>
          <p:spPr>
            <a:xfrm>
              <a:off x="5404311" y="6214256"/>
              <a:ext cx="161659" cy="180000"/>
            </a:xfrm>
            <a:custGeom>
              <a:avLst/>
              <a:gdLst>
                <a:gd name="connsiteX0" fmla="*/ 0 w 161659"/>
                <a:gd name="connsiteY0" fmla="*/ 35541 h 180000"/>
                <a:gd name="connsiteX1" fmla="*/ 28646 w 161659"/>
                <a:gd name="connsiteY1" fmla="*/ 57345 h 180000"/>
                <a:gd name="connsiteX2" fmla="*/ 71660 w 161659"/>
                <a:gd name="connsiteY2" fmla="*/ 36000 h 180000"/>
                <a:gd name="connsiteX3" fmla="*/ 125660 w 161659"/>
                <a:gd name="connsiteY3" fmla="*/ 90000 h 180000"/>
                <a:gd name="connsiteX4" fmla="*/ 71660 w 161659"/>
                <a:gd name="connsiteY4" fmla="*/ 144000 h 180000"/>
                <a:gd name="connsiteX5" fmla="*/ 32021 w 161659"/>
                <a:gd name="connsiteY5" fmla="*/ 126672 h 180000"/>
                <a:gd name="connsiteX6" fmla="*/ 5604 w 161659"/>
                <a:gd name="connsiteY6" fmla="*/ 151130 h 180000"/>
                <a:gd name="connsiteX7" fmla="*/ 71660 w 161659"/>
                <a:gd name="connsiteY7" fmla="*/ 180000 h 180000"/>
                <a:gd name="connsiteX8" fmla="*/ 161660 w 161659"/>
                <a:gd name="connsiteY8" fmla="*/ 90000 h 180000"/>
                <a:gd name="connsiteX9" fmla="*/ 71660 w 161659"/>
                <a:gd name="connsiteY9" fmla="*/ 0 h 180000"/>
                <a:gd name="connsiteX10" fmla="*/ 0 w 161659"/>
                <a:gd name="connsiteY10" fmla="*/ 35541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1659" h="180000">
                  <a:moveTo>
                    <a:pt x="0" y="35541"/>
                  </a:moveTo>
                  <a:lnTo>
                    <a:pt x="28646" y="57345"/>
                  </a:lnTo>
                  <a:cubicBezTo>
                    <a:pt x="38829" y="43967"/>
                    <a:pt x="54549" y="36000"/>
                    <a:pt x="71660" y="36000"/>
                  </a:cubicBezTo>
                  <a:cubicBezTo>
                    <a:pt x="101483" y="36000"/>
                    <a:pt x="125660" y="60177"/>
                    <a:pt x="125660" y="90000"/>
                  </a:cubicBezTo>
                  <a:cubicBezTo>
                    <a:pt x="125660" y="119823"/>
                    <a:pt x="101483" y="144000"/>
                    <a:pt x="71660" y="144000"/>
                  </a:cubicBezTo>
                  <a:cubicBezTo>
                    <a:pt x="56382" y="144000"/>
                    <a:pt x="42204" y="137672"/>
                    <a:pt x="32021" y="126672"/>
                  </a:cubicBezTo>
                  <a:lnTo>
                    <a:pt x="5604" y="151130"/>
                  </a:lnTo>
                  <a:cubicBezTo>
                    <a:pt x="22044" y="168885"/>
                    <a:pt x="45554" y="180000"/>
                    <a:pt x="71660" y="180000"/>
                  </a:cubicBezTo>
                  <a:cubicBezTo>
                    <a:pt x="121365" y="180000"/>
                    <a:pt x="161660" y="139706"/>
                    <a:pt x="161660" y="90000"/>
                  </a:cubicBezTo>
                  <a:cubicBezTo>
                    <a:pt x="161660" y="40294"/>
                    <a:pt x="121365" y="0"/>
                    <a:pt x="71660" y="0"/>
                  </a:cubicBezTo>
                  <a:cubicBezTo>
                    <a:pt x="42422" y="0"/>
                    <a:pt x="16440" y="13942"/>
                    <a:pt x="0" y="35541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5" name="Полилиния 1514">
              <a:extLst>
                <a:ext uri="{FF2B5EF4-FFF2-40B4-BE49-F238E27FC236}">
                  <a16:creationId xmlns:a16="http://schemas.microsoft.com/office/drawing/2014/main" id="{BEC58FA5-72DD-1C48-B543-49113550CE1A}"/>
                </a:ext>
              </a:extLst>
            </p:cNvPr>
            <p:cNvSpPr/>
            <p:nvPr/>
          </p:nvSpPr>
          <p:spPr>
            <a:xfrm>
              <a:off x="5277971" y="6214256"/>
              <a:ext cx="179999" cy="180000"/>
            </a:xfrm>
            <a:custGeom>
              <a:avLst/>
              <a:gdLst>
                <a:gd name="connsiteX0" fmla="*/ 90000 w 179999"/>
                <a:gd name="connsiteY0" fmla="*/ 180000 h 180000"/>
                <a:gd name="connsiteX1" fmla="*/ 0 w 179999"/>
                <a:gd name="connsiteY1" fmla="*/ 90000 h 180000"/>
                <a:gd name="connsiteX2" fmla="*/ 90000 w 179999"/>
                <a:gd name="connsiteY2" fmla="*/ 0 h 180000"/>
                <a:gd name="connsiteX3" fmla="*/ 180000 w 179999"/>
                <a:gd name="connsiteY3" fmla="*/ 90000 h 180000"/>
                <a:gd name="connsiteX4" fmla="*/ 90000 w 179999"/>
                <a:gd name="connsiteY4" fmla="*/ 18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999" h="180000">
                  <a:moveTo>
                    <a:pt x="90000" y="180000"/>
                  </a:moveTo>
                  <a:cubicBezTo>
                    <a:pt x="40294" y="180000"/>
                    <a:pt x="0" y="139706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9706" y="0"/>
                    <a:pt x="180000" y="40294"/>
                    <a:pt x="180000" y="90000"/>
                  </a:cubicBezTo>
                  <a:cubicBezTo>
                    <a:pt x="180000" y="139706"/>
                    <a:pt x="139706" y="180000"/>
                    <a:pt x="90000" y="18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16" name="Рисунок 353">
            <a:extLst>
              <a:ext uri="{FF2B5EF4-FFF2-40B4-BE49-F238E27FC236}">
                <a16:creationId xmlns:a16="http://schemas.microsoft.com/office/drawing/2014/main" id="{5102AF03-3C5F-3C48-866D-F368DA828637}"/>
              </a:ext>
            </a:extLst>
          </p:cNvPr>
          <p:cNvGrpSpPr/>
          <p:nvPr/>
        </p:nvGrpSpPr>
        <p:grpSpPr>
          <a:xfrm>
            <a:off x="5961670" y="5807534"/>
            <a:ext cx="360000" cy="360000"/>
            <a:chOff x="5995123" y="6124256"/>
            <a:chExt cx="360000" cy="360000"/>
          </a:xfrm>
        </p:grpSpPr>
        <p:sp>
          <p:nvSpPr>
            <p:cNvPr id="1517" name="Полилиния 1516">
              <a:extLst>
                <a:ext uri="{FF2B5EF4-FFF2-40B4-BE49-F238E27FC236}">
                  <a16:creationId xmlns:a16="http://schemas.microsoft.com/office/drawing/2014/main" id="{1C376495-1EB8-1149-B8A2-F218F1386BD6}"/>
                </a:ext>
              </a:extLst>
            </p:cNvPr>
            <p:cNvSpPr/>
            <p:nvPr/>
          </p:nvSpPr>
          <p:spPr>
            <a:xfrm>
              <a:off x="599512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8" name="Полилиния 1517">
              <a:extLst>
                <a:ext uri="{FF2B5EF4-FFF2-40B4-BE49-F238E27FC236}">
                  <a16:creationId xmlns:a16="http://schemas.microsoft.com/office/drawing/2014/main" id="{F636CB9B-474D-D54D-AD2B-955CEA55CBE7}"/>
                </a:ext>
              </a:extLst>
            </p:cNvPr>
            <p:cNvSpPr/>
            <p:nvPr/>
          </p:nvSpPr>
          <p:spPr>
            <a:xfrm>
              <a:off x="6055123" y="6154256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9" name="Полилиния 1518">
              <a:extLst>
                <a:ext uri="{FF2B5EF4-FFF2-40B4-BE49-F238E27FC236}">
                  <a16:creationId xmlns:a16="http://schemas.microsoft.com/office/drawing/2014/main" id="{C01E4EE5-0D5B-7C4F-9768-D25121DABEFB}"/>
                </a:ext>
              </a:extLst>
            </p:cNvPr>
            <p:cNvSpPr/>
            <p:nvPr/>
          </p:nvSpPr>
          <p:spPr>
            <a:xfrm>
              <a:off x="6145123" y="6257058"/>
              <a:ext cx="81052" cy="105585"/>
            </a:xfrm>
            <a:custGeom>
              <a:avLst/>
              <a:gdLst>
                <a:gd name="connsiteX0" fmla="*/ 11733 w 81052"/>
                <a:gd name="connsiteY0" fmla="*/ 104277 h 105585"/>
                <a:gd name="connsiteX1" fmla="*/ 77784 w 81052"/>
                <a:gd name="connsiteY1" fmla="*/ 59127 h 105585"/>
                <a:gd name="connsiteX2" fmla="*/ 79743 w 81052"/>
                <a:gd name="connsiteY2" fmla="*/ 48702 h 105585"/>
                <a:gd name="connsiteX3" fmla="*/ 77802 w 81052"/>
                <a:gd name="connsiteY3" fmla="*/ 46757 h 105585"/>
                <a:gd name="connsiteX4" fmla="*/ 11751 w 81052"/>
                <a:gd name="connsiteY4" fmla="*/ 1321 h 105585"/>
                <a:gd name="connsiteX5" fmla="*/ 1320 w 81052"/>
                <a:gd name="connsiteY5" fmla="*/ 3250 h 105585"/>
                <a:gd name="connsiteX6" fmla="*/ 0 w 81052"/>
                <a:gd name="connsiteY6" fmla="*/ 7501 h 105585"/>
                <a:gd name="connsiteX7" fmla="*/ 0 w 81052"/>
                <a:gd name="connsiteY7" fmla="*/ 98085 h 105585"/>
                <a:gd name="connsiteX8" fmla="*/ 7500 w 81052"/>
                <a:gd name="connsiteY8" fmla="*/ 105585 h 105585"/>
                <a:gd name="connsiteX9" fmla="*/ 11733 w 81052"/>
                <a:gd name="connsiteY9" fmla="*/ 104277 h 10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052" h="105585">
                  <a:moveTo>
                    <a:pt x="11733" y="104277"/>
                  </a:moveTo>
                  <a:lnTo>
                    <a:pt x="77784" y="59127"/>
                  </a:lnTo>
                  <a:cubicBezTo>
                    <a:pt x="81204" y="56790"/>
                    <a:pt x="82082" y="52122"/>
                    <a:pt x="79743" y="48702"/>
                  </a:cubicBezTo>
                  <a:cubicBezTo>
                    <a:pt x="79223" y="47940"/>
                    <a:pt x="78564" y="47280"/>
                    <a:pt x="77802" y="46757"/>
                  </a:cubicBezTo>
                  <a:lnTo>
                    <a:pt x="11751" y="1321"/>
                  </a:lnTo>
                  <a:cubicBezTo>
                    <a:pt x="8338" y="-1026"/>
                    <a:pt x="3668" y="-163"/>
                    <a:pt x="1320" y="3250"/>
                  </a:cubicBezTo>
                  <a:cubicBezTo>
                    <a:pt x="460" y="4501"/>
                    <a:pt x="0" y="5983"/>
                    <a:pt x="0" y="7501"/>
                  </a:cubicBezTo>
                  <a:lnTo>
                    <a:pt x="0" y="98085"/>
                  </a:lnTo>
                  <a:cubicBezTo>
                    <a:pt x="0" y="102228"/>
                    <a:pt x="3358" y="105585"/>
                    <a:pt x="7500" y="105585"/>
                  </a:cubicBezTo>
                  <a:cubicBezTo>
                    <a:pt x="9011" y="105585"/>
                    <a:pt x="10485" y="105129"/>
                    <a:pt x="11733" y="104277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20" name="Рисунок 354">
            <a:extLst>
              <a:ext uri="{FF2B5EF4-FFF2-40B4-BE49-F238E27FC236}">
                <a16:creationId xmlns:a16="http://schemas.microsoft.com/office/drawing/2014/main" id="{D7ED0054-D133-E644-AEE7-EC79494E0543}"/>
              </a:ext>
            </a:extLst>
          </p:cNvPr>
          <p:cNvGrpSpPr/>
          <p:nvPr/>
        </p:nvGrpSpPr>
        <p:grpSpPr>
          <a:xfrm>
            <a:off x="6714822" y="5807534"/>
            <a:ext cx="360000" cy="360000"/>
            <a:chOff x="6748275" y="6124256"/>
            <a:chExt cx="360000" cy="360000"/>
          </a:xfrm>
        </p:grpSpPr>
        <p:sp>
          <p:nvSpPr>
            <p:cNvPr id="1521" name="Полилиния 1520">
              <a:extLst>
                <a:ext uri="{FF2B5EF4-FFF2-40B4-BE49-F238E27FC236}">
                  <a16:creationId xmlns:a16="http://schemas.microsoft.com/office/drawing/2014/main" id="{2A52102B-5479-3E43-8EC9-93ADB19CD235}"/>
                </a:ext>
              </a:extLst>
            </p:cNvPr>
            <p:cNvSpPr/>
            <p:nvPr/>
          </p:nvSpPr>
          <p:spPr>
            <a:xfrm>
              <a:off x="674827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2" name="Полилиния 1521">
              <a:extLst>
                <a:ext uri="{FF2B5EF4-FFF2-40B4-BE49-F238E27FC236}">
                  <a16:creationId xmlns:a16="http://schemas.microsoft.com/office/drawing/2014/main" id="{299C2E96-749C-CE42-B244-5023D4DF4E9C}"/>
                </a:ext>
              </a:extLst>
            </p:cNvPr>
            <p:cNvSpPr/>
            <p:nvPr/>
          </p:nvSpPr>
          <p:spPr>
            <a:xfrm>
              <a:off x="6778275" y="6184256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3" name="Полилиния 1522">
              <a:extLst>
                <a:ext uri="{FF2B5EF4-FFF2-40B4-BE49-F238E27FC236}">
                  <a16:creationId xmlns:a16="http://schemas.microsoft.com/office/drawing/2014/main" id="{A6B5D2CE-AD43-C848-AF59-628B471DDB1B}"/>
                </a:ext>
              </a:extLst>
            </p:cNvPr>
            <p:cNvSpPr/>
            <p:nvPr/>
          </p:nvSpPr>
          <p:spPr>
            <a:xfrm>
              <a:off x="6866175" y="6258505"/>
              <a:ext cx="123536" cy="152581"/>
            </a:xfrm>
            <a:custGeom>
              <a:avLst/>
              <a:gdLst>
                <a:gd name="connsiteX0" fmla="*/ 72159 w 123536"/>
                <a:gd name="connsiteY0" fmla="*/ 147573 h 152581"/>
                <a:gd name="connsiteX1" fmla="*/ 121645 w 123536"/>
                <a:gd name="connsiteY1" fmla="*/ 73343 h 152581"/>
                <a:gd name="connsiteX2" fmla="*/ 118525 w 123536"/>
                <a:gd name="connsiteY2" fmla="*/ 57741 h 152581"/>
                <a:gd name="connsiteX3" fmla="*/ 112285 w 123536"/>
                <a:gd name="connsiteY3" fmla="*/ 55851 h 152581"/>
                <a:gd name="connsiteX4" fmla="*/ 71988 w 123536"/>
                <a:gd name="connsiteY4" fmla="*/ 55851 h 152581"/>
                <a:gd name="connsiteX5" fmla="*/ 71988 w 123536"/>
                <a:gd name="connsiteY5" fmla="*/ 11250 h 152581"/>
                <a:gd name="connsiteX6" fmla="*/ 60738 w 123536"/>
                <a:gd name="connsiteY6" fmla="*/ 0 h 152581"/>
                <a:gd name="connsiteX7" fmla="*/ 51378 w 123536"/>
                <a:gd name="connsiteY7" fmla="*/ 5010 h 152581"/>
                <a:gd name="connsiteX8" fmla="*/ 1891 w 123536"/>
                <a:gd name="connsiteY8" fmla="*/ 79241 h 152581"/>
                <a:gd name="connsiteX9" fmla="*/ 5011 w 123536"/>
                <a:gd name="connsiteY9" fmla="*/ 94841 h 152581"/>
                <a:gd name="connsiteX10" fmla="*/ 11251 w 123536"/>
                <a:gd name="connsiteY10" fmla="*/ 96731 h 152581"/>
                <a:gd name="connsiteX11" fmla="*/ 51549 w 123536"/>
                <a:gd name="connsiteY11" fmla="*/ 96731 h 152581"/>
                <a:gd name="connsiteX12" fmla="*/ 51549 w 123536"/>
                <a:gd name="connsiteY12" fmla="*/ 141332 h 152581"/>
                <a:gd name="connsiteX13" fmla="*/ 62799 w 123536"/>
                <a:gd name="connsiteY13" fmla="*/ 152582 h 152581"/>
                <a:gd name="connsiteX14" fmla="*/ 72159 w 123536"/>
                <a:gd name="connsiteY14" fmla="*/ 147573 h 152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3536" h="152581">
                  <a:moveTo>
                    <a:pt x="72159" y="147573"/>
                  </a:moveTo>
                  <a:lnTo>
                    <a:pt x="121645" y="73343"/>
                  </a:lnTo>
                  <a:cubicBezTo>
                    <a:pt x="125092" y="68172"/>
                    <a:pt x="123696" y="61188"/>
                    <a:pt x="118525" y="57741"/>
                  </a:cubicBezTo>
                  <a:cubicBezTo>
                    <a:pt x="116677" y="56510"/>
                    <a:pt x="114507" y="55851"/>
                    <a:pt x="112285" y="55851"/>
                  </a:cubicBezTo>
                  <a:lnTo>
                    <a:pt x="71988" y="55851"/>
                  </a:lnTo>
                  <a:lnTo>
                    <a:pt x="71988" y="11250"/>
                  </a:lnTo>
                  <a:cubicBezTo>
                    <a:pt x="71988" y="5037"/>
                    <a:pt x="66951" y="0"/>
                    <a:pt x="60738" y="0"/>
                  </a:cubicBezTo>
                  <a:cubicBezTo>
                    <a:pt x="56976" y="0"/>
                    <a:pt x="53464" y="1880"/>
                    <a:pt x="51378" y="5010"/>
                  </a:cubicBezTo>
                  <a:lnTo>
                    <a:pt x="1891" y="79241"/>
                  </a:lnTo>
                  <a:cubicBezTo>
                    <a:pt x="-1556" y="84410"/>
                    <a:pt x="-159" y="91395"/>
                    <a:pt x="5011" y="94841"/>
                  </a:cubicBezTo>
                  <a:cubicBezTo>
                    <a:pt x="6859" y="96074"/>
                    <a:pt x="9030" y="96731"/>
                    <a:pt x="11251" y="96731"/>
                  </a:cubicBezTo>
                  <a:lnTo>
                    <a:pt x="51549" y="96731"/>
                  </a:lnTo>
                  <a:lnTo>
                    <a:pt x="51549" y="141332"/>
                  </a:lnTo>
                  <a:cubicBezTo>
                    <a:pt x="51549" y="147545"/>
                    <a:pt x="56586" y="152582"/>
                    <a:pt x="62799" y="152582"/>
                  </a:cubicBezTo>
                  <a:cubicBezTo>
                    <a:pt x="66559" y="152582"/>
                    <a:pt x="70072" y="150702"/>
                    <a:pt x="72159" y="14757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24" name="Рисунок 355">
            <a:extLst>
              <a:ext uri="{FF2B5EF4-FFF2-40B4-BE49-F238E27FC236}">
                <a16:creationId xmlns:a16="http://schemas.microsoft.com/office/drawing/2014/main" id="{57E514DD-1510-9D42-9FEF-EA46E3FA6687}"/>
              </a:ext>
            </a:extLst>
          </p:cNvPr>
          <p:cNvGrpSpPr/>
          <p:nvPr/>
        </p:nvGrpSpPr>
        <p:grpSpPr>
          <a:xfrm>
            <a:off x="7467974" y="5807534"/>
            <a:ext cx="360000" cy="360000"/>
            <a:chOff x="7501427" y="6124256"/>
            <a:chExt cx="360000" cy="360000"/>
          </a:xfrm>
        </p:grpSpPr>
        <p:sp>
          <p:nvSpPr>
            <p:cNvPr id="1525" name="Полилиния 1524">
              <a:extLst>
                <a:ext uri="{FF2B5EF4-FFF2-40B4-BE49-F238E27FC236}">
                  <a16:creationId xmlns:a16="http://schemas.microsoft.com/office/drawing/2014/main" id="{96547713-B80D-DB4E-ABE0-4015F091CC35}"/>
                </a:ext>
              </a:extLst>
            </p:cNvPr>
            <p:cNvSpPr/>
            <p:nvPr/>
          </p:nvSpPr>
          <p:spPr>
            <a:xfrm>
              <a:off x="7501427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6" name="Полилиния 1525">
              <a:extLst>
                <a:ext uri="{FF2B5EF4-FFF2-40B4-BE49-F238E27FC236}">
                  <a16:creationId xmlns:a16="http://schemas.microsoft.com/office/drawing/2014/main" id="{DF931071-AB2A-3145-A3EE-70DFBEB9B5D3}"/>
                </a:ext>
              </a:extLst>
            </p:cNvPr>
            <p:cNvSpPr/>
            <p:nvPr/>
          </p:nvSpPr>
          <p:spPr>
            <a:xfrm>
              <a:off x="7504127" y="6193855"/>
              <a:ext cx="207600" cy="215400"/>
            </a:xfrm>
            <a:custGeom>
              <a:avLst/>
              <a:gdLst>
                <a:gd name="connsiteX0" fmla="*/ 0 w 207600"/>
                <a:gd name="connsiteY0" fmla="*/ 215400 h 215400"/>
                <a:gd name="connsiteX1" fmla="*/ 103800 w 207600"/>
                <a:gd name="connsiteY1" fmla="*/ 0 h 215400"/>
                <a:gd name="connsiteX2" fmla="*/ 207600 w 207600"/>
                <a:gd name="connsiteY2" fmla="*/ 215400 h 215400"/>
                <a:gd name="connsiteX3" fmla="*/ 178200 w 207600"/>
                <a:gd name="connsiteY3" fmla="*/ 215400 h 215400"/>
                <a:gd name="connsiteX4" fmla="*/ 151800 w 207600"/>
                <a:gd name="connsiteY4" fmla="*/ 159600 h 215400"/>
                <a:gd name="connsiteX5" fmla="*/ 55800 w 207600"/>
                <a:gd name="connsiteY5" fmla="*/ 159600 h 215400"/>
                <a:gd name="connsiteX6" fmla="*/ 29400 w 207600"/>
                <a:gd name="connsiteY6" fmla="*/ 215400 h 215400"/>
                <a:gd name="connsiteX7" fmla="*/ 0 w 207600"/>
                <a:gd name="connsiteY7" fmla="*/ 215400 h 215400"/>
                <a:gd name="connsiteX8" fmla="*/ 103800 w 207600"/>
                <a:gd name="connsiteY8" fmla="*/ 58200 h 215400"/>
                <a:gd name="connsiteX9" fmla="*/ 67800 w 207600"/>
                <a:gd name="connsiteY9" fmla="*/ 134400 h 215400"/>
                <a:gd name="connsiteX10" fmla="*/ 139800 w 207600"/>
                <a:gd name="connsiteY10" fmla="*/ 134400 h 215400"/>
                <a:gd name="connsiteX11" fmla="*/ 103800 w 207600"/>
                <a:gd name="connsiteY11" fmla="*/ 58200 h 2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7600" h="215400">
                  <a:moveTo>
                    <a:pt x="0" y="215400"/>
                  </a:moveTo>
                  <a:lnTo>
                    <a:pt x="103800" y="0"/>
                  </a:lnTo>
                  <a:lnTo>
                    <a:pt x="207600" y="215400"/>
                  </a:lnTo>
                  <a:lnTo>
                    <a:pt x="178200" y="215400"/>
                  </a:lnTo>
                  <a:lnTo>
                    <a:pt x="151800" y="159600"/>
                  </a:lnTo>
                  <a:lnTo>
                    <a:pt x="55800" y="159600"/>
                  </a:lnTo>
                  <a:lnTo>
                    <a:pt x="29400" y="215400"/>
                  </a:lnTo>
                  <a:lnTo>
                    <a:pt x="0" y="215400"/>
                  </a:lnTo>
                  <a:close/>
                  <a:moveTo>
                    <a:pt x="103800" y="58200"/>
                  </a:moveTo>
                  <a:lnTo>
                    <a:pt x="67800" y="134400"/>
                  </a:lnTo>
                  <a:lnTo>
                    <a:pt x="139800" y="134400"/>
                  </a:lnTo>
                  <a:lnTo>
                    <a:pt x="103800" y="582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7" name="Полилиния 1526">
              <a:extLst>
                <a:ext uri="{FF2B5EF4-FFF2-40B4-BE49-F238E27FC236}">
                  <a16:creationId xmlns:a16="http://schemas.microsoft.com/office/drawing/2014/main" id="{BFD33915-01E8-D142-98D6-4A0A56F5D274}"/>
                </a:ext>
              </a:extLst>
            </p:cNvPr>
            <p:cNvSpPr/>
            <p:nvPr/>
          </p:nvSpPr>
          <p:spPr>
            <a:xfrm>
              <a:off x="7697327" y="6256856"/>
              <a:ext cx="149999" cy="154799"/>
            </a:xfrm>
            <a:custGeom>
              <a:avLst/>
              <a:gdLst>
                <a:gd name="connsiteX0" fmla="*/ 124200 w 149999"/>
                <a:gd name="connsiteY0" fmla="*/ 152400 h 154799"/>
                <a:gd name="connsiteX1" fmla="*/ 124200 w 149999"/>
                <a:gd name="connsiteY1" fmla="*/ 137400 h 154799"/>
                <a:gd name="connsiteX2" fmla="*/ 76500 w 149999"/>
                <a:gd name="connsiteY2" fmla="*/ 154800 h 154799"/>
                <a:gd name="connsiteX3" fmla="*/ 0 w 149999"/>
                <a:gd name="connsiteY3" fmla="*/ 77400 h 154799"/>
                <a:gd name="connsiteX4" fmla="*/ 76500 w 149999"/>
                <a:gd name="connsiteY4" fmla="*/ 0 h 154799"/>
                <a:gd name="connsiteX5" fmla="*/ 124200 w 149999"/>
                <a:gd name="connsiteY5" fmla="*/ 17400 h 154799"/>
                <a:gd name="connsiteX6" fmla="*/ 124200 w 149999"/>
                <a:gd name="connsiteY6" fmla="*/ 2400 h 154799"/>
                <a:gd name="connsiteX7" fmla="*/ 150000 w 149999"/>
                <a:gd name="connsiteY7" fmla="*/ 2400 h 154799"/>
                <a:gd name="connsiteX8" fmla="*/ 150000 w 149999"/>
                <a:gd name="connsiteY8" fmla="*/ 152400 h 154799"/>
                <a:gd name="connsiteX9" fmla="*/ 124200 w 149999"/>
                <a:gd name="connsiteY9" fmla="*/ 152400 h 154799"/>
                <a:gd name="connsiteX10" fmla="*/ 77100 w 149999"/>
                <a:gd name="connsiteY10" fmla="*/ 130500 h 154799"/>
                <a:gd name="connsiteX11" fmla="*/ 124200 w 149999"/>
                <a:gd name="connsiteY11" fmla="*/ 106200 h 154799"/>
                <a:gd name="connsiteX12" fmla="*/ 124200 w 149999"/>
                <a:gd name="connsiteY12" fmla="*/ 48600 h 154799"/>
                <a:gd name="connsiteX13" fmla="*/ 77100 w 149999"/>
                <a:gd name="connsiteY13" fmla="*/ 24300 h 154799"/>
                <a:gd name="connsiteX14" fmla="*/ 26700 w 149999"/>
                <a:gd name="connsiteY14" fmla="*/ 77400 h 154799"/>
                <a:gd name="connsiteX15" fmla="*/ 77100 w 149999"/>
                <a:gd name="connsiteY15" fmla="*/ 130500 h 15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9999" h="154799">
                  <a:moveTo>
                    <a:pt x="124200" y="152400"/>
                  </a:moveTo>
                  <a:lnTo>
                    <a:pt x="124200" y="137400"/>
                  </a:lnTo>
                  <a:cubicBezTo>
                    <a:pt x="111600" y="148800"/>
                    <a:pt x="94800" y="154800"/>
                    <a:pt x="76500" y="154800"/>
                  </a:cubicBezTo>
                  <a:cubicBezTo>
                    <a:pt x="32400" y="154800"/>
                    <a:pt x="0" y="120900"/>
                    <a:pt x="0" y="77400"/>
                  </a:cubicBezTo>
                  <a:cubicBezTo>
                    <a:pt x="0" y="33900"/>
                    <a:pt x="32400" y="0"/>
                    <a:pt x="76500" y="0"/>
                  </a:cubicBezTo>
                  <a:cubicBezTo>
                    <a:pt x="94800" y="0"/>
                    <a:pt x="111600" y="6000"/>
                    <a:pt x="124200" y="17400"/>
                  </a:cubicBezTo>
                  <a:lnTo>
                    <a:pt x="124200" y="2400"/>
                  </a:lnTo>
                  <a:lnTo>
                    <a:pt x="150000" y="2400"/>
                  </a:lnTo>
                  <a:lnTo>
                    <a:pt x="150000" y="152400"/>
                  </a:lnTo>
                  <a:lnTo>
                    <a:pt x="124200" y="152400"/>
                  </a:lnTo>
                  <a:close/>
                  <a:moveTo>
                    <a:pt x="77100" y="130500"/>
                  </a:moveTo>
                  <a:cubicBezTo>
                    <a:pt x="98700" y="130500"/>
                    <a:pt x="115500" y="120300"/>
                    <a:pt x="124200" y="106200"/>
                  </a:cubicBezTo>
                  <a:lnTo>
                    <a:pt x="124200" y="48600"/>
                  </a:lnTo>
                  <a:cubicBezTo>
                    <a:pt x="115500" y="34500"/>
                    <a:pt x="98700" y="24300"/>
                    <a:pt x="77100" y="24300"/>
                  </a:cubicBezTo>
                  <a:cubicBezTo>
                    <a:pt x="47700" y="24300"/>
                    <a:pt x="26700" y="47700"/>
                    <a:pt x="26700" y="77400"/>
                  </a:cubicBezTo>
                  <a:cubicBezTo>
                    <a:pt x="26700" y="107100"/>
                    <a:pt x="47700" y="130500"/>
                    <a:pt x="77100" y="130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28" name="Рисунок 356">
            <a:extLst>
              <a:ext uri="{FF2B5EF4-FFF2-40B4-BE49-F238E27FC236}">
                <a16:creationId xmlns:a16="http://schemas.microsoft.com/office/drawing/2014/main" id="{DF9DE0EA-FCE1-C644-B92B-312E7D834B75}"/>
              </a:ext>
            </a:extLst>
          </p:cNvPr>
          <p:cNvGrpSpPr/>
          <p:nvPr/>
        </p:nvGrpSpPr>
        <p:grpSpPr>
          <a:xfrm>
            <a:off x="8221126" y="5807534"/>
            <a:ext cx="360000" cy="360000"/>
            <a:chOff x="8254579" y="6124256"/>
            <a:chExt cx="360000" cy="360000"/>
          </a:xfrm>
        </p:grpSpPr>
        <p:sp>
          <p:nvSpPr>
            <p:cNvPr id="1529" name="Полилиния 1528">
              <a:extLst>
                <a:ext uri="{FF2B5EF4-FFF2-40B4-BE49-F238E27FC236}">
                  <a16:creationId xmlns:a16="http://schemas.microsoft.com/office/drawing/2014/main" id="{326CC329-7AE6-954F-AD55-C0AE4147075E}"/>
                </a:ext>
              </a:extLst>
            </p:cNvPr>
            <p:cNvSpPr/>
            <p:nvPr/>
          </p:nvSpPr>
          <p:spPr>
            <a:xfrm>
              <a:off x="825457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0" name="Полилиния 1529">
              <a:extLst>
                <a:ext uri="{FF2B5EF4-FFF2-40B4-BE49-F238E27FC236}">
                  <a16:creationId xmlns:a16="http://schemas.microsoft.com/office/drawing/2014/main" id="{FF909618-6316-8047-A6EE-14544A116750}"/>
                </a:ext>
              </a:extLst>
            </p:cNvPr>
            <p:cNvSpPr/>
            <p:nvPr/>
          </p:nvSpPr>
          <p:spPr>
            <a:xfrm>
              <a:off x="8295406" y="6328575"/>
              <a:ext cx="114852" cy="114852"/>
            </a:xfrm>
            <a:custGeom>
              <a:avLst/>
              <a:gdLst>
                <a:gd name="connsiteX0" fmla="*/ 99853 w 114852"/>
                <a:gd name="connsiteY0" fmla="*/ 4393 h 114852"/>
                <a:gd name="connsiteX1" fmla="*/ 110460 w 114852"/>
                <a:gd name="connsiteY1" fmla="*/ 15000 h 114852"/>
                <a:gd name="connsiteX2" fmla="*/ 110460 w 114852"/>
                <a:gd name="connsiteY2" fmla="*/ 36213 h 114852"/>
                <a:gd name="connsiteX3" fmla="*/ 36213 w 114852"/>
                <a:gd name="connsiteY3" fmla="*/ 110460 h 114852"/>
                <a:gd name="connsiteX4" fmla="*/ 15000 w 114852"/>
                <a:gd name="connsiteY4" fmla="*/ 110460 h 114852"/>
                <a:gd name="connsiteX5" fmla="*/ 4393 w 114852"/>
                <a:gd name="connsiteY5" fmla="*/ 99853 h 114852"/>
                <a:gd name="connsiteX6" fmla="*/ 4393 w 114852"/>
                <a:gd name="connsiteY6" fmla="*/ 78640 h 114852"/>
                <a:gd name="connsiteX7" fmla="*/ 78640 w 114852"/>
                <a:gd name="connsiteY7" fmla="*/ 4393 h 114852"/>
                <a:gd name="connsiteX8" fmla="*/ 99853 w 114852"/>
                <a:gd name="connsiteY8" fmla="*/ 4393 h 114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852" h="114852">
                  <a:moveTo>
                    <a:pt x="99853" y="4393"/>
                  </a:moveTo>
                  <a:lnTo>
                    <a:pt x="110460" y="15000"/>
                  </a:lnTo>
                  <a:cubicBezTo>
                    <a:pt x="116317" y="20857"/>
                    <a:pt x="116317" y="30355"/>
                    <a:pt x="110460" y="36213"/>
                  </a:cubicBezTo>
                  <a:lnTo>
                    <a:pt x="36213" y="110460"/>
                  </a:lnTo>
                  <a:cubicBezTo>
                    <a:pt x="30355" y="116317"/>
                    <a:pt x="20858" y="116317"/>
                    <a:pt x="15000" y="110460"/>
                  </a:cubicBezTo>
                  <a:lnTo>
                    <a:pt x="4393" y="99853"/>
                  </a:lnTo>
                  <a:cubicBezTo>
                    <a:pt x="-1464" y="93994"/>
                    <a:pt x="-1464" y="84498"/>
                    <a:pt x="4393" y="78640"/>
                  </a:cubicBezTo>
                  <a:lnTo>
                    <a:pt x="78640" y="4393"/>
                  </a:lnTo>
                  <a:cubicBezTo>
                    <a:pt x="84498" y="-1464"/>
                    <a:pt x="93995" y="-1464"/>
                    <a:pt x="99853" y="4393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1" name="Полилиния 1530">
              <a:extLst>
                <a:ext uri="{FF2B5EF4-FFF2-40B4-BE49-F238E27FC236}">
                  <a16:creationId xmlns:a16="http://schemas.microsoft.com/office/drawing/2014/main" id="{49CD4392-B15D-AE4B-9BB4-F838E7868C30}"/>
                </a:ext>
              </a:extLst>
            </p:cNvPr>
            <p:cNvSpPr/>
            <p:nvPr/>
          </p:nvSpPr>
          <p:spPr>
            <a:xfrm>
              <a:off x="8396169" y="6158493"/>
              <a:ext cx="176672" cy="176672"/>
            </a:xfrm>
            <a:custGeom>
              <a:avLst/>
              <a:gdLst>
                <a:gd name="connsiteX0" fmla="*/ 91820 w 176672"/>
                <a:gd name="connsiteY0" fmla="*/ 10606 h 176672"/>
                <a:gd name="connsiteX1" fmla="*/ 42119 w 176672"/>
                <a:gd name="connsiteY1" fmla="*/ 73436 h 176672"/>
                <a:gd name="connsiteX2" fmla="*/ 43030 w 176672"/>
                <a:gd name="connsiteY2" fmla="*/ 89095 h 176672"/>
                <a:gd name="connsiteX3" fmla="*/ 58688 w 176672"/>
                <a:gd name="connsiteY3" fmla="*/ 90006 h 176672"/>
                <a:gd name="connsiteX4" fmla="*/ 121519 w 176672"/>
                <a:gd name="connsiteY4" fmla="*/ 40305 h 176672"/>
                <a:gd name="connsiteX5" fmla="*/ 136367 w 176672"/>
                <a:gd name="connsiteY5" fmla="*/ 55154 h 176672"/>
                <a:gd name="connsiteX6" fmla="*/ 86666 w 176672"/>
                <a:gd name="connsiteY6" fmla="*/ 117984 h 176672"/>
                <a:gd name="connsiteX7" fmla="*/ 87577 w 176672"/>
                <a:gd name="connsiteY7" fmla="*/ 133643 h 176672"/>
                <a:gd name="connsiteX8" fmla="*/ 103237 w 176672"/>
                <a:gd name="connsiteY8" fmla="*/ 134553 h 176672"/>
                <a:gd name="connsiteX9" fmla="*/ 166066 w 176672"/>
                <a:gd name="connsiteY9" fmla="*/ 84853 h 176672"/>
                <a:gd name="connsiteX10" fmla="*/ 176672 w 176672"/>
                <a:gd name="connsiteY10" fmla="*/ 95459 h 176672"/>
                <a:gd name="connsiteX11" fmla="*/ 113033 w 176672"/>
                <a:gd name="connsiteY11" fmla="*/ 159099 h 176672"/>
                <a:gd name="connsiteX12" fmla="*/ 28180 w 176672"/>
                <a:gd name="connsiteY12" fmla="*/ 159099 h 176672"/>
                <a:gd name="connsiteX13" fmla="*/ 17573 w 176672"/>
                <a:gd name="connsiteY13" fmla="*/ 148493 h 176672"/>
                <a:gd name="connsiteX14" fmla="*/ 17573 w 176672"/>
                <a:gd name="connsiteY14" fmla="*/ 63640 h 176672"/>
                <a:gd name="connsiteX15" fmla="*/ 81214 w 176672"/>
                <a:gd name="connsiteY15" fmla="*/ 0 h 176672"/>
                <a:gd name="connsiteX16" fmla="*/ 91820 w 176672"/>
                <a:gd name="connsiteY16" fmla="*/ 10606 h 17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6672" h="176672">
                  <a:moveTo>
                    <a:pt x="91820" y="10606"/>
                  </a:moveTo>
                  <a:lnTo>
                    <a:pt x="42119" y="73436"/>
                  </a:lnTo>
                  <a:cubicBezTo>
                    <a:pt x="38405" y="78131"/>
                    <a:pt x="38797" y="84863"/>
                    <a:pt x="43030" y="89095"/>
                  </a:cubicBezTo>
                  <a:cubicBezTo>
                    <a:pt x="47263" y="93328"/>
                    <a:pt x="53995" y="93720"/>
                    <a:pt x="58688" y="90006"/>
                  </a:cubicBezTo>
                  <a:lnTo>
                    <a:pt x="121519" y="40305"/>
                  </a:lnTo>
                  <a:lnTo>
                    <a:pt x="136367" y="55154"/>
                  </a:lnTo>
                  <a:lnTo>
                    <a:pt x="86666" y="117984"/>
                  </a:lnTo>
                  <a:cubicBezTo>
                    <a:pt x="82952" y="122678"/>
                    <a:pt x="83344" y="129410"/>
                    <a:pt x="87577" y="133643"/>
                  </a:cubicBezTo>
                  <a:cubicBezTo>
                    <a:pt x="91810" y="137876"/>
                    <a:pt x="98542" y="138267"/>
                    <a:pt x="103237" y="134553"/>
                  </a:cubicBezTo>
                  <a:lnTo>
                    <a:pt x="166066" y="84853"/>
                  </a:lnTo>
                  <a:lnTo>
                    <a:pt x="176672" y="95459"/>
                  </a:lnTo>
                  <a:lnTo>
                    <a:pt x="113033" y="159099"/>
                  </a:lnTo>
                  <a:cubicBezTo>
                    <a:pt x="89602" y="182531"/>
                    <a:pt x="51611" y="182531"/>
                    <a:pt x="28180" y="159099"/>
                  </a:cubicBezTo>
                  <a:lnTo>
                    <a:pt x="17573" y="148493"/>
                  </a:lnTo>
                  <a:cubicBezTo>
                    <a:pt x="-5858" y="125061"/>
                    <a:pt x="-5858" y="87071"/>
                    <a:pt x="17573" y="63640"/>
                  </a:cubicBezTo>
                  <a:lnTo>
                    <a:pt x="81214" y="0"/>
                  </a:lnTo>
                  <a:lnTo>
                    <a:pt x="91820" y="10606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32" name="Рисунок 357">
            <a:extLst>
              <a:ext uri="{FF2B5EF4-FFF2-40B4-BE49-F238E27FC236}">
                <a16:creationId xmlns:a16="http://schemas.microsoft.com/office/drawing/2014/main" id="{8A92A95B-4F35-5748-BF63-61B0BA094890}"/>
              </a:ext>
            </a:extLst>
          </p:cNvPr>
          <p:cNvGrpSpPr/>
          <p:nvPr/>
        </p:nvGrpSpPr>
        <p:grpSpPr>
          <a:xfrm>
            <a:off x="8974278" y="5807534"/>
            <a:ext cx="360000" cy="360000"/>
            <a:chOff x="9007731" y="6124256"/>
            <a:chExt cx="360000" cy="360000"/>
          </a:xfrm>
        </p:grpSpPr>
        <p:sp>
          <p:nvSpPr>
            <p:cNvPr id="1533" name="Полилиния 1532">
              <a:extLst>
                <a:ext uri="{FF2B5EF4-FFF2-40B4-BE49-F238E27FC236}">
                  <a16:creationId xmlns:a16="http://schemas.microsoft.com/office/drawing/2014/main" id="{7A18F6F3-C9E1-4A47-BFAA-198DF15D7D73}"/>
                </a:ext>
              </a:extLst>
            </p:cNvPr>
            <p:cNvSpPr/>
            <p:nvPr/>
          </p:nvSpPr>
          <p:spPr>
            <a:xfrm>
              <a:off x="900773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4" name="Полилиния 1533">
              <a:extLst>
                <a:ext uri="{FF2B5EF4-FFF2-40B4-BE49-F238E27FC236}">
                  <a16:creationId xmlns:a16="http://schemas.microsoft.com/office/drawing/2014/main" id="{D7B5A7E1-C97C-0D4E-91BC-AFB460C875A8}"/>
                </a:ext>
              </a:extLst>
            </p:cNvPr>
            <p:cNvSpPr/>
            <p:nvPr/>
          </p:nvSpPr>
          <p:spPr>
            <a:xfrm>
              <a:off x="9217731" y="6169256"/>
              <a:ext cx="105000" cy="120000"/>
            </a:xfrm>
            <a:custGeom>
              <a:avLst/>
              <a:gdLst>
                <a:gd name="connsiteX0" fmla="*/ 15000 w 105000"/>
                <a:gd name="connsiteY0" fmla="*/ 0 h 120000"/>
                <a:gd name="connsiteX1" fmla="*/ 21753 w 105000"/>
                <a:gd name="connsiteY1" fmla="*/ 67537 h 120000"/>
                <a:gd name="connsiteX2" fmla="*/ 30000 w 105000"/>
                <a:gd name="connsiteY2" fmla="*/ 75000 h 120000"/>
                <a:gd name="connsiteX3" fmla="*/ 38247 w 105000"/>
                <a:gd name="connsiteY3" fmla="*/ 67537 h 120000"/>
                <a:gd name="connsiteX4" fmla="*/ 45000 w 105000"/>
                <a:gd name="connsiteY4" fmla="*/ 0 h 120000"/>
                <a:gd name="connsiteX5" fmla="*/ 60000 w 105000"/>
                <a:gd name="connsiteY5" fmla="*/ 0 h 120000"/>
                <a:gd name="connsiteX6" fmla="*/ 66753 w 105000"/>
                <a:gd name="connsiteY6" fmla="*/ 67537 h 120000"/>
                <a:gd name="connsiteX7" fmla="*/ 75000 w 105000"/>
                <a:gd name="connsiteY7" fmla="*/ 75000 h 120000"/>
                <a:gd name="connsiteX8" fmla="*/ 83247 w 105000"/>
                <a:gd name="connsiteY8" fmla="*/ 67537 h 120000"/>
                <a:gd name="connsiteX9" fmla="*/ 90000 w 105000"/>
                <a:gd name="connsiteY9" fmla="*/ 0 h 120000"/>
                <a:gd name="connsiteX10" fmla="*/ 105000 w 105000"/>
                <a:gd name="connsiteY10" fmla="*/ 0 h 120000"/>
                <a:gd name="connsiteX11" fmla="*/ 105000 w 105000"/>
                <a:gd name="connsiteY11" fmla="*/ 67500 h 120000"/>
                <a:gd name="connsiteX12" fmla="*/ 52500 w 105000"/>
                <a:gd name="connsiteY12" fmla="*/ 120000 h 120000"/>
                <a:gd name="connsiteX13" fmla="*/ 0 w 105000"/>
                <a:gd name="connsiteY13" fmla="*/ 67500 h 120000"/>
                <a:gd name="connsiteX14" fmla="*/ 0 w 105000"/>
                <a:gd name="connsiteY14" fmla="*/ 0 h 120000"/>
                <a:gd name="connsiteX15" fmla="*/ 15000 w 105000"/>
                <a:gd name="connsiteY15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000" h="120000">
                  <a:moveTo>
                    <a:pt x="15000" y="0"/>
                  </a:moveTo>
                  <a:lnTo>
                    <a:pt x="21753" y="67537"/>
                  </a:lnTo>
                  <a:cubicBezTo>
                    <a:pt x="22178" y="71774"/>
                    <a:pt x="25743" y="75000"/>
                    <a:pt x="30000" y="75000"/>
                  </a:cubicBezTo>
                  <a:cubicBezTo>
                    <a:pt x="34257" y="75000"/>
                    <a:pt x="37822" y="71774"/>
                    <a:pt x="38247" y="67537"/>
                  </a:cubicBezTo>
                  <a:lnTo>
                    <a:pt x="45000" y="0"/>
                  </a:lnTo>
                  <a:lnTo>
                    <a:pt x="60000" y="0"/>
                  </a:lnTo>
                  <a:lnTo>
                    <a:pt x="66753" y="67537"/>
                  </a:lnTo>
                  <a:cubicBezTo>
                    <a:pt x="67178" y="71774"/>
                    <a:pt x="70743" y="75000"/>
                    <a:pt x="75000" y="75000"/>
                  </a:cubicBezTo>
                  <a:cubicBezTo>
                    <a:pt x="79257" y="75000"/>
                    <a:pt x="82822" y="71774"/>
                    <a:pt x="83247" y="67537"/>
                  </a:cubicBezTo>
                  <a:lnTo>
                    <a:pt x="90000" y="0"/>
                  </a:lnTo>
                  <a:lnTo>
                    <a:pt x="105000" y="0"/>
                  </a:lnTo>
                  <a:lnTo>
                    <a:pt x="105000" y="67500"/>
                  </a:lnTo>
                  <a:cubicBezTo>
                    <a:pt x="105000" y="96495"/>
                    <a:pt x="81495" y="120000"/>
                    <a:pt x="52500" y="120000"/>
                  </a:cubicBezTo>
                  <a:cubicBezTo>
                    <a:pt x="23505" y="120000"/>
                    <a:pt x="0" y="96495"/>
                    <a:pt x="0" y="67500"/>
                  </a:cubicBezTo>
                  <a:lnTo>
                    <a:pt x="0" y="0"/>
                  </a:lnTo>
                  <a:lnTo>
                    <a:pt x="15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5" name="Полилиния 1534">
              <a:extLst>
                <a:ext uri="{FF2B5EF4-FFF2-40B4-BE49-F238E27FC236}">
                  <a16:creationId xmlns:a16="http://schemas.microsoft.com/office/drawing/2014/main" id="{523A688B-3CE8-1046-A2E3-E22C9C9D79CC}"/>
                </a:ext>
              </a:extLst>
            </p:cNvPr>
            <p:cNvSpPr/>
            <p:nvPr/>
          </p:nvSpPr>
          <p:spPr>
            <a:xfrm>
              <a:off x="9248945" y="6319256"/>
              <a:ext cx="42570" cy="135000"/>
            </a:xfrm>
            <a:custGeom>
              <a:avLst/>
              <a:gdLst>
                <a:gd name="connsiteX0" fmla="*/ 21285 w 42570"/>
                <a:gd name="connsiteY0" fmla="*/ 0 h 135000"/>
                <a:gd name="connsiteX1" fmla="*/ 21285 w 42570"/>
                <a:gd name="connsiteY1" fmla="*/ 0 h 135000"/>
                <a:gd name="connsiteX2" fmla="*/ 37118 w 42570"/>
                <a:gd name="connsiteY2" fmla="*/ 14977 h 135000"/>
                <a:gd name="connsiteX3" fmla="*/ 42537 w 42570"/>
                <a:gd name="connsiteY3" fmla="*/ 112535 h 135000"/>
                <a:gd name="connsiteX4" fmla="*/ 22465 w 42570"/>
                <a:gd name="connsiteY4" fmla="*/ 134967 h 135000"/>
                <a:gd name="connsiteX5" fmla="*/ 21285 w 42570"/>
                <a:gd name="connsiteY5" fmla="*/ 135000 h 135000"/>
                <a:gd name="connsiteX6" fmla="*/ 21285 w 42570"/>
                <a:gd name="connsiteY6" fmla="*/ 135000 h 135000"/>
                <a:gd name="connsiteX7" fmla="*/ 0 w 42570"/>
                <a:gd name="connsiteY7" fmla="*/ 113715 h 135000"/>
                <a:gd name="connsiteX8" fmla="*/ 33 w 42570"/>
                <a:gd name="connsiteY8" fmla="*/ 112535 h 135000"/>
                <a:gd name="connsiteX9" fmla="*/ 5453 w 42570"/>
                <a:gd name="connsiteY9" fmla="*/ 14977 h 135000"/>
                <a:gd name="connsiteX10" fmla="*/ 21285 w 42570"/>
                <a:gd name="connsiteY10" fmla="*/ 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570" h="135000">
                  <a:moveTo>
                    <a:pt x="21285" y="0"/>
                  </a:moveTo>
                  <a:lnTo>
                    <a:pt x="21285" y="0"/>
                  </a:lnTo>
                  <a:cubicBezTo>
                    <a:pt x="29700" y="0"/>
                    <a:pt x="36650" y="6575"/>
                    <a:pt x="37118" y="14977"/>
                  </a:cubicBezTo>
                  <a:lnTo>
                    <a:pt x="42537" y="112535"/>
                  </a:lnTo>
                  <a:cubicBezTo>
                    <a:pt x="43190" y="124272"/>
                    <a:pt x="34203" y="134315"/>
                    <a:pt x="22465" y="134967"/>
                  </a:cubicBezTo>
                  <a:cubicBezTo>
                    <a:pt x="22073" y="134990"/>
                    <a:pt x="21680" y="135000"/>
                    <a:pt x="21285" y="135000"/>
                  </a:cubicBezTo>
                  <a:lnTo>
                    <a:pt x="21285" y="135000"/>
                  </a:lnTo>
                  <a:cubicBezTo>
                    <a:pt x="9529" y="135000"/>
                    <a:pt x="0" y="125471"/>
                    <a:pt x="0" y="113715"/>
                  </a:cubicBezTo>
                  <a:cubicBezTo>
                    <a:pt x="0" y="113322"/>
                    <a:pt x="10" y="112927"/>
                    <a:pt x="33" y="112535"/>
                  </a:cubicBezTo>
                  <a:lnTo>
                    <a:pt x="5453" y="14977"/>
                  </a:lnTo>
                  <a:cubicBezTo>
                    <a:pt x="5921" y="6575"/>
                    <a:pt x="12870" y="0"/>
                    <a:pt x="21285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6" name="Полилиния 1535">
              <a:extLst>
                <a:ext uri="{FF2B5EF4-FFF2-40B4-BE49-F238E27FC236}">
                  <a16:creationId xmlns:a16="http://schemas.microsoft.com/office/drawing/2014/main" id="{78AFF28D-FD34-C241-9C2B-C6CE140A819A}"/>
                </a:ext>
              </a:extLst>
            </p:cNvPr>
            <p:cNvSpPr/>
            <p:nvPr/>
          </p:nvSpPr>
          <p:spPr>
            <a:xfrm>
              <a:off x="9099093" y="6334256"/>
              <a:ext cx="42276" cy="120000"/>
            </a:xfrm>
            <a:custGeom>
              <a:avLst/>
              <a:gdLst>
                <a:gd name="connsiteX0" fmla="*/ 21138 w 42276"/>
                <a:gd name="connsiteY0" fmla="*/ 0 h 120000"/>
                <a:gd name="connsiteX1" fmla="*/ 21138 w 42276"/>
                <a:gd name="connsiteY1" fmla="*/ 0 h 120000"/>
                <a:gd name="connsiteX2" fmla="*/ 37073 w 42276"/>
                <a:gd name="connsiteY2" fmla="*/ 14972 h 120000"/>
                <a:gd name="connsiteX3" fmla="*/ 42234 w 42276"/>
                <a:gd name="connsiteY3" fmla="*/ 97543 h 120000"/>
                <a:gd name="connsiteX4" fmla="*/ 22456 w 42276"/>
                <a:gd name="connsiteY4" fmla="*/ 119959 h 120000"/>
                <a:gd name="connsiteX5" fmla="*/ 21138 w 42276"/>
                <a:gd name="connsiteY5" fmla="*/ 120000 h 120000"/>
                <a:gd name="connsiteX6" fmla="*/ 21138 w 42276"/>
                <a:gd name="connsiteY6" fmla="*/ 120000 h 120000"/>
                <a:gd name="connsiteX7" fmla="*/ 0 w 42276"/>
                <a:gd name="connsiteY7" fmla="*/ 98862 h 120000"/>
                <a:gd name="connsiteX8" fmla="*/ 41 w 42276"/>
                <a:gd name="connsiteY8" fmla="*/ 97543 h 120000"/>
                <a:gd name="connsiteX9" fmla="*/ 5202 w 42276"/>
                <a:gd name="connsiteY9" fmla="*/ 14972 h 120000"/>
                <a:gd name="connsiteX10" fmla="*/ 21138 w 42276"/>
                <a:gd name="connsiteY10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276" h="120000">
                  <a:moveTo>
                    <a:pt x="21138" y="0"/>
                  </a:moveTo>
                  <a:lnTo>
                    <a:pt x="21138" y="0"/>
                  </a:lnTo>
                  <a:cubicBezTo>
                    <a:pt x="29569" y="0"/>
                    <a:pt x="36548" y="6555"/>
                    <a:pt x="37073" y="14972"/>
                  </a:cubicBezTo>
                  <a:lnTo>
                    <a:pt x="42234" y="97543"/>
                  </a:lnTo>
                  <a:cubicBezTo>
                    <a:pt x="42962" y="109195"/>
                    <a:pt x="34107" y="119231"/>
                    <a:pt x="22456" y="119959"/>
                  </a:cubicBezTo>
                  <a:cubicBezTo>
                    <a:pt x="22017" y="119986"/>
                    <a:pt x="21577" y="120000"/>
                    <a:pt x="21138" y="120000"/>
                  </a:cubicBezTo>
                  <a:lnTo>
                    <a:pt x="21138" y="120000"/>
                  </a:lnTo>
                  <a:cubicBezTo>
                    <a:pt x="9464" y="120000"/>
                    <a:pt x="0" y="110537"/>
                    <a:pt x="0" y="98862"/>
                  </a:cubicBezTo>
                  <a:cubicBezTo>
                    <a:pt x="0" y="98423"/>
                    <a:pt x="14" y="97983"/>
                    <a:pt x="41" y="97543"/>
                  </a:cubicBezTo>
                  <a:lnTo>
                    <a:pt x="5202" y="14972"/>
                  </a:lnTo>
                  <a:cubicBezTo>
                    <a:pt x="5728" y="6555"/>
                    <a:pt x="12706" y="0"/>
                    <a:pt x="21138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37" name="Полилиния 1536">
              <a:extLst>
                <a:ext uri="{FF2B5EF4-FFF2-40B4-BE49-F238E27FC236}">
                  <a16:creationId xmlns:a16="http://schemas.microsoft.com/office/drawing/2014/main" id="{840F556E-22BB-D84C-AE0C-003A1F0CFD88}"/>
                </a:ext>
              </a:extLst>
            </p:cNvPr>
            <p:cNvSpPr/>
            <p:nvPr/>
          </p:nvSpPr>
          <p:spPr>
            <a:xfrm>
              <a:off x="9067731" y="6169256"/>
              <a:ext cx="105000" cy="135000"/>
            </a:xfrm>
            <a:custGeom>
              <a:avLst/>
              <a:gdLst>
                <a:gd name="connsiteX0" fmla="*/ 52500 w 105000"/>
                <a:gd name="connsiteY0" fmla="*/ 135000 h 135000"/>
                <a:gd name="connsiteX1" fmla="*/ 0 w 105000"/>
                <a:gd name="connsiteY1" fmla="*/ 67500 h 135000"/>
                <a:gd name="connsiteX2" fmla="*/ 52500 w 105000"/>
                <a:gd name="connsiteY2" fmla="*/ 0 h 135000"/>
                <a:gd name="connsiteX3" fmla="*/ 105000 w 105000"/>
                <a:gd name="connsiteY3" fmla="*/ 67500 h 135000"/>
                <a:gd name="connsiteX4" fmla="*/ 52500 w 105000"/>
                <a:gd name="connsiteY4" fmla="*/ 135000 h 135000"/>
                <a:gd name="connsiteX5" fmla="*/ 52643 w 105000"/>
                <a:gd name="connsiteY5" fmla="*/ 24015 h 135000"/>
                <a:gd name="connsiteX6" fmla="*/ 53410 w 105000"/>
                <a:gd name="connsiteY6" fmla="*/ 104214 h 135000"/>
                <a:gd name="connsiteX7" fmla="*/ 82163 w 105000"/>
                <a:gd name="connsiteY7" fmla="*/ 73424 h 135000"/>
                <a:gd name="connsiteX8" fmla="*/ 52643 w 105000"/>
                <a:gd name="connsiteY8" fmla="*/ 24015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000" h="135000">
                  <a:moveTo>
                    <a:pt x="52500" y="135000"/>
                  </a:moveTo>
                  <a:cubicBezTo>
                    <a:pt x="23505" y="135000"/>
                    <a:pt x="0" y="96495"/>
                    <a:pt x="0" y="67500"/>
                  </a:cubicBezTo>
                  <a:cubicBezTo>
                    <a:pt x="0" y="38505"/>
                    <a:pt x="23505" y="0"/>
                    <a:pt x="52500" y="0"/>
                  </a:cubicBezTo>
                  <a:cubicBezTo>
                    <a:pt x="81495" y="0"/>
                    <a:pt x="105000" y="38505"/>
                    <a:pt x="105000" y="67500"/>
                  </a:cubicBezTo>
                  <a:cubicBezTo>
                    <a:pt x="105000" y="96495"/>
                    <a:pt x="81495" y="135000"/>
                    <a:pt x="52500" y="135000"/>
                  </a:cubicBezTo>
                  <a:close/>
                  <a:moveTo>
                    <a:pt x="52643" y="24015"/>
                  </a:moveTo>
                  <a:lnTo>
                    <a:pt x="53410" y="104214"/>
                  </a:lnTo>
                  <a:cubicBezTo>
                    <a:pt x="69284" y="102868"/>
                    <a:pt x="81878" y="89697"/>
                    <a:pt x="82163" y="73424"/>
                  </a:cubicBezTo>
                  <a:cubicBezTo>
                    <a:pt x="82459" y="56415"/>
                    <a:pt x="69491" y="25571"/>
                    <a:pt x="52643" y="2401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38" name="Рисунок 358">
            <a:extLst>
              <a:ext uri="{FF2B5EF4-FFF2-40B4-BE49-F238E27FC236}">
                <a16:creationId xmlns:a16="http://schemas.microsoft.com/office/drawing/2014/main" id="{C3B32E02-3E20-6D46-82D8-CEA2D7B52E22}"/>
              </a:ext>
            </a:extLst>
          </p:cNvPr>
          <p:cNvGrpSpPr/>
          <p:nvPr/>
        </p:nvGrpSpPr>
        <p:grpSpPr>
          <a:xfrm>
            <a:off x="9727430" y="5807534"/>
            <a:ext cx="360000" cy="360000"/>
            <a:chOff x="9760883" y="6124256"/>
            <a:chExt cx="360000" cy="360000"/>
          </a:xfrm>
        </p:grpSpPr>
        <p:sp>
          <p:nvSpPr>
            <p:cNvPr id="1539" name="Полилиния 1538">
              <a:extLst>
                <a:ext uri="{FF2B5EF4-FFF2-40B4-BE49-F238E27FC236}">
                  <a16:creationId xmlns:a16="http://schemas.microsoft.com/office/drawing/2014/main" id="{1AABEDE5-E8D7-B24D-A38F-FA915A4E55D4}"/>
                </a:ext>
              </a:extLst>
            </p:cNvPr>
            <p:cNvSpPr/>
            <p:nvPr/>
          </p:nvSpPr>
          <p:spPr>
            <a:xfrm>
              <a:off x="976088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0" name="Полилиния 1539">
              <a:extLst>
                <a:ext uri="{FF2B5EF4-FFF2-40B4-BE49-F238E27FC236}">
                  <a16:creationId xmlns:a16="http://schemas.microsoft.com/office/drawing/2014/main" id="{DEDDDABC-E033-C34D-A222-84E16DDE6D1F}"/>
                </a:ext>
              </a:extLst>
            </p:cNvPr>
            <p:cNvSpPr/>
            <p:nvPr/>
          </p:nvSpPr>
          <p:spPr>
            <a:xfrm>
              <a:off x="9910883" y="6169256"/>
              <a:ext cx="105000" cy="120000"/>
            </a:xfrm>
            <a:custGeom>
              <a:avLst/>
              <a:gdLst>
                <a:gd name="connsiteX0" fmla="*/ 15000 w 105000"/>
                <a:gd name="connsiteY0" fmla="*/ 0 h 120000"/>
                <a:gd name="connsiteX1" fmla="*/ 21753 w 105000"/>
                <a:gd name="connsiteY1" fmla="*/ 67537 h 120000"/>
                <a:gd name="connsiteX2" fmla="*/ 30000 w 105000"/>
                <a:gd name="connsiteY2" fmla="*/ 75000 h 120000"/>
                <a:gd name="connsiteX3" fmla="*/ 38247 w 105000"/>
                <a:gd name="connsiteY3" fmla="*/ 67537 h 120000"/>
                <a:gd name="connsiteX4" fmla="*/ 45000 w 105000"/>
                <a:gd name="connsiteY4" fmla="*/ 0 h 120000"/>
                <a:gd name="connsiteX5" fmla="*/ 60000 w 105000"/>
                <a:gd name="connsiteY5" fmla="*/ 0 h 120000"/>
                <a:gd name="connsiteX6" fmla="*/ 66753 w 105000"/>
                <a:gd name="connsiteY6" fmla="*/ 67537 h 120000"/>
                <a:gd name="connsiteX7" fmla="*/ 75000 w 105000"/>
                <a:gd name="connsiteY7" fmla="*/ 75000 h 120000"/>
                <a:gd name="connsiteX8" fmla="*/ 83247 w 105000"/>
                <a:gd name="connsiteY8" fmla="*/ 67537 h 120000"/>
                <a:gd name="connsiteX9" fmla="*/ 90000 w 105000"/>
                <a:gd name="connsiteY9" fmla="*/ 0 h 120000"/>
                <a:gd name="connsiteX10" fmla="*/ 105000 w 105000"/>
                <a:gd name="connsiteY10" fmla="*/ 0 h 120000"/>
                <a:gd name="connsiteX11" fmla="*/ 105000 w 105000"/>
                <a:gd name="connsiteY11" fmla="*/ 67500 h 120000"/>
                <a:gd name="connsiteX12" fmla="*/ 52500 w 105000"/>
                <a:gd name="connsiteY12" fmla="*/ 120000 h 120000"/>
                <a:gd name="connsiteX13" fmla="*/ 0 w 105000"/>
                <a:gd name="connsiteY13" fmla="*/ 67500 h 120000"/>
                <a:gd name="connsiteX14" fmla="*/ 0 w 105000"/>
                <a:gd name="connsiteY14" fmla="*/ 0 h 120000"/>
                <a:gd name="connsiteX15" fmla="*/ 15000 w 105000"/>
                <a:gd name="connsiteY15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000" h="120000">
                  <a:moveTo>
                    <a:pt x="15000" y="0"/>
                  </a:moveTo>
                  <a:lnTo>
                    <a:pt x="21753" y="67537"/>
                  </a:lnTo>
                  <a:cubicBezTo>
                    <a:pt x="22178" y="71774"/>
                    <a:pt x="25743" y="75000"/>
                    <a:pt x="30000" y="75000"/>
                  </a:cubicBezTo>
                  <a:cubicBezTo>
                    <a:pt x="34257" y="75000"/>
                    <a:pt x="37822" y="71774"/>
                    <a:pt x="38247" y="67537"/>
                  </a:cubicBezTo>
                  <a:lnTo>
                    <a:pt x="45000" y="0"/>
                  </a:lnTo>
                  <a:lnTo>
                    <a:pt x="60000" y="0"/>
                  </a:lnTo>
                  <a:lnTo>
                    <a:pt x="66753" y="67537"/>
                  </a:lnTo>
                  <a:cubicBezTo>
                    <a:pt x="67178" y="71774"/>
                    <a:pt x="70743" y="75000"/>
                    <a:pt x="75000" y="75000"/>
                  </a:cubicBezTo>
                  <a:cubicBezTo>
                    <a:pt x="79257" y="75000"/>
                    <a:pt x="82822" y="71774"/>
                    <a:pt x="83247" y="67537"/>
                  </a:cubicBezTo>
                  <a:lnTo>
                    <a:pt x="90000" y="0"/>
                  </a:lnTo>
                  <a:lnTo>
                    <a:pt x="105000" y="0"/>
                  </a:lnTo>
                  <a:lnTo>
                    <a:pt x="105000" y="67500"/>
                  </a:lnTo>
                  <a:cubicBezTo>
                    <a:pt x="105000" y="96495"/>
                    <a:pt x="81495" y="120000"/>
                    <a:pt x="52500" y="120000"/>
                  </a:cubicBezTo>
                  <a:cubicBezTo>
                    <a:pt x="23505" y="120000"/>
                    <a:pt x="0" y="96495"/>
                    <a:pt x="0" y="67500"/>
                  </a:cubicBezTo>
                  <a:lnTo>
                    <a:pt x="0" y="0"/>
                  </a:lnTo>
                  <a:lnTo>
                    <a:pt x="15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1" name="Полилиния 1540">
              <a:extLst>
                <a:ext uri="{FF2B5EF4-FFF2-40B4-BE49-F238E27FC236}">
                  <a16:creationId xmlns:a16="http://schemas.microsoft.com/office/drawing/2014/main" id="{BA921545-77F1-A840-860A-C6F570652CFC}"/>
                </a:ext>
              </a:extLst>
            </p:cNvPr>
            <p:cNvSpPr/>
            <p:nvPr/>
          </p:nvSpPr>
          <p:spPr>
            <a:xfrm>
              <a:off x="9942098" y="6319256"/>
              <a:ext cx="42570" cy="135000"/>
            </a:xfrm>
            <a:custGeom>
              <a:avLst/>
              <a:gdLst>
                <a:gd name="connsiteX0" fmla="*/ 21285 w 42570"/>
                <a:gd name="connsiteY0" fmla="*/ 0 h 135000"/>
                <a:gd name="connsiteX1" fmla="*/ 21285 w 42570"/>
                <a:gd name="connsiteY1" fmla="*/ 0 h 135000"/>
                <a:gd name="connsiteX2" fmla="*/ 37117 w 42570"/>
                <a:gd name="connsiteY2" fmla="*/ 14977 h 135000"/>
                <a:gd name="connsiteX3" fmla="*/ 42537 w 42570"/>
                <a:gd name="connsiteY3" fmla="*/ 112535 h 135000"/>
                <a:gd name="connsiteX4" fmla="*/ 22465 w 42570"/>
                <a:gd name="connsiteY4" fmla="*/ 134967 h 135000"/>
                <a:gd name="connsiteX5" fmla="*/ 21285 w 42570"/>
                <a:gd name="connsiteY5" fmla="*/ 135000 h 135000"/>
                <a:gd name="connsiteX6" fmla="*/ 21285 w 42570"/>
                <a:gd name="connsiteY6" fmla="*/ 135000 h 135000"/>
                <a:gd name="connsiteX7" fmla="*/ 0 w 42570"/>
                <a:gd name="connsiteY7" fmla="*/ 113715 h 135000"/>
                <a:gd name="connsiteX8" fmla="*/ 33 w 42570"/>
                <a:gd name="connsiteY8" fmla="*/ 112535 h 135000"/>
                <a:gd name="connsiteX9" fmla="*/ 5452 w 42570"/>
                <a:gd name="connsiteY9" fmla="*/ 14977 h 135000"/>
                <a:gd name="connsiteX10" fmla="*/ 21285 w 42570"/>
                <a:gd name="connsiteY10" fmla="*/ 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570" h="135000">
                  <a:moveTo>
                    <a:pt x="21285" y="0"/>
                  </a:moveTo>
                  <a:lnTo>
                    <a:pt x="21285" y="0"/>
                  </a:lnTo>
                  <a:cubicBezTo>
                    <a:pt x="29700" y="0"/>
                    <a:pt x="36649" y="6575"/>
                    <a:pt x="37117" y="14977"/>
                  </a:cubicBezTo>
                  <a:lnTo>
                    <a:pt x="42537" y="112535"/>
                  </a:lnTo>
                  <a:cubicBezTo>
                    <a:pt x="43190" y="124272"/>
                    <a:pt x="34203" y="134315"/>
                    <a:pt x="22465" y="134967"/>
                  </a:cubicBezTo>
                  <a:cubicBezTo>
                    <a:pt x="22072" y="134990"/>
                    <a:pt x="21680" y="135000"/>
                    <a:pt x="21285" y="135000"/>
                  </a:cubicBezTo>
                  <a:lnTo>
                    <a:pt x="21285" y="135000"/>
                  </a:lnTo>
                  <a:cubicBezTo>
                    <a:pt x="9529" y="135000"/>
                    <a:pt x="0" y="125471"/>
                    <a:pt x="0" y="113715"/>
                  </a:cubicBezTo>
                  <a:cubicBezTo>
                    <a:pt x="0" y="113322"/>
                    <a:pt x="10" y="112927"/>
                    <a:pt x="33" y="112535"/>
                  </a:cubicBezTo>
                  <a:lnTo>
                    <a:pt x="5452" y="14977"/>
                  </a:lnTo>
                  <a:cubicBezTo>
                    <a:pt x="5921" y="6575"/>
                    <a:pt x="12870" y="0"/>
                    <a:pt x="21285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2" name="Полилиния 1541">
              <a:extLst>
                <a:ext uri="{FF2B5EF4-FFF2-40B4-BE49-F238E27FC236}">
                  <a16:creationId xmlns:a16="http://schemas.microsoft.com/office/drawing/2014/main" id="{27367719-522B-654C-B950-5FE212F6704F}"/>
                </a:ext>
              </a:extLst>
            </p:cNvPr>
            <p:cNvSpPr/>
            <p:nvPr/>
          </p:nvSpPr>
          <p:spPr>
            <a:xfrm>
              <a:off x="10062432" y="6349256"/>
              <a:ext cx="41901" cy="105000"/>
            </a:xfrm>
            <a:custGeom>
              <a:avLst/>
              <a:gdLst>
                <a:gd name="connsiteX0" fmla="*/ 20950 w 41901"/>
                <a:gd name="connsiteY0" fmla="*/ 0 h 105000"/>
                <a:gd name="connsiteX1" fmla="*/ 20950 w 41901"/>
                <a:gd name="connsiteY1" fmla="*/ 0 h 105000"/>
                <a:gd name="connsiteX2" fmla="*/ 37018 w 41901"/>
                <a:gd name="connsiteY2" fmla="*/ 14963 h 105000"/>
                <a:gd name="connsiteX3" fmla="*/ 41847 w 41901"/>
                <a:gd name="connsiteY3" fmla="*/ 82557 h 105000"/>
                <a:gd name="connsiteX4" fmla="*/ 22443 w 41901"/>
                <a:gd name="connsiteY4" fmla="*/ 104948 h 105000"/>
                <a:gd name="connsiteX5" fmla="*/ 20950 w 41901"/>
                <a:gd name="connsiteY5" fmla="*/ 105000 h 105000"/>
                <a:gd name="connsiteX6" fmla="*/ 20950 w 41901"/>
                <a:gd name="connsiteY6" fmla="*/ 105000 h 105000"/>
                <a:gd name="connsiteX7" fmla="*/ 0 w 41901"/>
                <a:gd name="connsiteY7" fmla="*/ 84050 h 105000"/>
                <a:gd name="connsiteX8" fmla="*/ 54 w 41901"/>
                <a:gd name="connsiteY8" fmla="*/ 82557 h 105000"/>
                <a:gd name="connsiteX9" fmla="*/ 4883 w 41901"/>
                <a:gd name="connsiteY9" fmla="*/ 14963 h 105000"/>
                <a:gd name="connsiteX10" fmla="*/ 20950 w 41901"/>
                <a:gd name="connsiteY10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901" h="105000">
                  <a:moveTo>
                    <a:pt x="20950" y="0"/>
                  </a:moveTo>
                  <a:lnTo>
                    <a:pt x="20950" y="0"/>
                  </a:lnTo>
                  <a:cubicBezTo>
                    <a:pt x="29402" y="0"/>
                    <a:pt x="36417" y="6531"/>
                    <a:pt x="37018" y="14963"/>
                  </a:cubicBezTo>
                  <a:lnTo>
                    <a:pt x="41847" y="82557"/>
                  </a:lnTo>
                  <a:cubicBezTo>
                    <a:pt x="42672" y="94098"/>
                    <a:pt x="33984" y="104122"/>
                    <a:pt x="22443" y="104948"/>
                  </a:cubicBezTo>
                  <a:cubicBezTo>
                    <a:pt x="21947" y="104982"/>
                    <a:pt x="21448" y="105000"/>
                    <a:pt x="20950" y="105000"/>
                  </a:cubicBezTo>
                  <a:lnTo>
                    <a:pt x="20950" y="105000"/>
                  </a:lnTo>
                  <a:cubicBezTo>
                    <a:pt x="9379" y="105000"/>
                    <a:pt x="0" y="95621"/>
                    <a:pt x="0" y="84050"/>
                  </a:cubicBezTo>
                  <a:cubicBezTo>
                    <a:pt x="0" y="83552"/>
                    <a:pt x="18" y="83053"/>
                    <a:pt x="54" y="82557"/>
                  </a:cubicBezTo>
                  <a:lnTo>
                    <a:pt x="4883" y="14963"/>
                  </a:lnTo>
                  <a:cubicBezTo>
                    <a:pt x="5484" y="6531"/>
                    <a:pt x="12499" y="0"/>
                    <a:pt x="2095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3" name="Полилиния 1542">
              <a:extLst>
                <a:ext uri="{FF2B5EF4-FFF2-40B4-BE49-F238E27FC236}">
                  <a16:creationId xmlns:a16="http://schemas.microsoft.com/office/drawing/2014/main" id="{6034F7D1-09C5-E642-B4B7-7AA0E5189F95}"/>
                </a:ext>
              </a:extLst>
            </p:cNvPr>
            <p:cNvSpPr/>
            <p:nvPr/>
          </p:nvSpPr>
          <p:spPr>
            <a:xfrm rot="10800000" flipV="1">
              <a:off x="10060883" y="6169256"/>
              <a:ext cx="60000" cy="150000"/>
            </a:xfrm>
            <a:custGeom>
              <a:avLst/>
              <a:gdLst>
                <a:gd name="connsiteX0" fmla="*/ 60000 w 60000"/>
                <a:gd name="connsiteY0" fmla="*/ 0 h 150000"/>
                <a:gd name="connsiteX1" fmla="*/ 60000 w 60000"/>
                <a:gd name="connsiteY1" fmla="*/ 150000 h 150000"/>
                <a:gd name="connsiteX2" fmla="*/ 0 w 60000"/>
                <a:gd name="connsiteY2" fmla="*/ 150000 h 150000"/>
                <a:gd name="connsiteX3" fmla="*/ 0 w 60000"/>
                <a:gd name="connsiteY3" fmla="*/ 60000 h 150000"/>
                <a:gd name="connsiteX4" fmla="*/ 60000 w 60000"/>
                <a:gd name="connsiteY4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150000">
                  <a:moveTo>
                    <a:pt x="60000" y="0"/>
                  </a:moveTo>
                  <a:lnTo>
                    <a:pt x="60000" y="150000"/>
                  </a:lnTo>
                  <a:lnTo>
                    <a:pt x="0" y="150000"/>
                  </a:lnTo>
                  <a:lnTo>
                    <a:pt x="0" y="60000"/>
                  </a:lnTo>
                  <a:cubicBezTo>
                    <a:pt x="0" y="26863"/>
                    <a:pt x="26863" y="0"/>
                    <a:pt x="60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4" name="Полилиния 1543">
              <a:extLst>
                <a:ext uri="{FF2B5EF4-FFF2-40B4-BE49-F238E27FC236}">
                  <a16:creationId xmlns:a16="http://schemas.microsoft.com/office/drawing/2014/main" id="{8D45359B-B79E-8E46-AEAE-941EF95DC9A9}"/>
                </a:ext>
              </a:extLst>
            </p:cNvPr>
            <p:cNvSpPr/>
            <p:nvPr/>
          </p:nvSpPr>
          <p:spPr>
            <a:xfrm>
              <a:off x="9807245" y="6334256"/>
              <a:ext cx="42276" cy="120000"/>
            </a:xfrm>
            <a:custGeom>
              <a:avLst/>
              <a:gdLst>
                <a:gd name="connsiteX0" fmla="*/ 21138 w 42276"/>
                <a:gd name="connsiteY0" fmla="*/ 0 h 120000"/>
                <a:gd name="connsiteX1" fmla="*/ 21138 w 42276"/>
                <a:gd name="connsiteY1" fmla="*/ 0 h 120000"/>
                <a:gd name="connsiteX2" fmla="*/ 37073 w 42276"/>
                <a:gd name="connsiteY2" fmla="*/ 14972 h 120000"/>
                <a:gd name="connsiteX3" fmla="*/ 42234 w 42276"/>
                <a:gd name="connsiteY3" fmla="*/ 97543 h 120000"/>
                <a:gd name="connsiteX4" fmla="*/ 22456 w 42276"/>
                <a:gd name="connsiteY4" fmla="*/ 119959 h 120000"/>
                <a:gd name="connsiteX5" fmla="*/ 21138 w 42276"/>
                <a:gd name="connsiteY5" fmla="*/ 120000 h 120000"/>
                <a:gd name="connsiteX6" fmla="*/ 21138 w 42276"/>
                <a:gd name="connsiteY6" fmla="*/ 120000 h 120000"/>
                <a:gd name="connsiteX7" fmla="*/ 0 w 42276"/>
                <a:gd name="connsiteY7" fmla="*/ 98862 h 120000"/>
                <a:gd name="connsiteX8" fmla="*/ 41 w 42276"/>
                <a:gd name="connsiteY8" fmla="*/ 97543 h 120000"/>
                <a:gd name="connsiteX9" fmla="*/ 5202 w 42276"/>
                <a:gd name="connsiteY9" fmla="*/ 14972 h 120000"/>
                <a:gd name="connsiteX10" fmla="*/ 21138 w 42276"/>
                <a:gd name="connsiteY10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276" h="120000">
                  <a:moveTo>
                    <a:pt x="21138" y="0"/>
                  </a:moveTo>
                  <a:lnTo>
                    <a:pt x="21138" y="0"/>
                  </a:lnTo>
                  <a:cubicBezTo>
                    <a:pt x="29569" y="0"/>
                    <a:pt x="36547" y="6555"/>
                    <a:pt x="37073" y="14972"/>
                  </a:cubicBezTo>
                  <a:lnTo>
                    <a:pt x="42234" y="97543"/>
                  </a:lnTo>
                  <a:cubicBezTo>
                    <a:pt x="42962" y="109195"/>
                    <a:pt x="34107" y="119231"/>
                    <a:pt x="22456" y="119959"/>
                  </a:cubicBezTo>
                  <a:cubicBezTo>
                    <a:pt x="22017" y="119986"/>
                    <a:pt x="21577" y="120000"/>
                    <a:pt x="21138" y="120000"/>
                  </a:cubicBezTo>
                  <a:lnTo>
                    <a:pt x="21138" y="120000"/>
                  </a:lnTo>
                  <a:cubicBezTo>
                    <a:pt x="9464" y="120000"/>
                    <a:pt x="0" y="110537"/>
                    <a:pt x="0" y="98862"/>
                  </a:cubicBezTo>
                  <a:cubicBezTo>
                    <a:pt x="0" y="98423"/>
                    <a:pt x="14" y="97983"/>
                    <a:pt x="41" y="97543"/>
                  </a:cubicBezTo>
                  <a:lnTo>
                    <a:pt x="5202" y="14972"/>
                  </a:lnTo>
                  <a:cubicBezTo>
                    <a:pt x="5728" y="6555"/>
                    <a:pt x="12706" y="0"/>
                    <a:pt x="21138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5" name="Полилиния 1544">
              <a:extLst>
                <a:ext uri="{FF2B5EF4-FFF2-40B4-BE49-F238E27FC236}">
                  <a16:creationId xmlns:a16="http://schemas.microsoft.com/office/drawing/2014/main" id="{11778160-2F36-B847-BB26-459135467EC3}"/>
                </a:ext>
              </a:extLst>
            </p:cNvPr>
            <p:cNvSpPr/>
            <p:nvPr/>
          </p:nvSpPr>
          <p:spPr>
            <a:xfrm>
              <a:off x="9775883" y="6169256"/>
              <a:ext cx="105000" cy="135000"/>
            </a:xfrm>
            <a:custGeom>
              <a:avLst/>
              <a:gdLst>
                <a:gd name="connsiteX0" fmla="*/ 52500 w 105000"/>
                <a:gd name="connsiteY0" fmla="*/ 135000 h 135000"/>
                <a:gd name="connsiteX1" fmla="*/ 0 w 105000"/>
                <a:gd name="connsiteY1" fmla="*/ 67500 h 135000"/>
                <a:gd name="connsiteX2" fmla="*/ 52500 w 105000"/>
                <a:gd name="connsiteY2" fmla="*/ 0 h 135000"/>
                <a:gd name="connsiteX3" fmla="*/ 105000 w 105000"/>
                <a:gd name="connsiteY3" fmla="*/ 67500 h 135000"/>
                <a:gd name="connsiteX4" fmla="*/ 52500 w 105000"/>
                <a:gd name="connsiteY4" fmla="*/ 135000 h 135000"/>
                <a:gd name="connsiteX5" fmla="*/ 52643 w 105000"/>
                <a:gd name="connsiteY5" fmla="*/ 24015 h 135000"/>
                <a:gd name="connsiteX6" fmla="*/ 53410 w 105000"/>
                <a:gd name="connsiteY6" fmla="*/ 104214 h 135000"/>
                <a:gd name="connsiteX7" fmla="*/ 82163 w 105000"/>
                <a:gd name="connsiteY7" fmla="*/ 73424 h 135000"/>
                <a:gd name="connsiteX8" fmla="*/ 52643 w 105000"/>
                <a:gd name="connsiteY8" fmla="*/ 24015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000" h="135000">
                  <a:moveTo>
                    <a:pt x="52500" y="135000"/>
                  </a:moveTo>
                  <a:cubicBezTo>
                    <a:pt x="23505" y="135000"/>
                    <a:pt x="0" y="96495"/>
                    <a:pt x="0" y="67500"/>
                  </a:cubicBezTo>
                  <a:cubicBezTo>
                    <a:pt x="0" y="38505"/>
                    <a:pt x="23505" y="0"/>
                    <a:pt x="52500" y="0"/>
                  </a:cubicBezTo>
                  <a:cubicBezTo>
                    <a:pt x="81495" y="0"/>
                    <a:pt x="105000" y="38505"/>
                    <a:pt x="105000" y="67500"/>
                  </a:cubicBezTo>
                  <a:cubicBezTo>
                    <a:pt x="105000" y="96495"/>
                    <a:pt x="81495" y="135000"/>
                    <a:pt x="52500" y="135000"/>
                  </a:cubicBezTo>
                  <a:close/>
                  <a:moveTo>
                    <a:pt x="52643" y="24015"/>
                  </a:moveTo>
                  <a:lnTo>
                    <a:pt x="53410" y="104214"/>
                  </a:lnTo>
                  <a:cubicBezTo>
                    <a:pt x="69284" y="102868"/>
                    <a:pt x="81878" y="89697"/>
                    <a:pt x="82163" y="73424"/>
                  </a:cubicBezTo>
                  <a:cubicBezTo>
                    <a:pt x="82459" y="56415"/>
                    <a:pt x="69491" y="25571"/>
                    <a:pt x="52643" y="2401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46" name="Рисунок 359">
            <a:extLst>
              <a:ext uri="{FF2B5EF4-FFF2-40B4-BE49-F238E27FC236}">
                <a16:creationId xmlns:a16="http://schemas.microsoft.com/office/drawing/2014/main" id="{CA2BF06B-0103-044E-BDF4-659043C7BC94}"/>
              </a:ext>
            </a:extLst>
          </p:cNvPr>
          <p:cNvGrpSpPr/>
          <p:nvPr/>
        </p:nvGrpSpPr>
        <p:grpSpPr>
          <a:xfrm>
            <a:off x="10480582" y="5807534"/>
            <a:ext cx="360000" cy="360000"/>
            <a:chOff x="10514035" y="6124256"/>
            <a:chExt cx="360000" cy="360000"/>
          </a:xfrm>
        </p:grpSpPr>
        <p:sp>
          <p:nvSpPr>
            <p:cNvPr id="1547" name="Полилиния 1546">
              <a:extLst>
                <a:ext uri="{FF2B5EF4-FFF2-40B4-BE49-F238E27FC236}">
                  <a16:creationId xmlns:a16="http://schemas.microsoft.com/office/drawing/2014/main" id="{007406EA-D1FE-5249-9126-87A414BD2BF9}"/>
                </a:ext>
              </a:extLst>
            </p:cNvPr>
            <p:cNvSpPr/>
            <p:nvPr/>
          </p:nvSpPr>
          <p:spPr>
            <a:xfrm>
              <a:off x="1051403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48" name="Полилиния 1547">
              <a:extLst>
                <a:ext uri="{FF2B5EF4-FFF2-40B4-BE49-F238E27FC236}">
                  <a16:creationId xmlns:a16="http://schemas.microsoft.com/office/drawing/2014/main" id="{E1A14197-55DB-1743-9295-48D481243325}"/>
                </a:ext>
              </a:extLst>
            </p:cNvPr>
            <p:cNvSpPr/>
            <p:nvPr/>
          </p:nvSpPr>
          <p:spPr>
            <a:xfrm rot="10800000" flipV="1">
              <a:off x="10574035" y="6198057"/>
              <a:ext cx="264858" cy="225288"/>
            </a:xfrm>
            <a:custGeom>
              <a:avLst/>
              <a:gdLst>
                <a:gd name="connsiteX0" fmla="*/ 129859 w 264858"/>
                <a:gd name="connsiteY0" fmla="*/ 76198 h 225288"/>
                <a:gd name="connsiteX1" fmla="*/ 129859 w 264858"/>
                <a:gd name="connsiteY1" fmla="*/ 11250 h 225288"/>
                <a:gd name="connsiteX2" fmla="*/ 118609 w 264858"/>
                <a:gd name="connsiteY2" fmla="*/ 0 h 225288"/>
                <a:gd name="connsiteX3" fmla="*/ 111134 w 264858"/>
                <a:gd name="connsiteY3" fmla="*/ 2842 h 225288"/>
                <a:gd name="connsiteX4" fmla="*/ 3776 w 264858"/>
                <a:gd name="connsiteY4" fmla="*/ 98272 h 225288"/>
                <a:gd name="connsiteX5" fmla="*/ 2842 w 264858"/>
                <a:gd name="connsiteY5" fmla="*/ 114154 h 225288"/>
                <a:gd name="connsiteX6" fmla="*/ 3295 w 264858"/>
                <a:gd name="connsiteY6" fmla="*/ 114634 h 225288"/>
                <a:gd name="connsiteX7" fmla="*/ 110654 w 264858"/>
                <a:gd name="connsiteY7" fmla="*/ 221994 h 225288"/>
                <a:gd name="connsiteX8" fmla="*/ 126563 w 264858"/>
                <a:gd name="connsiteY8" fmla="*/ 221994 h 225288"/>
                <a:gd name="connsiteX9" fmla="*/ 129859 w 264858"/>
                <a:gd name="connsiteY9" fmla="*/ 214038 h 225288"/>
                <a:gd name="connsiteX10" fmla="*/ 129859 w 264858"/>
                <a:gd name="connsiteY10" fmla="*/ 151198 h 225288"/>
                <a:gd name="connsiteX11" fmla="*/ 257228 w 264858"/>
                <a:gd name="connsiteY11" fmla="*/ 151062 h 225288"/>
                <a:gd name="connsiteX12" fmla="*/ 257228 w 264858"/>
                <a:gd name="connsiteY12" fmla="*/ 151062 h 225288"/>
                <a:gd name="connsiteX13" fmla="*/ 264857 w 264858"/>
                <a:gd name="connsiteY13" fmla="*/ 143694 h 225288"/>
                <a:gd name="connsiteX14" fmla="*/ 264859 w 264858"/>
                <a:gd name="connsiteY14" fmla="*/ 143563 h 225288"/>
                <a:gd name="connsiteX15" fmla="*/ 264859 w 264858"/>
                <a:gd name="connsiteY15" fmla="*/ 83773 h 225288"/>
                <a:gd name="connsiteX16" fmla="*/ 257359 w 264858"/>
                <a:gd name="connsiteY16" fmla="*/ 76273 h 225288"/>
                <a:gd name="connsiteX17" fmla="*/ 257285 w 264858"/>
                <a:gd name="connsiteY17" fmla="*/ 76273 h 225288"/>
                <a:gd name="connsiteX18" fmla="*/ 129859 w 264858"/>
                <a:gd name="connsiteY18" fmla="*/ 76198 h 225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4858" h="225288">
                  <a:moveTo>
                    <a:pt x="129859" y="76198"/>
                  </a:moveTo>
                  <a:lnTo>
                    <a:pt x="129859" y="11250"/>
                  </a:lnTo>
                  <a:cubicBezTo>
                    <a:pt x="129859" y="5037"/>
                    <a:pt x="124822" y="0"/>
                    <a:pt x="118609" y="0"/>
                  </a:cubicBezTo>
                  <a:cubicBezTo>
                    <a:pt x="115853" y="0"/>
                    <a:pt x="113194" y="1011"/>
                    <a:pt x="111134" y="2842"/>
                  </a:cubicBezTo>
                  <a:lnTo>
                    <a:pt x="3776" y="98272"/>
                  </a:lnTo>
                  <a:cubicBezTo>
                    <a:pt x="-868" y="102399"/>
                    <a:pt x="-1286" y="109510"/>
                    <a:pt x="2842" y="114154"/>
                  </a:cubicBezTo>
                  <a:cubicBezTo>
                    <a:pt x="2988" y="114319"/>
                    <a:pt x="3139" y="114480"/>
                    <a:pt x="3295" y="114634"/>
                  </a:cubicBezTo>
                  <a:lnTo>
                    <a:pt x="110654" y="221994"/>
                  </a:lnTo>
                  <a:cubicBezTo>
                    <a:pt x="115046" y="226387"/>
                    <a:pt x="122170" y="226387"/>
                    <a:pt x="126563" y="221994"/>
                  </a:cubicBezTo>
                  <a:cubicBezTo>
                    <a:pt x="128674" y="219883"/>
                    <a:pt x="129859" y="217023"/>
                    <a:pt x="129859" y="214038"/>
                  </a:cubicBezTo>
                  <a:lnTo>
                    <a:pt x="129859" y="151198"/>
                  </a:lnTo>
                  <a:cubicBezTo>
                    <a:pt x="150067" y="149980"/>
                    <a:pt x="192523" y="149935"/>
                    <a:pt x="257228" y="151062"/>
                  </a:cubicBezTo>
                  <a:lnTo>
                    <a:pt x="257228" y="151062"/>
                  </a:lnTo>
                  <a:cubicBezTo>
                    <a:pt x="261370" y="151134"/>
                    <a:pt x="264785" y="147835"/>
                    <a:pt x="264857" y="143694"/>
                  </a:cubicBezTo>
                  <a:cubicBezTo>
                    <a:pt x="264859" y="143650"/>
                    <a:pt x="264859" y="143607"/>
                    <a:pt x="264859" y="143563"/>
                  </a:cubicBezTo>
                  <a:lnTo>
                    <a:pt x="264859" y="83773"/>
                  </a:lnTo>
                  <a:cubicBezTo>
                    <a:pt x="264859" y="79630"/>
                    <a:pt x="261502" y="76273"/>
                    <a:pt x="257359" y="76273"/>
                  </a:cubicBezTo>
                  <a:cubicBezTo>
                    <a:pt x="257335" y="76273"/>
                    <a:pt x="257309" y="76273"/>
                    <a:pt x="257285" y="76273"/>
                  </a:cubicBezTo>
                  <a:cubicBezTo>
                    <a:pt x="180325" y="77020"/>
                    <a:pt x="137848" y="76995"/>
                    <a:pt x="129859" y="76198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49" name="Рисунок 360">
            <a:extLst>
              <a:ext uri="{FF2B5EF4-FFF2-40B4-BE49-F238E27FC236}">
                <a16:creationId xmlns:a16="http://schemas.microsoft.com/office/drawing/2014/main" id="{FFB363D9-E791-C24F-8827-882851935BEA}"/>
              </a:ext>
            </a:extLst>
          </p:cNvPr>
          <p:cNvGrpSpPr/>
          <p:nvPr/>
        </p:nvGrpSpPr>
        <p:grpSpPr>
          <a:xfrm>
            <a:off x="689606" y="5807534"/>
            <a:ext cx="360000" cy="360000"/>
            <a:chOff x="723059" y="6124256"/>
            <a:chExt cx="360000" cy="360000"/>
          </a:xfrm>
        </p:grpSpPr>
        <p:sp>
          <p:nvSpPr>
            <p:cNvPr id="1550" name="Полилиния 1549">
              <a:extLst>
                <a:ext uri="{FF2B5EF4-FFF2-40B4-BE49-F238E27FC236}">
                  <a16:creationId xmlns:a16="http://schemas.microsoft.com/office/drawing/2014/main" id="{AE8B2E6F-E935-E74D-9780-C51BCB95A62D}"/>
                </a:ext>
              </a:extLst>
            </p:cNvPr>
            <p:cNvSpPr/>
            <p:nvPr/>
          </p:nvSpPr>
          <p:spPr>
            <a:xfrm>
              <a:off x="72305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1" name="Полилиния 1550">
              <a:extLst>
                <a:ext uri="{FF2B5EF4-FFF2-40B4-BE49-F238E27FC236}">
                  <a16:creationId xmlns:a16="http://schemas.microsoft.com/office/drawing/2014/main" id="{C80BB3DD-2FF9-B94D-A4C9-7F6004CF9DEC}"/>
                </a:ext>
              </a:extLst>
            </p:cNvPr>
            <p:cNvSpPr/>
            <p:nvPr/>
          </p:nvSpPr>
          <p:spPr>
            <a:xfrm>
              <a:off x="888059" y="6169256"/>
              <a:ext cx="150000" cy="255000"/>
            </a:xfrm>
            <a:custGeom>
              <a:avLst/>
              <a:gdLst>
                <a:gd name="connsiteX0" fmla="*/ 83144 w 150000"/>
                <a:gd name="connsiteY0" fmla="*/ 216857 h 255000"/>
                <a:gd name="connsiteX1" fmla="*/ 0 w 150000"/>
                <a:gd name="connsiteY1" fmla="*/ 133713 h 255000"/>
                <a:gd name="connsiteX2" fmla="*/ 0 w 150000"/>
                <a:gd name="connsiteY2" fmla="*/ 15000 h 255000"/>
                <a:gd name="connsiteX3" fmla="*/ 15000 w 150000"/>
                <a:gd name="connsiteY3" fmla="*/ 0 h 255000"/>
                <a:gd name="connsiteX4" fmla="*/ 30000 w 150000"/>
                <a:gd name="connsiteY4" fmla="*/ 15000 h 255000"/>
                <a:gd name="connsiteX5" fmla="*/ 30000 w 150000"/>
                <a:gd name="connsiteY5" fmla="*/ 121287 h 255000"/>
                <a:gd name="connsiteX6" fmla="*/ 104357 w 150000"/>
                <a:gd name="connsiteY6" fmla="*/ 195644 h 255000"/>
                <a:gd name="connsiteX7" fmla="*/ 137196 w 150000"/>
                <a:gd name="connsiteY7" fmla="*/ 162804 h 255000"/>
                <a:gd name="connsiteX8" fmla="*/ 147804 w 150000"/>
                <a:gd name="connsiteY8" fmla="*/ 162804 h 255000"/>
                <a:gd name="connsiteX9" fmla="*/ 150000 w 150000"/>
                <a:gd name="connsiteY9" fmla="*/ 168107 h 255000"/>
                <a:gd name="connsiteX10" fmla="*/ 150000 w 150000"/>
                <a:gd name="connsiteY10" fmla="*/ 247500 h 255000"/>
                <a:gd name="connsiteX11" fmla="*/ 142500 w 150000"/>
                <a:gd name="connsiteY11" fmla="*/ 255000 h 255000"/>
                <a:gd name="connsiteX12" fmla="*/ 63107 w 150000"/>
                <a:gd name="connsiteY12" fmla="*/ 255000 h 255000"/>
                <a:gd name="connsiteX13" fmla="*/ 55607 w 150000"/>
                <a:gd name="connsiteY13" fmla="*/ 247500 h 255000"/>
                <a:gd name="connsiteX14" fmla="*/ 57804 w 150000"/>
                <a:gd name="connsiteY14" fmla="*/ 242196 h 255000"/>
                <a:gd name="connsiteX15" fmla="*/ 83144 w 150000"/>
                <a:gd name="connsiteY15" fmla="*/ 216857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0000" h="255000">
                  <a:moveTo>
                    <a:pt x="83144" y="216857"/>
                  </a:moveTo>
                  <a:lnTo>
                    <a:pt x="0" y="133713"/>
                  </a:lnTo>
                  <a:lnTo>
                    <a:pt x="0" y="15000"/>
                  </a:lnTo>
                  <a:cubicBezTo>
                    <a:pt x="0" y="6716"/>
                    <a:pt x="6715" y="0"/>
                    <a:pt x="15000" y="0"/>
                  </a:cubicBezTo>
                  <a:cubicBezTo>
                    <a:pt x="23285" y="0"/>
                    <a:pt x="30000" y="6716"/>
                    <a:pt x="30000" y="15000"/>
                  </a:cubicBezTo>
                  <a:lnTo>
                    <a:pt x="30000" y="121287"/>
                  </a:lnTo>
                  <a:lnTo>
                    <a:pt x="104357" y="195644"/>
                  </a:lnTo>
                  <a:lnTo>
                    <a:pt x="137196" y="162804"/>
                  </a:lnTo>
                  <a:cubicBezTo>
                    <a:pt x="140126" y="159875"/>
                    <a:pt x="144875" y="159875"/>
                    <a:pt x="147804" y="162804"/>
                  </a:cubicBezTo>
                  <a:cubicBezTo>
                    <a:pt x="149210" y="164210"/>
                    <a:pt x="150000" y="166118"/>
                    <a:pt x="150000" y="168107"/>
                  </a:cubicBezTo>
                  <a:lnTo>
                    <a:pt x="150000" y="247500"/>
                  </a:lnTo>
                  <a:cubicBezTo>
                    <a:pt x="150000" y="251642"/>
                    <a:pt x="146642" y="255000"/>
                    <a:pt x="142500" y="255000"/>
                  </a:cubicBezTo>
                  <a:lnTo>
                    <a:pt x="63107" y="255000"/>
                  </a:lnTo>
                  <a:cubicBezTo>
                    <a:pt x="58965" y="255000"/>
                    <a:pt x="55607" y="251642"/>
                    <a:pt x="55607" y="247500"/>
                  </a:cubicBezTo>
                  <a:cubicBezTo>
                    <a:pt x="55607" y="245511"/>
                    <a:pt x="56397" y="243603"/>
                    <a:pt x="57804" y="242196"/>
                  </a:cubicBezTo>
                  <a:lnTo>
                    <a:pt x="83144" y="21685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2" name="Полилиния 1551">
              <a:extLst>
                <a:ext uri="{FF2B5EF4-FFF2-40B4-BE49-F238E27FC236}">
                  <a16:creationId xmlns:a16="http://schemas.microsoft.com/office/drawing/2014/main" id="{88278DC7-51DB-2746-94A0-DEECC24A2C4D}"/>
                </a:ext>
              </a:extLst>
            </p:cNvPr>
            <p:cNvSpPr/>
            <p:nvPr/>
          </p:nvSpPr>
          <p:spPr>
            <a:xfrm>
              <a:off x="768492" y="6321704"/>
              <a:ext cx="106754" cy="102551"/>
            </a:xfrm>
            <a:custGeom>
              <a:avLst/>
              <a:gdLst>
                <a:gd name="connsiteX0" fmla="*/ 63238 w 106754"/>
                <a:gd name="connsiteY0" fmla="*/ 59724 h 102551"/>
                <a:gd name="connsiteX1" fmla="*/ 93263 w 106754"/>
                <a:gd name="connsiteY1" fmla="*/ 89748 h 102551"/>
                <a:gd name="connsiteX2" fmla="*/ 95459 w 106754"/>
                <a:gd name="connsiteY2" fmla="*/ 95052 h 102551"/>
                <a:gd name="connsiteX3" fmla="*/ 87959 w 106754"/>
                <a:gd name="connsiteY3" fmla="*/ 102552 h 102551"/>
                <a:gd name="connsiteX4" fmla="*/ 7500 w 106754"/>
                <a:gd name="connsiteY4" fmla="*/ 102552 h 102551"/>
                <a:gd name="connsiteX5" fmla="*/ 0 w 106754"/>
                <a:gd name="connsiteY5" fmla="*/ 95052 h 102551"/>
                <a:gd name="connsiteX6" fmla="*/ 0 w 106754"/>
                <a:gd name="connsiteY6" fmla="*/ 14592 h 102551"/>
                <a:gd name="connsiteX7" fmla="*/ 2197 w 106754"/>
                <a:gd name="connsiteY7" fmla="*/ 9289 h 102551"/>
                <a:gd name="connsiteX8" fmla="*/ 12803 w 106754"/>
                <a:gd name="connsiteY8" fmla="*/ 9289 h 102551"/>
                <a:gd name="connsiteX9" fmla="*/ 41951 w 106754"/>
                <a:gd name="connsiteY9" fmla="*/ 38438 h 102551"/>
                <a:gd name="connsiteX10" fmla="*/ 87377 w 106754"/>
                <a:gd name="connsiteY10" fmla="*/ 0 h 102551"/>
                <a:gd name="connsiteX11" fmla="*/ 106755 w 106754"/>
                <a:gd name="connsiteY11" fmla="*/ 22902 h 102551"/>
                <a:gd name="connsiteX12" fmla="*/ 63238 w 106754"/>
                <a:gd name="connsiteY12" fmla="*/ 59724 h 102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6754" h="102551">
                  <a:moveTo>
                    <a:pt x="63238" y="59724"/>
                  </a:moveTo>
                  <a:lnTo>
                    <a:pt x="93263" y="89748"/>
                  </a:lnTo>
                  <a:cubicBezTo>
                    <a:pt x="94669" y="91155"/>
                    <a:pt x="95459" y="93063"/>
                    <a:pt x="95459" y="95052"/>
                  </a:cubicBezTo>
                  <a:cubicBezTo>
                    <a:pt x="95459" y="99194"/>
                    <a:pt x="92102" y="102552"/>
                    <a:pt x="87959" y="102552"/>
                  </a:cubicBezTo>
                  <a:lnTo>
                    <a:pt x="7500" y="102552"/>
                  </a:lnTo>
                  <a:cubicBezTo>
                    <a:pt x="3358" y="102552"/>
                    <a:pt x="0" y="99194"/>
                    <a:pt x="0" y="95052"/>
                  </a:cubicBezTo>
                  <a:lnTo>
                    <a:pt x="0" y="14592"/>
                  </a:lnTo>
                  <a:cubicBezTo>
                    <a:pt x="0" y="12603"/>
                    <a:pt x="790" y="10696"/>
                    <a:pt x="2197" y="9289"/>
                  </a:cubicBezTo>
                  <a:cubicBezTo>
                    <a:pt x="5126" y="6360"/>
                    <a:pt x="9874" y="6360"/>
                    <a:pt x="12803" y="9289"/>
                  </a:cubicBezTo>
                  <a:lnTo>
                    <a:pt x="41951" y="38438"/>
                  </a:lnTo>
                  <a:lnTo>
                    <a:pt x="87377" y="0"/>
                  </a:lnTo>
                  <a:lnTo>
                    <a:pt x="106755" y="22902"/>
                  </a:lnTo>
                  <a:lnTo>
                    <a:pt x="63238" y="59724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53" name="Рисунок 361">
            <a:extLst>
              <a:ext uri="{FF2B5EF4-FFF2-40B4-BE49-F238E27FC236}">
                <a16:creationId xmlns:a16="http://schemas.microsoft.com/office/drawing/2014/main" id="{60838E58-BFBA-1E4D-AC22-271FAAADF8BE}"/>
              </a:ext>
            </a:extLst>
          </p:cNvPr>
          <p:cNvGrpSpPr/>
          <p:nvPr/>
        </p:nvGrpSpPr>
        <p:grpSpPr>
          <a:xfrm>
            <a:off x="11233735" y="5807534"/>
            <a:ext cx="360000" cy="360000"/>
            <a:chOff x="11267188" y="6124256"/>
            <a:chExt cx="360000" cy="360000"/>
          </a:xfrm>
        </p:grpSpPr>
        <p:sp>
          <p:nvSpPr>
            <p:cNvPr id="1554" name="Полилиния 1553">
              <a:extLst>
                <a:ext uri="{FF2B5EF4-FFF2-40B4-BE49-F238E27FC236}">
                  <a16:creationId xmlns:a16="http://schemas.microsoft.com/office/drawing/2014/main" id="{10F557AA-1F8C-3C45-8A9E-B26F66B81CB3}"/>
                </a:ext>
              </a:extLst>
            </p:cNvPr>
            <p:cNvSpPr/>
            <p:nvPr/>
          </p:nvSpPr>
          <p:spPr>
            <a:xfrm>
              <a:off x="11267188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55" name="Полилиния 1554">
              <a:extLst>
                <a:ext uri="{FF2B5EF4-FFF2-40B4-BE49-F238E27FC236}">
                  <a16:creationId xmlns:a16="http://schemas.microsoft.com/office/drawing/2014/main" id="{FB473508-867E-EC4C-B5CF-DD7D801BB897}"/>
                </a:ext>
              </a:extLst>
            </p:cNvPr>
            <p:cNvSpPr/>
            <p:nvPr/>
          </p:nvSpPr>
          <p:spPr>
            <a:xfrm>
              <a:off x="11342188" y="6139256"/>
              <a:ext cx="210000" cy="330000"/>
            </a:xfrm>
            <a:custGeom>
              <a:avLst/>
              <a:gdLst>
                <a:gd name="connsiteX0" fmla="*/ 30000 w 210000"/>
                <a:gd name="connsiteY0" fmla="*/ 135000 h 330000"/>
                <a:gd name="connsiteX1" fmla="*/ 30000 w 210000"/>
                <a:gd name="connsiteY1" fmla="*/ 225000 h 330000"/>
                <a:gd name="connsiteX2" fmla="*/ 45000 w 210000"/>
                <a:gd name="connsiteY2" fmla="*/ 240000 h 330000"/>
                <a:gd name="connsiteX3" fmla="*/ 60000 w 210000"/>
                <a:gd name="connsiteY3" fmla="*/ 225000 h 330000"/>
                <a:gd name="connsiteX4" fmla="*/ 60000 w 210000"/>
                <a:gd name="connsiteY4" fmla="*/ 135000 h 330000"/>
                <a:gd name="connsiteX5" fmla="*/ 210000 w 210000"/>
                <a:gd name="connsiteY5" fmla="*/ 135000 h 330000"/>
                <a:gd name="connsiteX6" fmla="*/ 210000 w 210000"/>
                <a:gd name="connsiteY6" fmla="*/ 315000 h 330000"/>
                <a:gd name="connsiteX7" fmla="*/ 195000 w 210000"/>
                <a:gd name="connsiteY7" fmla="*/ 330000 h 330000"/>
                <a:gd name="connsiteX8" fmla="*/ 15000 w 210000"/>
                <a:gd name="connsiteY8" fmla="*/ 330000 h 330000"/>
                <a:gd name="connsiteX9" fmla="*/ 0 w 210000"/>
                <a:gd name="connsiteY9" fmla="*/ 315000 h 330000"/>
                <a:gd name="connsiteX10" fmla="*/ 0 w 210000"/>
                <a:gd name="connsiteY10" fmla="*/ 135000 h 330000"/>
                <a:gd name="connsiteX11" fmla="*/ 30000 w 210000"/>
                <a:gd name="connsiteY11" fmla="*/ 135000 h 330000"/>
                <a:gd name="connsiteX12" fmla="*/ 30000 w 210000"/>
                <a:gd name="connsiteY12" fmla="*/ 105000 h 330000"/>
                <a:gd name="connsiteX13" fmla="*/ 0 w 210000"/>
                <a:gd name="connsiteY13" fmla="*/ 105000 h 330000"/>
                <a:gd name="connsiteX14" fmla="*/ 0 w 210000"/>
                <a:gd name="connsiteY14" fmla="*/ 15000 h 330000"/>
                <a:gd name="connsiteX15" fmla="*/ 15000 w 210000"/>
                <a:gd name="connsiteY15" fmla="*/ 0 h 330000"/>
                <a:gd name="connsiteX16" fmla="*/ 195000 w 210000"/>
                <a:gd name="connsiteY16" fmla="*/ 0 h 330000"/>
                <a:gd name="connsiteX17" fmla="*/ 210000 w 210000"/>
                <a:gd name="connsiteY17" fmla="*/ 15000 h 330000"/>
                <a:gd name="connsiteX18" fmla="*/ 210000 w 210000"/>
                <a:gd name="connsiteY18" fmla="*/ 105000 h 330000"/>
                <a:gd name="connsiteX19" fmla="*/ 60000 w 210000"/>
                <a:gd name="connsiteY19" fmla="*/ 105000 h 330000"/>
                <a:gd name="connsiteX20" fmla="*/ 60000 w 210000"/>
                <a:gd name="connsiteY20" fmla="*/ 60000 h 330000"/>
                <a:gd name="connsiteX21" fmla="*/ 45000 w 210000"/>
                <a:gd name="connsiteY21" fmla="*/ 45000 h 330000"/>
                <a:gd name="connsiteX22" fmla="*/ 30000 w 210000"/>
                <a:gd name="connsiteY22" fmla="*/ 60000 h 330000"/>
                <a:gd name="connsiteX23" fmla="*/ 30000 w 210000"/>
                <a:gd name="connsiteY23" fmla="*/ 105000 h 3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0000" h="330000">
                  <a:moveTo>
                    <a:pt x="30000" y="135000"/>
                  </a:moveTo>
                  <a:lnTo>
                    <a:pt x="30000" y="225000"/>
                  </a:lnTo>
                  <a:cubicBezTo>
                    <a:pt x="30000" y="233285"/>
                    <a:pt x="36716" y="240000"/>
                    <a:pt x="45000" y="240000"/>
                  </a:cubicBezTo>
                  <a:cubicBezTo>
                    <a:pt x="53284" y="240000"/>
                    <a:pt x="60000" y="233285"/>
                    <a:pt x="60000" y="225000"/>
                  </a:cubicBezTo>
                  <a:lnTo>
                    <a:pt x="60000" y="135000"/>
                  </a:lnTo>
                  <a:lnTo>
                    <a:pt x="210000" y="135000"/>
                  </a:lnTo>
                  <a:lnTo>
                    <a:pt x="210000" y="315000"/>
                  </a:lnTo>
                  <a:cubicBezTo>
                    <a:pt x="210000" y="323285"/>
                    <a:pt x="203285" y="330000"/>
                    <a:pt x="195000" y="330000"/>
                  </a:cubicBezTo>
                  <a:lnTo>
                    <a:pt x="15000" y="330000"/>
                  </a:lnTo>
                  <a:cubicBezTo>
                    <a:pt x="6716" y="330000"/>
                    <a:pt x="0" y="323285"/>
                    <a:pt x="0" y="315000"/>
                  </a:cubicBezTo>
                  <a:lnTo>
                    <a:pt x="0" y="135000"/>
                  </a:lnTo>
                  <a:lnTo>
                    <a:pt x="30000" y="135000"/>
                  </a:lnTo>
                  <a:close/>
                  <a:moveTo>
                    <a:pt x="30000" y="105000"/>
                  </a:moveTo>
                  <a:lnTo>
                    <a:pt x="0" y="105000"/>
                  </a:ln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195000" y="0"/>
                  </a:lnTo>
                  <a:cubicBezTo>
                    <a:pt x="203285" y="0"/>
                    <a:pt x="210000" y="6716"/>
                    <a:pt x="210000" y="15000"/>
                  </a:cubicBezTo>
                  <a:lnTo>
                    <a:pt x="210000" y="105000"/>
                  </a:lnTo>
                  <a:lnTo>
                    <a:pt x="60000" y="105000"/>
                  </a:lnTo>
                  <a:lnTo>
                    <a:pt x="60000" y="60000"/>
                  </a:lnTo>
                  <a:cubicBezTo>
                    <a:pt x="60000" y="51716"/>
                    <a:pt x="53284" y="45000"/>
                    <a:pt x="45000" y="45000"/>
                  </a:cubicBezTo>
                  <a:cubicBezTo>
                    <a:pt x="36716" y="45000"/>
                    <a:pt x="30000" y="51716"/>
                    <a:pt x="30000" y="60000"/>
                  </a:cubicBezTo>
                  <a:lnTo>
                    <a:pt x="30000" y="10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556" name="Рисунок 332">
            <a:extLst>
              <a:ext uri="{FF2B5EF4-FFF2-40B4-BE49-F238E27FC236}">
                <a16:creationId xmlns:a16="http://schemas.microsoft.com/office/drawing/2014/main" id="{5A0D2052-92A5-834A-A4BE-7E254DCA32AD}"/>
              </a:ext>
            </a:extLst>
          </p:cNvPr>
          <p:cNvSpPr/>
          <p:nvPr/>
        </p:nvSpPr>
        <p:spPr>
          <a:xfrm>
            <a:off x="8273201" y="1141153"/>
            <a:ext cx="240000" cy="255000"/>
          </a:xfrm>
          <a:custGeom>
            <a:avLst/>
            <a:gdLst>
              <a:gd name="connsiteX0" fmla="*/ 45000 w 240000"/>
              <a:gd name="connsiteY0" fmla="*/ 105000 h 255000"/>
              <a:gd name="connsiteX1" fmla="*/ 45000 w 240000"/>
              <a:gd name="connsiteY1" fmla="*/ 75000 h 255000"/>
              <a:gd name="connsiteX2" fmla="*/ 120000 w 240000"/>
              <a:gd name="connsiteY2" fmla="*/ 0 h 255000"/>
              <a:gd name="connsiteX3" fmla="*/ 195000 w 240000"/>
              <a:gd name="connsiteY3" fmla="*/ 75000 h 255000"/>
              <a:gd name="connsiteX4" fmla="*/ 195000 w 240000"/>
              <a:gd name="connsiteY4" fmla="*/ 105000 h 255000"/>
              <a:gd name="connsiteX5" fmla="*/ 210000 w 240000"/>
              <a:gd name="connsiteY5" fmla="*/ 105000 h 255000"/>
              <a:gd name="connsiteX6" fmla="*/ 240000 w 240000"/>
              <a:gd name="connsiteY6" fmla="*/ 135000 h 255000"/>
              <a:gd name="connsiteX7" fmla="*/ 240000 w 240000"/>
              <a:gd name="connsiteY7" fmla="*/ 225000 h 255000"/>
              <a:gd name="connsiteX8" fmla="*/ 210000 w 240000"/>
              <a:gd name="connsiteY8" fmla="*/ 255000 h 255000"/>
              <a:gd name="connsiteX9" fmla="*/ 30000 w 240000"/>
              <a:gd name="connsiteY9" fmla="*/ 255000 h 255000"/>
              <a:gd name="connsiteX10" fmla="*/ 0 w 240000"/>
              <a:gd name="connsiteY10" fmla="*/ 225000 h 255000"/>
              <a:gd name="connsiteX11" fmla="*/ 0 w 240000"/>
              <a:gd name="connsiteY11" fmla="*/ 135000 h 255000"/>
              <a:gd name="connsiteX12" fmla="*/ 30000 w 240000"/>
              <a:gd name="connsiteY12" fmla="*/ 105000 h 255000"/>
              <a:gd name="connsiteX13" fmla="*/ 45000 w 240000"/>
              <a:gd name="connsiteY13" fmla="*/ 105000 h 255000"/>
              <a:gd name="connsiteX14" fmla="*/ 120000 w 240000"/>
              <a:gd name="connsiteY14" fmla="*/ 30000 h 255000"/>
              <a:gd name="connsiteX15" fmla="*/ 75000 w 240000"/>
              <a:gd name="connsiteY15" fmla="*/ 75000 h 255000"/>
              <a:gd name="connsiteX16" fmla="*/ 75000 w 240000"/>
              <a:gd name="connsiteY16" fmla="*/ 105000 h 255000"/>
              <a:gd name="connsiteX17" fmla="*/ 165000 w 240000"/>
              <a:gd name="connsiteY17" fmla="*/ 105000 h 255000"/>
              <a:gd name="connsiteX18" fmla="*/ 165000 w 240000"/>
              <a:gd name="connsiteY18" fmla="*/ 75000 h 255000"/>
              <a:gd name="connsiteX19" fmla="*/ 120000 w 240000"/>
              <a:gd name="connsiteY19" fmla="*/ 30000 h 25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40000" h="255000">
                <a:moveTo>
                  <a:pt x="45000" y="105000"/>
                </a:moveTo>
                <a:lnTo>
                  <a:pt x="45000" y="75000"/>
                </a:lnTo>
                <a:cubicBezTo>
                  <a:pt x="45000" y="33579"/>
                  <a:pt x="78579" y="0"/>
                  <a:pt x="120000" y="0"/>
                </a:cubicBezTo>
                <a:cubicBezTo>
                  <a:pt x="161421" y="0"/>
                  <a:pt x="195000" y="33579"/>
                  <a:pt x="195000" y="75000"/>
                </a:cubicBezTo>
                <a:lnTo>
                  <a:pt x="195000" y="105000"/>
                </a:lnTo>
                <a:lnTo>
                  <a:pt x="210000" y="105000"/>
                </a:lnTo>
                <a:cubicBezTo>
                  <a:pt x="226569" y="105000"/>
                  <a:pt x="240000" y="118431"/>
                  <a:pt x="240000" y="135000"/>
                </a:cubicBezTo>
                <a:lnTo>
                  <a:pt x="240000" y="225000"/>
                </a:lnTo>
                <a:cubicBezTo>
                  <a:pt x="240000" y="241569"/>
                  <a:pt x="226569" y="255000"/>
                  <a:pt x="210000" y="255000"/>
                </a:cubicBezTo>
                <a:lnTo>
                  <a:pt x="30000" y="255000"/>
                </a:lnTo>
                <a:cubicBezTo>
                  <a:pt x="13431" y="255000"/>
                  <a:pt x="0" y="241569"/>
                  <a:pt x="0" y="225000"/>
                </a:cubicBezTo>
                <a:lnTo>
                  <a:pt x="0" y="135000"/>
                </a:lnTo>
                <a:cubicBezTo>
                  <a:pt x="0" y="118431"/>
                  <a:pt x="13431" y="105000"/>
                  <a:pt x="30000" y="105000"/>
                </a:cubicBezTo>
                <a:lnTo>
                  <a:pt x="45000" y="105000"/>
                </a:lnTo>
                <a:close/>
                <a:moveTo>
                  <a:pt x="120000" y="30000"/>
                </a:moveTo>
                <a:cubicBezTo>
                  <a:pt x="95146" y="30000"/>
                  <a:pt x="75000" y="50147"/>
                  <a:pt x="75000" y="75000"/>
                </a:cubicBezTo>
                <a:lnTo>
                  <a:pt x="75000" y="105000"/>
                </a:lnTo>
                <a:lnTo>
                  <a:pt x="165000" y="105000"/>
                </a:lnTo>
                <a:lnTo>
                  <a:pt x="165000" y="75000"/>
                </a:lnTo>
                <a:cubicBezTo>
                  <a:pt x="165000" y="50147"/>
                  <a:pt x="144854" y="30000"/>
                  <a:pt x="120000" y="30000"/>
                </a:cubicBezTo>
                <a:close/>
              </a:path>
            </a:pathLst>
          </a:custGeom>
          <a:solidFill>
            <a:schemeClr val="accent2"/>
          </a:solidFill>
          <a:ln w="1468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97" name="Номер слайда 1">
            <a:extLst>
              <a:ext uri="{FF2B5EF4-FFF2-40B4-BE49-F238E27FC236}">
                <a16:creationId xmlns:a16="http://schemas.microsoft.com/office/drawing/2014/main" id="{D05071E4-B783-F64B-AB0E-F454A3E66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1515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литые иконки</a:t>
            </a:r>
          </a:p>
        </p:txBody>
      </p:sp>
      <p:grpSp>
        <p:nvGrpSpPr>
          <p:cNvPr id="497" name="Рисунок 122">
            <a:extLst>
              <a:ext uri="{FF2B5EF4-FFF2-40B4-BE49-F238E27FC236}">
                <a16:creationId xmlns:a16="http://schemas.microsoft.com/office/drawing/2014/main" id="{7029C6C6-0B88-564D-A65C-F55E47661EF7}"/>
              </a:ext>
            </a:extLst>
          </p:cNvPr>
          <p:cNvGrpSpPr/>
          <p:nvPr/>
        </p:nvGrpSpPr>
        <p:grpSpPr>
          <a:xfrm>
            <a:off x="11233735" y="5132243"/>
            <a:ext cx="360000" cy="360000"/>
            <a:chOff x="11267188" y="5451199"/>
            <a:chExt cx="360000" cy="360000"/>
          </a:xfrm>
        </p:grpSpPr>
        <p:sp>
          <p:nvSpPr>
            <p:cNvPr id="498" name="Полилиния 497">
              <a:extLst>
                <a:ext uri="{FF2B5EF4-FFF2-40B4-BE49-F238E27FC236}">
                  <a16:creationId xmlns:a16="http://schemas.microsoft.com/office/drawing/2014/main" id="{DFD10D62-BA41-764B-A3BE-2F3B3D5FD958}"/>
                </a:ext>
              </a:extLst>
            </p:cNvPr>
            <p:cNvSpPr/>
            <p:nvPr/>
          </p:nvSpPr>
          <p:spPr>
            <a:xfrm>
              <a:off x="11267188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9" name="Полилиния 498">
              <a:extLst>
                <a:ext uri="{FF2B5EF4-FFF2-40B4-BE49-F238E27FC236}">
                  <a16:creationId xmlns:a16="http://schemas.microsoft.com/office/drawing/2014/main" id="{5DA31789-A9AC-A344-BE83-5141B237710B}"/>
                </a:ext>
              </a:extLst>
            </p:cNvPr>
            <p:cNvSpPr/>
            <p:nvPr/>
          </p:nvSpPr>
          <p:spPr>
            <a:xfrm>
              <a:off x="11327188" y="5496199"/>
              <a:ext cx="240000" cy="270000"/>
            </a:xfrm>
            <a:custGeom>
              <a:avLst/>
              <a:gdLst>
                <a:gd name="connsiteX0" fmla="*/ 30000 w 240000"/>
                <a:gd name="connsiteY0" fmla="*/ 0 h 270000"/>
                <a:gd name="connsiteX1" fmla="*/ 210000 w 240000"/>
                <a:gd name="connsiteY1" fmla="*/ 0 h 270000"/>
                <a:gd name="connsiteX2" fmla="*/ 240000 w 240000"/>
                <a:gd name="connsiteY2" fmla="*/ 30000 h 270000"/>
                <a:gd name="connsiteX3" fmla="*/ 240000 w 240000"/>
                <a:gd name="connsiteY3" fmla="*/ 240000 h 270000"/>
                <a:gd name="connsiteX4" fmla="*/ 210000 w 240000"/>
                <a:gd name="connsiteY4" fmla="*/ 270000 h 270000"/>
                <a:gd name="connsiteX5" fmla="*/ 30000 w 240000"/>
                <a:gd name="connsiteY5" fmla="*/ 270000 h 270000"/>
                <a:gd name="connsiteX6" fmla="*/ 0 w 240000"/>
                <a:gd name="connsiteY6" fmla="*/ 240000 h 270000"/>
                <a:gd name="connsiteX7" fmla="*/ 0 w 240000"/>
                <a:gd name="connsiteY7" fmla="*/ 30000 h 270000"/>
                <a:gd name="connsiteX8" fmla="*/ 30000 w 240000"/>
                <a:gd name="connsiteY8" fmla="*/ 0 h 270000"/>
                <a:gd name="connsiteX9" fmla="*/ 22500 w 240000"/>
                <a:gd name="connsiteY9" fmla="*/ 30000 h 270000"/>
                <a:gd name="connsiteX10" fmla="*/ 15000 w 240000"/>
                <a:gd name="connsiteY10" fmla="*/ 37500 h 270000"/>
                <a:gd name="connsiteX11" fmla="*/ 15000 w 240000"/>
                <a:gd name="connsiteY11" fmla="*/ 52500 h 270000"/>
                <a:gd name="connsiteX12" fmla="*/ 22500 w 240000"/>
                <a:gd name="connsiteY12" fmla="*/ 60000 h 270000"/>
                <a:gd name="connsiteX13" fmla="*/ 37500 w 240000"/>
                <a:gd name="connsiteY13" fmla="*/ 60000 h 270000"/>
                <a:gd name="connsiteX14" fmla="*/ 45000 w 240000"/>
                <a:gd name="connsiteY14" fmla="*/ 52500 h 270000"/>
                <a:gd name="connsiteX15" fmla="*/ 45000 w 240000"/>
                <a:gd name="connsiteY15" fmla="*/ 37500 h 270000"/>
                <a:gd name="connsiteX16" fmla="*/ 37500 w 240000"/>
                <a:gd name="connsiteY16" fmla="*/ 30000 h 270000"/>
                <a:gd name="connsiteX17" fmla="*/ 22500 w 240000"/>
                <a:gd name="connsiteY17" fmla="*/ 30000 h 270000"/>
                <a:gd name="connsiteX18" fmla="*/ 202500 w 240000"/>
                <a:gd name="connsiteY18" fmla="*/ 30000 h 270000"/>
                <a:gd name="connsiteX19" fmla="*/ 195000 w 240000"/>
                <a:gd name="connsiteY19" fmla="*/ 37500 h 270000"/>
                <a:gd name="connsiteX20" fmla="*/ 195000 w 240000"/>
                <a:gd name="connsiteY20" fmla="*/ 52500 h 270000"/>
                <a:gd name="connsiteX21" fmla="*/ 202500 w 240000"/>
                <a:gd name="connsiteY21" fmla="*/ 60000 h 270000"/>
                <a:gd name="connsiteX22" fmla="*/ 217500 w 240000"/>
                <a:gd name="connsiteY22" fmla="*/ 60000 h 270000"/>
                <a:gd name="connsiteX23" fmla="*/ 225000 w 240000"/>
                <a:gd name="connsiteY23" fmla="*/ 52500 h 270000"/>
                <a:gd name="connsiteX24" fmla="*/ 225000 w 240000"/>
                <a:gd name="connsiteY24" fmla="*/ 37500 h 270000"/>
                <a:gd name="connsiteX25" fmla="*/ 217500 w 240000"/>
                <a:gd name="connsiteY25" fmla="*/ 30000 h 270000"/>
                <a:gd name="connsiteX26" fmla="*/ 202500 w 240000"/>
                <a:gd name="connsiteY26" fmla="*/ 30000 h 270000"/>
                <a:gd name="connsiteX27" fmla="*/ 22500 w 240000"/>
                <a:gd name="connsiteY27" fmla="*/ 90000 h 270000"/>
                <a:gd name="connsiteX28" fmla="*/ 15000 w 240000"/>
                <a:gd name="connsiteY28" fmla="*/ 97500 h 270000"/>
                <a:gd name="connsiteX29" fmla="*/ 15000 w 240000"/>
                <a:gd name="connsiteY29" fmla="*/ 112500 h 270000"/>
                <a:gd name="connsiteX30" fmla="*/ 22500 w 240000"/>
                <a:gd name="connsiteY30" fmla="*/ 120000 h 270000"/>
                <a:gd name="connsiteX31" fmla="*/ 37500 w 240000"/>
                <a:gd name="connsiteY31" fmla="*/ 120000 h 270000"/>
                <a:gd name="connsiteX32" fmla="*/ 45000 w 240000"/>
                <a:gd name="connsiteY32" fmla="*/ 112500 h 270000"/>
                <a:gd name="connsiteX33" fmla="*/ 45000 w 240000"/>
                <a:gd name="connsiteY33" fmla="*/ 97500 h 270000"/>
                <a:gd name="connsiteX34" fmla="*/ 37500 w 240000"/>
                <a:gd name="connsiteY34" fmla="*/ 90000 h 270000"/>
                <a:gd name="connsiteX35" fmla="*/ 22500 w 240000"/>
                <a:gd name="connsiteY35" fmla="*/ 90000 h 270000"/>
                <a:gd name="connsiteX36" fmla="*/ 202500 w 240000"/>
                <a:gd name="connsiteY36" fmla="*/ 90000 h 270000"/>
                <a:gd name="connsiteX37" fmla="*/ 195000 w 240000"/>
                <a:gd name="connsiteY37" fmla="*/ 97500 h 270000"/>
                <a:gd name="connsiteX38" fmla="*/ 195000 w 240000"/>
                <a:gd name="connsiteY38" fmla="*/ 112500 h 270000"/>
                <a:gd name="connsiteX39" fmla="*/ 202500 w 240000"/>
                <a:gd name="connsiteY39" fmla="*/ 120000 h 270000"/>
                <a:gd name="connsiteX40" fmla="*/ 217500 w 240000"/>
                <a:gd name="connsiteY40" fmla="*/ 120000 h 270000"/>
                <a:gd name="connsiteX41" fmla="*/ 225000 w 240000"/>
                <a:gd name="connsiteY41" fmla="*/ 112500 h 270000"/>
                <a:gd name="connsiteX42" fmla="*/ 225000 w 240000"/>
                <a:gd name="connsiteY42" fmla="*/ 97500 h 270000"/>
                <a:gd name="connsiteX43" fmla="*/ 217500 w 240000"/>
                <a:gd name="connsiteY43" fmla="*/ 90000 h 270000"/>
                <a:gd name="connsiteX44" fmla="*/ 202500 w 240000"/>
                <a:gd name="connsiteY44" fmla="*/ 90000 h 270000"/>
                <a:gd name="connsiteX45" fmla="*/ 22500 w 240000"/>
                <a:gd name="connsiteY45" fmla="*/ 150000 h 270000"/>
                <a:gd name="connsiteX46" fmla="*/ 15000 w 240000"/>
                <a:gd name="connsiteY46" fmla="*/ 157500 h 270000"/>
                <a:gd name="connsiteX47" fmla="*/ 15000 w 240000"/>
                <a:gd name="connsiteY47" fmla="*/ 172500 h 270000"/>
                <a:gd name="connsiteX48" fmla="*/ 22500 w 240000"/>
                <a:gd name="connsiteY48" fmla="*/ 180000 h 270000"/>
                <a:gd name="connsiteX49" fmla="*/ 37500 w 240000"/>
                <a:gd name="connsiteY49" fmla="*/ 180000 h 270000"/>
                <a:gd name="connsiteX50" fmla="*/ 45000 w 240000"/>
                <a:gd name="connsiteY50" fmla="*/ 172500 h 270000"/>
                <a:gd name="connsiteX51" fmla="*/ 45000 w 240000"/>
                <a:gd name="connsiteY51" fmla="*/ 157500 h 270000"/>
                <a:gd name="connsiteX52" fmla="*/ 37500 w 240000"/>
                <a:gd name="connsiteY52" fmla="*/ 150000 h 270000"/>
                <a:gd name="connsiteX53" fmla="*/ 22500 w 240000"/>
                <a:gd name="connsiteY53" fmla="*/ 150000 h 270000"/>
                <a:gd name="connsiteX54" fmla="*/ 202500 w 240000"/>
                <a:gd name="connsiteY54" fmla="*/ 150000 h 270000"/>
                <a:gd name="connsiteX55" fmla="*/ 195000 w 240000"/>
                <a:gd name="connsiteY55" fmla="*/ 157500 h 270000"/>
                <a:gd name="connsiteX56" fmla="*/ 195000 w 240000"/>
                <a:gd name="connsiteY56" fmla="*/ 172500 h 270000"/>
                <a:gd name="connsiteX57" fmla="*/ 202500 w 240000"/>
                <a:gd name="connsiteY57" fmla="*/ 180000 h 270000"/>
                <a:gd name="connsiteX58" fmla="*/ 217500 w 240000"/>
                <a:gd name="connsiteY58" fmla="*/ 180000 h 270000"/>
                <a:gd name="connsiteX59" fmla="*/ 225000 w 240000"/>
                <a:gd name="connsiteY59" fmla="*/ 172500 h 270000"/>
                <a:gd name="connsiteX60" fmla="*/ 225000 w 240000"/>
                <a:gd name="connsiteY60" fmla="*/ 157500 h 270000"/>
                <a:gd name="connsiteX61" fmla="*/ 217500 w 240000"/>
                <a:gd name="connsiteY61" fmla="*/ 150000 h 270000"/>
                <a:gd name="connsiteX62" fmla="*/ 202500 w 240000"/>
                <a:gd name="connsiteY62" fmla="*/ 150000 h 270000"/>
                <a:gd name="connsiteX63" fmla="*/ 202500 w 240000"/>
                <a:gd name="connsiteY63" fmla="*/ 210000 h 270000"/>
                <a:gd name="connsiteX64" fmla="*/ 195000 w 240000"/>
                <a:gd name="connsiteY64" fmla="*/ 217500 h 270000"/>
                <a:gd name="connsiteX65" fmla="*/ 195000 w 240000"/>
                <a:gd name="connsiteY65" fmla="*/ 232500 h 270000"/>
                <a:gd name="connsiteX66" fmla="*/ 202500 w 240000"/>
                <a:gd name="connsiteY66" fmla="*/ 240000 h 270000"/>
                <a:gd name="connsiteX67" fmla="*/ 217500 w 240000"/>
                <a:gd name="connsiteY67" fmla="*/ 240000 h 270000"/>
                <a:gd name="connsiteX68" fmla="*/ 225000 w 240000"/>
                <a:gd name="connsiteY68" fmla="*/ 232500 h 270000"/>
                <a:gd name="connsiteX69" fmla="*/ 225000 w 240000"/>
                <a:gd name="connsiteY69" fmla="*/ 217500 h 270000"/>
                <a:gd name="connsiteX70" fmla="*/ 217500 w 240000"/>
                <a:gd name="connsiteY70" fmla="*/ 210000 h 270000"/>
                <a:gd name="connsiteX71" fmla="*/ 202500 w 240000"/>
                <a:gd name="connsiteY71" fmla="*/ 210000 h 270000"/>
                <a:gd name="connsiteX72" fmla="*/ 22500 w 240000"/>
                <a:gd name="connsiteY72" fmla="*/ 210000 h 270000"/>
                <a:gd name="connsiteX73" fmla="*/ 15000 w 240000"/>
                <a:gd name="connsiteY73" fmla="*/ 217500 h 270000"/>
                <a:gd name="connsiteX74" fmla="*/ 15000 w 240000"/>
                <a:gd name="connsiteY74" fmla="*/ 232500 h 270000"/>
                <a:gd name="connsiteX75" fmla="*/ 22500 w 240000"/>
                <a:gd name="connsiteY75" fmla="*/ 240000 h 270000"/>
                <a:gd name="connsiteX76" fmla="*/ 37500 w 240000"/>
                <a:gd name="connsiteY76" fmla="*/ 240000 h 270000"/>
                <a:gd name="connsiteX77" fmla="*/ 45000 w 240000"/>
                <a:gd name="connsiteY77" fmla="*/ 232500 h 270000"/>
                <a:gd name="connsiteX78" fmla="*/ 45000 w 240000"/>
                <a:gd name="connsiteY78" fmla="*/ 217500 h 270000"/>
                <a:gd name="connsiteX79" fmla="*/ 37500 w 240000"/>
                <a:gd name="connsiteY79" fmla="*/ 210000 h 270000"/>
                <a:gd name="connsiteX80" fmla="*/ 22500 w 240000"/>
                <a:gd name="connsiteY80" fmla="*/ 21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240000" h="270000">
                  <a:moveTo>
                    <a:pt x="30000" y="0"/>
                  </a:moveTo>
                  <a:lnTo>
                    <a:pt x="210000" y="0"/>
                  </a:lnTo>
                  <a:cubicBezTo>
                    <a:pt x="226569" y="0"/>
                    <a:pt x="240000" y="13431"/>
                    <a:pt x="240000" y="30000"/>
                  </a:cubicBezTo>
                  <a:lnTo>
                    <a:pt x="240000" y="240000"/>
                  </a:lnTo>
                  <a:cubicBezTo>
                    <a:pt x="240000" y="256569"/>
                    <a:pt x="226569" y="270000"/>
                    <a:pt x="210000" y="270000"/>
                  </a:cubicBezTo>
                  <a:lnTo>
                    <a:pt x="30000" y="270000"/>
                  </a:lnTo>
                  <a:cubicBezTo>
                    <a:pt x="13431" y="270000"/>
                    <a:pt x="0" y="256569"/>
                    <a:pt x="0" y="24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22500" y="30000"/>
                  </a:moveTo>
                  <a:cubicBezTo>
                    <a:pt x="18358" y="30000"/>
                    <a:pt x="15000" y="33358"/>
                    <a:pt x="15000" y="37500"/>
                  </a:cubicBezTo>
                  <a:lnTo>
                    <a:pt x="15000" y="52500"/>
                  </a:lnTo>
                  <a:cubicBezTo>
                    <a:pt x="15000" y="56642"/>
                    <a:pt x="18358" y="60000"/>
                    <a:pt x="22500" y="60000"/>
                  </a:cubicBezTo>
                  <a:lnTo>
                    <a:pt x="37500" y="60000"/>
                  </a:lnTo>
                  <a:cubicBezTo>
                    <a:pt x="41642" y="60000"/>
                    <a:pt x="45000" y="56642"/>
                    <a:pt x="45000" y="52500"/>
                  </a:cubicBezTo>
                  <a:lnTo>
                    <a:pt x="45000" y="37500"/>
                  </a:lnTo>
                  <a:cubicBezTo>
                    <a:pt x="45000" y="33358"/>
                    <a:pt x="41642" y="30000"/>
                    <a:pt x="37500" y="30000"/>
                  </a:cubicBezTo>
                  <a:lnTo>
                    <a:pt x="22500" y="30000"/>
                  </a:lnTo>
                  <a:close/>
                  <a:moveTo>
                    <a:pt x="202500" y="30000"/>
                  </a:moveTo>
                  <a:cubicBezTo>
                    <a:pt x="198359" y="30000"/>
                    <a:pt x="195000" y="33358"/>
                    <a:pt x="195000" y="37500"/>
                  </a:cubicBezTo>
                  <a:lnTo>
                    <a:pt x="195000" y="52500"/>
                  </a:lnTo>
                  <a:cubicBezTo>
                    <a:pt x="195000" y="56642"/>
                    <a:pt x="198359" y="60000"/>
                    <a:pt x="202500" y="60000"/>
                  </a:cubicBezTo>
                  <a:lnTo>
                    <a:pt x="217500" y="60000"/>
                  </a:lnTo>
                  <a:cubicBezTo>
                    <a:pt x="221642" y="60000"/>
                    <a:pt x="225000" y="56642"/>
                    <a:pt x="225000" y="52500"/>
                  </a:cubicBezTo>
                  <a:lnTo>
                    <a:pt x="225000" y="37500"/>
                  </a:lnTo>
                  <a:cubicBezTo>
                    <a:pt x="225000" y="33358"/>
                    <a:pt x="221642" y="30000"/>
                    <a:pt x="217500" y="30000"/>
                  </a:cubicBezTo>
                  <a:lnTo>
                    <a:pt x="202500" y="30000"/>
                  </a:lnTo>
                  <a:close/>
                  <a:moveTo>
                    <a:pt x="22500" y="90000"/>
                  </a:moveTo>
                  <a:cubicBezTo>
                    <a:pt x="18358" y="90000"/>
                    <a:pt x="15000" y="93358"/>
                    <a:pt x="15000" y="97500"/>
                  </a:cubicBezTo>
                  <a:lnTo>
                    <a:pt x="15000" y="112500"/>
                  </a:lnTo>
                  <a:cubicBezTo>
                    <a:pt x="15000" y="116642"/>
                    <a:pt x="18358" y="120000"/>
                    <a:pt x="22500" y="120000"/>
                  </a:cubicBezTo>
                  <a:lnTo>
                    <a:pt x="37500" y="120000"/>
                  </a:lnTo>
                  <a:cubicBezTo>
                    <a:pt x="41642" y="120000"/>
                    <a:pt x="45000" y="116642"/>
                    <a:pt x="45000" y="112500"/>
                  </a:cubicBezTo>
                  <a:lnTo>
                    <a:pt x="45000" y="97500"/>
                  </a:lnTo>
                  <a:cubicBezTo>
                    <a:pt x="45000" y="93358"/>
                    <a:pt x="41642" y="90000"/>
                    <a:pt x="37500" y="90000"/>
                  </a:cubicBezTo>
                  <a:lnTo>
                    <a:pt x="22500" y="90000"/>
                  </a:lnTo>
                  <a:close/>
                  <a:moveTo>
                    <a:pt x="202500" y="90000"/>
                  </a:moveTo>
                  <a:cubicBezTo>
                    <a:pt x="198359" y="90000"/>
                    <a:pt x="195000" y="93358"/>
                    <a:pt x="195000" y="97500"/>
                  </a:cubicBezTo>
                  <a:lnTo>
                    <a:pt x="195000" y="112500"/>
                  </a:lnTo>
                  <a:cubicBezTo>
                    <a:pt x="195000" y="116642"/>
                    <a:pt x="198359" y="120000"/>
                    <a:pt x="202500" y="120000"/>
                  </a:cubicBezTo>
                  <a:lnTo>
                    <a:pt x="217500" y="120000"/>
                  </a:lnTo>
                  <a:cubicBezTo>
                    <a:pt x="221642" y="120000"/>
                    <a:pt x="225000" y="116642"/>
                    <a:pt x="225000" y="112500"/>
                  </a:cubicBezTo>
                  <a:lnTo>
                    <a:pt x="225000" y="97500"/>
                  </a:lnTo>
                  <a:cubicBezTo>
                    <a:pt x="225000" y="93358"/>
                    <a:pt x="221642" y="90000"/>
                    <a:pt x="217500" y="90000"/>
                  </a:cubicBezTo>
                  <a:lnTo>
                    <a:pt x="202500" y="90000"/>
                  </a:lnTo>
                  <a:close/>
                  <a:moveTo>
                    <a:pt x="22500" y="150000"/>
                  </a:moveTo>
                  <a:cubicBezTo>
                    <a:pt x="18358" y="150000"/>
                    <a:pt x="15000" y="153359"/>
                    <a:pt x="15000" y="157500"/>
                  </a:cubicBezTo>
                  <a:lnTo>
                    <a:pt x="15000" y="172500"/>
                  </a:lnTo>
                  <a:cubicBezTo>
                    <a:pt x="15000" y="176642"/>
                    <a:pt x="18358" y="180000"/>
                    <a:pt x="22500" y="180000"/>
                  </a:cubicBezTo>
                  <a:lnTo>
                    <a:pt x="37500" y="180000"/>
                  </a:lnTo>
                  <a:cubicBezTo>
                    <a:pt x="41642" y="180000"/>
                    <a:pt x="45000" y="176642"/>
                    <a:pt x="45000" y="172500"/>
                  </a:cubicBezTo>
                  <a:lnTo>
                    <a:pt x="45000" y="157500"/>
                  </a:lnTo>
                  <a:cubicBezTo>
                    <a:pt x="45000" y="153359"/>
                    <a:pt x="41642" y="150000"/>
                    <a:pt x="37500" y="150000"/>
                  </a:cubicBezTo>
                  <a:lnTo>
                    <a:pt x="22500" y="150000"/>
                  </a:lnTo>
                  <a:close/>
                  <a:moveTo>
                    <a:pt x="202500" y="150000"/>
                  </a:moveTo>
                  <a:cubicBezTo>
                    <a:pt x="198359" y="150000"/>
                    <a:pt x="195000" y="153359"/>
                    <a:pt x="195000" y="157500"/>
                  </a:cubicBezTo>
                  <a:lnTo>
                    <a:pt x="195000" y="172500"/>
                  </a:lnTo>
                  <a:cubicBezTo>
                    <a:pt x="195000" y="176642"/>
                    <a:pt x="198359" y="180000"/>
                    <a:pt x="202500" y="180000"/>
                  </a:cubicBezTo>
                  <a:lnTo>
                    <a:pt x="217500" y="180000"/>
                  </a:lnTo>
                  <a:cubicBezTo>
                    <a:pt x="221642" y="180000"/>
                    <a:pt x="225000" y="176642"/>
                    <a:pt x="225000" y="172500"/>
                  </a:cubicBezTo>
                  <a:lnTo>
                    <a:pt x="225000" y="157500"/>
                  </a:lnTo>
                  <a:cubicBezTo>
                    <a:pt x="225000" y="153359"/>
                    <a:pt x="221642" y="150000"/>
                    <a:pt x="217500" y="150000"/>
                  </a:cubicBezTo>
                  <a:lnTo>
                    <a:pt x="202500" y="150000"/>
                  </a:lnTo>
                  <a:close/>
                  <a:moveTo>
                    <a:pt x="202500" y="210000"/>
                  </a:moveTo>
                  <a:cubicBezTo>
                    <a:pt x="198359" y="210000"/>
                    <a:pt x="195000" y="213359"/>
                    <a:pt x="195000" y="217500"/>
                  </a:cubicBezTo>
                  <a:lnTo>
                    <a:pt x="195000" y="232500"/>
                  </a:lnTo>
                  <a:cubicBezTo>
                    <a:pt x="195000" y="236642"/>
                    <a:pt x="198359" y="240000"/>
                    <a:pt x="202500" y="240000"/>
                  </a:cubicBezTo>
                  <a:lnTo>
                    <a:pt x="217500" y="240000"/>
                  </a:lnTo>
                  <a:cubicBezTo>
                    <a:pt x="221642" y="240000"/>
                    <a:pt x="225000" y="236642"/>
                    <a:pt x="225000" y="232500"/>
                  </a:cubicBezTo>
                  <a:lnTo>
                    <a:pt x="225000" y="217500"/>
                  </a:lnTo>
                  <a:cubicBezTo>
                    <a:pt x="225000" y="213359"/>
                    <a:pt x="221642" y="210000"/>
                    <a:pt x="217500" y="210000"/>
                  </a:cubicBezTo>
                  <a:lnTo>
                    <a:pt x="202500" y="210000"/>
                  </a:lnTo>
                  <a:close/>
                  <a:moveTo>
                    <a:pt x="22500" y="210000"/>
                  </a:moveTo>
                  <a:cubicBezTo>
                    <a:pt x="18358" y="210000"/>
                    <a:pt x="15000" y="213359"/>
                    <a:pt x="15000" y="217500"/>
                  </a:cubicBezTo>
                  <a:lnTo>
                    <a:pt x="15000" y="232500"/>
                  </a:lnTo>
                  <a:cubicBezTo>
                    <a:pt x="15000" y="236642"/>
                    <a:pt x="18358" y="240000"/>
                    <a:pt x="22500" y="240000"/>
                  </a:cubicBezTo>
                  <a:lnTo>
                    <a:pt x="37500" y="240000"/>
                  </a:lnTo>
                  <a:cubicBezTo>
                    <a:pt x="41642" y="240000"/>
                    <a:pt x="45000" y="236642"/>
                    <a:pt x="45000" y="232500"/>
                  </a:cubicBezTo>
                  <a:lnTo>
                    <a:pt x="45000" y="217500"/>
                  </a:lnTo>
                  <a:cubicBezTo>
                    <a:pt x="45000" y="213359"/>
                    <a:pt x="41642" y="210000"/>
                    <a:pt x="37500" y="210000"/>
                  </a:cubicBezTo>
                  <a:lnTo>
                    <a:pt x="22500" y="21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0" name="Полилиния 499">
              <a:extLst>
                <a:ext uri="{FF2B5EF4-FFF2-40B4-BE49-F238E27FC236}">
                  <a16:creationId xmlns:a16="http://schemas.microsoft.com/office/drawing/2014/main" id="{6662BAA8-CD3E-3E47-8D14-5E9C76D4C2AD}"/>
                </a:ext>
              </a:extLst>
            </p:cNvPr>
            <p:cNvSpPr/>
            <p:nvPr/>
          </p:nvSpPr>
          <p:spPr>
            <a:xfrm>
              <a:off x="11425737" y="5602508"/>
              <a:ext cx="54071" cy="68582"/>
            </a:xfrm>
            <a:custGeom>
              <a:avLst/>
              <a:gdLst>
                <a:gd name="connsiteX0" fmla="*/ 11733 w 54071"/>
                <a:gd name="connsiteY0" fmla="*/ 67275 h 68582"/>
                <a:gd name="connsiteX1" fmla="*/ 50802 w 54071"/>
                <a:gd name="connsiteY1" fmla="*/ 40567 h 68582"/>
                <a:gd name="connsiteX2" fmla="*/ 52763 w 54071"/>
                <a:gd name="connsiteY2" fmla="*/ 30144 h 68582"/>
                <a:gd name="connsiteX3" fmla="*/ 50822 w 54071"/>
                <a:gd name="connsiteY3" fmla="*/ 28197 h 68582"/>
                <a:gd name="connsiteX4" fmla="*/ 11751 w 54071"/>
                <a:gd name="connsiteY4" fmla="*/ 1321 h 68582"/>
                <a:gd name="connsiteX5" fmla="*/ 1320 w 54071"/>
                <a:gd name="connsiteY5" fmla="*/ 3250 h 68582"/>
                <a:gd name="connsiteX6" fmla="*/ 0 w 54071"/>
                <a:gd name="connsiteY6" fmla="*/ 7501 h 68582"/>
                <a:gd name="connsiteX7" fmla="*/ 0 w 54071"/>
                <a:gd name="connsiteY7" fmla="*/ 61083 h 68582"/>
                <a:gd name="connsiteX8" fmla="*/ 7500 w 54071"/>
                <a:gd name="connsiteY8" fmla="*/ 68583 h 68582"/>
                <a:gd name="connsiteX9" fmla="*/ 11733 w 54071"/>
                <a:gd name="connsiteY9" fmla="*/ 67275 h 6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071" h="68582">
                  <a:moveTo>
                    <a:pt x="11733" y="67275"/>
                  </a:moveTo>
                  <a:lnTo>
                    <a:pt x="50802" y="40567"/>
                  </a:lnTo>
                  <a:cubicBezTo>
                    <a:pt x="54222" y="38230"/>
                    <a:pt x="55100" y="33562"/>
                    <a:pt x="52763" y="30144"/>
                  </a:cubicBezTo>
                  <a:cubicBezTo>
                    <a:pt x="52241" y="29380"/>
                    <a:pt x="51582" y="28720"/>
                    <a:pt x="50822" y="28197"/>
                  </a:cubicBezTo>
                  <a:lnTo>
                    <a:pt x="11751" y="1321"/>
                  </a:lnTo>
                  <a:cubicBezTo>
                    <a:pt x="8339" y="-1026"/>
                    <a:pt x="3668" y="-162"/>
                    <a:pt x="1320" y="3250"/>
                  </a:cubicBezTo>
                  <a:cubicBezTo>
                    <a:pt x="461" y="4501"/>
                    <a:pt x="0" y="5983"/>
                    <a:pt x="0" y="7501"/>
                  </a:cubicBezTo>
                  <a:lnTo>
                    <a:pt x="0" y="61083"/>
                  </a:lnTo>
                  <a:cubicBezTo>
                    <a:pt x="0" y="65224"/>
                    <a:pt x="3358" y="68583"/>
                    <a:pt x="7500" y="68583"/>
                  </a:cubicBezTo>
                  <a:cubicBezTo>
                    <a:pt x="9011" y="68583"/>
                    <a:pt x="10485" y="68127"/>
                    <a:pt x="11733" y="6727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01" name="Рисунок 123">
            <a:extLst>
              <a:ext uri="{FF2B5EF4-FFF2-40B4-BE49-F238E27FC236}">
                <a16:creationId xmlns:a16="http://schemas.microsoft.com/office/drawing/2014/main" id="{4FDCDDF1-9BAF-6A45-81D0-4B519A85CC8B}"/>
              </a:ext>
            </a:extLst>
          </p:cNvPr>
          <p:cNvGrpSpPr/>
          <p:nvPr/>
        </p:nvGrpSpPr>
        <p:grpSpPr>
          <a:xfrm>
            <a:off x="5947802" y="5132243"/>
            <a:ext cx="360000" cy="360000"/>
            <a:chOff x="5981255" y="5451199"/>
            <a:chExt cx="360000" cy="360000"/>
          </a:xfrm>
        </p:grpSpPr>
        <p:sp>
          <p:nvSpPr>
            <p:cNvPr id="502" name="Полилиния 501">
              <a:extLst>
                <a:ext uri="{FF2B5EF4-FFF2-40B4-BE49-F238E27FC236}">
                  <a16:creationId xmlns:a16="http://schemas.microsoft.com/office/drawing/2014/main" id="{970EEC10-6032-044D-AE22-4E5E0ADE7292}"/>
                </a:ext>
              </a:extLst>
            </p:cNvPr>
            <p:cNvSpPr/>
            <p:nvPr/>
          </p:nvSpPr>
          <p:spPr>
            <a:xfrm>
              <a:off x="5981255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3" name="Полилиния 502">
              <a:extLst>
                <a:ext uri="{FF2B5EF4-FFF2-40B4-BE49-F238E27FC236}">
                  <a16:creationId xmlns:a16="http://schemas.microsoft.com/office/drawing/2014/main" id="{E9A81BE2-B236-F64D-ABE8-CA1AEF3AFCC8}"/>
                </a:ext>
              </a:extLst>
            </p:cNvPr>
            <p:cNvSpPr/>
            <p:nvPr/>
          </p:nvSpPr>
          <p:spPr>
            <a:xfrm>
              <a:off x="6026255" y="5496199"/>
              <a:ext cx="270000" cy="270000"/>
            </a:xfrm>
            <a:custGeom>
              <a:avLst/>
              <a:gdLst>
                <a:gd name="connsiteX0" fmla="*/ 135000 w 270000"/>
                <a:gd name="connsiteY0" fmla="*/ 270000 h 270000"/>
                <a:gd name="connsiteX1" fmla="*/ 0 w 270000"/>
                <a:gd name="connsiteY1" fmla="*/ 135000 h 270000"/>
                <a:gd name="connsiteX2" fmla="*/ 135000 w 270000"/>
                <a:gd name="connsiteY2" fmla="*/ 0 h 270000"/>
                <a:gd name="connsiteX3" fmla="*/ 270000 w 270000"/>
                <a:gd name="connsiteY3" fmla="*/ 135000 h 270000"/>
                <a:gd name="connsiteX4" fmla="*/ 135000 w 270000"/>
                <a:gd name="connsiteY4" fmla="*/ 270000 h 270000"/>
                <a:gd name="connsiteX5" fmla="*/ 131630 w 270000"/>
                <a:gd name="connsiteY5" fmla="*/ 154394 h 270000"/>
                <a:gd name="connsiteX6" fmla="*/ 146630 w 270000"/>
                <a:gd name="connsiteY6" fmla="*/ 139394 h 270000"/>
                <a:gd name="connsiteX7" fmla="*/ 131630 w 270000"/>
                <a:gd name="connsiteY7" fmla="*/ 124394 h 270000"/>
                <a:gd name="connsiteX8" fmla="*/ 116630 w 270000"/>
                <a:gd name="connsiteY8" fmla="*/ 139394 h 270000"/>
                <a:gd name="connsiteX9" fmla="*/ 131630 w 270000"/>
                <a:gd name="connsiteY9" fmla="*/ 154394 h 270000"/>
                <a:gd name="connsiteX10" fmla="*/ 123353 w 270000"/>
                <a:gd name="connsiteY10" fmla="*/ 91533 h 270000"/>
                <a:gd name="connsiteX11" fmla="*/ 144567 w 270000"/>
                <a:gd name="connsiteY11" fmla="*/ 54791 h 270000"/>
                <a:gd name="connsiteX12" fmla="*/ 107825 w 270000"/>
                <a:gd name="connsiteY12" fmla="*/ 33578 h 270000"/>
                <a:gd name="connsiteX13" fmla="*/ 86611 w 270000"/>
                <a:gd name="connsiteY13" fmla="*/ 70320 h 270000"/>
                <a:gd name="connsiteX14" fmla="*/ 123353 w 270000"/>
                <a:gd name="connsiteY14" fmla="*/ 91533 h 270000"/>
                <a:gd name="connsiteX15" fmla="*/ 162176 w 270000"/>
                <a:gd name="connsiteY15" fmla="*/ 236422 h 270000"/>
                <a:gd name="connsiteX16" fmla="*/ 183389 w 270000"/>
                <a:gd name="connsiteY16" fmla="*/ 199680 h 270000"/>
                <a:gd name="connsiteX17" fmla="*/ 146648 w 270000"/>
                <a:gd name="connsiteY17" fmla="*/ 178467 h 270000"/>
                <a:gd name="connsiteX18" fmla="*/ 125433 w 270000"/>
                <a:gd name="connsiteY18" fmla="*/ 215210 h 270000"/>
                <a:gd name="connsiteX19" fmla="*/ 162176 w 270000"/>
                <a:gd name="connsiteY19" fmla="*/ 236422 h 270000"/>
                <a:gd name="connsiteX20" fmla="*/ 70320 w 270000"/>
                <a:gd name="connsiteY20" fmla="*/ 183389 h 270000"/>
                <a:gd name="connsiteX21" fmla="*/ 91533 w 270000"/>
                <a:gd name="connsiteY21" fmla="*/ 146648 h 270000"/>
                <a:gd name="connsiteX22" fmla="*/ 54791 w 270000"/>
                <a:gd name="connsiteY22" fmla="*/ 125433 h 270000"/>
                <a:gd name="connsiteX23" fmla="*/ 33578 w 270000"/>
                <a:gd name="connsiteY23" fmla="*/ 162176 h 270000"/>
                <a:gd name="connsiteX24" fmla="*/ 70320 w 270000"/>
                <a:gd name="connsiteY24" fmla="*/ 183389 h 270000"/>
                <a:gd name="connsiteX25" fmla="*/ 215210 w 270000"/>
                <a:gd name="connsiteY25" fmla="*/ 144567 h 270000"/>
                <a:gd name="connsiteX26" fmla="*/ 236422 w 270000"/>
                <a:gd name="connsiteY26" fmla="*/ 107825 h 270000"/>
                <a:gd name="connsiteX27" fmla="*/ 199680 w 270000"/>
                <a:gd name="connsiteY27" fmla="*/ 86611 h 270000"/>
                <a:gd name="connsiteX28" fmla="*/ 178467 w 270000"/>
                <a:gd name="connsiteY28" fmla="*/ 123353 h 270000"/>
                <a:gd name="connsiteX29" fmla="*/ 215210 w 270000"/>
                <a:gd name="connsiteY29" fmla="*/ 144567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70000" h="270000">
                  <a:moveTo>
                    <a:pt x="135000" y="270000"/>
                  </a:moveTo>
                  <a:cubicBezTo>
                    <a:pt x="60442" y="270000"/>
                    <a:pt x="0" y="209559"/>
                    <a:pt x="0" y="135000"/>
                  </a:cubicBezTo>
                  <a:cubicBezTo>
                    <a:pt x="0" y="60442"/>
                    <a:pt x="60442" y="0"/>
                    <a:pt x="135000" y="0"/>
                  </a:cubicBezTo>
                  <a:cubicBezTo>
                    <a:pt x="209559" y="0"/>
                    <a:pt x="270000" y="60442"/>
                    <a:pt x="270000" y="135000"/>
                  </a:cubicBezTo>
                  <a:cubicBezTo>
                    <a:pt x="270000" y="209559"/>
                    <a:pt x="209559" y="270000"/>
                    <a:pt x="135000" y="270000"/>
                  </a:cubicBezTo>
                  <a:close/>
                  <a:moveTo>
                    <a:pt x="131630" y="154394"/>
                  </a:moveTo>
                  <a:cubicBezTo>
                    <a:pt x="139913" y="154394"/>
                    <a:pt x="146630" y="147678"/>
                    <a:pt x="146630" y="139394"/>
                  </a:cubicBezTo>
                  <a:cubicBezTo>
                    <a:pt x="146630" y="131109"/>
                    <a:pt x="139913" y="124394"/>
                    <a:pt x="131630" y="124394"/>
                  </a:cubicBezTo>
                  <a:cubicBezTo>
                    <a:pt x="123345" y="124394"/>
                    <a:pt x="116630" y="131109"/>
                    <a:pt x="116630" y="139394"/>
                  </a:cubicBezTo>
                  <a:cubicBezTo>
                    <a:pt x="116630" y="147678"/>
                    <a:pt x="123345" y="154394"/>
                    <a:pt x="131630" y="154394"/>
                  </a:cubicBezTo>
                  <a:close/>
                  <a:moveTo>
                    <a:pt x="123353" y="91533"/>
                  </a:moveTo>
                  <a:cubicBezTo>
                    <a:pt x="139358" y="87245"/>
                    <a:pt x="148854" y="70795"/>
                    <a:pt x="144567" y="54791"/>
                  </a:cubicBezTo>
                  <a:cubicBezTo>
                    <a:pt x="140279" y="38787"/>
                    <a:pt x="123828" y="29290"/>
                    <a:pt x="107825" y="33578"/>
                  </a:cubicBezTo>
                  <a:cubicBezTo>
                    <a:pt x="91820" y="37866"/>
                    <a:pt x="82323" y="54316"/>
                    <a:pt x="86611" y="70320"/>
                  </a:cubicBezTo>
                  <a:cubicBezTo>
                    <a:pt x="90899" y="86324"/>
                    <a:pt x="107349" y="95822"/>
                    <a:pt x="123353" y="91533"/>
                  </a:cubicBezTo>
                  <a:close/>
                  <a:moveTo>
                    <a:pt x="162176" y="236422"/>
                  </a:moveTo>
                  <a:cubicBezTo>
                    <a:pt x="178181" y="232134"/>
                    <a:pt x="187677" y="215684"/>
                    <a:pt x="183389" y="199680"/>
                  </a:cubicBezTo>
                  <a:cubicBezTo>
                    <a:pt x="179102" y="183677"/>
                    <a:pt x="162651" y="174179"/>
                    <a:pt x="146648" y="178467"/>
                  </a:cubicBezTo>
                  <a:cubicBezTo>
                    <a:pt x="130643" y="182756"/>
                    <a:pt x="121146" y="199205"/>
                    <a:pt x="125433" y="215210"/>
                  </a:cubicBezTo>
                  <a:cubicBezTo>
                    <a:pt x="129722" y="231213"/>
                    <a:pt x="146172" y="240711"/>
                    <a:pt x="162176" y="236422"/>
                  </a:cubicBezTo>
                  <a:close/>
                  <a:moveTo>
                    <a:pt x="70320" y="183389"/>
                  </a:moveTo>
                  <a:cubicBezTo>
                    <a:pt x="86324" y="179102"/>
                    <a:pt x="95822" y="162651"/>
                    <a:pt x="91533" y="146648"/>
                  </a:cubicBezTo>
                  <a:cubicBezTo>
                    <a:pt x="87245" y="130643"/>
                    <a:pt x="70795" y="121146"/>
                    <a:pt x="54791" y="125433"/>
                  </a:cubicBezTo>
                  <a:cubicBezTo>
                    <a:pt x="38787" y="129722"/>
                    <a:pt x="29290" y="146172"/>
                    <a:pt x="33578" y="162176"/>
                  </a:cubicBezTo>
                  <a:cubicBezTo>
                    <a:pt x="37866" y="178181"/>
                    <a:pt x="54316" y="187677"/>
                    <a:pt x="70320" y="183389"/>
                  </a:cubicBezTo>
                  <a:close/>
                  <a:moveTo>
                    <a:pt x="215210" y="144567"/>
                  </a:moveTo>
                  <a:cubicBezTo>
                    <a:pt x="231213" y="140279"/>
                    <a:pt x="240711" y="123828"/>
                    <a:pt x="236422" y="107825"/>
                  </a:cubicBezTo>
                  <a:cubicBezTo>
                    <a:pt x="232134" y="91820"/>
                    <a:pt x="215684" y="82323"/>
                    <a:pt x="199680" y="86611"/>
                  </a:cubicBezTo>
                  <a:cubicBezTo>
                    <a:pt x="183677" y="90899"/>
                    <a:pt x="174179" y="107349"/>
                    <a:pt x="178467" y="123353"/>
                  </a:cubicBezTo>
                  <a:cubicBezTo>
                    <a:pt x="182756" y="139358"/>
                    <a:pt x="199205" y="148854"/>
                    <a:pt x="215210" y="144567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4" name="Полилиния 503">
              <a:extLst>
                <a:ext uri="{FF2B5EF4-FFF2-40B4-BE49-F238E27FC236}">
                  <a16:creationId xmlns:a16="http://schemas.microsoft.com/office/drawing/2014/main" id="{B810ED9D-869B-D542-9997-CFC45C87C0CF}"/>
                </a:ext>
              </a:extLst>
            </p:cNvPr>
            <p:cNvSpPr/>
            <p:nvPr/>
          </p:nvSpPr>
          <p:spPr>
            <a:xfrm>
              <a:off x="6161255" y="5736199"/>
              <a:ext cx="150000" cy="30000"/>
            </a:xfrm>
            <a:custGeom>
              <a:avLst/>
              <a:gdLst>
                <a:gd name="connsiteX0" fmla="*/ 84860 w 150000"/>
                <a:gd name="connsiteY0" fmla="*/ 0 h 30000"/>
                <a:gd name="connsiteX1" fmla="*/ 135000 w 150000"/>
                <a:gd name="connsiteY1" fmla="*/ 0 h 30000"/>
                <a:gd name="connsiteX2" fmla="*/ 150000 w 150000"/>
                <a:gd name="connsiteY2" fmla="*/ 15000 h 30000"/>
                <a:gd name="connsiteX3" fmla="*/ 135000 w 150000"/>
                <a:gd name="connsiteY3" fmla="*/ 30000 h 30000"/>
                <a:gd name="connsiteX4" fmla="*/ 0 w 150000"/>
                <a:gd name="connsiteY4" fmla="*/ 30000 h 30000"/>
                <a:gd name="connsiteX5" fmla="*/ 84860 w 150000"/>
                <a:gd name="connsiteY5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000" h="30000">
                  <a:moveTo>
                    <a:pt x="84860" y="0"/>
                  </a:moveTo>
                  <a:lnTo>
                    <a:pt x="135000" y="0"/>
                  </a:lnTo>
                  <a:cubicBezTo>
                    <a:pt x="143285" y="0"/>
                    <a:pt x="150000" y="6716"/>
                    <a:pt x="150000" y="15000"/>
                  </a:cubicBezTo>
                  <a:cubicBezTo>
                    <a:pt x="150000" y="23284"/>
                    <a:pt x="143285" y="30000"/>
                    <a:pt x="135000" y="30000"/>
                  </a:cubicBezTo>
                  <a:lnTo>
                    <a:pt x="0" y="30000"/>
                  </a:lnTo>
                  <a:cubicBezTo>
                    <a:pt x="32150" y="30000"/>
                    <a:pt x="61674" y="18762"/>
                    <a:pt x="8486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05" name="Рисунок 124">
            <a:extLst>
              <a:ext uri="{FF2B5EF4-FFF2-40B4-BE49-F238E27FC236}">
                <a16:creationId xmlns:a16="http://schemas.microsoft.com/office/drawing/2014/main" id="{0FAC8197-9D1B-604F-B196-B38ABE130F04}"/>
              </a:ext>
            </a:extLst>
          </p:cNvPr>
          <p:cNvGrpSpPr/>
          <p:nvPr/>
        </p:nvGrpSpPr>
        <p:grpSpPr>
          <a:xfrm>
            <a:off x="2172137" y="5132243"/>
            <a:ext cx="360000" cy="360000"/>
            <a:chOff x="2205590" y="5451199"/>
            <a:chExt cx="360000" cy="360000"/>
          </a:xfrm>
        </p:grpSpPr>
        <p:sp>
          <p:nvSpPr>
            <p:cNvPr id="506" name="Полилиния 505">
              <a:extLst>
                <a:ext uri="{FF2B5EF4-FFF2-40B4-BE49-F238E27FC236}">
                  <a16:creationId xmlns:a16="http://schemas.microsoft.com/office/drawing/2014/main" id="{8A4EDF75-CD5B-EE4A-81E7-542F11224A11}"/>
                </a:ext>
              </a:extLst>
            </p:cNvPr>
            <p:cNvSpPr/>
            <p:nvPr/>
          </p:nvSpPr>
          <p:spPr>
            <a:xfrm>
              <a:off x="2205590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7" name="Полилиния 506">
              <a:extLst>
                <a:ext uri="{FF2B5EF4-FFF2-40B4-BE49-F238E27FC236}">
                  <a16:creationId xmlns:a16="http://schemas.microsoft.com/office/drawing/2014/main" id="{FF6B5DD0-B3E3-A641-BDCF-C11B0329A258}"/>
                </a:ext>
              </a:extLst>
            </p:cNvPr>
            <p:cNvSpPr/>
            <p:nvPr/>
          </p:nvSpPr>
          <p:spPr>
            <a:xfrm>
              <a:off x="2265590" y="5481199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8" name="Полилиния 507">
              <a:extLst>
                <a:ext uri="{FF2B5EF4-FFF2-40B4-BE49-F238E27FC236}">
                  <a16:creationId xmlns:a16="http://schemas.microsoft.com/office/drawing/2014/main" id="{7A228E69-2E95-CA49-BC7F-3869BF829575}"/>
                </a:ext>
              </a:extLst>
            </p:cNvPr>
            <p:cNvSpPr/>
            <p:nvPr/>
          </p:nvSpPr>
          <p:spPr>
            <a:xfrm>
              <a:off x="2325590" y="5571198"/>
              <a:ext cx="109999" cy="135000"/>
            </a:xfrm>
            <a:custGeom>
              <a:avLst/>
              <a:gdLst>
                <a:gd name="connsiteX0" fmla="*/ 27500 w 109999"/>
                <a:gd name="connsiteY0" fmla="*/ 135000 h 135000"/>
                <a:gd name="connsiteX1" fmla="*/ 0 w 109999"/>
                <a:gd name="connsiteY1" fmla="*/ 112083 h 135000"/>
                <a:gd name="connsiteX2" fmla="*/ 27500 w 109999"/>
                <a:gd name="connsiteY2" fmla="*/ 89166 h 135000"/>
                <a:gd name="connsiteX3" fmla="*/ 36666 w 109999"/>
                <a:gd name="connsiteY3" fmla="*/ 90471 h 135000"/>
                <a:gd name="connsiteX4" fmla="*/ 36666 w 109999"/>
                <a:gd name="connsiteY4" fmla="*/ 26874 h 135000"/>
                <a:gd name="connsiteX5" fmla="*/ 43904 w 109999"/>
                <a:gd name="connsiteY5" fmla="*/ 16617 h 135000"/>
                <a:gd name="connsiteX6" fmla="*/ 96612 w 109999"/>
                <a:gd name="connsiteY6" fmla="*/ 497 h 135000"/>
                <a:gd name="connsiteX7" fmla="*/ 109999 w 109999"/>
                <a:gd name="connsiteY7" fmla="*/ 10754 h 135000"/>
                <a:gd name="connsiteX8" fmla="*/ 109999 w 109999"/>
                <a:gd name="connsiteY8" fmla="*/ 26874 h 135000"/>
                <a:gd name="connsiteX9" fmla="*/ 100833 w 109999"/>
                <a:gd name="connsiteY9" fmla="*/ 36666 h 135000"/>
                <a:gd name="connsiteX10" fmla="*/ 55001 w 109999"/>
                <a:gd name="connsiteY10" fmla="*/ 45834 h 135000"/>
                <a:gd name="connsiteX11" fmla="*/ 55001 w 109999"/>
                <a:gd name="connsiteY11" fmla="*/ 112553 h 135000"/>
                <a:gd name="connsiteX12" fmla="*/ 54802 w 109999"/>
                <a:gd name="connsiteY12" fmla="*/ 114840 h 135000"/>
                <a:gd name="connsiteX13" fmla="*/ 27500 w 109999"/>
                <a:gd name="connsiteY13" fmla="*/ 135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999" h="135000">
                  <a:moveTo>
                    <a:pt x="27500" y="135000"/>
                  </a:moveTo>
                  <a:cubicBezTo>
                    <a:pt x="12312" y="135000"/>
                    <a:pt x="0" y="124740"/>
                    <a:pt x="0" y="112083"/>
                  </a:cubicBezTo>
                  <a:cubicBezTo>
                    <a:pt x="0" y="99428"/>
                    <a:pt x="12312" y="89166"/>
                    <a:pt x="27500" y="89166"/>
                  </a:cubicBezTo>
                  <a:cubicBezTo>
                    <a:pt x="30714" y="89166"/>
                    <a:pt x="33799" y="89627"/>
                    <a:pt x="36666" y="90471"/>
                  </a:cubicBezTo>
                  <a:lnTo>
                    <a:pt x="36666" y="26874"/>
                  </a:lnTo>
                  <a:cubicBezTo>
                    <a:pt x="36666" y="22174"/>
                    <a:pt x="39599" y="18019"/>
                    <a:pt x="43904" y="16617"/>
                  </a:cubicBezTo>
                  <a:lnTo>
                    <a:pt x="96612" y="497"/>
                  </a:lnTo>
                  <a:cubicBezTo>
                    <a:pt x="103253" y="-1666"/>
                    <a:pt x="109999" y="3504"/>
                    <a:pt x="109999" y="10754"/>
                  </a:cubicBezTo>
                  <a:lnTo>
                    <a:pt x="109999" y="26874"/>
                  </a:lnTo>
                  <a:cubicBezTo>
                    <a:pt x="109999" y="32247"/>
                    <a:pt x="104969" y="35679"/>
                    <a:pt x="100833" y="36666"/>
                  </a:cubicBezTo>
                  <a:cubicBezTo>
                    <a:pt x="94882" y="38088"/>
                    <a:pt x="79605" y="41144"/>
                    <a:pt x="55001" y="45834"/>
                  </a:cubicBezTo>
                  <a:lnTo>
                    <a:pt x="55001" y="112553"/>
                  </a:lnTo>
                  <a:cubicBezTo>
                    <a:pt x="55001" y="113376"/>
                    <a:pt x="54933" y="114138"/>
                    <a:pt x="54802" y="114840"/>
                  </a:cubicBezTo>
                  <a:cubicBezTo>
                    <a:pt x="53169" y="126197"/>
                    <a:pt x="41568" y="135000"/>
                    <a:pt x="27500" y="13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09" name="Рисунок 125">
            <a:extLst>
              <a:ext uri="{FF2B5EF4-FFF2-40B4-BE49-F238E27FC236}">
                <a16:creationId xmlns:a16="http://schemas.microsoft.com/office/drawing/2014/main" id="{E20B0874-41EE-4A44-A759-C3087C191873}"/>
              </a:ext>
            </a:extLst>
          </p:cNvPr>
          <p:cNvGrpSpPr/>
          <p:nvPr/>
        </p:nvGrpSpPr>
        <p:grpSpPr>
          <a:xfrm>
            <a:off x="3682403" y="5132243"/>
            <a:ext cx="360000" cy="360000"/>
            <a:chOff x="3715856" y="5451199"/>
            <a:chExt cx="360000" cy="360000"/>
          </a:xfrm>
        </p:grpSpPr>
        <p:sp>
          <p:nvSpPr>
            <p:cNvPr id="510" name="Полилиния 509">
              <a:extLst>
                <a:ext uri="{FF2B5EF4-FFF2-40B4-BE49-F238E27FC236}">
                  <a16:creationId xmlns:a16="http://schemas.microsoft.com/office/drawing/2014/main" id="{D4CCB144-952E-534E-AB87-49741F5821F4}"/>
                </a:ext>
              </a:extLst>
            </p:cNvPr>
            <p:cNvSpPr/>
            <p:nvPr/>
          </p:nvSpPr>
          <p:spPr>
            <a:xfrm>
              <a:off x="3715856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1" name="Полилиния 510">
              <a:extLst>
                <a:ext uri="{FF2B5EF4-FFF2-40B4-BE49-F238E27FC236}">
                  <a16:creationId xmlns:a16="http://schemas.microsoft.com/office/drawing/2014/main" id="{07600647-0479-974E-8611-226F4526FC9F}"/>
                </a:ext>
              </a:extLst>
            </p:cNvPr>
            <p:cNvSpPr/>
            <p:nvPr/>
          </p:nvSpPr>
          <p:spPr>
            <a:xfrm>
              <a:off x="3715856" y="5526199"/>
              <a:ext cx="360000" cy="240000"/>
            </a:xfrm>
            <a:custGeom>
              <a:avLst/>
              <a:gdLst>
                <a:gd name="connsiteX0" fmla="*/ 223946 w 360000"/>
                <a:gd name="connsiteY0" fmla="*/ 60000 h 240000"/>
                <a:gd name="connsiteX1" fmla="*/ 270000 w 360000"/>
                <a:gd name="connsiteY1" fmla="*/ 60000 h 240000"/>
                <a:gd name="connsiteX2" fmla="*/ 360000 w 360000"/>
                <a:gd name="connsiteY2" fmla="*/ 150000 h 240000"/>
                <a:gd name="connsiteX3" fmla="*/ 270000 w 360000"/>
                <a:gd name="connsiteY3" fmla="*/ 240000 h 240000"/>
                <a:gd name="connsiteX4" fmla="*/ 135000 w 360000"/>
                <a:gd name="connsiteY4" fmla="*/ 240000 h 240000"/>
                <a:gd name="connsiteX5" fmla="*/ 128040 w 360000"/>
                <a:gd name="connsiteY5" fmla="*/ 239735 h 240000"/>
                <a:gd name="connsiteX6" fmla="*/ 120000 w 360000"/>
                <a:gd name="connsiteY6" fmla="*/ 240000 h 240000"/>
                <a:gd name="connsiteX7" fmla="*/ 0 w 360000"/>
                <a:gd name="connsiteY7" fmla="*/ 120000 h 240000"/>
                <a:gd name="connsiteX8" fmla="*/ 120000 w 360000"/>
                <a:gd name="connsiteY8" fmla="*/ 0 h 240000"/>
                <a:gd name="connsiteX9" fmla="*/ 223946 w 360000"/>
                <a:gd name="connsiteY9" fmla="*/ 6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0000" h="240000">
                  <a:moveTo>
                    <a:pt x="223946" y="60000"/>
                  </a:moveTo>
                  <a:lnTo>
                    <a:pt x="270000" y="60000"/>
                  </a:lnTo>
                  <a:cubicBezTo>
                    <a:pt x="319706" y="60000"/>
                    <a:pt x="360000" y="100295"/>
                    <a:pt x="360000" y="150000"/>
                  </a:cubicBezTo>
                  <a:cubicBezTo>
                    <a:pt x="360000" y="199706"/>
                    <a:pt x="319706" y="240000"/>
                    <a:pt x="270000" y="240000"/>
                  </a:cubicBezTo>
                  <a:lnTo>
                    <a:pt x="135000" y="240000"/>
                  </a:lnTo>
                  <a:cubicBezTo>
                    <a:pt x="132658" y="240000"/>
                    <a:pt x="130337" y="239910"/>
                    <a:pt x="128040" y="239735"/>
                  </a:cubicBezTo>
                  <a:cubicBezTo>
                    <a:pt x="125383" y="239910"/>
                    <a:pt x="122702" y="240000"/>
                    <a:pt x="120000" y="240000"/>
                  </a:cubicBezTo>
                  <a:cubicBezTo>
                    <a:pt x="53726" y="240000"/>
                    <a:pt x="0" y="186275"/>
                    <a:pt x="0" y="120000"/>
                  </a:cubicBezTo>
                  <a:cubicBezTo>
                    <a:pt x="0" y="53726"/>
                    <a:pt x="53726" y="0"/>
                    <a:pt x="120000" y="0"/>
                  </a:cubicBezTo>
                  <a:cubicBezTo>
                    <a:pt x="164417" y="0"/>
                    <a:pt x="203198" y="24132"/>
                    <a:pt x="223946" y="6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2" name="Полилиния 511">
              <a:extLst>
                <a:ext uri="{FF2B5EF4-FFF2-40B4-BE49-F238E27FC236}">
                  <a16:creationId xmlns:a16="http://schemas.microsoft.com/office/drawing/2014/main" id="{FBEDE5B9-55F4-4A4D-BCF0-FADEBCB74688}"/>
                </a:ext>
              </a:extLst>
            </p:cNvPr>
            <p:cNvSpPr/>
            <p:nvPr/>
          </p:nvSpPr>
          <p:spPr>
            <a:xfrm>
              <a:off x="3850856" y="5608698"/>
              <a:ext cx="94999" cy="120000"/>
            </a:xfrm>
            <a:custGeom>
              <a:avLst/>
              <a:gdLst>
                <a:gd name="connsiteX0" fmla="*/ 23749 w 94999"/>
                <a:gd name="connsiteY0" fmla="*/ 120000 h 120000"/>
                <a:gd name="connsiteX1" fmla="*/ 0 w 94999"/>
                <a:gd name="connsiteY1" fmla="*/ 99630 h 120000"/>
                <a:gd name="connsiteX2" fmla="*/ 23749 w 94999"/>
                <a:gd name="connsiteY2" fmla="*/ 79260 h 120000"/>
                <a:gd name="connsiteX3" fmla="*/ 31667 w 94999"/>
                <a:gd name="connsiteY3" fmla="*/ 80418 h 120000"/>
                <a:gd name="connsiteX4" fmla="*/ 31667 w 94999"/>
                <a:gd name="connsiteY4" fmla="*/ 23888 h 120000"/>
                <a:gd name="connsiteX5" fmla="*/ 37917 w 94999"/>
                <a:gd name="connsiteY5" fmla="*/ 14771 h 120000"/>
                <a:gd name="connsiteX6" fmla="*/ 83438 w 94999"/>
                <a:gd name="connsiteY6" fmla="*/ 441 h 120000"/>
                <a:gd name="connsiteX7" fmla="*/ 94999 w 94999"/>
                <a:gd name="connsiteY7" fmla="*/ 9560 h 120000"/>
                <a:gd name="connsiteX8" fmla="*/ 94999 w 94999"/>
                <a:gd name="connsiteY8" fmla="*/ 23888 h 120000"/>
                <a:gd name="connsiteX9" fmla="*/ 87084 w 94999"/>
                <a:gd name="connsiteY9" fmla="*/ 32592 h 120000"/>
                <a:gd name="connsiteX10" fmla="*/ 47501 w 94999"/>
                <a:gd name="connsiteY10" fmla="*/ 40740 h 120000"/>
                <a:gd name="connsiteX11" fmla="*/ 47501 w 94999"/>
                <a:gd name="connsiteY11" fmla="*/ 100047 h 120000"/>
                <a:gd name="connsiteX12" fmla="*/ 47330 w 94999"/>
                <a:gd name="connsiteY12" fmla="*/ 102080 h 120000"/>
                <a:gd name="connsiteX13" fmla="*/ 23749 w 94999"/>
                <a:gd name="connsiteY13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4999" h="120000">
                  <a:moveTo>
                    <a:pt x="23749" y="120000"/>
                  </a:moveTo>
                  <a:cubicBezTo>
                    <a:pt x="10633" y="120000"/>
                    <a:pt x="0" y="110880"/>
                    <a:pt x="0" y="99630"/>
                  </a:cubicBezTo>
                  <a:cubicBezTo>
                    <a:pt x="0" y="88380"/>
                    <a:pt x="10633" y="79260"/>
                    <a:pt x="23749" y="79260"/>
                  </a:cubicBezTo>
                  <a:cubicBezTo>
                    <a:pt x="26526" y="79260"/>
                    <a:pt x="29190" y="79668"/>
                    <a:pt x="31667" y="80418"/>
                  </a:cubicBezTo>
                  <a:lnTo>
                    <a:pt x="31667" y="23888"/>
                  </a:lnTo>
                  <a:cubicBezTo>
                    <a:pt x="31667" y="19710"/>
                    <a:pt x="34198" y="16017"/>
                    <a:pt x="37917" y="14771"/>
                  </a:cubicBezTo>
                  <a:lnTo>
                    <a:pt x="83438" y="441"/>
                  </a:lnTo>
                  <a:cubicBezTo>
                    <a:pt x="89172" y="-1480"/>
                    <a:pt x="94999" y="3114"/>
                    <a:pt x="94999" y="9560"/>
                  </a:cubicBezTo>
                  <a:lnTo>
                    <a:pt x="94999" y="23888"/>
                  </a:lnTo>
                  <a:cubicBezTo>
                    <a:pt x="94999" y="28665"/>
                    <a:pt x="90656" y="31715"/>
                    <a:pt x="87084" y="32592"/>
                  </a:cubicBezTo>
                  <a:cubicBezTo>
                    <a:pt x="81945" y="33855"/>
                    <a:pt x="68749" y="36572"/>
                    <a:pt x="47501" y="40740"/>
                  </a:cubicBezTo>
                  <a:lnTo>
                    <a:pt x="47501" y="100047"/>
                  </a:lnTo>
                  <a:cubicBezTo>
                    <a:pt x="47501" y="100779"/>
                    <a:pt x="47442" y="101456"/>
                    <a:pt x="47330" y="102080"/>
                  </a:cubicBezTo>
                  <a:cubicBezTo>
                    <a:pt x="45920" y="112175"/>
                    <a:pt x="35900" y="120000"/>
                    <a:pt x="23749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13" name="Рисунок 126">
            <a:extLst>
              <a:ext uri="{FF2B5EF4-FFF2-40B4-BE49-F238E27FC236}">
                <a16:creationId xmlns:a16="http://schemas.microsoft.com/office/drawing/2014/main" id="{850711BA-1A16-EC40-869E-225B3C738C2A}"/>
              </a:ext>
            </a:extLst>
          </p:cNvPr>
          <p:cNvGrpSpPr/>
          <p:nvPr/>
        </p:nvGrpSpPr>
        <p:grpSpPr>
          <a:xfrm>
            <a:off x="6702935" y="5132243"/>
            <a:ext cx="360000" cy="360000"/>
            <a:chOff x="6736388" y="5451199"/>
            <a:chExt cx="360000" cy="360000"/>
          </a:xfrm>
        </p:grpSpPr>
        <p:sp>
          <p:nvSpPr>
            <p:cNvPr id="514" name="Полилиния 513">
              <a:extLst>
                <a:ext uri="{FF2B5EF4-FFF2-40B4-BE49-F238E27FC236}">
                  <a16:creationId xmlns:a16="http://schemas.microsoft.com/office/drawing/2014/main" id="{4A897CB4-B057-5543-8218-4FF3AF15266D}"/>
                </a:ext>
              </a:extLst>
            </p:cNvPr>
            <p:cNvSpPr/>
            <p:nvPr/>
          </p:nvSpPr>
          <p:spPr>
            <a:xfrm>
              <a:off x="6736388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5" name="Полилиния 514">
              <a:extLst>
                <a:ext uri="{FF2B5EF4-FFF2-40B4-BE49-F238E27FC236}">
                  <a16:creationId xmlns:a16="http://schemas.microsoft.com/office/drawing/2014/main" id="{20F40A08-05FE-CA47-A631-2DF8F4C7D201}"/>
                </a:ext>
              </a:extLst>
            </p:cNvPr>
            <p:cNvSpPr/>
            <p:nvPr/>
          </p:nvSpPr>
          <p:spPr>
            <a:xfrm>
              <a:off x="6826388" y="5496198"/>
              <a:ext cx="180000" cy="270000"/>
            </a:xfrm>
            <a:custGeom>
              <a:avLst/>
              <a:gdLst>
                <a:gd name="connsiteX0" fmla="*/ 89678 w 180000"/>
                <a:gd name="connsiteY0" fmla="*/ 237011 h 270000"/>
                <a:gd name="connsiteX1" fmla="*/ 45000 w 180000"/>
                <a:gd name="connsiteY1" fmla="*/ 270000 h 270000"/>
                <a:gd name="connsiteX2" fmla="*/ 0 w 180000"/>
                <a:gd name="connsiteY2" fmla="*/ 232500 h 270000"/>
                <a:gd name="connsiteX3" fmla="*/ 45000 w 180000"/>
                <a:gd name="connsiteY3" fmla="*/ 195000 h 270000"/>
                <a:gd name="connsiteX4" fmla="*/ 60000 w 180000"/>
                <a:gd name="connsiteY4" fmla="*/ 197135 h 270000"/>
                <a:gd name="connsiteX5" fmla="*/ 60000 w 180000"/>
                <a:gd name="connsiteY5" fmla="*/ 43976 h 270000"/>
                <a:gd name="connsiteX6" fmla="*/ 71841 w 180000"/>
                <a:gd name="connsiteY6" fmla="*/ 27191 h 270000"/>
                <a:gd name="connsiteX7" fmla="*/ 158091 w 180000"/>
                <a:gd name="connsiteY7" fmla="*/ 813 h 270000"/>
                <a:gd name="connsiteX8" fmla="*/ 180000 w 180000"/>
                <a:gd name="connsiteY8" fmla="*/ 17598 h 270000"/>
                <a:gd name="connsiteX9" fmla="*/ 180000 w 180000"/>
                <a:gd name="connsiteY9" fmla="*/ 43976 h 270000"/>
                <a:gd name="connsiteX10" fmla="*/ 165000 w 180000"/>
                <a:gd name="connsiteY10" fmla="*/ 60000 h 270000"/>
                <a:gd name="connsiteX11" fmla="*/ 90000 w 180000"/>
                <a:gd name="connsiteY11" fmla="*/ 75000 h 270000"/>
                <a:gd name="connsiteX12" fmla="*/ 90000 w 180000"/>
                <a:gd name="connsiteY12" fmla="*/ 233268 h 270000"/>
                <a:gd name="connsiteX13" fmla="*/ 89678 w 180000"/>
                <a:gd name="connsiteY13" fmla="*/ 237011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0000" h="270000">
                  <a:moveTo>
                    <a:pt x="89678" y="237011"/>
                  </a:moveTo>
                  <a:cubicBezTo>
                    <a:pt x="87004" y="255594"/>
                    <a:pt x="68021" y="270000"/>
                    <a:pt x="45000" y="270000"/>
                  </a:cubicBezTo>
                  <a:cubicBezTo>
                    <a:pt x="20147" y="270000"/>
                    <a:pt x="0" y="253211"/>
                    <a:pt x="0" y="232500"/>
                  </a:cubicBezTo>
                  <a:cubicBezTo>
                    <a:pt x="0" y="211790"/>
                    <a:pt x="20147" y="195000"/>
                    <a:pt x="45000" y="195000"/>
                  </a:cubicBezTo>
                  <a:cubicBezTo>
                    <a:pt x="50260" y="195000"/>
                    <a:pt x="55308" y="195752"/>
                    <a:pt x="60000" y="197135"/>
                  </a:cubicBezTo>
                  <a:lnTo>
                    <a:pt x="60000" y="43976"/>
                  </a:lnTo>
                  <a:cubicBezTo>
                    <a:pt x="60000" y="36284"/>
                    <a:pt x="64797" y="29485"/>
                    <a:pt x="71841" y="27191"/>
                  </a:cubicBezTo>
                  <a:lnTo>
                    <a:pt x="158091" y="813"/>
                  </a:lnTo>
                  <a:cubicBezTo>
                    <a:pt x="168959" y="-2726"/>
                    <a:pt x="180000" y="5734"/>
                    <a:pt x="180000" y="17598"/>
                  </a:cubicBezTo>
                  <a:cubicBezTo>
                    <a:pt x="180000" y="29321"/>
                    <a:pt x="180000" y="38114"/>
                    <a:pt x="180000" y="43976"/>
                  </a:cubicBezTo>
                  <a:cubicBezTo>
                    <a:pt x="180000" y="52768"/>
                    <a:pt x="171768" y="58384"/>
                    <a:pt x="165000" y="60000"/>
                  </a:cubicBezTo>
                  <a:cubicBezTo>
                    <a:pt x="155264" y="62325"/>
                    <a:pt x="130263" y="67325"/>
                    <a:pt x="90000" y="75000"/>
                  </a:cubicBezTo>
                  <a:lnTo>
                    <a:pt x="90000" y="233268"/>
                  </a:lnTo>
                  <a:cubicBezTo>
                    <a:pt x="90000" y="234615"/>
                    <a:pt x="89890" y="235862"/>
                    <a:pt x="89678" y="237011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16" name="Рисунок 127">
            <a:extLst>
              <a:ext uri="{FF2B5EF4-FFF2-40B4-BE49-F238E27FC236}">
                <a16:creationId xmlns:a16="http://schemas.microsoft.com/office/drawing/2014/main" id="{64E2524E-6ECD-334B-A21B-B6E3F46294D6}"/>
              </a:ext>
            </a:extLst>
          </p:cNvPr>
          <p:cNvGrpSpPr/>
          <p:nvPr/>
        </p:nvGrpSpPr>
        <p:grpSpPr>
          <a:xfrm>
            <a:off x="9723467" y="5132243"/>
            <a:ext cx="369852" cy="360000"/>
            <a:chOff x="9756920" y="5451199"/>
            <a:chExt cx="369852" cy="360000"/>
          </a:xfrm>
        </p:grpSpPr>
        <p:sp>
          <p:nvSpPr>
            <p:cNvPr id="517" name="Полилиния 516">
              <a:extLst>
                <a:ext uri="{FF2B5EF4-FFF2-40B4-BE49-F238E27FC236}">
                  <a16:creationId xmlns:a16="http://schemas.microsoft.com/office/drawing/2014/main" id="{4C978279-51B4-E74E-BF0D-37AE59BD60E6}"/>
                </a:ext>
              </a:extLst>
            </p:cNvPr>
            <p:cNvSpPr/>
            <p:nvPr/>
          </p:nvSpPr>
          <p:spPr>
            <a:xfrm>
              <a:off x="9756920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8" name="Полилиния 517">
              <a:extLst>
                <a:ext uri="{FF2B5EF4-FFF2-40B4-BE49-F238E27FC236}">
                  <a16:creationId xmlns:a16="http://schemas.microsoft.com/office/drawing/2014/main" id="{8734A035-FFEF-BC4E-9096-B80F1CEB70C0}"/>
                </a:ext>
              </a:extLst>
            </p:cNvPr>
            <p:cNvSpPr/>
            <p:nvPr/>
          </p:nvSpPr>
          <p:spPr>
            <a:xfrm rot="-2700000">
              <a:off x="9981920" y="5571198"/>
              <a:ext cx="120000" cy="120000"/>
            </a:xfrm>
            <a:custGeom>
              <a:avLst/>
              <a:gdLst>
                <a:gd name="connsiteX0" fmla="*/ 45000 w 120000"/>
                <a:gd name="connsiteY0" fmla="*/ 45000 h 120000"/>
                <a:gd name="connsiteX1" fmla="*/ 45000 w 120000"/>
                <a:gd name="connsiteY1" fmla="*/ 15000 h 120000"/>
                <a:gd name="connsiteX2" fmla="*/ 60000 w 120000"/>
                <a:gd name="connsiteY2" fmla="*/ 0 h 120000"/>
                <a:gd name="connsiteX3" fmla="*/ 75000 w 120000"/>
                <a:gd name="connsiteY3" fmla="*/ 15000 h 120000"/>
                <a:gd name="connsiteX4" fmla="*/ 75000 w 120000"/>
                <a:gd name="connsiteY4" fmla="*/ 45000 h 120000"/>
                <a:gd name="connsiteX5" fmla="*/ 105000 w 120000"/>
                <a:gd name="connsiteY5" fmla="*/ 45000 h 120000"/>
                <a:gd name="connsiteX6" fmla="*/ 120000 w 120000"/>
                <a:gd name="connsiteY6" fmla="*/ 60000 h 120000"/>
                <a:gd name="connsiteX7" fmla="*/ 105000 w 120000"/>
                <a:gd name="connsiteY7" fmla="*/ 75000 h 120000"/>
                <a:gd name="connsiteX8" fmla="*/ 75000 w 120000"/>
                <a:gd name="connsiteY8" fmla="*/ 75000 h 120000"/>
                <a:gd name="connsiteX9" fmla="*/ 75000 w 120000"/>
                <a:gd name="connsiteY9" fmla="*/ 105000 h 120000"/>
                <a:gd name="connsiteX10" fmla="*/ 60000 w 120000"/>
                <a:gd name="connsiteY10" fmla="*/ 120000 h 120000"/>
                <a:gd name="connsiteX11" fmla="*/ 45000 w 120000"/>
                <a:gd name="connsiteY11" fmla="*/ 105000 h 120000"/>
                <a:gd name="connsiteX12" fmla="*/ 45000 w 120000"/>
                <a:gd name="connsiteY12" fmla="*/ 75000 h 120000"/>
                <a:gd name="connsiteX13" fmla="*/ 15000 w 120000"/>
                <a:gd name="connsiteY13" fmla="*/ 75000 h 120000"/>
                <a:gd name="connsiteX14" fmla="*/ 0 w 120000"/>
                <a:gd name="connsiteY14" fmla="*/ 60000 h 120000"/>
                <a:gd name="connsiteX15" fmla="*/ 15000 w 120000"/>
                <a:gd name="connsiteY15" fmla="*/ 45000 h 120000"/>
                <a:gd name="connsiteX16" fmla="*/ 45000 w 120000"/>
                <a:gd name="connsiteY16" fmla="*/ 4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0000" h="120000">
                  <a:moveTo>
                    <a:pt x="45000" y="45000"/>
                  </a:moveTo>
                  <a:lnTo>
                    <a:pt x="45000" y="15000"/>
                  </a:lnTo>
                  <a:cubicBezTo>
                    <a:pt x="45000" y="6716"/>
                    <a:pt x="51716" y="0"/>
                    <a:pt x="60000" y="0"/>
                  </a:cubicBezTo>
                  <a:cubicBezTo>
                    <a:pt x="68285" y="0"/>
                    <a:pt x="75000" y="6716"/>
                    <a:pt x="75000" y="15000"/>
                  </a:cubicBezTo>
                  <a:lnTo>
                    <a:pt x="75000" y="45000"/>
                  </a:lnTo>
                  <a:lnTo>
                    <a:pt x="105000" y="45000"/>
                  </a:lnTo>
                  <a:cubicBezTo>
                    <a:pt x="113285" y="45000"/>
                    <a:pt x="120000" y="51716"/>
                    <a:pt x="120000" y="60000"/>
                  </a:cubicBezTo>
                  <a:cubicBezTo>
                    <a:pt x="120000" y="68285"/>
                    <a:pt x="113285" y="75000"/>
                    <a:pt x="105000" y="75000"/>
                  </a:cubicBezTo>
                  <a:lnTo>
                    <a:pt x="75000" y="75000"/>
                  </a:lnTo>
                  <a:lnTo>
                    <a:pt x="75000" y="105000"/>
                  </a:lnTo>
                  <a:cubicBezTo>
                    <a:pt x="75000" y="113285"/>
                    <a:pt x="68285" y="120000"/>
                    <a:pt x="60000" y="120000"/>
                  </a:cubicBezTo>
                  <a:cubicBezTo>
                    <a:pt x="51716" y="120000"/>
                    <a:pt x="45000" y="113285"/>
                    <a:pt x="45000" y="105000"/>
                  </a:cubicBezTo>
                  <a:lnTo>
                    <a:pt x="45000" y="75000"/>
                  </a:lnTo>
                  <a:lnTo>
                    <a:pt x="15000" y="75000"/>
                  </a:lnTo>
                  <a:cubicBezTo>
                    <a:pt x="6715" y="75000"/>
                    <a:pt x="0" y="68285"/>
                    <a:pt x="0" y="60000"/>
                  </a:cubicBezTo>
                  <a:cubicBezTo>
                    <a:pt x="0" y="51716"/>
                    <a:pt x="6715" y="45000"/>
                    <a:pt x="15000" y="45000"/>
                  </a:cubicBezTo>
                  <a:lnTo>
                    <a:pt x="45000" y="4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9" name="Полилиния 518">
              <a:extLst>
                <a:ext uri="{FF2B5EF4-FFF2-40B4-BE49-F238E27FC236}">
                  <a16:creationId xmlns:a16="http://schemas.microsoft.com/office/drawing/2014/main" id="{0D9F8A63-7947-EE4A-B056-E506486281C1}"/>
                </a:ext>
              </a:extLst>
            </p:cNvPr>
            <p:cNvSpPr/>
            <p:nvPr/>
          </p:nvSpPr>
          <p:spPr>
            <a:xfrm>
              <a:off x="9786920" y="5517412"/>
              <a:ext cx="150000" cy="227573"/>
            </a:xfrm>
            <a:custGeom>
              <a:avLst/>
              <a:gdLst>
                <a:gd name="connsiteX0" fmla="*/ 75000 w 150000"/>
                <a:gd name="connsiteY0" fmla="*/ 173787 h 227573"/>
                <a:gd name="connsiteX1" fmla="*/ 24117 w 150000"/>
                <a:gd name="connsiteY1" fmla="*/ 163611 h 227573"/>
                <a:gd name="connsiteX2" fmla="*/ 0 w 150000"/>
                <a:gd name="connsiteY2" fmla="*/ 134193 h 227573"/>
                <a:gd name="connsiteX3" fmla="*/ 0 w 150000"/>
                <a:gd name="connsiteY3" fmla="*/ 93381 h 227573"/>
                <a:gd name="connsiteX4" fmla="*/ 24117 w 150000"/>
                <a:gd name="connsiteY4" fmla="*/ 63964 h 227573"/>
                <a:gd name="connsiteX5" fmla="*/ 75000 w 150000"/>
                <a:gd name="connsiteY5" fmla="*/ 53787 h 227573"/>
                <a:gd name="connsiteX6" fmla="*/ 124394 w 150000"/>
                <a:gd name="connsiteY6" fmla="*/ 4393 h 227573"/>
                <a:gd name="connsiteX7" fmla="*/ 145607 w 150000"/>
                <a:gd name="connsiteY7" fmla="*/ 4393 h 227573"/>
                <a:gd name="connsiteX8" fmla="*/ 150000 w 150000"/>
                <a:gd name="connsiteY8" fmla="*/ 15000 h 227573"/>
                <a:gd name="connsiteX9" fmla="*/ 150000 w 150000"/>
                <a:gd name="connsiteY9" fmla="*/ 212574 h 227573"/>
                <a:gd name="connsiteX10" fmla="*/ 135000 w 150000"/>
                <a:gd name="connsiteY10" fmla="*/ 227574 h 227573"/>
                <a:gd name="connsiteX11" fmla="*/ 124394 w 150000"/>
                <a:gd name="connsiteY11" fmla="*/ 223180 h 227573"/>
                <a:gd name="connsiteX12" fmla="*/ 75000 w 150000"/>
                <a:gd name="connsiteY12" fmla="*/ 173787 h 22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0000" h="227573">
                  <a:moveTo>
                    <a:pt x="75000" y="173787"/>
                  </a:moveTo>
                  <a:lnTo>
                    <a:pt x="24117" y="163611"/>
                  </a:lnTo>
                  <a:cubicBezTo>
                    <a:pt x="10094" y="160806"/>
                    <a:pt x="0" y="148494"/>
                    <a:pt x="0" y="134193"/>
                  </a:cubicBezTo>
                  <a:lnTo>
                    <a:pt x="0" y="93381"/>
                  </a:lnTo>
                  <a:cubicBezTo>
                    <a:pt x="0" y="79081"/>
                    <a:pt x="10094" y="66768"/>
                    <a:pt x="24117" y="63964"/>
                  </a:cubicBezTo>
                  <a:lnTo>
                    <a:pt x="75000" y="53787"/>
                  </a:lnTo>
                  <a:lnTo>
                    <a:pt x="124394" y="4393"/>
                  </a:lnTo>
                  <a:cubicBezTo>
                    <a:pt x="130251" y="-1464"/>
                    <a:pt x="139749" y="-1464"/>
                    <a:pt x="145607" y="4393"/>
                  </a:cubicBezTo>
                  <a:cubicBezTo>
                    <a:pt x="148419" y="7206"/>
                    <a:pt x="150000" y="11022"/>
                    <a:pt x="150000" y="15000"/>
                  </a:cubicBezTo>
                  <a:lnTo>
                    <a:pt x="150000" y="212574"/>
                  </a:lnTo>
                  <a:cubicBezTo>
                    <a:pt x="150000" y="220858"/>
                    <a:pt x="143285" y="227574"/>
                    <a:pt x="135000" y="227574"/>
                  </a:cubicBezTo>
                  <a:cubicBezTo>
                    <a:pt x="131022" y="227574"/>
                    <a:pt x="127206" y="225993"/>
                    <a:pt x="124394" y="223180"/>
                  </a:cubicBezTo>
                  <a:lnTo>
                    <a:pt x="75000" y="17378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20" name="Рисунок 128">
            <a:extLst>
              <a:ext uri="{FF2B5EF4-FFF2-40B4-BE49-F238E27FC236}">
                <a16:creationId xmlns:a16="http://schemas.microsoft.com/office/drawing/2014/main" id="{66F51667-A2C4-C842-9E2C-189E67115185}"/>
              </a:ext>
            </a:extLst>
          </p:cNvPr>
          <p:cNvGrpSpPr/>
          <p:nvPr/>
        </p:nvGrpSpPr>
        <p:grpSpPr>
          <a:xfrm>
            <a:off x="8968334" y="5132243"/>
            <a:ext cx="360000" cy="360000"/>
            <a:chOff x="9001787" y="5451199"/>
            <a:chExt cx="360000" cy="360000"/>
          </a:xfrm>
        </p:grpSpPr>
        <p:sp>
          <p:nvSpPr>
            <p:cNvPr id="521" name="Полилиния 520">
              <a:extLst>
                <a:ext uri="{FF2B5EF4-FFF2-40B4-BE49-F238E27FC236}">
                  <a16:creationId xmlns:a16="http://schemas.microsoft.com/office/drawing/2014/main" id="{62F1B6A6-6579-254D-8FA7-FE4109C82596}"/>
                </a:ext>
              </a:extLst>
            </p:cNvPr>
            <p:cNvSpPr/>
            <p:nvPr/>
          </p:nvSpPr>
          <p:spPr>
            <a:xfrm>
              <a:off x="9001787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2" name="Полилиния 521">
              <a:extLst>
                <a:ext uri="{FF2B5EF4-FFF2-40B4-BE49-F238E27FC236}">
                  <a16:creationId xmlns:a16="http://schemas.microsoft.com/office/drawing/2014/main" id="{808C9DD9-646E-E64A-9A7B-3AAD3CEA5B80}"/>
                </a:ext>
              </a:extLst>
            </p:cNvPr>
            <p:cNvSpPr/>
            <p:nvPr/>
          </p:nvSpPr>
          <p:spPr>
            <a:xfrm>
              <a:off x="9091787" y="5535261"/>
              <a:ext cx="116110" cy="191943"/>
            </a:xfrm>
            <a:custGeom>
              <a:avLst/>
              <a:gdLst>
                <a:gd name="connsiteX0" fmla="*/ 12430 w 116110"/>
                <a:gd name="connsiteY0" fmla="*/ 190096 h 191943"/>
                <a:gd name="connsiteX1" fmla="*/ 113541 w 116110"/>
                <a:gd name="connsiteY1" fmla="*/ 101902 h 191943"/>
                <a:gd name="connsiteX2" fmla="*/ 114263 w 116110"/>
                <a:gd name="connsiteY2" fmla="*/ 91321 h 191943"/>
                <a:gd name="connsiteX3" fmla="*/ 113558 w 116110"/>
                <a:gd name="connsiteY3" fmla="*/ 90613 h 191943"/>
                <a:gd name="connsiteX4" fmla="*/ 12448 w 116110"/>
                <a:gd name="connsiteY4" fmla="*/ 1863 h 191943"/>
                <a:gd name="connsiteX5" fmla="*/ 1863 w 116110"/>
                <a:gd name="connsiteY5" fmla="*/ 2553 h 191943"/>
                <a:gd name="connsiteX6" fmla="*/ 0 w 116110"/>
                <a:gd name="connsiteY6" fmla="*/ 7500 h 191943"/>
                <a:gd name="connsiteX7" fmla="*/ 0 w 116110"/>
                <a:gd name="connsiteY7" fmla="*/ 184444 h 191943"/>
                <a:gd name="connsiteX8" fmla="*/ 7500 w 116110"/>
                <a:gd name="connsiteY8" fmla="*/ 191944 h 191943"/>
                <a:gd name="connsiteX9" fmla="*/ 12430 w 116110"/>
                <a:gd name="connsiteY9" fmla="*/ 190096 h 191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0" h="191943">
                  <a:moveTo>
                    <a:pt x="12430" y="190096"/>
                  </a:moveTo>
                  <a:lnTo>
                    <a:pt x="113541" y="101902"/>
                  </a:lnTo>
                  <a:cubicBezTo>
                    <a:pt x="116663" y="99179"/>
                    <a:pt x="116985" y="94442"/>
                    <a:pt x="114263" y="91321"/>
                  </a:cubicBezTo>
                  <a:cubicBezTo>
                    <a:pt x="114043" y="91069"/>
                    <a:pt x="113808" y="90833"/>
                    <a:pt x="113558" y="90613"/>
                  </a:cubicBezTo>
                  <a:lnTo>
                    <a:pt x="12448" y="1863"/>
                  </a:lnTo>
                  <a:cubicBezTo>
                    <a:pt x="9335" y="-869"/>
                    <a:pt x="4596" y="-561"/>
                    <a:pt x="1863" y="2553"/>
                  </a:cubicBezTo>
                  <a:cubicBezTo>
                    <a:pt x="662" y="3921"/>
                    <a:pt x="0" y="5679"/>
                    <a:pt x="0" y="7500"/>
                  </a:cubicBezTo>
                  <a:lnTo>
                    <a:pt x="0" y="184444"/>
                  </a:lnTo>
                  <a:cubicBezTo>
                    <a:pt x="0" y="188585"/>
                    <a:pt x="3358" y="191944"/>
                    <a:pt x="7500" y="191944"/>
                  </a:cubicBezTo>
                  <a:cubicBezTo>
                    <a:pt x="9313" y="191944"/>
                    <a:pt x="11064" y="191287"/>
                    <a:pt x="12430" y="190096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3" name="Скругленный прямоугольник 522">
              <a:extLst>
                <a:ext uri="{FF2B5EF4-FFF2-40B4-BE49-F238E27FC236}">
                  <a16:creationId xmlns:a16="http://schemas.microsoft.com/office/drawing/2014/main" id="{DC02BBBF-8DD5-7F49-B2D5-C5C65F793FDD}"/>
                </a:ext>
              </a:extLst>
            </p:cNvPr>
            <p:cNvSpPr/>
            <p:nvPr/>
          </p:nvSpPr>
          <p:spPr>
            <a:xfrm rot="10800000" flipV="1">
              <a:off x="9226787" y="5541199"/>
              <a:ext cx="45000" cy="18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24" name="Рисунок 129">
            <a:extLst>
              <a:ext uri="{FF2B5EF4-FFF2-40B4-BE49-F238E27FC236}">
                <a16:creationId xmlns:a16="http://schemas.microsoft.com/office/drawing/2014/main" id="{91371D59-C1B6-2244-9DF1-4B711E7C9FAB}"/>
              </a:ext>
            </a:extLst>
          </p:cNvPr>
          <p:cNvGrpSpPr/>
          <p:nvPr/>
        </p:nvGrpSpPr>
        <p:grpSpPr>
          <a:xfrm>
            <a:off x="7458068" y="5132243"/>
            <a:ext cx="360000" cy="360000"/>
            <a:chOff x="7491521" y="5451199"/>
            <a:chExt cx="360000" cy="360000"/>
          </a:xfrm>
        </p:grpSpPr>
        <p:sp>
          <p:nvSpPr>
            <p:cNvPr id="525" name="Полилиния 524">
              <a:extLst>
                <a:ext uri="{FF2B5EF4-FFF2-40B4-BE49-F238E27FC236}">
                  <a16:creationId xmlns:a16="http://schemas.microsoft.com/office/drawing/2014/main" id="{141F3BE4-1AF1-0F46-84B8-0CF04D15E974}"/>
                </a:ext>
              </a:extLst>
            </p:cNvPr>
            <p:cNvSpPr/>
            <p:nvPr/>
          </p:nvSpPr>
          <p:spPr>
            <a:xfrm>
              <a:off x="7491521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6" name="Полилиния 525">
              <a:extLst>
                <a:ext uri="{FF2B5EF4-FFF2-40B4-BE49-F238E27FC236}">
                  <a16:creationId xmlns:a16="http://schemas.microsoft.com/office/drawing/2014/main" id="{E1251C6A-8629-6743-8804-EEDA74D8BA5C}"/>
                </a:ext>
              </a:extLst>
            </p:cNvPr>
            <p:cNvSpPr/>
            <p:nvPr/>
          </p:nvSpPr>
          <p:spPr>
            <a:xfrm>
              <a:off x="7601512" y="5496199"/>
              <a:ext cx="153964" cy="165000"/>
            </a:xfrm>
            <a:custGeom>
              <a:avLst/>
              <a:gdLst>
                <a:gd name="connsiteX0" fmla="*/ 83223 w 153964"/>
                <a:gd name="connsiteY0" fmla="*/ 3 h 165000"/>
                <a:gd name="connsiteX1" fmla="*/ 72188 w 153964"/>
                <a:gd name="connsiteY1" fmla="*/ 41250 h 165000"/>
                <a:gd name="connsiteX2" fmla="*/ 153964 w 153964"/>
                <a:gd name="connsiteY2" fmla="*/ 123747 h 165000"/>
                <a:gd name="connsiteX3" fmla="*/ 82500 w 153964"/>
                <a:gd name="connsiteY3" fmla="*/ 165000 h 165000"/>
                <a:gd name="connsiteX4" fmla="*/ 0 w 153964"/>
                <a:gd name="connsiteY4" fmla="*/ 82500 h 165000"/>
                <a:gd name="connsiteX5" fmla="*/ 82500 w 153964"/>
                <a:gd name="connsiteY5" fmla="*/ 0 h 165000"/>
                <a:gd name="connsiteX6" fmla="*/ 83223 w 153964"/>
                <a:gd name="connsiteY6" fmla="*/ 3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964" h="165000">
                  <a:moveTo>
                    <a:pt x="83223" y="3"/>
                  </a:moveTo>
                  <a:cubicBezTo>
                    <a:pt x="76205" y="12137"/>
                    <a:pt x="72188" y="26225"/>
                    <a:pt x="72188" y="41250"/>
                  </a:cubicBezTo>
                  <a:cubicBezTo>
                    <a:pt x="72188" y="86572"/>
                    <a:pt x="108734" y="123359"/>
                    <a:pt x="153964" y="123747"/>
                  </a:cubicBezTo>
                  <a:cubicBezTo>
                    <a:pt x="139701" y="148409"/>
                    <a:pt x="113039" y="165000"/>
                    <a:pt x="82500" y="165000"/>
                  </a:cubicBezTo>
                  <a:cubicBezTo>
                    <a:pt x="36936" y="165000"/>
                    <a:pt x="0" y="128064"/>
                    <a:pt x="0" y="82500"/>
                  </a:cubicBezTo>
                  <a:cubicBezTo>
                    <a:pt x="0" y="36936"/>
                    <a:pt x="36936" y="0"/>
                    <a:pt x="82500" y="0"/>
                  </a:cubicBezTo>
                  <a:cubicBezTo>
                    <a:pt x="82742" y="0"/>
                    <a:pt x="82981" y="1"/>
                    <a:pt x="83223" y="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7" name="Полилиния 526">
              <a:extLst>
                <a:ext uri="{FF2B5EF4-FFF2-40B4-BE49-F238E27FC236}">
                  <a16:creationId xmlns:a16="http://schemas.microsoft.com/office/drawing/2014/main" id="{CBE086C9-51C6-DD43-8993-04BAE0F89B8B}"/>
                </a:ext>
              </a:extLst>
            </p:cNvPr>
            <p:cNvSpPr/>
            <p:nvPr/>
          </p:nvSpPr>
          <p:spPr>
            <a:xfrm>
              <a:off x="7521521" y="5691199"/>
              <a:ext cx="300000" cy="75000"/>
            </a:xfrm>
            <a:custGeom>
              <a:avLst/>
              <a:gdLst>
                <a:gd name="connsiteX0" fmla="*/ 7500 w 300000"/>
                <a:gd name="connsiteY0" fmla="*/ 0 h 75000"/>
                <a:gd name="connsiteX1" fmla="*/ 292500 w 300000"/>
                <a:gd name="connsiteY1" fmla="*/ 0 h 75000"/>
                <a:gd name="connsiteX2" fmla="*/ 300000 w 300000"/>
                <a:gd name="connsiteY2" fmla="*/ 7500 h 75000"/>
                <a:gd name="connsiteX3" fmla="*/ 292500 w 300000"/>
                <a:gd name="connsiteY3" fmla="*/ 15000 h 75000"/>
                <a:gd name="connsiteX4" fmla="*/ 7500 w 300000"/>
                <a:gd name="connsiteY4" fmla="*/ 15000 h 75000"/>
                <a:gd name="connsiteX5" fmla="*/ 0 w 300000"/>
                <a:gd name="connsiteY5" fmla="*/ 7500 h 75000"/>
                <a:gd name="connsiteX6" fmla="*/ 7500 w 300000"/>
                <a:gd name="connsiteY6" fmla="*/ 0 h 75000"/>
                <a:gd name="connsiteX7" fmla="*/ 7500 w 300000"/>
                <a:gd name="connsiteY7" fmla="*/ 30000 h 75000"/>
                <a:gd name="connsiteX8" fmla="*/ 82500 w 300000"/>
                <a:gd name="connsiteY8" fmla="*/ 30000 h 75000"/>
                <a:gd name="connsiteX9" fmla="*/ 90000 w 300000"/>
                <a:gd name="connsiteY9" fmla="*/ 37500 h 75000"/>
                <a:gd name="connsiteX10" fmla="*/ 82500 w 300000"/>
                <a:gd name="connsiteY10" fmla="*/ 45000 h 75000"/>
                <a:gd name="connsiteX11" fmla="*/ 7500 w 300000"/>
                <a:gd name="connsiteY11" fmla="*/ 45000 h 75000"/>
                <a:gd name="connsiteX12" fmla="*/ 0 w 300000"/>
                <a:gd name="connsiteY12" fmla="*/ 37500 h 75000"/>
                <a:gd name="connsiteX13" fmla="*/ 7500 w 300000"/>
                <a:gd name="connsiteY13" fmla="*/ 30000 h 75000"/>
                <a:gd name="connsiteX14" fmla="*/ 187500 w 300000"/>
                <a:gd name="connsiteY14" fmla="*/ 60000 h 75000"/>
                <a:gd name="connsiteX15" fmla="*/ 292500 w 300000"/>
                <a:gd name="connsiteY15" fmla="*/ 60000 h 75000"/>
                <a:gd name="connsiteX16" fmla="*/ 300000 w 300000"/>
                <a:gd name="connsiteY16" fmla="*/ 67500 h 75000"/>
                <a:gd name="connsiteX17" fmla="*/ 292500 w 300000"/>
                <a:gd name="connsiteY17" fmla="*/ 75000 h 75000"/>
                <a:gd name="connsiteX18" fmla="*/ 187500 w 300000"/>
                <a:gd name="connsiteY18" fmla="*/ 75000 h 75000"/>
                <a:gd name="connsiteX19" fmla="*/ 180000 w 300000"/>
                <a:gd name="connsiteY19" fmla="*/ 67500 h 75000"/>
                <a:gd name="connsiteX20" fmla="*/ 187500 w 300000"/>
                <a:gd name="connsiteY20" fmla="*/ 60000 h 75000"/>
                <a:gd name="connsiteX21" fmla="*/ 112500 w 300000"/>
                <a:gd name="connsiteY21" fmla="*/ 30000 h 75000"/>
                <a:gd name="connsiteX22" fmla="*/ 292500 w 300000"/>
                <a:gd name="connsiteY22" fmla="*/ 30000 h 75000"/>
                <a:gd name="connsiteX23" fmla="*/ 300000 w 300000"/>
                <a:gd name="connsiteY23" fmla="*/ 37500 h 75000"/>
                <a:gd name="connsiteX24" fmla="*/ 292500 w 300000"/>
                <a:gd name="connsiteY24" fmla="*/ 45000 h 75000"/>
                <a:gd name="connsiteX25" fmla="*/ 112500 w 300000"/>
                <a:gd name="connsiteY25" fmla="*/ 45000 h 75000"/>
                <a:gd name="connsiteX26" fmla="*/ 105000 w 300000"/>
                <a:gd name="connsiteY26" fmla="*/ 37500 h 75000"/>
                <a:gd name="connsiteX27" fmla="*/ 112500 w 300000"/>
                <a:gd name="connsiteY27" fmla="*/ 30000 h 75000"/>
                <a:gd name="connsiteX28" fmla="*/ 7500 w 300000"/>
                <a:gd name="connsiteY28" fmla="*/ 60000 h 75000"/>
                <a:gd name="connsiteX29" fmla="*/ 157500 w 300000"/>
                <a:gd name="connsiteY29" fmla="*/ 60000 h 75000"/>
                <a:gd name="connsiteX30" fmla="*/ 165000 w 300000"/>
                <a:gd name="connsiteY30" fmla="*/ 67500 h 75000"/>
                <a:gd name="connsiteX31" fmla="*/ 157500 w 300000"/>
                <a:gd name="connsiteY31" fmla="*/ 75000 h 75000"/>
                <a:gd name="connsiteX32" fmla="*/ 7500 w 300000"/>
                <a:gd name="connsiteY32" fmla="*/ 75000 h 75000"/>
                <a:gd name="connsiteX33" fmla="*/ 0 w 300000"/>
                <a:gd name="connsiteY33" fmla="*/ 67500 h 75000"/>
                <a:gd name="connsiteX34" fmla="*/ 7500 w 300000"/>
                <a:gd name="connsiteY34" fmla="*/ 600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00000" h="75000">
                  <a:moveTo>
                    <a:pt x="7500" y="0"/>
                  </a:moveTo>
                  <a:lnTo>
                    <a:pt x="292500" y="0"/>
                  </a:lnTo>
                  <a:cubicBezTo>
                    <a:pt x="296642" y="0"/>
                    <a:pt x="300000" y="3358"/>
                    <a:pt x="300000" y="7500"/>
                  </a:cubicBezTo>
                  <a:cubicBezTo>
                    <a:pt x="300000" y="11642"/>
                    <a:pt x="296642" y="15000"/>
                    <a:pt x="292500" y="15000"/>
                  </a:cubicBezTo>
                  <a:lnTo>
                    <a:pt x="7500" y="15000"/>
                  </a:lnTo>
                  <a:cubicBezTo>
                    <a:pt x="3358" y="15000"/>
                    <a:pt x="0" y="11642"/>
                    <a:pt x="0" y="7500"/>
                  </a:cubicBezTo>
                  <a:cubicBezTo>
                    <a:pt x="0" y="3358"/>
                    <a:pt x="3358" y="0"/>
                    <a:pt x="7500" y="0"/>
                  </a:cubicBezTo>
                  <a:close/>
                  <a:moveTo>
                    <a:pt x="7500" y="30000"/>
                  </a:moveTo>
                  <a:lnTo>
                    <a:pt x="82500" y="30000"/>
                  </a:lnTo>
                  <a:cubicBezTo>
                    <a:pt x="86642" y="30000"/>
                    <a:pt x="90000" y="33358"/>
                    <a:pt x="90000" y="37500"/>
                  </a:cubicBezTo>
                  <a:cubicBezTo>
                    <a:pt x="90000" y="41642"/>
                    <a:pt x="86642" y="45000"/>
                    <a:pt x="82500" y="45000"/>
                  </a:cubicBezTo>
                  <a:lnTo>
                    <a:pt x="7500" y="45000"/>
                  </a:lnTo>
                  <a:cubicBezTo>
                    <a:pt x="3358" y="45000"/>
                    <a:pt x="0" y="41642"/>
                    <a:pt x="0" y="37500"/>
                  </a:cubicBezTo>
                  <a:cubicBezTo>
                    <a:pt x="0" y="33358"/>
                    <a:pt x="3358" y="30000"/>
                    <a:pt x="7500" y="30000"/>
                  </a:cubicBezTo>
                  <a:close/>
                  <a:moveTo>
                    <a:pt x="187500" y="60000"/>
                  </a:moveTo>
                  <a:lnTo>
                    <a:pt x="292500" y="60000"/>
                  </a:lnTo>
                  <a:cubicBezTo>
                    <a:pt x="296642" y="60000"/>
                    <a:pt x="300000" y="63358"/>
                    <a:pt x="300000" y="67500"/>
                  </a:cubicBezTo>
                  <a:cubicBezTo>
                    <a:pt x="300000" y="71642"/>
                    <a:pt x="296642" y="75000"/>
                    <a:pt x="292500" y="75000"/>
                  </a:cubicBezTo>
                  <a:lnTo>
                    <a:pt x="187500" y="75000"/>
                  </a:lnTo>
                  <a:cubicBezTo>
                    <a:pt x="183359" y="75000"/>
                    <a:pt x="180000" y="71642"/>
                    <a:pt x="180000" y="67500"/>
                  </a:cubicBezTo>
                  <a:cubicBezTo>
                    <a:pt x="180000" y="63358"/>
                    <a:pt x="183359" y="60000"/>
                    <a:pt x="187500" y="60000"/>
                  </a:cubicBezTo>
                  <a:close/>
                  <a:moveTo>
                    <a:pt x="112500" y="30000"/>
                  </a:moveTo>
                  <a:lnTo>
                    <a:pt x="292500" y="30000"/>
                  </a:lnTo>
                  <a:cubicBezTo>
                    <a:pt x="296642" y="30000"/>
                    <a:pt x="300000" y="33358"/>
                    <a:pt x="300000" y="37500"/>
                  </a:cubicBezTo>
                  <a:cubicBezTo>
                    <a:pt x="300000" y="41642"/>
                    <a:pt x="296642" y="45000"/>
                    <a:pt x="292500" y="45000"/>
                  </a:cubicBezTo>
                  <a:lnTo>
                    <a:pt x="112500" y="45000"/>
                  </a:lnTo>
                  <a:cubicBezTo>
                    <a:pt x="108358" y="45000"/>
                    <a:pt x="105000" y="41642"/>
                    <a:pt x="105000" y="37500"/>
                  </a:cubicBezTo>
                  <a:cubicBezTo>
                    <a:pt x="105000" y="33358"/>
                    <a:pt x="108358" y="30000"/>
                    <a:pt x="112500" y="30000"/>
                  </a:cubicBezTo>
                  <a:close/>
                  <a:moveTo>
                    <a:pt x="7500" y="60000"/>
                  </a:moveTo>
                  <a:lnTo>
                    <a:pt x="157500" y="60000"/>
                  </a:lnTo>
                  <a:cubicBezTo>
                    <a:pt x="161642" y="60000"/>
                    <a:pt x="165000" y="63358"/>
                    <a:pt x="165000" y="67500"/>
                  </a:cubicBezTo>
                  <a:cubicBezTo>
                    <a:pt x="165000" y="71642"/>
                    <a:pt x="161642" y="75000"/>
                    <a:pt x="157500" y="75000"/>
                  </a:cubicBezTo>
                  <a:lnTo>
                    <a:pt x="7500" y="75000"/>
                  </a:lnTo>
                  <a:cubicBezTo>
                    <a:pt x="3358" y="75000"/>
                    <a:pt x="0" y="71642"/>
                    <a:pt x="0" y="67500"/>
                  </a:cubicBezTo>
                  <a:cubicBezTo>
                    <a:pt x="0" y="63358"/>
                    <a:pt x="3358" y="60000"/>
                    <a:pt x="7500" y="6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28" name="Рисунок 130">
            <a:extLst>
              <a:ext uri="{FF2B5EF4-FFF2-40B4-BE49-F238E27FC236}">
                <a16:creationId xmlns:a16="http://schemas.microsoft.com/office/drawing/2014/main" id="{794463F6-5F8D-7A45-BA5A-2A485477047C}"/>
              </a:ext>
            </a:extLst>
          </p:cNvPr>
          <p:cNvGrpSpPr/>
          <p:nvPr/>
        </p:nvGrpSpPr>
        <p:grpSpPr>
          <a:xfrm>
            <a:off x="8213201" y="5132243"/>
            <a:ext cx="360000" cy="360000"/>
            <a:chOff x="8246654" y="5451199"/>
            <a:chExt cx="360000" cy="360000"/>
          </a:xfrm>
        </p:grpSpPr>
        <p:sp>
          <p:nvSpPr>
            <p:cNvPr id="529" name="Полилиния 528">
              <a:extLst>
                <a:ext uri="{FF2B5EF4-FFF2-40B4-BE49-F238E27FC236}">
                  <a16:creationId xmlns:a16="http://schemas.microsoft.com/office/drawing/2014/main" id="{0F962AC7-3B37-8045-B3CF-569C509B00BE}"/>
                </a:ext>
              </a:extLst>
            </p:cNvPr>
            <p:cNvSpPr/>
            <p:nvPr/>
          </p:nvSpPr>
          <p:spPr>
            <a:xfrm>
              <a:off x="8246654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0" name="Полилиния 529">
              <a:extLst>
                <a:ext uri="{FF2B5EF4-FFF2-40B4-BE49-F238E27FC236}">
                  <a16:creationId xmlns:a16="http://schemas.microsoft.com/office/drawing/2014/main" id="{A6960CEA-204D-3C4A-83AD-651DD614B6CA}"/>
                </a:ext>
              </a:extLst>
            </p:cNvPr>
            <p:cNvSpPr/>
            <p:nvPr/>
          </p:nvSpPr>
          <p:spPr>
            <a:xfrm>
              <a:off x="8321654" y="5484267"/>
              <a:ext cx="283779" cy="296931"/>
            </a:xfrm>
            <a:custGeom>
              <a:avLst/>
              <a:gdLst>
                <a:gd name="connsiteX0" fmla="*/ 183426 w 283779"/>
                <a:gd name="connsiteY0" fmla="*/ 0 h 296931"/>
                <a:gd name="connsiteX1" fmla="*/ 187497 w 283779"/>
                <a:gd name="connsiteY1" fmla="*/ 38602 h 296931"/>
                <a:gd name="connsiteX2" fmla="*/ 283779 w 283779"/>
                <a:gd name="connsiteY2" fmla="*/ 81975 h 296931"/>
                <a:gd name="connsiteX3" fmla="*/ 236566 w 283779"/>
                <a:gd name="connsiteY3" fmla="*/ 140270 h 296931"/>
                <a:gd name="connsiteX4" fmla="*/ 139670 w 283779"/>
                <a:gd name="connsiteY4" fmla="*/ 97129 h 296931"/>
                <a:gd name="connsiteX5" fmla="*/ 182811 w 283779"/>
                <a:gd name="connsiteY5" fmla="*/ 233 h 296931"/>
                <a:gd name="connsiteX6" fmla="*/ 183426 w 283779"/>
                <a:gd name="connsiteY6" fmla="*/ 0 h 296931"/>
                <a:gd name="connsiteX7" fmla="*/ 22500 w 283779"/>
                <a:gd name="connsiteY7" fmla="*/ 296931 h 296931"/>
                <a:gd name="connsiteX8" fmla="*/ 0 w 283779"/>
                <a:gd name="connsiteY8" fmla="*/ 274431 h 296931"/>
                <a:gd name="connsiteX9" fmla="*/ 22500 w 283779"/>
                <a:gd name="connsiteY9" fmla="*/ 236931 h 296931"/>
                <a:gd name="connsiteX10" fmla="*/ 45000 w 283779"/>
                <a:gd name="connsiteY10" fmla="*/ 274431 h 296931"/>
                <a:gd name="connsiteX11" fmla="*/ 22500 w 283779"/>
                <a:gd name="connsiteY11" fmla="*/ 296931 h 296931"/>
                <a:gd name="connsiteX12" fmla="*/ 97500 w 283779"/>
                <a:gd name="connsiteY12" fmla="*/ 296931 h 296931"/>
                <a:gd name="connsiteX13" fmla="*/ 75000 w 283779"/>
                <a:gd name="connsiteY13" fmla="*/ 274431 h 296931"/>
                <a:gd name="connsiteX14" fmla="*/ 97500 w 283779"/>
                <a:gd name="connsiteY14" fmla="*/ 236931 h 296931"/>
                <a:gd name="connsiteX15" fmla="*/ 120000 w 283779"/>
                <a:gd name="connsiteY15" fmla="*/ 274431 h 296931"/>
                <a:gd name="connsiteX16" fmla="*/ 97500 w 283779"/>
                <a:gd name="connsiteY16" fmla="*/ 296931 h 296931"/>
                <a:gd name="connsiteX17" fmla="*/ 172500 w 283779"/>
                <a:gd name="connsiteY17" fmla="*/ 296931 h 296931"/>
                <a:gd name="connsiteX18" fmla="*/ 150000 w 283779"/>
                <a:gd name="connsiteY18" fmla="*/ 274431 h 296931"/>
                <a:gd name="connsiteX19" fmla="*/ 172500 w 283779"/>
                <a:gd name="connsiteY19" fmla="*/ 236931 h 296931"/>
                <a:gd name="connsiteX20" fmla="*/ 195000 w 283779"/>
                <a:gd name="connsiteY20" fmla="*/ 274431 h 296931"/>
                <a:gd name="connsiteX21" fmla="*/ 172500 w 283779"/>
                <a:gd name="connsiteY21" fmla="*/ 296931 h 29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83779" h="296931">
                  <a:moveTo>
                    <a:pt x="183426" y="0"/>
                  </a:moveTo>
                  <a:cubicBezTo>
                    <a:pt x="181422" y="12585"/>
                    <a:pt x="182603" y="25849"/>
                    <a:pt x="187497" y="38602"/>
                  </a:cubicBezTo>
                  <a:cubicBezTo>
                    <a:pt x="202263" y="77067"/>
                    <a:pt x="245265" y="96382"/>
                    <a:pt x="283779" y="81975"/>
                  </a:cubicBezTo>
                  <a:cubicBezTo>
                    <a:pt x="279708" y="107553"/>
                    <a:pt x="262484" y="130322"/>
                    <a:pt x="236566" y="140270"/>
                  </a:cubicBezTo>
                  <a:cubicBezTo>
                    <a:pt x="197897" y="155114"/>
                    <a:pt x="154514" y="135800"/>
                    <a:pt x="139670" y="97129"/>
                  </a:cubicBezTo>
                  <a:cubicBezTo>
                    <a:pt x="124826" y="58459"/>
                    <a:pt x="144141" y="15077"/>
                    <a:pt x="182811" y="233"/>
                  </a:cubicBezTo>
                  <a:cubicBezTo>
                    <a:pt x="183015" y="154"/>
                    <a:pt x="183221" y="77"/>
                    <a:pt x="183426" y="0"/>
                  </a:cubicBezTo>
                  <a:close/>
                  <a:moveTo>
                    <a:pt x="22500" y="296931"/>
                  </a:moveTo>
                  <a:cubicBezTo>
                    <a:pt x="10074" y="296931"/>
                    <a:pt x="0" y="286857"/>
                    <a:pt x="0" y="274431"/>
                  </a:cubicBezTo>
                  <a:cubicBezTo>
                    <a:pt x="0" y="266147"/>
                    <a:pt x="7500" y="253647"/>
                    <a:pt x="22500" y="236931"/>
                  </a:cubicBezTo>
                  <a:cubicBezTo>
                    <a:pt x="37500" y="253647"/>
                    <a:pt x="45000" y="266147"/>
                    <a:pt x="45000" y="274431"/>
                  </a:cubicBezTo>
                  <a:cubicBezTo>
                    <a:pt x="45000" y="286857"/>
                    <a:pt x="34926" y="296931"/>
                    <a:pt x="22500" y="296931"/>
                  </a:cubicBezTo>
                  <a:close/>
                  <a:moveTo>
                    <a:pt x="97500" y="296931"/>
                  </a:moveTo>
                  <a:cubicBezTo>
                    <a:pt x="85074" y="296931"/>
                    <a:pt x="75000" y="286857"/>
                    <a:pt x="75000" y="274431"/>
                  </a:cubicBezTo>
                  <a:cubicBezTo>
                    <a:pt x="75000" y="266147"/>
                    <a:pt x="82500" y="253647"/>
                    <a:pt x="97500" y="236931"/>
                  </a:cubicBezTo>
                  <a:cubicBezTo>
                    <a:pt x="112500" y="253647"/>
                    <a:pt x="120000" y="266147"/>
                    <a:pt x="120000" y="274431"/>
                  </a:cubicBezTo>
                  <a:cubicBezTo>
                    <a:pt x="120000" y="286857"/>
                    <a:pt x="109926" y="296931"/>
                    <a:pt x="97500" y="296931"/>
                  </a:cubicBezTo>
                  <a:close/>
                  <a:moveTo>
                    <a:pt x="172500" y="296931"/>
                  </a:moveTo>
                  <a:cubicBezTo>
                    <a:pt x="160074" y="296931"/>
                    <a:pt x="150000" y="286857"/>
                    <a:pt x="150000" y="274431"/>
                  </a:cubicBezTo>
                  <a:cubicBezTo>
                    <a:pt x="150000" y="266147"/>
                    <a:pt x="157500" y="253647"/>
                    <a:pt x="172500" y="236931"/>
                  </a:cubicBezTo>
                  <a:cubicBezTo>
                    <a:pt x="187500" y="253647"/>
                    <a:pt x="195000" y="266147"/>
                    <a:pt x="195000" y="274431"/>
                  </a:cubicBezTo>
                  <a:cubicBezTo>
                    <a:pt x="195000" y="286857"/>
                    <a:pt x="184926" y="296931"/>
                    <a:pt x="172500" y="296931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1" name="Полилиния 530">
              <a:extLst>
                <a:ext uri="{FF2B5EF4-FFF2-40B4-BE49-F238E27FC236}">
                  <a16:creationId xmlns:a16="http://schemas.microsoft.com/office/drawing/2014/main" id="{DD46ACE2-303D-044B-8F2A-0E5457B2EE26}"/>
                </a:ext>
              </a:extLst>
            </p:cNvPr>
            <p:cNvSpPr/>
            <p:nvPr/>
          </p:nvSpPr>
          <p:spPr>
            <a:xfrm>
              <a:off x="8291654" y="5526199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8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32" name="Рисунок 131">
            <a:extLst>
              <a:ext uri="{FF2B5EF4-FFF2-40B4-BE49-F238E27FC236}">
                <a16:creationId xmlns:a16="http://schemas.microsoft.com/office/drawing/2014/main" id="{60820AB4-F721-E046-B88B-2099BE914427}"/>
              </a:ext>
            </a:extLst>
          </p:cNvPr>
          <p:cNvGrpSpPr/>
          <p:nvPr/>
        </p:nvGrpSpPr>
        <p:grpSpPr>
          <a:xfrm>
            <a:off x="2927270" y="5132243"/>
            <a:ext cx="360000" cy="360000"/>
            <a:chOff x="2960723" y="5451199"/>
            <a:chExt cx="360000" cy="360000"/>
          </a:xfrm>
        </p:grpSpPr>
        <p:sp>
          <p:nvSpPr>
            <p:cNvPr id="533" name="Полилиния 532">
              <a:extLst>
                <a:ext uri="{FF2B5EF4-FFF2-40B4-BE49-F238E27FC236}">
                  <a16:creationId xmlns:a16="http://schemas.microsoft.com/office/drawing/2014/main" id="{D22459A0-44CD-6245-854B-A90876237A14}"/>
                </a:ext>
              </a:extLst>
            </p:cNvPr>
            <p:cNvSpPr/>
            <p:nvPr/>
          </p:nvSpPr>
          <p:spPr>
            <a:xfrm>
              <a:off x="2960723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9" name="Полилиния 568">
              <a:extLst>
                <a:ext uri="{FF2B5EF4-FFF2-40B4-BE49-F238E27FC236}">
                  <a16:creationId xmlns:a16="http://schemas.microsoft.com/office/drawing/2014/main" id="{CA95DC49-DA71-D64F-B248-60FA0EAEF180}"/>
                </a:ext>
              </a:extLst>
            </p:cNvPr>
            <p:cNvSpPr/>
            <p:nvPr/>
          </p:nvSpPr>
          <p:spPr>
            <a:xfrm>
              <a:off x="3020723" y="5511199"/>
              <a:ext cx="240000" cy="240000"/>
            </a:xfrm>
            <a:custGeom>
              <a:avLst/>
              <a:gdLst>
                <a:gd name="connsiteX0" fmla="*/ 138105 w 240000"/>
                <a:gd name="connsiteY0" fmla="*/ 0 h 240000"/>
                <a:gd name="connsiteX1" fmla="*/ 135000 w 240000"/>
                <a:gd name="connsiteY1" fmla="*/ 22500 h 240000"/>
                <a:gd name="connsiteX2" fmla="*/ 217500 w 240000"/>
                <a:gd name="connsiteY2" fmla="*/ 105000 h 240000"/>
                <a:gd name="connsiteX3" fmla="*/ 240000 w 240000"/>
                <a:gd name="connsiteY3" fmla="*/ 101895 h 240000"/>
                <a:gd name="connsiteX4" fmla="*/ 240000 w 240000"/>
                <a:gd name="connsiteY4" fmla="*/ 195000 h 240000"/>
                <a:gd name="connsiteX5" fmla="*/ 195000 w 240000"/>
                <a:gd name="connsiteY5" fmla="*/ 240000 h 240000"/>
                <a:gd name="connsiteX6" fmla="*/ 45000 w 240000"/>
                <a:gd name="connsiteY6" fmla="*/ 240000 h 240000"/>
                <a:gd name="connsiteX7" fmla="*/ 0 w 240000"/>
                <a:gd name="connsiteY7" fmla="*/ 195000 h 240000"/>
                <a:gd name="connsiteX8" fmla="*/ 0 w 240000"/>
                <a:gd name="connsiteY8" fmla="*/ 45000 h 240000"/>
                <a:gd name="connsiteX9" fmla="*/ 45000 w 240000"/>
                <a:gd name="connsiteY9" fmla="*/ 0 h 240000"/>
                <a:gd name="connsiteX10" fmla="*/ 138105 w 240000"/>
                <a:gd name="connsiteY10" fmla="*/ 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240000">
                  <a:moveTo>
                    <a:pt x="138105" y="0"/>
                  </a:moveTo>
                  <a:cubicBezTo>
                    <a:pt x="136083" y="7152"/>
                    <a:pt x="135000" y="14700"/>
                    <a:pt x="135000" y="22500"/>
                  </a:cubicBezTo>
                  <a:cubicBezTo>
                    <a:pt x="135000" y="68064"/>
                    <a:pt x="171936" y="105000"/>
                    <a:pt x="217500" y="105000"/>
                  </a:cubicBezTo>
                  <a:cubicBezTo>
                    <a:pt x="225300" y="105000"/>
                    <a:pt x="232848" y="103917"/>
                    <a:pt x="240000" y="101895"/>
                  </a:cubicBezTo>
                  <a:lnTo>
                    <a:pt x="240000" y="195000"/>
                  </a:lnTo>
                  <a:cubicBezTo>
                    <a:pt x="240000" y="219854"/>
                    <a:pt x="219854" y="240000"/>
                    <a:pt x="195000" y="240000"/>
                  </a:cubicBezTo>
                  <a:lnTo>
                    <a:pt x="45000" y="240000"/>
                  </a:lnTo>
                  <a:cubicBezTo>
                    <a:pt x="20147" y="240000"/>
                    <a:pt x="0" y="219854"/>
                    <a:pt x="0" y="195000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lnTo>
                    <a:pt x="138105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0" name="Полилиния 569">
              <a:extLst>
                <a:ext uri="{FF2B5EF4-FFF2-40B4-BE49-F238E27FC236}">
                  <a16:creationId xmlns:a16="http://schemas.microsoft.com/office/drawing/2014/main" id="{AD0291BC-9D84-224F-9C44-174A91A6C3CA}"/>
                </a:ext>
              </a:extLst>
            </p:cNvPr>
            <p:cNvSpPr/>
            <p:nvPr/>
          </p:nvSpPr>
          <p:spPr>
            <a:xfrm>
              <a:off x="3200723" y="5496199"/>
              <a:ext cx="75000" cy="75000"/>
            </a:xfrm>
            <a:custGeom>
              <a:avLst/>
              <a:gdLst>
                <a:gd name="connsiteX0" fmla="*/ 75000 w 75000"/>
                <a:gd name="connsiteY0" fmla="*/ 37500 h 75000"/>
                <a:gd name="connsiteX1" fmla="*/ 37500 w 75000"/>
                <a:gd name="connsiteY1" fmla="*/ 75000 h 75000"/>
                <a:gd name="connsiteX2" fmla="*/ 0 w 75000"/>
                <a:gd name="connsiteY2" fmla="*/ 37500 h 75000"/>
                <a:gd name="connsiteX3" fmla="*/ 37500 w 75000"/>
                <a:gd name="connsiteY3" fmla="*/ 0 h 75000"/>
                <a:gd name="connsiteX4" fmla="*/ 75000 w 75000"/>
                <a:gd name="connsiteY4" fmla="*/ 375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00" h="75000">
                  <a:moveTo>
                    <a:pt x="75000" y="37500"/>
                  </a:moveTo>
                  <a:cubicBezTo>
                    <a:pt x="75000" y="58211"/>
                    <a:pt x="58211" y="75000"/>
                    <a:pt x="37500" y="75000"/>
                  </a:cubicBezTo>
                  <a:cubicBezTo>
                    <a:pt x="16789" y="75000"/>
                    <a:pt x="0" y="58211"/>
                    <a:pt x="0" y="37500"/>
                  </a:cubicBezTo>
                  <a:cubicBezTo>
                    <a:pt x="0" y="16789"/>
                    <a:pt x="16789" y="0"/>
                    <a:pt x="37500" y="0"/>
                  </a:cubicBezTo>
                  <a:cubicBezTo>
                    <a:pt x="58211" y="0"/>
                    <a:pt x="75000" y="16789"/>
                    <a:pt x="75000" y="37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71" name="Рисунок 132">
            <a:extLst>
              <a:ext uri="{FF2B5EF4-FFF2-40B4-BE49-F238E27FC236}">
                <a16:creationId xmlns:a16="http://schemas.microsoft.com/office/drawing/2014/main" id="{90F53E0E-5842-E94F-9E5D-E7BDDBCCAB74}"/>
              </a:ext>
            </a:extLst>
          </p:cNvPr>
          <p:cNvGrpSpPr/>
          <p:nvPr/>
        </p:nvGrpSpPr>
        <p:grpSpPr>
          <a:xfrm>
            <a:off x="5252669" y="5177243"/>
            <a:ext cx="240000" cy="255000"/>
            <a:chOff x="5286122" y="5496199"/>
            <a:chExt cx="240000" cy="255000"/>
          </a:xfrm>
        </p:grpSpPr>
        <p:sp>
          <p:nvSpPr>
            <p:cNvPr id="572" name="Полилиния 571">
              <a:extLst>
                <a:ext uri="{FF2B5EF4-FFF2-40B4-BE49-F238E27FC236}">
                  <a16:creationId xmlns:a16="http://schemas.microsoft.com/office/drawing/2014/main" id="{8CA38B6F-ED3B-3147-B8F8-C7E94758C749}"/>
                </a:ext>
              </a:extLst>
            </p:cNvPr>
            <p:cNvSpPr/>
            <p:nvPr/>
          </p:nvSpPr>
          <p:spPr>
            <a:xfrm>
              <a:off x="5286122" y="5496199"/>
              <a:ext cx="240000" cy="180000"/>
            </a:xfrm>
            <a:custGeom>
              <a:avLst/>
              <a:gdLst>
                <a:gd name="connsiteX0" fmla="*/ 195000 w 240000"/>
                <a:gd name="connsiteY0" fmla="*/ 135000 h 180000"/>
                <a:gd name="connsiteX1" fmla="*/ 217500 w 240000"/>
                <a:gd name="connsiteY1" fmla="*/ 135000 h 180000"/>
                <a:gd name="connsiteX2" fmla="*/ 240000 w 240000"/>
                <a:gd name="connsiteY2" fmla="*/ 157500 h 180000"/>
                <a:gd name="connsiteX3" fmla="*/ 217500 w 240000"/>
                <a:gd name="connsiteY3" fmla="*/ 180000 h 180000"/>
                <a:gd name="connsiteX4" fmla="*/ 22500 w 240000"/>
                <a:gd name="connsiteY4" fmla="*/ 180000 h 180000"/>
                <a:gd name="connsiteX5" fmla="*/ 0 w 240000"/>
                <a:gd name="connsiteY5" fmla="*/ 157500 h 180000"/>
                <a:gd name="connsiteX6" fmla="*/ 22500 w 240000"/>
                <a:gd name="connsiteY6" fmla="*/ 135000 h 180000"/>
                <a:gd name="connsiteX7" fmla="*/ 45000 w 240000"/>
                <a:gd name="connsiteY7" fmla="*/ 135000 h 180000"/>
                <a:gd name="connsiteX8" fmla="*/ 53374 w 240000"/>
                <a:gd name="connsiteY8" fmla="*/ 59633 h 180000"/>
                <a:gd name="connsiteX9" fmla="*/ 120000 w 240000"/>
                <a:gd name="connsiteY9" fmla="*/ 0 h 180000"/>
                <a:gd name="connsiteX10" fmla="*/ 186626 w 240000"/>
                <a:gd name="connsiteY10" fmla="*/ 59633 h 180000"/>
                <a:gd name="connsiteX11" fmla="*/ 195000 w 240000"/>
                <a:gd name="connsiteY11" fmla="*/ 135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0000" h="180000">
                  <a:moveTo>
                    <a:pt x="195000" y="135000"/>
                  </a:moveTo>
                  <a:lnTo>
                    <a:pt x="217500" y="135000"/>
                  </a:lnTo>
                  <a:cubicBezTo>
                    <a:pt x="229926" y="135000"/>
                    <a:pt x="240000" y="145074"/>
                    <a:pt x="240000" y="157500"/>
                  </a:cubicBezTo>
                  <a:cubicBezTo>
                    <a:pt x="240000" y="169926"/>
                    <a:pt x="229926" y="180000"/>
                    <a:pt x="217500" y="180000"/>
                  </a:cubicBezTo>
                  <a:lnTo>
                    <a:pt x="22500" y="180000"/>
                  </a:lnTo>
                  <a:cubicBezTo>
                    <a:pt x="10074" y="180000"/>
                    <a:pt x="0" y="169926"/>
                    <a:pt x="0" y="157500"/>
                  </a:cubicBezTo>
                  <a:cubicBezTo>
                    <a:pt x="0" y="145074"/>
                    <a:pt x="10074" y="135000"/>
                    <a:pt x="22500" y="135000"/>
                  </a:cubicBezTo>
                  <a:lnTo>
                    <a:pt x="45000" y="135000"/>
                  </a:lnTo>
                  <a:lnTo>
                    <a:pt x="53374" y="59633"/>
                  </a:lnTo>
                  <a:cubicBezTo>
                    <a:pt x="57146" y="25684"/>
                    <a:pt x="85842" y="0"/>
                    <a:pt x="120000" y="0"/>
                  </a:cubicBezTo>
                  <a:cubicBezTo>
                    <a:pt x="154158" y="0"/>
                    <a:pt x="182855" y="25684"/>
                    <a:pt x="186626" y="59633"/>
                  </a:cubicBezTo>
                  <a:lnTo>
                    <a:pt x="195000" y="13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3" name="Скругленный прямоугольник 572">
              <a:extLst>
                <a:ext uri="{FF2B5EF4-FFF2-40B4-BE49-F238E27FC236}">
                  <a16:creationId xmlns:a16="http://schemas.microsoft.com/office/drawing/2014/main" id="{FFEF9DAE-0DF6-E842-9640-04922CD450F7}"/>
                </a:ext>
              </a:extLst>
            </p:cNvPr>
            <p:cNvSpPr/>
            <p:nvPr/>
          </p:nvSpPr>
          <p:spPr>
            <a:xfrm>
              <a:off x="5376122" y="5691199"/>
              <a:ext cx="60000" cy="6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574" name="Рисунок 133">
            <a:extLst>
              <a:ext uri="{FF2B5EF4-FFF2-40B4-BE49-F238E27FC236}">
                <a16:creationId xmlns:a16="http://schemas.microsoft.com/office/drawing/2014/main" id="{9170C64B-6813-514A-A3D5-5CDBF0BBEA7D}"/>
              </a:ext>
            </a:extLst>
          </p:cNvPr>
          <p:cNvGrpSpPr/>
          <p:nvPr/>
        </p:nvGrpSpPr>
        <p:grpSpPr>
          <a:xfrm>
            <a:off x="10478600" y="5132243"/>
            <a:ext cx="360000" cy="360000"/>
            <a:chOff x="10512053" y="5451199"/>
            <a:chExt cx="360000" cy="360000"/>
          </a:xfrm>
        </p:grpSpPr>
        <p:sp>
          <p:nvSpPr>
            <p:cNvPr id="575" name="Полилиния 574">
              <a:extLst>
                <a:ext uri="{FF2B5EF4-FFF2-40B4-BE49-F238E27FC236}">
                  <a16:creationId xmlns:a16="http://schemas.microsoft.com/office/drawing/2014/main" id="{3DCA6815-26B0-C748-9B9D-AE6CAF4574F4}"/>
                </a:ext>
              </a:extLst>
            </p:cNvPr>
            <p:cNvSpPr/>
            <p:nvPr/>
          </p:nvSpPr>
          <p:spPr>
            <a:xfrm>
              <a:off x="10512053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6" name="Скругленный прямоугольник 575">
              <a:extLst>
                <a:ext uri="{FF2B5EF4-FFF2-40B4-BE49-F238E27FC236}">
                  <a16:creationId xmlns:a16="http://schemas.microsoft.com/office/drawing/2014/main" id="{3ECB3F27-DB10-094C-B255-E8B9684A7892}"/>
                </a:ext>
              </a:extLst>
            </p:cNvPr>
            <p:cNvSpPr/>
            <p:nvPr/>
          </p:nvSpPr>
          <p:spPr>
            <a:xfrm>
              <a:off x="10692053" y="5556199"/>
              <a:ext cx="15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7" name="Полилиния 576">
              <a:extLst>
                <a:ext uri="{FF2B5EF4-FFF2-40B4-BE49-F238E27FC236}">
                  <a16:creationId xmlns:a16="http://schemas.microsoft.com/office/drawing/2014/main" id="{3C1166E9-C8E1-674B-8A7D-FBB7A53EA8F7}"/>
                </a:ext>
              </a:extLst>
            </p:cNvPr>
            <p:cNvSpPr/>
            <p:nvPr/>
          </p:nvSpPr>
          <p:spPr>
            <a:xfrm>
              <a:off x="10527053" y="5556199"/>
              <a:ext cx="330000" cy="165000"/>
            </a:xfrm>
            <a:custGeom>
              <a:avLst/>
              <a:gdLst>
                <a:gd name="connsiteX0" fmla="*/ 15000 w 330000"/>
                <a:gd name="connsiteY0" fmla="*/ 30000 h 165000"/>
                <a:gd name="connsiteX1" fmla="*/ 0 w 330000"/>
                <a:gd name="connsiteY1" fmla="*/ 15000 h 165000"/>
                <a:gd name="connsiteX2" fmla="*/ 15000 w 330000"/>
                <a:gd name="connsiteY2" fmla="*/ 0 h 165000"/>
                <a:gd name="connsiteX3" fmla="*/ 95252 w 330000"/>
                <a:gd name="connsiteY3" fmla="*/ 0 h 165000"/>
                <a:gd name="connsiteX4" fmla="*/ 122666 w 330000"/>
                <a:gd name="connsiteY4" fmla="*/ 17816 h 165000"/>
                <a:gd name="connsiteX5" fmla="*/ 174749 w 330000"/>
                <a:gd name="connsiteY5" fmla="*/ 135000 h 165000"/>
                <a:gd name="connsiteX6" fmla="*/ 315000 w 330000"/>
                <a:gd name="connsiteY6" fmla="*/ 135000 h 165000"/>
                <a:gd name="connsiteX7" fmla="*/ 330000 w 330000"/>
                <a:gd name="connsiteY7" fmla="*/ 150000 h 165000"/>
                <a:gd name="connsiteX8" fmla="*/ 315000 w 330000"/>
                <a:gd name="connsiteY8" fmla="*/ 165000 h 165000"/>
                <a:gd name="connsiteX9" fmla="*/ 174749 w 330000"/>
                <a:gd name="connsiteY9" fmla="*/ 165000 h 165000"/>
                <a:gd name="connsiteX10" fmla="*/ 147335 w 330000"/>
                <a:gd name="connsiteY10" fmla="*/ 147185 h 165000"/>
                <a:gd name="connsiteX11" fmla="*/ 95252 w 330000"/>
                <a:gd name="connsiteY11" fmla="*/ 30000 h 165000"/>
                <a:gd name="connsiteX12" fmla="*/ 15000 w 330000"/>
                <a:gd name="connsiteY12" fmla="*/ 30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0000" h="165000">
                  <a:moveTo>
                    <a:pt x="15000" y="30000"/>
                  </a:move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lnTo>
                    <a:pt x="95252" y="0"/>
                  </a:lnTo>
                  <a:cubicBezTo>
                    <a:pt x="107108" y="0"/>
                    <a:pt x="117851" y="6982"/>
                    <a:pt x="122666" y="17816"/>
                  </a:cubicBezTo>
                  <a:lnTo>
                    <a:pt x="174749" y="135000"/>
                  </a:lnTo>
                  <a:lnTo>
                    <a:pt x="315000" y="135000"/>
                  </a:lnTo>
                  <a:cubicBezTo>
                    <a:pt x="323285" y="135000"/>
                    <a:pt x="330000" y="141716"/>
                    <a:pt x="330000" y="150000"/>
                  </a:cubicBezTo>
                  <a:cubicBezTo>
                    <a:pt x="330000" y="158285"/>
                    <a:pt x="323285" y="165000"/>
                    <a:pt x="315000" y="165000"/>
                  </a:cubicBezTo>
                  <a:lnTo>
                    <a:pt x="174749" y="165000"/>
                  </a:lnTo>
                  <a:cubicBezTo>
                    <a:pt x="162893" y="165000"/>
                    <a:pt x="152150" y="158018"/>
                    <a:pt x="147335" y="147185"/>
                  </a:cubicBezTo>
                  <a:lnTo>
                    <a:pt x="95252" y="30000"/>
                  </a:lnTo>
                  <a:lnTo>
                    <a:pt x="15000" y="3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578" name="Рисунок 134">
            <a:extLst>
              <a:ext uri="{FF2B5EF4-FFF2-40B4-BE49-F238E27FC236}">
                <a16:creationId xmlns:a16="http://schemas.microsoft.com/office/drawing/2014/main" id="{F41D4FD6-5A7D-6D4B-B15A-505E1D20B2AC}"/>
              </a:ext>
            </a:extLst>
          </p:cNvPr>
          <p:cNvGrpSpPr/>
          <p:nvPr/>
        </p:nvGrpSpPr>
        <p:grpSpPr>
          <a:xfrm>
            <a:off x="4437536" y="5132243"/>
            <a:ext cx="360000" cy="360000"/>
            <a:chOff x="4470989" y="5451199"/>
            <a:chExt cx="360000" cy="360000"/>
          </a:xfrm>
        </p:grpSpPr>
        <p:sp>
          <p:nvSpPr>
            <p:cNvPr id="579" name="Полилиния 578">
              <a:extLst>
                <a:ext uri="{FF2B5EF4-FFF2-40B4-BE49-F238E27FC236}">
                  <a16:creationId xmlns:a16="http://schemas.microsoft.com/office/drawing/2014/main" id="{D2B95263-F266-6440-884B-0B609D5FFC87}"/>
                </a:ext>
              </a:extLst>
            </p:cNvPr>
            <p:cNvSpPr/>
            <p:nvPr/>
          </p:nvSpPr>
          <p:spPr>
            <a:xfrm>
              <a:off x="4470989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0" name="Полилиния 579">
              <a:extLst>
                <a:ext uri="{FF2B5EF4-FFF2-40B4-BE49-F238E27FC236}">
                  <a16:creationId xmlns:a16="http://schemas.microsoft.com/office/drawing/2014/main" id="{047190D1-406D-8D45-BA82-AC51876BF8A5}"/>
                </a:ext>
              </a:extLst>
            </p:cNvPr>
            <p:cNvSpPr/>
            <p:nvPr/>
          </p:nvSpPr>
          <p:spPr>
            <a:xfrm>
              <a:off x="4620989" y="5496199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1" name="Полилиния 580">
              <a:extLst>
                <a:ext uri="{FF2B5EF4-FFF2-40B4-BE49-F238E27FC236}">
                  <a16:creationId xmlns:a16="http://schemas.microsoft.com/office/drawing/2014/main" id="{C410C082-FEA0-1E49-BDBF-FCCBC2474097}"/>
                </a:ext>
              </a:extLst>
            </p:cNvPr>
            <p:cNvSpPr/>
            <p:nvPr/>
          </p:nvSpPr>
          <p:spPr>
            <a:xfrm>
              <a:off x="4620989" y="5601199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2" name="Полилиния 581">
              <a:extLst>
                <a:ext uri="{FF2B5EF4-FFF2-40B4-BE49-F238E27FC236}">
                  <a16:creationId xmlns:a16="http://schemas.microsoft.com/office/drawing/2014/main" id="{21A882D9-EC5C-B140-A55A-CB49B211DB37}"/>
                </a:ext>
              </a:extLst>
            </p:cNvPr>
            <p:cNvSpPr/>
            <p:nvPr/>
          </p:nvSpPr>
          <p:spPr>
            <a:xfrm>
              <a:off x="4620989" y="5706199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83" name="Рисунок 135">
            <a:extLst>
              <a:ext uri="{FF2B5EF4-FFF2-40B4-BE49-F238E27FC236}">
                <a16:creationId xmlns:a16="http://schemas.microsoft.com/office/drawing/2014/main" id="{7B6E523F-4112-9C49-AF42-66FF467B8061}"/>
              </a:ext>
            </a:extLst>
          </p:cNvPr>
          <p:cNvGrpSpPr/>
          <p:nvPr/>
        </p:nvGrpSpPr>
        <p:grpSpPr>
          <a:xfrm>
            <a:off x="1417004" y="5132243"/>
            <a:ext cx="360000" cy="360000"/>
            <a:chOff x="1450457" y="5451199"/>
            <a:chExt cx="360000" cy="360000"/>
          </a:xfrm>
        </p:grpSpPr>
        <p:sp>
          <p:nvSpPr>
            <p:cNvPr id="584" name="Полилиния 583">
              <a:extLst>
                <a:ext uri="{FF2B5EF4-FFF2-40B4-BE49-F238E27FC236}">
                  <a16:creationId xmlns:a16="http://schemas.microsoft.com/office/drawing/2014/main" id="{6659902A-EBB1-2941-A9FB-43E68A8D144F}"/>
                </a:ext>
              </a:extLst>
            </p:cNvPr>
            <p:cNvSpPr/>
            <p:nvPr/>
          </p:nvSpPr>
          <p:spPr>
            <a:xfrm>
              <a:off x="1450457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5" name="Полилиния 584">
              <a:extLst>
                <a:ext uri="{FF2B5EF4-FFF2-40B4-BE49-F238E27FC236}">
                  <a16:creationId xmlns:a16="http://schemas.microsoft.com/office/drawing/2014/main" id="{40C44788-8F4F-F14C-BE60-CFEEE1D5468A}"/>
                </a:ext>
              </a:extLst>
            </p:cNvPr>
            <p:cNvSpPr/>
            <p:nvPr/>
          </p:nvSpPr>
          <p:spPr>
            <a:xfrm>
              <a:off x="1495457" y="5601199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6" name="Полилиния 585">
              <a:extLst>
                <a:ext uri="{FF2B5EF4-FFF2-40B4-BE49-F238E27FC236}">
                  <a16:creationId xmlns:a16="http://schemas.microsoft.com/office/drawing/2014/main" id="{57A0AAE5-845C-A543-97F1-33CDB6B3A8FB}"/>
                </a:ext>
              </a:extLst>
            </p:cNvPr>
            <p:cNvSpPr/>
            <p:nvPr/>
          </p:nvSpPr>
          <p:spPr>
            <a:xfrm>
              <a:off x="1600457" y="5601199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7" name="Полилиния 586">
              <a:extLst>
                <a:ext uri="{FF2B5EF4-FFF2-40B4-BE49-F238E27FC236}">
                  <a16:creationId xmlns:a16="http://schemas.microsoft.com/office/drawing/2014/main" id="{620B585C-A458-3345-BE32-EF8DC3CE0C66}"/>
                </a:ext>
              </a:extLst>
            </p:cNvPr>
            <p:cNvSpPr/>
            <p:nvPr/>
          </p:nvSpPr>
          <p:spPr>
            <a:xfrm>
              <a:off x="1705457" y="5601199"/>
              <a:ext cx="60000" cy="60000"/>
            </a:xfrm>
            <a:custGeom>
              <a:avLst/>
              <a:gdLst>
                <a:gd name="connsiteX0" fmla="*/ 60000 w 60000"/>
                <a:gd name="connsiteY0" fmla="*/ 30000 h 60000"/>
                <a:gd name="connsiteX1" fmla="*/ 30000 w 60000"/>
                <a:gd name="connsiteY1" fmla="*/ 60000 h 60000"/>
                <a:gd name="connsiteX2" fmla="*/ 0 w 60000"/>
                <a:gd name="connsiteY2" fmla="*/ 30000 h 60000"/>
                <a:gd name="connsiteX3" fmla="*/ 30000 w 60000"/>
                <a:gd name="connsiteY3" fmla="*/ 0 h 60000"/>
                <a:gd name="connsiteX4" fmla="*/ 60000 w 60000"/>
                <a:gd name="connsiteY4" fmla="*/ 3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60000" y="30000"/>
                  </a:moveTo>
                  <a:cubicBezTo>
                    <a:pt x="60000" y="46569"/>
                    <a:pt x="46569" y="60000"/>
                    <a:pt x="30000" y="60000"/>
                  </a:cubicBez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88" name="Рисунок 136">
            <a:extLst>
              <a:ext uri="{FF2B5EF4-FFF2-40B4-BE49-F238E27FC236}">
                <a16:creationId xmlns:a16="http://schemas.microsoft.com/office/drawing/2014/main" id="{9D3DAD46-5120-AA4A-B261-F6064F14AB95}"/>
              </a:ext>
            </a:extLst>
          </p:cNvPr>
          <p:cNvGrpSpPr/>
          <p:nvPr/>
        </p:nvGrpSpPr>
        <p:grpSpPr>
          <a:xfrm>
            <a:off x="661871" y="5132042"/>
            <a:ext cx="360000" cy="360200"/>
            <a:chOff x="695324" y="5450998"/>
            <a:chExt cx="360000" cy="360200"/>
          </a:xfrm>
        </p:grpSpPr>
        <p:sp>
          <p:nvSpPr>
            <p:cNvPr id="589" name="Полилиния 588">
              <a:extLst>
                <a:ext uri="{FF2B5EF4-FFF2-40B4-BE49-F238E27FC236}">
                  <a16:creationId xmlns:a16="http://schemas.microsoft.com/office/drawing/2014/main" id="{0182CF89-101C-2E4B-8AD1-1451F9338F12}"/>
                </a:ext>
              </a:extLst>
            </p:cNvPr>
            <p:cNvSpPr/>
            <p:nvPr/>
          </p:nvSpPr>
          <p:spPr>
            <a:xfrm>
              <a:off x="695324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0" name="Полилиния 589">
              <a:extLst>
                <a:ext uri="{FF2B5EF4-FFF2-40B4-BE49-F238E27FC236}">
                  <a16:creationId xmlns:a16="http://schemas.microsoft.com/office/drawing/2014/main" id="{1A150778-B39E-764A-AF1D-0164E302DC4D}"/>
                </a:ext>
              </a:extLst>
            </p:cNvPr>
            <p:cNvSpPr/>
            <p:nvPr/>
          </p:nvSpPr>
          <p:spPr>
            <a:xfrm>
              <a:off x="725324" y="5706199"/>
              <a:ext cx="300000" cy="90000"/>
            </a:xfrm>
            <a:custGeom>
              <a:avLst/>
              <a:gdLst>
                <a:gd name="connsiteX0" fmla="*/ 300000 w 300000"/>
                <a:gd name="connsiteY0" fmla="*/ 0 h 90000"/>
                <a:gd name="connsiteX1" fmla="*/ 300000 w 300000"/>
                <a:gd name="connsiteY1" fmla="*/ 60000 h 90000"/>
                <a:gd name="connsiteX2" fmla="*/ 270000 w 300000"/>
                <a:gd name="connsiteY2" fmla="*/ 90000 h 90000"/>
                <a:gd name="connsiteX3" fmla="*/ 30000 w 300000"/>
                <a:gd name="connsiteY3" fmla="*/ 90000 h 90000"/>
                <a:gd name="connsiteX4" fmla="*/ 0 w 300000"/>
                <a:gd name="connsiteY4" fmla="*/ 60000 h 90000"/>
                <a:gd name="connsiteX5" fmla="*/ 0 w 300000"/>
                <a:gd name="connsiteY5" fmla="*/ 0 h 90000"/>
                <a:gd name="connsiteX6" fmla="*/ 64189 w 300000"/>
                <a:gd name="connsiteY6" fmla="*/ 0 h 90000"/>
                <a:gd name="connsiteX7" fmla="*/ 72351 w 300000"/>
                <a:gd name="connsiteY7" fmla="*/ 24487 h 90000"/>
                <a:gd name="connsiteX8" fmla="*/ 100811 w 300000"/>
                <a:gd name="connsiteY8" fmla="*/ 45000 h 90000"/>
                <a:gd name="connsiteX9" fmla="*/ 200730 w 300000"/>
                <a:gd name="connsiteY9" fmla="*/ 45000 h 90000"/>
                <a:gd name="connsiteX10" fmla="*/ 227562 w 300000"/>
                <a:gd name="connsiteY10" fmla="*/ 28416 h 90000"/>
                <a:gd name="connsiteX11" fmla="*/ 241770 w 300000"/>
                <a:gd name="connsiteY11" fmla="*/ 0 h 90000"/>
                <a:gd name="connsiteX12" fmla="*/ 300000 w 300000"/>
                <a:gd name="connsiteY12" fmla="*/ 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0000" h="90000">
                  <a:moveTo>
                    <a:pt x="300000" y="0"/>
                  </a:moveTo>
                  <a:lnTo>
                    <a:pt x="300000" y="60000"/>
                  </a:lnTo>
                  <a:cubicBezTo>
                    <a:pt x="300000" y="76569"/>
                    <a:pt x="286569" y="90000"/>
                    <a:pt x="270000" y="90000"/>
                  </a:cubicBezTo>
                  <a:lnTo>
                    <a:pt x="30000" y="90000"/>
                  </a:lnTo>
                  <a:cubicBezTo>
                    <a:pt x="13431" y="90000"/>
                    <a:pt x="0" y="76569"/>
                    <a:pt x="0" y="60000"/>
                  </a:cubicBezTo>
                  <a:lnTo>
                    <a:pt x="0" y="0"/>
                  </a:lnTo>
                  <a:lnTo>
                    <a:pt x="64189" y="0"/>
                  </a:lnTo>
                  <a:lnTo>
                    <a:pt x="72351" y="24487"/>
                  </a:lnTo>
                  <a:cubicBezTo>
                    <a:pt x="76434" y="36737"/>
                    <a:pt x="87899" y="45000"/>
                    <a:pt x="100811" y="45000"/>
                  </a:cubicBezTo>
                  <a:lnTo>
                    <a:pt x="200730" y="45000"/>
                  </a:lnTo>
                  <a:cubicBezTo>
                    <a:pt x="212093" y="45000"/>
                    <a:pt x="222480" y="38580"/>
                    <a:pt x="227562" y="28416"/>
                  </a:cubicBezTo>
                  <a:lnTo>
                    <a:pt x="241770" y="0"/>
                  </a:lnTo>
                  <a:lnTo>
                    <a:pt x="300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1" name="Полилиния 590">
              <a:extLst>
                <a:ext uri="{FF2B5EF4-FFF2-40B4-BE49-F238E27FC236}">
                  <a16:creationId xmlns:a16="http://schemas.microsoft.com/office/drawing/2014/main" id="{7D0F7934-AC44-7B4E-839D-96579C59CE41}"/>
                </a:ext>
              </a:extLst>
            </p:cNvPr>
            <p:cNvSpPr/>
            <p:nvPr/>
          </p:nvSpPr>
          <p:spPr>
            <a:xfrm>
              <a:off x="733761" y="5571199"/>
              <a:ext cx="283125" cy="150000"/>
            </a:xfrm>
            <a:custGeom>
              <a:avLst/>
              <a:gdLst>
                <a:gd name="connsiteX0" fmla="*/ 0 w 283125"/>
                <a:gd name="connsiteY0" fmla="*/ 105000 h 150000"/>
                <a:gd name="connsiteX1" fmla="*/ 50461 w 283125"/>
                <a:gd name="connsiteY1" fmla="*/ 15292 h 150000"/>
                <a:gd name="connsiteX2" fmla="*/ 76608 w 283125"/>
                <a:gd name="connsiteY2" fmla="*/ 0 h 150000"/>
                <a:gd name="connsiteX3" fmla="*/ 206517 w 283125"/>
                <a:gd name="connsiteY3" fmla="*/ 0 h 150000"/>
                <a:gd name="connsiteX4" fmla="*/ 232665 w 283125"/>
                <a:gd name="connsiteY4" fmla="*/ 15292 h 150000"/>
                <a:gd name="connsiteX5" fmla="*/ 283125 w 283125"/>
                <a:gd name="connsiteY5" fmla="*/ 105000 h 150000"/>
                <a:gd name="connsiteX6" fmla="*/ 233333 w 283125"/>
                <a:gd name="connsiteY6" fmla="*/ 105000 h 150000"/>
                <a:gd name="connsiteX7" fmla="*/ 206501 w 283125"/>
                <a:gd name="connsiteY7" fmla="*/ 121584 h 150000"/>
                <a:gd name="connsiteX8" fmla="*/ 192293 w 283125"/>
                <a:gd name="connsiteY8" fmla="*/ 150000 h 150000"/>
                <a:gd name="connsiteX9" fmla="*/ 92374 w 283125"/>
                <a:gd name="connsiteY9" fmla="*/ 150000 h 150000"/>
                <a:gd name="connsiteX10" fmla="*/ 84212 w 283125"/>
                <a:gd name="connsiteY10" fmla="*/ 125513 h 150000"/>
                <a:gd name="connsiteX11" fmla="*/ 55751 w 283125"/>
                <a:gd name="connsiteY11" fmla="*/ 105000 h 150000"/>
                <a:gd name="connsiteX12" fmla="*/ 0 w 283125"/>
                <a:gd name="connsiteY12" fmla="*/ 10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125" h="150000">
                  <a:moveTo>
                    <a:pt x="0" y="105000"/>
                  </a:moveTo>
                  <a:lnTo>
                    <a:pt x="50461" y="15292"/>
                  </a:lnTo>
                  <a:cubicBezTo>
                    <a:pt x="55774" y="5846"/>
                    <a:pt x="65770" y="0"/>
                    <a:pt x="76608" y="0"/>
                  </a:cubicBezTo>
                  <a:lnTo>
                    <a:pt x="206517" y="0"/>
                  </a:lnTo>
                  <a:cubicBezTo>
                    <a:pt x="217356" y="0"/>
                    <a:pt x="227351" y="5846"/>
                    <a:pt x="232665" y="15292"/>
                  </a:cubicBezTo>
                  <a:lnTo>
                    <a:pt x="283125" y="105000"/>
                  </a:lnTo>
                  <a:lnTo>
                    <a:pt x="233333" y="105000"/>
                  </a:lnTo>
                  <a:cubicBezTo>
                    <a:pt x="221970" y="105000"/>
                    <a:pt x="211582" y="111420"/>
                    <a:pt x="206501" y="121584"/>
                  </a:cubicBezTo>
                  <a:lnTo>
                    <a:pt x="192293" y="150000"/>
                  </a:lnTo>
                  <a:lnTo>
                    <a:pt x="92374" y="150000"/>
                  </a:lnTo>
                  <a:lnTo>
                    <a:pt x="84212" y="125513"/>
                  </a:lnTo>
                  <a:cubicBezTo>
                    <a:pt x="80128" y="113264"/>
                    <a:pt x="68664" y="105000"/>
                    <a:pt x="55751" y="105000"/>
                  </a:cubicBezTo>
                  <a:lnTo>
                    <a:pt x="0" y="10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2" name="Полилиния 591">
              <a:extLst>
                <a:ext uri="{FF2B5EF4-FFF2-40B4-BE49-F238E27FC236}">
                  <a16:creationId xmlns:a16="http://schemas.microsoft.com/office/drawing/2014/main" id="{987A3CF1-2D2D-F946-AD4F-A22B2A8C607F}"/>
                </a:ext>
              </a:extLst>
            </p:cNvPr>
            <p:cNvSpPr/>
            <p:nvPr/>
          </p:nvSpPr>
          <p:spPr>
            <a:xfrm rot="-5400000">
              <a:off x="822723" y="5451576"/>
              <a:ext cx="105200" cy="104043"/>
            </a:xfrm>
            <a:custGeom>
              <a:avLst/>
              <a:gdLst>
                <a:gd name="connsiteX0" fmla="*/ 37615 w 105200"/>
                <a:gd name="connsiteY0" fmla="*/ 7500 h 104043"/>
                <a:gd name="connsiteX1" fmla="*/ 37615 w 105200"/>
                <a:gd name="connsiteY1" fmla="*/ 36847 h 104043"/>
                <a:gd name="connsiteX2" fmla="*/ 7500 w 105200"/>
                <a:gd name="connsiteY2" fmla="*/ 36847 h 104043"/>
                <a:gd name="connsiteX3" fmla="*/ 0 w 105200"/>
                <a:gd name="connsiteY3" fmla="*/ 44347 h 104043"/>
                <a:gd name="connsiteX4" fmla="*/ 0 w 105200"/>
                <a:gd name="connsiteY4" fmla="*/ 59697 h 104043"/>
                <a:gd name="connsiteX5" fmla="*/ 7500 w 105200"/>
                <a:gd name="connsiteY5" fmla="*/ 67197 h 104043"/>
                <a:gd name="connsiteX6" fmla="*/ 37615 w 105200"/>
                <a:gd name="connsiteY6" fmla="*/ 67197 h 104043"/>
                <a:gd name="connsiteX7" fmla="*/ 37615 w 105200"/>
                <a:gd name="connsiteY7" fmla="*/ 96544 h 104043"/>
                <a:gd name="connsiteX8" fmla="*/ 45115 w 105200"/>
                <a:gd name="connsiteY8" fmla="*/ 104044 h 104043"/>
                <a:gd name="connsiteX9" fmla="*/ 49962 w 105200"/>
                <a:gd name="connsiteY9" fmla="*/ 102268 h 104043"/>
                <a:gd name="connsiteX10" fmla="*/ 102546 w 105200"/>
                <a:gd name="connsiteY10" fmla="*/ 57746 h 104043"/>
                <a:gd name="connsiteX11" fmla="*/ 103423 w 105200"/>
                <a:gd name="connsiteY11" fmla="*/ 47176 h 104043"/>
                <a:gd name="connsiteX12" fmla="*/ 102546 w 105200"/>
                <a:gd name="connsiteY12" fmla="*/ 46298 h 104043"/>
                <a:gd name="connsiteX13" fmla="*/ 49962 w 105200"/>
                <a:gd name="connsiteY13" fmla="*/ 1776 h 104043"/>
                <a:gd name="connsiteX14" fmla="*/ 39391 w 105200"/>
                <a:gd name="connsiteY14" fmla="*/ 2654 h 104043"/>
                <a:gd name="connsiteX15" fmla="*/ 37615 w 105200"/>
                <a:gd name="connsiteY15" fmla="*/ 7500 h 10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200" h="104043">
                  <a:moveTo>
                    <a:pt x="37615" y="7500"/>
                  </a:moveTo>
                  <a:lnTo>
                    <a:pt x="37615" y="36847"/>
                  </a:lnTo>
                  <a:lnTo>
                    <a:pt x="7500" y="36847"/>
                  </a:lnTo>
                  <a:cubicBezTo>
                    <a:pt x="3358" y="36847"/>
                    <a:pt x="0" y="40205"/>
                    <a:pt x="0" y="44347"/>
                  </a:cubicBezTo>
                  <a:lnTo>
                    <a:pt x="0" y="59697"/>
                  </a:lnTo>
                  <a:cubicBezTo>
                    <a:pt x="0" y="63839"/>
                    <a:pt x="3358" y="67197"/>
                    <a:pt x="7500" y="67197"/>
                  </a:cubicBezTo>
                  <a:lnTo>
                    <a:pt x="37615" y="67197"/>
                  </a:lnTo>
                  <a:lnTo>
                    <a:pt x="37615" y="96544"/>
                  </a:lnTo>
                  <a:cubicBezTo>
                    <a:pt x="37615" y="100686"/>
                    <a:pt x="40972" y="104044"/>
                    <a:pt x="45115" y="104044"/>
                  </a:cubicBezTo>
                  <a:cubicBezTo>
                    <a:pt x="46890" y="104044"/>
                    <a:pt x="48607" y="103414"/>
                    <a:pt x="49962" y="102268"/>
                  </a:cubicBezTo>
                  <a:lnTo>
                    <a:pt x="102546" y="57746"/>
                  </a:lnTo>
                  <a:cubicBezTo>
                    <a:pt x="105708" y="55069"/>
                    <a:pt x="106101" y="50337"/>
                    <a:pt x="103423" y="47176"/>
                  </a:cubicBezTo>
                  <a:cubicBezTo>
                    <a:pt x="103156" y="46859"/>
                    <a:pt x="102862" y="46566"/>
                    <a:pt x="102546" y="46298"/>
                  </a:cubicBezTo>
                  <a:lnTo>
                    <a:pt x="49962" y="1776"/>
                  </a:lnTo>
                  <a:cubicBezTo>
                    <a:pt x="46800" y="-901"/>
                    <a:pt x="42067" y="-508"/>
                    <a:pt x="39391" y="2654"/>
                  </a:cubicBezTo>
                  <a:cubicBezTo>
                    <a:pt x="38244" y="4008"/>
                    <a:pt x="37615" y="5725"/>
                    <a:pt x="37615" y="75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93" name="Рисунок 137">
            <a:extLst>
              <a:ext uri="{FF2B5EF4-FFF2-40B4-BE49-F238E27FC236}">
                <a16:creationId xmlns:a16="http://schemas.microsoft.com/office/drawing/2014/main" id="{069155D9-8535-DB43-882D-6D3D25A8D0A6}"/>
              </a:ext>
            </a:extLst>
          </p:cNvPr>
          <p:cNvGrpSpPr/>
          <p:nvPr/>
        </p:nvGrpSpPr>
        <p:grpSpPr>
          <a:xfrm>
            <a:off x="11233735" y="4459189"/>
            <a:ext cx="360000" cy="360000"/>
            <a:chOff x="11267188" y="4778145"/>
            <a:chExt cx="360000" cy="360000"/>
          </a:xfrm>
        </p:grpSpPr>
        <p:sp>
          <p:nvSpPr>
            <p:cNvPr id="594" name="Полилиния 593">
              <a:extLst>
                <a:ext uri="{FF2B5EF4-FFF2-40B4-BE49-F238E27FC236}">
                  <a16:creationId xmlns:a16="http://schemas.microsoft.com/office/drawing/2014/main" id="{76AD3883-C449-0940-9A06-1B2FF7E35F38}"/>
                </a:ext>
              </a:extLst>
            </p:cNvPr>
            <p:cNvSpPr/>
            <p:nvPr/>
          </p:nvSpPr>
          <p:spPr>
            <a:xfrm>
              <a:off x="11267188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5" name="Полилиния 594">
              <a:extLst>
                <a:ext uri="{FF2B5EF4-FFF2-40B4-BE49-F238E27FC236}">
                  <a16:creationId xmlns:a16="http://schemas.microsoft.com/office/drawing/2014/main" id="{02659EF4-7AC1-0D4A-B033-7527A19EAE3E}"/>
                </a:ext>
              </a:extLst>
            </p:cNvPr>
            <p:cNvSpPr/>
            <p:nvPr/>
          </p:nvSpPr>
          <p:spPr>
            <a:xfrm>
              <a:off x="11353681" y="4869688"/>
              <a:ext cx="87368" cy="87369"/>
            </a:xfrm>
            <a:custGeom>
              <a:avLst/>
              <a:gdLst>
                <a:gd name="connsiteX0" fmla="*/ 20651 w 87368"/>
                <a:gd name="connsiteY0" fmla="*/ 83437 h 87369"/>
                <a:gd name="connsiteX1" fmla="*/ 16176 w 87368"/>
                <a:gd name="connsiteY1" fmla="*/ 85588 h 87369"/>
                <a:gd name="connsiteX2" fmla="*/ 7894 w 87368"/>
                <a:gd name="connsiteY2" fmla="*/ 78961 h 87369"/>
                <a:gd name="connsiteX3" fmla="*/ 46 w 87368"/>
                <a:gd name="connsiteY3" fmla="*/ 8329 h 87369"/>
                <a:gd name="connsiteX4" fmla="*/ 46 w 87368"/>
                <a:gd name="connsiteY4" fmla="*/ 6672 h 87369"/>
                <a:gd name="connsiteX5" fmla="*/ 8328 w 87368"/>
                <a:gd name="connsiteY5" fmla="*/ 47 h 87369"/>
                <a:gd name="connsiteX6" fmla="*/ 78962 w 87368"/>
                <a:gd name="connsiteY6" fmla="*/ 7895 h 87369"/>
                <a:gd name="connsiteX7" fmla="*/ 83436 w 87368"/>
                <a:gd name="connsiteY7" fmla="*/ 10045 h 87369"/>
                <a:gd name="connsiteX8" fmla="*/ 83436 w 87368"/>
                <a:gd name="connsiteY8" fmla="*/ 20652 h 87369"/>
                <a:gd name="connsiteX9" fmla="*/ 62650 w 87368"/>
                <a:gd name="connsiteY9" fmla="*/ 41438 h 87369"/>
                <a:gd name="connsiteX10" fmla="*/ 85171 w 87368"/>
                <a:gd name="connsiteY10" fmla="*/ 63960 h 87369"/>
                <a:gd name="connsiteX11" fmla="*/ 85171 w 87368"/>
                <a:gd name="connsiteY11" fmla="*/ 74566 h 87369"/>
                <a:gd name="connsiteX12" fmla="*/ 74565 w 87368"/>
                <a:gd name="connsiteY12" fmla="*/ 85173 h 87369"/>
                <a:gd name="connsiteX13" fmla="*/ 63958 w 87368"/>
                <a:gd name="connsiteY13" fmla="*/ 85173 h 87369"/>
                <a:gd name="connsiteX14" fmla="*/ 41437 w 87368"/>
                <a:gd name="connsiteY14" fmla="*/ 62652 h 87369"/>
                <a:gd name="connsiteX15" fmla="*/ 20651 w 87368"/>
                <a:gd name="connsiteY15" fmla="*/ 83437 h 8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7368" h="87369">
                  <a:moveTo>
                    <a:pt x="20651" y="83437"/>
                  </a:moveTo>
                  <a:cubicBezTo>
                    <a:pt x="19447" y="84640"/>
                    <a:pt x="17869" y="85399"/>
                    <a:pt x="16176" y="85588"/>
                  </a:cubicBezTo>
                  <a:cubicBezTo>
                    <a:pt x="12060" y="86044"/>
                    <a:pt x="8351" y="83079"/>
                    <a:pt x="7894" y="78961"/>
                  </a:cubicBezTo>
                  <a:lnTo>
                    <a:pt x="46" y="8329"/>
                  </a:lnTo>
                  <a:cubicBezTo>
                    <a:pt x="-15" y="7778"/>
                    <a:pt x="-15" y="7223"/>
                    <a:pt x="46" y="6672"/>
                  </a:cubicBezTo>
                  <a:cubicBezTo>
                    <a:pt x="503" y="2556"/>
                    <a:pt x="4212" y="-411"/>
                    <a:pt x="8328" y="47"/>
                  </a:cubicBezTo>
                  <a:lnTo>
                    <a:pt x="78962" y="7895"/>
                  </a:lnTo>
                  <a:cubicBezTo>
                    <a:pt x="80653" y="8083"/>
                    <a:pt x="82231" y="8841"/>
                    <a:pt x="83436" y="10045"/>
                  </a:cubicBezTo>
                  <a:cubicBezTo>
                    <a:pt x="86366" y="12974"/>
                    <a:pt x="86366" y="17723"/>
                    <a:pt x="83436" y="20652"/>
                  </a:cubicBezTo>
                  <a:lnTo>
                    <a:pt x="62650" y="41438"/>
                  </a:lnTo>
                  <a:lnTo>
                    <a:pt x="85171" y="63960"/>
                  </a:lnTo>
                  <a:cubicBezTo>
                    <a:pt x="88101" y="66889"/>
                    <a:pt x="88101" y="71637"/>
                    <a:pt x="85171" y="74566"/>
                  </a:cubicBezTo>
                  <a:lnTo>
                    <a:pt x="74565" y="85173"/>
                  </a:lnTo>
                  <a:cubicBezTo>
                    <a:pt x="71637" y="88102"/>
                    <a:pt x="66888" y="88102"/>
                    <a:pt x="63958" y="85173"/>
                  </a:cubicBezTo>
                  <a:lnTo>
                    <a:pt x="41437" y="62652"/>
                  </a:lnTo>
                  <a:lnTo>
                    <a:pt x="20651" y="83437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6" name="Полилиния 595">
              <a:extLst>
                <a:ext uri="{FF2B5EF4-FFF2-40B4-BE49-F238E27FC236}">
                  <a16:creationId xmlns:a16="http://schemas.microsoft.com/office/drawing/2014/main" id="{2A8AB287-0B3E-7144-B595-28944EA121CB}"/>
                </a:ext>
              </a:extLst>
            </p:cNvPr>
            <p:cNvSpPr/>
            <p:nvPr/>
          </p:nvSpPr>
          <p:spPr>
            <a:xfrm>
              <a:off x="11333414" y="4850650"/>
              <a:ext cx="233912" cy="227060"/>
            </a:xfrm>
            <a:custGeom>
              <a:avLst/>
              <a:gdLst>
                <a:gd name="connsiteX0" fmla="*/ 114974 w 233912"/>
                <a:gd name="connsiteY0" fmla="*/ 149255 h 227060"/>
                <a:gd name="connsiteX1" fmla="*/ 148034 w 233912"/>
                <a:gd name="connsiteY1" fmla="*/ 116195 h 227060"/>
                <a:gd name="connsiteX2" fmla="*/ 153653 w 233912"/>
                <a:gd name="connsiteY2" fmla="*/ 81564 h 227060"/>
                <a:gd name="connsiteX3" fmla="*/ 151781 w 233912"/>
                <a:gd name="connsiteY3" fmla="*/ 77819 h 227060"/>
                <a:gd name="connsiteX4" fmla="*/ 157400 w 233912"/>
                <a:gd name="connsiteY4" fmla="*/ 43189 h 227060"/>
                <a:gd name="connsiteX5" fmla="*/ 198392 w 233912"/>
                <a:gd name="connsiteY5" fmla="*/ 2197 h 227060"/>
                <a:gd name="connsiteX6" fmla="*/ 208998 w 233912"/>
                <a:gd name="connsiteY6" fmla="*/ 2197 h 227060"/>
                <a:gd name="connsiteX7" fmla="*/ 210404 w 233912"/>
                <a:gd name="connsiteY7" fmla="*/ 4146 h 227060"/>
                <a:gd name="connsiteX8" fmla="*/ 226962 w 233912"/>
                <a:gd name="connsiteY8" fmla="*/ 37265 h 227060"/>
                <a:gd name="connsiteX9" fmla="*/ 214635 w 233912"/>
                <a:gd name="connsiteY9" fmla="*/ 113232 h 227060"/>
                <a:gd name="connsiteX10" fmla="*/ 124653 w 233912"/>
                <a:gd name="connsiteY10" fmla="*/ 203214 h 227060"/>
                <a:gd name="connsiteX11" fmla="*/ 41347 w 233912"/>
                <a:gd name="connsiteY11" fmla="*/ 222881 h 227060"/>
                <a:gd name="connsiteX12" fmla="*/ 5130 w 233912"/>
                <a:gd name="connsiteY12" fmla="*/ 210809 h 227060"/>
                <a:gd name="connsiteX13" fmla="*/ 387 w 233912"/>
                <a:gd name="connsiteY13" fmla="*/ 201321 h 227060"/>
                <a:gd name="connsiteX14" fmla="*/ 2199 w 233912"/>
                <a:gd name="connsiteY14" fmla="*/ 198390 h 227060"/>
                <a:gd name="connsiteX15" fmla="*/ 41968 w 233912"/>
                <a:gd name="connsiteY15" fmla="*/ 158621 h 227060"/>
                <a:gd name="connsiteX16" fmla="*/ 76597 w 233912"/>
                <a:gd name="connsiteY16" fmla="*/ 153002 h 227060"/>
                <a:gd name="connsiteX17" fmla="*/ 80344 w 233912"/>
                <a:gd name="connsiteY17" fmla="*/ 154874 h 227060"/>
                <a:gd name="connsiteX18" fmla="*/ 114974 w 233912"/>
                <a:gd name="connsiteY18" fmla="*/ 149255 h 227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3912" h="227060">
                  <a:moveTo>
                    <a:pt x="114974" y="149255"/>
                  </a:moveTo>
                  <a:lnTo>
                    <a:pt x="148034" y="116195"/>
                  </a:lnTo>
                  <a:cubicBezTo>
                    <a:pt x="157164" y="107063"/>
                    <a:pt x="159428" y="93114"/>
                    <a:pt x="153653" y="81564"/>
                  </a:cubicBezTo>
                  <a:lnTo>
                    <a:pt x="151781" y="77819"/>
                  </a:lnTo>
                  <a:cubicBezTo>
                    <a:pt x="146006" y="66269"/>
                    <a:pt x="148269" y="52320"/>
                    <a:pt x="157400" y="43189"/>
                  </a:cubicBezTo>
                  <a:lnTo>
                    <a:pt x="198392" y="2197"/>
                  </a:lnTo>
                  <a:cubicBezTo>
                    <a:pt x="201321" y="-732"/>
                    <a:pt x="206069" y="-732"/>
                    <a:pt x="208998" y="2197"/>
                  </a:cubicBezTo>
                  <a:cubicBezTo>
                    <a:pt x="209568" y="2767"/>
                    <a:pt x="210042" y="3425"/>
                    <a:pt x="210404" y="4146"/>
                  </a:cubicBezTo>
                  <a:lnTo>
                    <a:pt x="226962" y="37265"/>
                  </a:lnTo>
                  <a:cubicBezTo>
                    <a:pt x="239631" y="62602"/>
                    <a:pt x="234665" y="93203"/>
                    <a:pt x="214635" y="113232"/>
                  </a:cubicBezTo>
                  <a:lnTo>
                    <a:pt x="124653" y="203214"/>
                  </a:lnTo>
                  <a:cubicBezTo>
                    <a:pt x="102849" y="225018"/>
                    <a:pt x="70599" y="232631"/>
                    <a:pt x="41347" y="222881"/>
                  </a:cubicBezTo>
                  <a:lnTo>
                    <a:pt x="5130" y="210809"/>
                  </a:lnTo>
                  <a:cubicBezTo>
                    <a:pt x="1201" y="209498"/>
                    <a:pt x="-923" y="205251"/>
                    <a:pt x="387" y="201321"/>
                  </a:cubicBezTo>
                  <a:cubicBezTo>
                    <a:pt x="755" y="200217"/>
                    <a:pt x="1375" y="199214"/>
                    <a:pt x="2199" y="198390"/>
                  </a:cubicBezTo>
                  <a:lnTo>
                    <a:pt x="41968" y="158621"/>
                  </a:lnTo>
                  <a:cubicBezTo>
                    <a:pt x="51099" y="149490"/>
                    <a:pt x="65048" y="147227"/>
                    <a:pt x="76597" y="153002"/>
                  </a:cubicBezTo>
                  <a:lnTo>
                    <a:pt x="80344" y="154874"/>
                  </a:lnTo>
                  <a:cubicBezTo>
                    <a:pt x="91893" y="160649"/>
                    <a:pt x="105842" y="158385"/>
                    <a:pt x="114974" y="14925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97" name="Рисунок 138">
            <a:extLst>
              <a:ext uri="{FF2B5EF4-FFF2-40B4-BE49-F238E27FC236}">
                <a16:creationId xmlns:a16="http://schemas.microsoft.com/office/drawing/2014/main" id="{D17419C9-DD45-934A-8DC8-34C1D3DDD494}"/>
              </a:ext>
            </a:extLst>
          </p:cNvPr>
          <p:cNvGrpSpPr/>
          <p:nvPr/>
        </p:nvGrpSpPr>
        <p:grpSpPr>
          <a:xfrm>
            <a:off x="3682403" y="4458988"/>
            <a:ext cx="360000" cy="360200"/>
            <a:chOff x="3715856" y="4777944"/>
            <a:chExt cx="360000" cy="360200"/>
          </a:xfrm>
        </p:grpSpPr>
        <p:sp>
          <p:nvSpPr>
            <p:cNvPr id="598" name="Полилиния 597">
              <a:extLst>
                <a:ext uri="{FF2B5EF4-FFF2-40B4-BE49-F238E27FC236}">
                  <a16:creationId xmlns:a16="http://schemas.microsoft.com/office/drawing/2014/main" id="{78D0B870-E9A3-1B49-9BA2-59FA9A87CFC3}"/>
                </a:ext>
              </a:extLst>
            </p:cNvPr>
            <p:cNvSpPr/>
            <p:nvPr/>
          </p:nvSpPr>
          <p:spPr>
            <a:xfrm>
              <a:off x="3715856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9" name="Полилиния 598">
              <a:extLst>
                <a:ext uri="{FF2B5EF4-FFF2-40B4-BE49-F238E27FC236}">
                  <a16:creationId xmlns:a16="http://schemas.microsoft.com/office/drawing/2014/main" id="{3CAADAA6-C5EE-3341-A8E6-10964C3AEE29}"/>
                </a:ext>
              </a:extLst>
            </p:cNvPr>
            <p:cNvSpPr/>
            <p:nvPr/>
          </p:nvSpPr>
          <p:spPr>
            <a:xfrm>
              <a:off x="3760856" y="4913145"/>
              <a:ext cx="270000" cy="195000"/>
            </a:xfrm>
            <a:custGeom>
              <a:avLst/>
              <a:gdLst>
                <a:gd name="connsiteX0" fmla="*/ 30000 w 270000"/>
                <a:gd name="connsiteY0" fmla="*/ 0 h 195000"/>
                <a:gd name="connsiteX1" fmla="*/ 240000 w 270000"/>
                <a:gd name="connsiteY1" fmla="*/ 0 h 195000"/>
                <a:gd name="connsiteX2" fmla="*/ 270000 w 270000"/>
                <a:gd name="connsiteY2" fmla="*/ 30000 h 195000"/>
                <a:gd name="connsiteX3" fmla="*/ 270000 w 270000"/>
                <a:gd name="connsiteY3" fmla="*/ 165000 h 195000"/>
                <a:gd name="connsiteX4" fmla="*/ 240000 w 270000"/>
                <a:gd name="connsiteY4" fmla="*/ 195000 h 195000"/>
                <a:gd name="connsiteX5" fmla="*/ 30000 w 270000"/>
                <a:gd name="connsiteY5" fmla="*/ 195000 h 195000"/>
                <a:gd name="connsiteX6" fmla="*/ 0 w 270000"/>
                <a:gd name="connsiteY6" fmla="*/ 165000 h 195000"/>
                <a:gd name="connsiteX7" fmla="*/ 0 w 270000"/>
                <a:gd name="connsiteY7" fmla="*/ 30000 h 195000"/>
                <a:gd name="connsiteX8" fmla="*/ 30000 w 270000"/>
                <a:gd name="connsiteY8" fmla="*/ 0 h 195000"/>
                <a:gd name="connsiteX9" fmla="*/ 227166 w 270000"/>
                <a:gd name="connsiteY9" fmla="*/ 27594 h 195000"/>
                <a:gd name="connsiteX10" fmla="*/ 135000 w 270000"/>
                <a:gd name="connsiteY10" fmla="*/ 77223 h 195000"/>
                <a:gd name="connsiteX11" fmla="*/ 42834 w 270000"/>
                <a:gd name="connsiteY11" fmla="*/ 27594 h 195000"/>
                <a:gd name="connsiteX12" fmla="*/ 27595 w 270000"/>
                <a:gd name="connsiteY12" fmla="*/ 32166 h 195000"/>
                <a:gd name="connsiteX13" fmla="*/ 32166 w 270000"/>
                <a:gd name="connsiteY13" fmla="*/ 47406 h 195000"/>
                <a:gd name="connsiteX14" fmla="*/ 129666 w 270000"/>
                <a:gd name="connsiteY14" fmla="*/ 99906 h 195000"/>
                <a:gd name="connsiteX15" fmla="*/ 140334 w 270000"/>
                <a:gd name="connsiteY15" fmla="*/ 99906 h 195000"/>
                <a:gd name="connsiteX16" fmla="*/ 237834 w 270000"/>
                <a:gd name="connsiteY16" fmla="*/ 47406 h 195000"/>
                <a:gd name="connsiteX17" fmla="*/ 242406 w 270000"/>
                <a:gd name="connsiteY17" fmla="*/ 32166 h 195000"/>
                <a:gd name="connsiteX18" fmla="*/ 227166 w 270000"/>
                <a:gd name="connsiteY18" fmla="*/ 27594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0000" h="195000">
                  <a:moveTo>
                    <a:pt x="30000" y="0"/>
                  </a:move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65000"/>
                  </a:lnTo>
                  <a:cubicBezTo>
                    <a:pt x="270000" y="181569"/>
                    <a:pt x="256569" y="195000"/>
                    <a:pt x="240000" y="195000"/>
                  </a:cubicBezTo>
                  <a:lnTo>
                    <a:pt x="30000" y="195000"/>
                  </a:lnTo>
                  <a:cubicBezTo>
                    <a:pt x="13431" y="195000"/>
                    <a:pt x="0" y="181569"/>
                    <a:pt x="0" y="165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227166" y="27594"/>
                  </a:moveTo>
                  <a:lnTo>
                    <a:pt x="135000" y="77223"/>
                  </a:lnTo>
                  <a:lnTo>
                    <a:pt x="42834" y="27594"/>
                  </a:lnTo>
                  <a:cubicBezTo>
                    <a:pt x="37363" y="24650"/>
                    <a:pt x="30540" y="26696"/>
                    <a:pt x="27595" y="32166"/>
                  </a:cubicBezTo>
                  <a:cubicBezTo>
                    <a:pt x="24649" y="37637"/>
                    <a:pt x="26696" y="44460"/>
                    <a:pt x="32166" y="47406"/>
                  </a:cubicBezTo>
                  <a:lnTo>
                    <a:pt x="129666" y="99906"/>
                  </a:lnTo>
                  <a:cubicBezTo>
                    <a:pt x="132996" y="101698"/>
                    <a:pt x="137004" y="101698"/>
                    <a:pt x="140334" y="99906"/>
                  </a:cubicBezTo>
                  <a:lnTo>
                    <a:pt x="237834" y="47406"/>
                  </a:lnTo>
                  <a:cubicBezTo>
                    <a:pt x="243305" y="44460"/>
                    <a:pt x="245351" y="37637"/>
                    <a:pt x="242406" y="32166"/>
                  </a:cubicBezTo>
                  <a:cubicBezTo>
                    <a:pt x="239460" y="26696"/>
                    <a:pt x="232637" y="24650"/>
                    <a:pt x="227166" y="27594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0" name="Полилиния 599">
              <a:extLst>
                <a:ext uri="{FF2B5EF4-FFF2-40B4-BE49-F238E27FC236}">
                  <a16:creationId xmlns:a16="http://schemas.microsoft.com/office/drawing/2014/main" id="{077C1410-EEF7-DE4F-BFE3-4F41421B7912}"/>
                </a:ext>
              </a:extLst>
            </p:cNvPr>
            <p:cNvSpPr/>
            <p:nvPr/>
          </p:nvSpPr>
          <p:spPr>
            <a:xfrm rot="-5400000">
              <a:off x="3843255" y="4778522"/>
              <a:ext cx="105200" cy="104043"/>
            </a:xfrm>
            <a:custGeom>
              <a:avLst/>
              <a:gdLst>
                <a:gd name="connsiteX0" fmla="*/ 37615 w 105200"/>
                <a:gd name="connsiteY0" fmla="*/ 7500 h 104043"/>
                <a:gd name="connsiteX1" fmla="*/ 37615 w 105200"/>
                <a:gd name="connsiteY1" fmla="*/ 36847 h 104043"/>
                <a:gd name="connsiteX2" fmla="*/ 7500 w 105200"/>
                <a:gd name="connsiteY2" fmla="*/ 36847 h 104043"/>
                <a:gd name="connsiteX3" fmla="*/ 0 w 105200"/>
                <a:gd name="connsiteY3" fmla="*/ 44347 h 104043"/>
                <a:gd name="connsiteX4" fmla="*/ 0 w 105200"/>
                <a:gd name="connsiteY4" fmla="*/ 59697 h 104043"/>
                <a:gd name="connsiteX5" fmla="*/ 7500 w 105200"/>
                <a:gd name="connsiteY5" fmla="*/ 67197 h 104043"/>
                <a:gd name="connsiteX6" fmla="*/ 37615 w 105200"/>
                <a:gd name="connsiteY6" fmla="*/ 67197 h 104043"/>
                <a:gd name="connsiteX7" fmla="*/ 37615 w 105200"/>
                <a:gd name="connsiteY7" fmla="*/ 96544 h 104043"/>
                <a:gd name="connsiteX8" fmla="*/ 45115 w 105200"/>
                <a:gd name="connsiteY8" fmla="*/ 104044 h 104043"/>
                <a:gd name="connsiteX9" fmla="*/ 49962 w 105200"/>
                <a:gd name="connsiteY9" fmla="*/ 102268 h 104043"/>
                <a:gd name="connsiteX10" fmla="*/ 102546 w 105200"/>
                <a:gd name="connsiteY10" fmla="*/ 57746 h 104043"/>
                <a:gd name="connsiteX11" fmla="*/ 103423 w 105200"/>
                <a:gd name="connsiteY11" fmla="*/ 47176 h 104043"/>
                <a:gd name="connsiteX12" fmla="*/ 102546 w 105200"/>
                <a:gd name="connsiteY12" fmla="*/ 46298 h 104043"/>
                <a:gd name="connsiteX13" fmla="*/ 49962 w 105200"/>
                <a:gd name="connsiteY13" fmla="*/ 1776 h 104043"/>
                <a:gd name="connsiteX14" fmla="*/ 39391 w 105200"/>
                <a:gd name="connsiteY14" fmla="*/ 2654 h 104043"/>
                <a:gd name="connsiteX15" fmla="*/ 37615 w 105200"/>
                <a:gd name="connsiteY15" fmla="*/ 7500 h 10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200" h="104043">
                  <a:moveTo>
                    <a:pt x="37615" y="7500"/>
                  </a:moveTo>
                  <a:lnTo>
                    <a:pt x="37615" y="36847"/>
                  </a:lnTo>
                  <a:lnTo>
                    <a:pt x="7500" y="36847"/>
                  </a:lnTo>
                  <a:cubicBezTo>
                    <a:pt x="3358" y="36847"/>
                    <a:pt x="0" y="40205"/>
                    <a:pt x="0" y="44347"/>
                  </a:cubicBezTo>
                  <a:lnTo>
                    <a:pt x="0" y="59697"/>
                  </a:lnTo>
                  <a:cubicBezTo>
                    <a:pt x="0" y="63839"/>
                    <a:pt x="3358" y="67197"/>
                    <a:pt x="7500" y="67197"/>
                  </a:cubicBezTo>
                  <a:lnTo>
                    <a:pt x="37615" y="67197"/>
                  </a:lnTo>
                  <a:lnTo>
                    <a:pt x="37615" y="96544"/>
                  </a:lnTo>
                  <a:cubicBezTo>
                    <a:pt x="37615" y="100686"/>
                    <a:pt x="40972" y="104044"/>
                    <a:pt x="45115" y="104044"/>
                  </a:cubicBezTo>
                  <a:cubicBezTo>
                    <a:pt x="46890" y="104044"/>
                    <a:pt x="48607" y="103414"/>
                    <a:pt x="49962" y="102268"/>
                  </a:cubicBezTo>
                  <a:lnTo>
                    <a:pt x="102546" y="57746"/>
                  </a:lnTo>
                  <a:cubicBezTo>
                    <a:pt x="105708" y="55069"/>
                    <a:pt x="106101" y="50337"/>
                    <a:pt x="103423" y="47176"/>
                  </a:cubicBezTo>
                  <a:cubicBezTo>
                    <a:pt x="103156" y="46859"/>
                    <a:pt x="102862" y="46566"/>
                    <a:pt x="102546" y="46298"/>
                  </a:cubicBezTo>
                  <a:lnTo>
                    <a:pt x="49962" y="1776"/>
                  </a:lnTo>
                  <a:cubicBezTo>
                    <a:pt x="46800" y="-901"/>
                    <a:pt x="42067" y="-508"/>
                    <a:pt x="39391" y="2654"/>
                  </a:cubicBezTo>
                  <a:cubicBezTo>
                    <a:pt x="38244" y="4008"/>
                    <a:pt x="37615" y="5725"/>
                    <a:pt x="37615" y="7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01" name="Рисунок 139">
            <a:extLst>
              <a:ext uri="{FF2B5EF4-FFF2-40B4-BE49-F238E27FC236}">
                <a16:creationId xmlns:a16="http://schemas.microsoft.com/office/drawing/2014/main" id="{EA587A66-5E18-134D-97AB-8A85C54B892F}"/>
              </a:ext>
            </a:extLst>
          </p:cNvPr>
          <p:cNvGrpSpPr/>
          <p:nvPr/>
        </p:nvGrpSpPr>
        <p:grpSpPr>
          <a:xfrm>
            <a:off x="8968334" y="4459189"/>
            <a:ext cx="360000" cy="360000"/>
            <a:chOff x="9001787" y="4778145"/>
            <a:chExt cx="360000" cy="360000"/>
          </a:xfrm>
        </p:grpSpPr>
        <p:sp>
          <p:nvSpPr>
            <p:cNvPr id="602" name="Полилиния 601">
              <a:extLst>
                <a:ext uri="{FF2B5EF4-FFF2-40B4-BE49-F238E27FC236}">
                  <a16:creationId xmlns:a16="http://schemas.microsoft.com/office/drawing/2014/main" id="{D886DD1E-A73F-7649-9F30-F24BE6173050}"/>
                </a:ext>
              </a:extLst>
            </p:cNvPr>
            <p:cNvSpPr/>
            <p:nvPr/>
          </p:nvSpPr>
          <p:spPr>
            <a:xfrm>
              <a:off x="9001787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3" name="Полилиния 602">
              <a:extLst>
                <a:ext uri="{FF2B5EF4-FFF2-40B4-BE49-F238E27FC236}">
                  <a16:creationId xmlns:a16="http://schemas.microsoft.com/office/drawing/2014/main" id="{C6A3468D-51CC-7F4B-9417-4DAEFE62C6E0}"/>
                </a:ext>
              </a:extLst>
            </p:cNvPr>
            <p:cNvSpPr/>
            <p:nvPr/>
          </p:nvSpPr>
          <p:spPr>
            <a:xfrm>
              <a:off x="9121787" y="4838145"/>
              <a:ext cx="120000" cy="75000"/>
            </a:xfrm>
            <a:custGeom>
              <a:avLst/>
              <a:gdLst>
                <a:gd name="connsiteX0" fmla="*/ 105000 w 120000"/>
                <a:gd name="connsiteY0" fmla="*/ 0 h 75000"/>
                <a:gd name="connsiteX1" fmla="*/ 120000 w 120000"/>
                <a:gd name="connsiteY1" fmla="*/ 15000 h 75000"/>
                <a:gd name="connsiteX2" fmla="*/ 120000 w 120000"/>
                <a:gd name="connsiteY2" fmla="*/ 75000 h 75000"/>
                <a:gd name="connsiteX3" fmla="*/ 90000 w 120000"/>
                <a:gd name="connsiteY3" fmla="*/ 75000 h 75000"/>
                <a:gd name="connsiteX4" fmla="*/ 90000 w 120000"/>
                <a:gd name="connsiteY4" fmla="*/ 15000 h 75000"/>
                <a:gd name="connsiteX5" fmla="*/ 105000 w 120000"/>
                <a:gd name="connsiteY5" fmla="*/ 0 h 75000"/>
                <a:gd name="connsiteX6" fmla="*/ 15000 w 120000"/>
                <a:gd name="connsiteY6" fmla="*/ 0 h 75000"/>
                <a:gd name="connsiteX7" fmla="*/ 30000 w 120000"/>
                <a:gd name="connsiteY7" fmla="*/ 15000 h 75000"/>
                <a:gd name="connsiteX8" fmla="*/ 30000 w 120000"/>
                <a:gd name="connsiteY8" fmla="*/ 75000 h 75000"/>
                <a:gd name="connsiteX9" fmla="*/ 0 w 120000"/>
                <a:gd name="connsiteY9" fmla="*/ 75000 h 75000"/>
                <a:gd name="connsiteX10" fmla="*/ 0 w 120000"/>
                <a:gd name="connsiteY10" fmla="*/ 15000 h 75000"/>
                <a:gd name="connsiteX11" fmla="*/ 15000 w 120000"/>
                <a:gd name="connsiteY11" fmla="*/ 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0000" h="75000">
                  <a:moveTo>
                    <a:pt x="105000" y="0"/>
                  </a:moveTo>
                  <a:cubicBezTo>
                    <a:pt x="113285" y="0"/>
                    <a:pt x="120000" y="6716"/>
                    <a:pt x="120000" y="15000"/>
                  </a:cubicBezTo>
                  <a:lnTo>
                    <a:pt x="120000" y="75000"/>
                  </a:lnTo>
                  <a:lnTo>
                    <a:pt x="90000" y="75000"/>
                  </a:lnTo>
                  <a:lnTo>
                    <a:pt x="90000" y="15000"/>
                  </a:lnTo>
                  <a:cubicBezTo>
                    <a:pt x="90000" y="6716"/>
                    <a:pt x="96715" y="0"/>
                    <a:pt x="105000" y="0"/>
                  </a:cubicBezTo>
                  <a:close/>
                  <a:moveTo>
                    <a:pt x="15000" y="0"/>
                  </a:moveTo>
                  <a:cubicBezTo>
                    <a:pt x="23284" y="0"/>
                    <a:pt x="30000" y="6716"/>
                    <a:pt x="30000" y="15000"/>
                  </a:cubicBezTo>
                  <a:lnTo>
                    <a:pt x="30000" y="75000"/>
                  </a:lnTo>
                  <a:lnTo>
                    <a:pt x="0" y="75000"/>
                  </a:ln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4" name="Полилиния 603">
              <a:extLst>
                <a:ext uri="{FF2B5EF4-FFF2-40B4-BE49-F238E27FC236}">
                  <a16:creationId xmlns:a16="http://schemas.microsoft.com/office/drawing/2014/main" id="{E0706333-20E7-5146-8C57-B876C7CB9340}"/>
                </a:ext>
              </a:extLst>
            </p:cNvPr>
            <p:cNvSpPr/>
            <p:nvPr/>
          </p:nvSpPr>
          <p:spPr>
            <a:xfrm>
              <a:off x="9076787" y="4913145"/>
              <a:ext cx="210000" cy="195000"/>
            </a:xfrm>
            <a:custGeom>
              <a:avLst/>
              <a:gdLst>
                <a:gd name="connsiteX0" fmla="*/ 120000 w 210000"/>
                <a:gd name="connsiteY0" fmla="*/ 118937 h 195000"/>
                <a:gd name="connsiteX1" fmla="*/ 120000 w 210000"/>
                <a:gd name="connsiteY1" fmla="*/ 195000 h 195000"/>
                <a:gd name="connsiteX2" fmla="*/ 90000 w 210000"/>
                <a:gd name="connsiteY2" fmla="*/ 195000 h 195000"/>
                <a:gd name="connsiteX3" fmla="*/ 90000 w 210000"/>
                <a:gd name="connsiteY3" fmla="*/ 118937 h 195000"/>
                <a:gd name="connsiteX4" fmla="*/ 0 w 210000"/>
                <a:gd name="connsiteY4" fmla="*/ 15000 h 195000"/>
                <a:gd name="connsiteX5" fmla="*/ 0 w 210000"/>
                <a:gd name="connsiteY5" fmla="*/ 0 h 195000"/>
                <a:gd name="connsiteX6" fmla="*/ 210000 w 210000"/>
                <a:gd name="connsiteY6" fmla="*/ 0 h 195000"/>
                <a:gd name="connsiteX7" fmla="*/ 210000 w 210000"/>
                <a:gd name="connsiteY7" fmla="*/ 15000 h 195000"/>
                <a:gd name="connsiteX8" fmla="*/ 120000 w 210000"/>
                <a:gd name="connsiteY8" fmla="*/ 118937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0000" h="195000">
                  <a:moveTo>
                    <a:pt x="120000" y="118937"/>
                  </a:moveTo>
                  <a:lnTo>
                    <a:pt x="120000" y="195000"/>
                  </a:lnTo>
                  <a:lnTo>
                    <a:pt x="90000" y="195000"/>
                  </a:lnTo>
                  <a:lnTo>
                    <a:pt x="90000" y="118937"/>
                  </a:lnTo>
                  <a:cubicBezTo>
                    <a:pt x="39116" y="111658"/>
                    <a:pt x="0" y="67898"/>
                    <a:pt x="0" y="15000"/>
                  </a:cubicBezTo>
                  <a:lnTo>
                    <a:pt x="0" y="0"/>
                  </a:lnTo>
                  <a:lnTo>
                    <a:pt x="210000" y="0"/>
                  </a:lnTo>
                  <a:lnTo>
                    <a:pt x="210000" y="15000"/>
                  </a:lnTo>
                  <a:cubicBezTo>
                    <a:pt x="210000" y="67898"/>
                    <a:pt x="170885" y="111658"/>
                    <a:pt x="120000" y="118937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05" name="Рисунок 140">
            <a:extLst>
              <a:ext uri="{FF2B5EF4-FFF2-40B4-BE49-F238E27FC236}">
                <a16:creationId xmlns:a16="http://schemas.microsoft.com/office/drawing/2014/main" id="{1ED445A3-620E-1A4E-BB65-87E072CAFEE3}"/>
              </a:ext>
            </a:extLst>
          </p:cNvPr>
          <p:cNvGrpSpPr/>
          <p:nvPr/>
        </p:nvGrpSpPr>
        <p:grpSpPr>
          <a:xfrm>
            <a:off x="9723467" y="4459189"/>
            <a:ext cx="360000" cy="360000"/>
            <a:chOff x="9756920" y="4778145"/>
            <a:chExt cx="360000" cy="360000"/>
          </a:xfrm>
        </p:grpSpPr>
        <p:sp>
          <p:nvSpPr>
            <p:cNvPr id="606" name="Полилиния 605">
              <a:extLst>
                <a:ext uri="{FF2B5EF4-FFF2-40B4-BE49-F238E27FC236}">
                  <a16:creationId xmlns:a16="http://schemas.microsoft.com/office/drawing/2014/main" id="{A4A6368C-C36B-DC41-BB17-5DA26B33ED28}"/>
                </a:ext>
              </a:extLst>
            </p:cNvPr>
            <p:cNvSpPr/>
            <p:nvPr/>
          </p:nvSpPr>
          <p:spPr>
            <a:xfrm>
              <a:off x="9756920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7" name="Полилиния 606">
              <a:extLst>
                <a:ext uri="{FF2B5EF4-FFF2-40B4-BE49-F238E27FC236}">
                  <a16:creationId xmlns:a16="http://schemas.microsoft.com/office/drawing/2014/main" id="{71F13CF4-F339-6D4F-96E6-CB6C21009465}"/>
                </a:ext>
              </a:extLst>
            </p:cNvPr>
            <p:cNvSpPr/>
            <p:nvPr/>
          </p:nvSpPr>
          <p:spPr>
            <a:xfrm>
              <a:off x="9771920" y="4898145"/>
              <a:ext cx="330000" cy="165000"/>
            </a:xfrm>
            <a:custGeom>
              <a:avLst/>
              <a:gdLst>
                <a:gd name="connsiteX0" fmla="*/ 0 w 330000"/>
                <a:gd name="connsiteY0" fmla="*/ 30000 h 165000"/>
                <a:gd name="connsiteX1" fmla="*/ 0 w 330000"/>
                <a:gd name="connsiteY1" fmla="*/ 15000 h 165000"/>
                <a:gd name="connsiteX2" fmla="*/ 15000 w 330000"/>
                <a:gd name="connsiteY2" fmla="*/ 0 h 165000"/>
                <a:gd name="connsiteX3" fmla="*/ 315000 w 330000"/>
                <a:gd name="connsiteY3" fmla="*/ 0 h 165000"/>
                <a:gd name="connsiteX4" fmla="*/ 330000 w 330000"/>
                <a:gd name="connsiteY4" fmla="*/ 15000 h 165000"/>
                <a:gd name="connsiteX5" fmla="*/ 330000 w 330000"/>
                <a:gd name="connsiteY5" fmla="*/ 30000 h 165000"/>
                <a:gd name="connsiteX6" fmla="*/ 315000 w 330000"/>
                <a:gd name="connsiteY6" fmla="*/ 45000 h 165000"/>
                <a:gd name="connsiteX7" fmla="*/ 196674 w 330000"/>
                <a:gd name="connsiteY7" fmla="*/ 165000 h 165000"/>
                <a:gd name="connsiteX8" fmla="*/ 133327 w 330000"/>
                <a:gd name="connsiteY8" fmla="*/ 165000 h 165000"/>
                <a:gd name="connsiteX9" fmla="*/ 15000 w 330000"/>
                <a:gd name="connsiteY9" fmla="*/ 45000 h 165000"/>
                <a:gd name="connsiteX10" fmla="*/ 0 w 330000"/>
                <a:gd name="connsiteY10" fmla="*/ 30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0000" h="165000">
                  <a:moveTo>
                    <a:pt x="0" y="30000"/>
                  </a:move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315000" y="0"/>
                  </a:lnTo>
                  <a:cubicBezTo>
                    <a:pt x="323285" y="0"/>
                    <a:pt x="330000" y="6716"/>
                    <a:pt x="330000" y="15000"/>
                  </a:cubicBezTo>
                  <a:lnTo>
                    <a:pt x="330000" y="30000"/>
                  </a:lnTo>
                  <a:cubicBezTo>
                    <a:pt x="330000" y="38285"/>
                    <a:pt x="323285" y="45000"/>
                    <a:pt x="315000" y="45000"/>
                  </a:cubicBezTo>
                  <a:cubicBezTo>
                    <a:pt x="254546" y="52054"/>
                    <a:pt x="206124" y="102114"/>
                    <a:pt x="196674" y="165000"/>
                  </a:cubicBezTo>
                  <a:lnTo>
                    <a:pt x="133327" y="165000"/>
                  </a:lnTo>
                  <a:cubicBezTo>
                    <a:pt x="123877" y="102114"/>
                    <a:pt x="75454" y="52054"/>
                    <a:pt x="15000" y="45000"/>
                  </a:cubicBezTo>
                  <a:cubicBezTo>
                    <a:pt x="6716" y="45000"/>
                    <a:pt x="0" y="38285"/>
                    <a:pt x="0" y="3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08" name="Рисунок 141">
            <a:extLst>
              <a:ext uri="{FF2B5EF4-FFF2-40B4-BE49-F238E27FC236}">
                <a16:creationId xmlns:a16="http://schemas.microsoft.com/office/drawing/2014/main" id="{02C6DE18-31CA-B94F-B9E1-4B14B444AFDE}"/>
              </a:ext>
            </a:extLst>
          </p:cNvPr>
          <p:cNvGrpSpPr/>
          <p:nvPr/>
        </p:nvGrpSpPr>
        <p:grpSpPr>
          <a:xfrm>
            <a:off x="10478600" y="4459189"/>
            <a:ext cx="360000" cy="360000"/>
            <a:chOff x="10512053" y="4778145"/>
            <a:chExt cx="360000" cy="360000"/>
          </a:xfrm>
        </p:grpSpPr>
        <p:sp>
          <p:nvSpPr>
            <p:cNvPr id="609" name="Полилиния 608">
              <a:extLst>
                <a:ext uri="{FF2B5EF4-FFF2-40B4-BE49-F238E27FC236}">
                  <a16:creationId xmlns:a16="http://schemas.microsoft.com/office/drawing/2014/main" id="{C07790E1-90C0-0048-80CB-467520AD0E5B}"/>
                </a:ext>
              </a:extLst>
            </p:cNvPr>
            <p:cNvSpPr/>
            <p:nvPr/>
          </p:nvSpPr>
          <p:spPr>
            <a:xfrm>
              <a:off x="1051205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0" name="Полилиния 609">
              <a:extLst>
                <a:ext uri="{FF2B5EF4-FFF2-40B4-BE49-F238E27FC236}">
                  <a16:creationId xmlns:a16="http://schemas.microsoft.com/office/drawing/2014/main" id="{222BA54E-41CC-2E4A-92AE-1707D34F13F2}"/>
                </a:ext>
              </a:extLst>
            </p:cNvPr>
            <p:cNvSpPr/>
            <p:nvPr/>
          </p:nvSpPr>
          <p:spPr>
            <a:xfrm>
              <a:off x="10572053" y="4973145"/>
              <a:ext cx="270000" cy="120000"/>
            </a:xfrm>
            <a:custGeom>
              <a:avLst/>
              <a:gdLst>
                <a:gd name="connsiteX0" fmla="*/ 270000 w 270000"/>
                <a:gd name="connsiteY0" fmla="*/ 30000 h 120000"/>
                <a:gd name="connsiteX1" fmla="*/ 270000 w 270000"/>
                <a:gd name="connsiteY1" fmla="*/ 90000 h 120000"/>
                <a:gd name="connsiteX2" fmla="*/ 240000 w 270000"/>
                <a:gd name="connsiteY2" fmla="*/ 120000 h 120000"/>
                <a:gd name="connsiteX3" fmla="*/ 60000 w 270000"/>
                <a:gd name="connsiteY3" fmla="*/ 120000 h 120000"/>
                <a:gd name="connsiteX4" fmla="*/ 0 w 270000"/>
                <a:gd name="connsiteY4" fmla="*/ 60000 h 120000"/>
                <a:gd name="connsiteX5" fmla="*/ 60000 w 270000"/>
                <a:gd name="connsiteY5" fmla="*/ 0 h 120000"/>
                <a:gd name="connsiteX6" fmla="*/ 240000 w 270000"/>
                <a:gd name="connsiteY6" fmla="*/ 0 h 120000"/>
                <a:gd name="connsiteX7" fmla="*/ 270000 w 270000"/>
                <a:gd name="connsiteY7" fmla="*/ 30000 h 120000"/>
                <a:gd name="connsiteX8" fmla="*/ 45000 w 270000"/>
                <a:gd name="connsiteY8" fmla="*/ 90000 h 120000"/>
                <a:gd name="connsiteX9" fmla="*/ 75000 w 270000"/>
                <a:gd name="connsiteY9" fmla="*/ 60000 h 120000"/>
                <a:gd name="connsiteX10" fmla="*/ 45000 w 270000"/>
                <a:gd name="connsiteY10" fmla="*/ 30000 h 120000"/>
                <a:gd name="connsiteX11" fmla="*/ 15000 w 270000"/>
                <a:gd name="connsiteY11" fmla="*/ 60000 h 120000"/>
                <a:gd name="connsiteX12" fmla="*/ 45000 w 270000"/>
                <a:gd name="connsiteY12" fmla="*/ 9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0000" h="120000">
                  <a:moveTo>
                    <a:pt x="270000" y="30000"/>
                  </a:moveTo>
                  <a:lnTo>
                    <a:pt x="270000" y="90000"/>
                  </a:lnTo>
                  <a:cubicBezTo>
                    <a:pt x="270000" y="106569"/>
                    <a:pt x="256569" y="120000"/>
                    <a:pt x="240000" y="120000"/>
                  </a:cubicBezTo>
                  <a:lnTo>
                    <a:pt x="60000" y="120000"/>
                  </a:ln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4"/>
                    <a:pt x="26863" y="0"/>
                    <a:pt x="60000" y="0"/>
                  </a:cubicBez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close/>
                  <a:moveTo>
                    <a:pt x="45000" y="90000"/>
                  </a:moveTo>
                  <a:cubicBezTo>
                    <a:pt x="61569" y="90000"/>
                    <a:pt x="75000" y="76569"/>
                    <a:pt x="75000" y="60000"/>
                  </a:cubicBezTo>
                  <a:cubicBezTo>
                    <a:pt x="75000" y="43431"/>
                    <a:pt x="61569" y="30000"/>
                    <a:pt x="45000" y="30000"/>
                  </a:cubicBezTo>
                  <a:cubicBezTo>
                    <a:pt x="28431" y="30000"/>
                    <a:pt x="15000" y="43431"/>
                    <a:pt x="15000" y="60000"/>
                  </a:cubicBezTo>
                  <a:cubicBezTo>
                    <a:pt x="15000" y="76569"/>
                    <a:pt x="28431" y="90000"/>
                    <a:pt x="45000" y="9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1" name="Полилиния 610">
              <a:extLst>
                <a:ext uri="{FF2B5EF4-FFF2-40B4-BE49-F238E27FC236}">
                  <a16:creationId xmlns:a16="http://schemas.microsoft.com/office/drawing/2014/main" id="{AAFD324C-C5DE-394E-8AAF-70C66D876B72}"/>
                </a:ext>
              </a:extLst>
            </p:cNvPr>
            <p:cNvSpPr/>
            <p:nvPr/>
          </p:nvSpPr>
          <p:spPr>
            <a:xfrm>
              <a:off x="10557905" y="4854858"/>
              <a:ext cx="238492" cy="238491"/>
            </a:xfrm>
            <a:custGeom>
              <a:avLst/>
              <a:gdLst>
                <a:gd name="connsiteX0" fmla="*/ 187279 w 238492"/>
                <a:gd name="connsiteY0" fmla="*/ 8787 h 238491"/>
                <a:gd name="connsiteX1" fmla="*/ 229706 w 238492"/>
                <a:gd name="connsiteY1" fmla="*/ 51213 h 238491"/>
                <a:gd name="connsiteX2" fmla="*/ 229706 w 238492"/>
                <a:gd name="connsiteY2" fmla="*/ 93640 h 238491"/>
                <a:gd name="connsiteX3" fmla="*/ 102426 w 238492"/>
                <a:gd name="connsiteY3" fmla="*/ 220918 h 238491"/>
                <a:gd name="connsiteX4" fmla="*/ 17574 w 238492"/>
                <a:gd name="connsiteY4" fmla="*/ 220918 h 238491"/>
                <a:gd name="connsiteX5" fmla="*/ 17574 w 238492"/>
                <a:gd name="connsiteY5" fmla="*/ 136066 h 238491"/>
                <a:gd name="connsiteX6" fmla="*/ 144853 w 238492"/>
                <a:gd name="connsiteY6" fmla="*/ 8787 h 238491"/>
                <a:gd name="connsiteX7" fmla="*/ 187279 w 238492"/>
                <a:gd name="connsiteY7" fmla="*/ 8787 h 238491"/>
                <a:gd name="connsiteX8" fmla="*/ 59147 w 238492"/>
                <a:gd name="connsiteY8" fmla="*/ 208287 h 238491"/>
                <a:gd name="connsiteX9" fmla="*/ 89147 w 238492"/>
                <a:gd name="connsiteY9" fmla="*/ 178287 h 238491"/>
                <a:gd name="connsiteX10" fmla="*/ 59147 w 238492"/>
                <a:gd name="connsiteY10" fmla="*/ 148287 h 238491"/>
                <a:gd name="connsiteX11" fmla="*/ 29147 w 238492"/>
                <a:gd name="connsiteY11" fmla="*/ 178287 h 238491"/>
                <a:gd name="connsiteX12" fmla="*/ 59147 w 238492"/>
                <a:gd name="connsiteY12" fmla="*/ 208287 h 23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8492" h="238491">
                  <a:moveTo>
                    <a:pt x="187279" y="8787"/>
                  </a:moveTo>
                  <a:lnTo>
                    <a:pt x="229706" y="51213"/>
                  </a:lnTo>
                  <a:cubicBezTo>
                    <a:pt x="241421" y="62929"/>
                    <a:pt x="241421" y="81924"/>
                    <a:pt x="229706" y="93640"/>
                  </a:cubicBezTo>
                  <a:lnTo>
                    <a:pt x="102426" y="220918"/>
                  </a:lnTo>
                  <a:cubicBezTo>
                    <a:pt x="78995" y="244350"/>
                    <a:pt x="41005" y="244350"/>
                    <a:pt x="17574" y="220918"/>
                  </a:cubicBezTo>
                  <a:cubicBezTo>
                    <a:pt x="-5858" y="197487"/>
                    <a:pt x="-5858" y="159498"/>
                    <a:pt x="17574" y="136066"/>
                  </a:cubicBezTo>
                  <a:lnTo>
                    <a:pt x="144853" y="8787"/>
                  </a:lnTo>
                  <a:cubicBezTo>
                    <a:pt x="156569" y="-2929"/>
                    <a:pt x="175564" y="-2929"/>
                    <a:pt x="187279" y="8787"/>
                  </a:cubicBezTo>
                  <a:close/>
                  <a:moveTo>
                    <a:pt x="59147" y="208287"/>
                  </a:moveTo>
                  <a:cubicBezTo>
                    <a:pt x="75716" y="208287"/>
                    <a:pt x="89147" y="194856"/>
                    <a:pt x="89147" y="178287"/>
                  </a:cubicBezTo>
                  <a:cubicBezTo>
                    <a:pt x="89147" y="161718"/>
                    <a:pt x="75716" y="148287"/>
                    <a:pt x="59147" y="148287"/>
                  </a:cubicBezTo>
                  <a:cubicBezTo>
                    <a:pt x="42579" y="148287"/>
                    <a:pt x="29147" y="161718"/>
                    <a:pt x="29147" y="178287"/>
                  </a:cubicBezTo>
                  <a:cubicBezTo>
                    <a:pt x="29147" y="194856"/>
                    <a:pt x="42579" y="208287"/>
                    <a:pt x="59147" y="208287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2" name="Полилиния 611">
              <a:extLst>
                <a:ext uri="{FF2B5EF4-FFF2-40B4-BE49-F238E27FC236}">
                  <a16:creationId xmlns:a16="http://schemas.microsoft.com/office/drawing/2014/main" id="{2C6364FA-253D-DE43-8BB3-1C45FFCB5D96}"/>
                </a:ext>
              </a:extLst>
            </p:cNvPr>
            <p:cNvSpPr/>
            <p:nvPr/>
          </p:nvSpPr>
          <p:spPr>
            <a:xfrm>
              <a:off x="10557053" y="4823145"/>
              <a:ext cx="120000" cy="270000"/>
            </a:xfrm>
            <a:custGeom>
              <a:avLst/>
              <a:gdLst>
                <a:gd name="connsiteX0" fmla="*/ 30000 w 120000"/>
                <a:gd name="connsiteY0" fmla="*/ 0 h 270000"/>
                <a:gd name="connsiteX1" fmla="*/ 90000 w 120000"/>
                <a:gd name="connsiteY1" fmla="*/ 0 h 270000"/>
                <a:gd name="connsiteX2" fmla="*/ 120000 w 120000"/>
                <a:gd name="connsiteY2" fmla="*/ 30000 h 270000"/>
                <a:gd name="connsiteX3" fmla="*/ 120000 w 120000"/>
                <a:gd name="connsiteY3" fmla="*/ 210000 h 270000"/>
                <a:gd name="connsiteX4" fmla="*/ 60000 w 120000"/>
                <a:gd name="connsiteY4" fmla="*/ 270000 h 270000"/>
                <a:gd name="connsiteX5" fmla="*/ 0 w 120000"/>
                <a:gd name="connsiteY5" fmla="*/ 210000 h 270000"/>
                <a:gd name="connsiteX6" fmla="*/ 0 w 120000"/>
                <a:gd name="connsiteY6" fmla="*/ 30000 h 270000"/>
                <a:gd name="connsiteX7" fmla="*/ 30000 w 120000"/>
                <a:gd name="connsiteY7" fmla="*/ 0 h 270000"/>
                <a:gd name="connsiteX8" fmla="*/ 60000 w 120000"/>
                <a:gd name="connsiteY8" fmla="*/ 240000 h 270000"/>
                <a:gd name="connsiteX9" fmla="*/ 90000 w 120000"/>
                <a:gd name="connsiteY9" fmla="*/ 210000 h 270000"/>
                <a:gd name="connsiteX10" fmla="*/ 60000 w 120000"/>
                <a:gd name="connsiteY10" fmla="*/ 180000 h 270000"/>
                <a:gd name="connsiteX11" fmla="*/ 30000 w 120000"/>
                <a:gd name="connsiteY11" fmla="*/ 210000 h 270000"/>
                <a:gd name="connsiteX12" fmla="*/ 60000 w 120000"/>
                <a:gd name="connsiteY12" fmla="*/ 24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0000" h="270000">
                  <a:moveTo>
                    <a:pt x="30000" y="0"/>
                  </a:moveTo>
                  <a:lnTo>
                    <a:pt x="90000" y="0"/>
                  </a:lnTo>
                  <a:cubicBezTo>
                    <a:pt x="106569" y="0"/>
                    <a:pt x="120000" y="13431"/>
                    <a:pt x="120000" y="30000"/>
                  </a:cubicBezTo>
                  <a:lnTo>
                    <a:pt x="120000" y="210000"/>
                  </a:lnTo>
                  <a:cubicBezTo>
                    <a:pt x="120000" y="243137"/>
                    <a:pt x="93137" y="270000"/>
                    <a:pt x="60000" y="270000"/>
                  </a:cubicBezTo>
                  <a:cubicBezTo>
                    <a:pt x="26863" y="270000"/>
                    <a:pt x="0" y="243137"/>
                    <a:pt x="0" y="21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60000" y="240000"/>
                  </a:moveTo>
                  <a:cubicBezTo>
                    <a:pt x="76569" y="240000"/>
                    <a:pt x="90000" y="226569"/>
                    <a:pt x="90000" y="210000"/>
                  </a:cubicBezTo>
                  <a:cubicBezTo>
                    <a:pt x="90000" y="193431"/>
                    <a:pt x="76569" y="180000"/>
                    <a:pt x="60000" y="180000"/>
                  </a:cubicBezTo>
                  <a:cubicBezTo>
                    <a:pt x="43431" y="180000"/>
                    <a:pt x="30000" y="193431"/>
                    <a:pt x="30000" y="210000"/>
                  </a:cubicBezTo>
                  <a:cubicBezTo>
                    <a:pt x="30000" y="226569"/>
                    <a:pt x="43431" y="240000"/>
                    <a:pt x="60000" y="24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13" name="Рисунок 142">
            <a:extLst>
              <a:ext uri="{FF2B5EF4-FFF2-40B4-BE49-F238E27FC236}">
                <a16:creationId xmlns:a16="http://schemas.microsoft.com/office/drawing/2014/main" id="{C162F78B-6839-1143-9D3F-B5808FF79AAC}"/>
              </a:ext>
            </a:extLst>
          </p:cNvPr>
          <p:cNvGrpSpPr/>
          <p:nvPr/>
        </p:nvGrpSpPr>
        <p:grpSpPr>
          <a:xfrm>
            <a:off x="4437536" y="4459189"/>
            <a:ext cx="360000" cy="360000"/>
            <a:chOff x="4470989" y="4778145"/>
            <a:chExt cx="360000" cy="360000"/>
          </a:xfrm>
        </p:grpSpPr>
        <p:sp>
          <p:nvSpPr>
            <p:cNvPr id="614" name="Полилиния 613">
              <a:extLst>
                <a:ext uri="{FF2B5EF4-FFF2-40B4-BE49-F238E27FC236}">
                  <a16:creationId xmlns:a16="http://schemas.microsoft.com/office/drawing/2014/main" id="{66005506-1100-EF4C-8B42-92C047DF145F}"/>
                </a:ext>
              </a:extLst>
            </p:cNvPr>
            <p:cNvSpPr/>
            <p:nvPr/>
          </p:nvSpPr>
          <p:spPr>
            <a:xfrm>
              <a:off x="4470989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5" name="Полилиния 614">
              <a:extLst>
                <a:ext uri="{FF2B5EF4-FFF2-40B4-BE49-F238E27FC236}">
                  <a16:creationId xmlns:a16="http://schemas.microsoft.com/office/drawing/2014/main" id="{1ED623BB-ACDE-2F4C-BDA5-1A8AF1D76D75}"/>
                </a:ext>
              </a:extLst>
            </p:cNvPr>
            <p:cNvSpPr/>
            <p:nvPr/>
          </p:nvSpPr>
          <p:spPr>
            <a:xfrm>
              <a:off x="4561423" y="4824494"/>
              <a:ext cx="154350" cy="251610"/>
            </a:xfrm>
            <a:custGeom>
              <a:avLst/>
              <a:gdLst>
                <a:gd name="connsiteX0" fmla="*/ 70875 w 154350"/>
                <a:gd name="connsiteY0" fmla="*/ 251610 h 251610"/>
                <a:gd name="connsiteX1" fmla="*/ 70875 w 154350"/>
                <a:gd name="connsiteY1" fmla="*/ 141750 h 251610"/>
                <a:gd name="connsiteX2" fmla="*/ 0 w 154350"/>
                <a:gd name="connsiteY2" fmla="*/ 70875 h 251610"/>
                <a:gd name="connsiteX3" fmla="*/ 70875 w 154350"/>
                <a:gd name="connsiteY3" fmla="*/ 0 h 251610"/>
                <a:gd name="connsiteX4" fmla="*/ 154350 w 154350"/>
                <a:gd name="connsiteY4" fmla="*/ 0 h 251610"/>
                <a:gd name="connsiteX5" fmla="*/ 154350 w 154350"/>
                <a:gd name="connsiteY5" fmla="*/ 251610 h 251610"/>
                <a:gd name="connsiteX6" fmla="*/ 129780 w 154350"/>
                <a:gd name="connsiteY6" fmla="*/ 251610 h 251610"/>
                <a:gd name="connsiteX7" fmla="*/ 129780 w 154350"/>
                <a:gd name="connsiteY7" fmla="*/ 24570 h 251610"/>
                <a:gd name="connsiteX8" fmla="*/ 95760 w 154350"/>
                <a:gd name="connsiteY8" fmla="*/ 24570 h 251610"/>
                <a:gd name="connsiteX9" fmla="*/ 95760 w 154350"/>
                <a:gd name="connsiteY9" fmla="*/ 251610 h 251610"/>
                <a:gd name="connsiteX10" fmla="*/ 70875 w 154350"/>
                <a:gd name="connsiteY10" fmla="*/ 251610 h 251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350" h="251610">
                  <a:moveTo>
                    <a:pt x="70875" y="251610"/>
                  </a:moveTo>
                  <a:lnTo>
                    <a:pt x="70875" y="141750"/>
                  </a:lnTo>
                  <a:cubicBezTo>
                    <a:pt x="31815" y="141750"/>
                    <a:pt x="0" y="109935"/>
                    <a:pt x="0" y="70875"/>
                  </a:cubicBezTo>
                  <a:cubicBezTo>
                    <a:pt x="0" y="31815"/>
                    <a:pt x="31815" y="0"/>
                    <a:pt x="70875" y="0"/>
                  </a:cubicBezTo>
                  <a:lnTo>
                    <a:pt x="154350" y="0"/>
                  </a:lnTo>
                  <a:lnTo>
                    <a:pt x="154350" y="251610"/>
                  </a:lnTo>
                  <a:lnTo>
                    <a:pt x="129780" y="251610"/>
                  </a:lnTo>
                  <a:lnTo>
                    <a:pt x="129780" y="24570"/>
                  </a:lnTo>
                  <a:lnTo>
                    <a:pt x="95760" y="24570"/>
                  </a:lnTo>
                  <a:lnTo>
                    <a:pt x="95760" y="251610"/>
                  </a:lnTo>
                  <a:lnTo>
                    <a:pt x="70875" y="25161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16" name="Рисунок 143">
            <a:extLst>
              <a:ext uri="{FF2B5EF4-FFF2-40B4-BE49-F238E27FC236}">
                <a16:creationId xmlns:a16="http://schemas.microsoft.com/office/drawing/2014/main" id="{2D25405F-E986-0A4C-8F43-1CC40E7AD05A}"/>
              </a:ext>
            </a:extLst>
          </p:cNvPr>
          <p:cNvGrpSpPr/>
          <p:nvPr/>
        </p:nvGrpSpPr>
        <p:grpSpPr>
          <a:xfrm>
            <a:off x="2927270" y="4459189"/>
            <a:ext cx="360000" cy="360000"/>
            <a:chOff x="2960723" y="4778145"/>
            <a:chExt cx="360000" cy="360000"/>
          </a:xfrm>
        </p:grpSpPr>
        <p:sp>
          <p:nvSpPr>
            <p:cNvPr id="617" name="Полилиния 616">
              <a:extLst>
                <a:ext uri="{FF2B5EF4-FFF2-40B4-BE49-F238E27FC236}">
                  <a16:creationId xmlns:a16="http://schemas.microsoft.com/office/drawing/2014/main" id="{BB569DB8-5D2A-4143-9EB5-EA53B9415FDF}"/>
                </a:ext>
              </a:extLst>
            </p:cNvPr>
            <p:cNvSpPr/>
            <p:nvPr/>
          </p:nvSpPr>
          <p:spPr>
            <a:xfrm>
              <a:off x="296072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8" name="Полилиния 617">
              <a:extLst>
                <a:ext uri="{FF2B5EF4-FFF2-40B4-BE49-F238E27FC236}">
                  <a16:creationId xmlns:a16="http://schemas.microsoft.com/office/drawing/2014/main" id="{1362871E-40C8-A24D-B133-6CC9D83EF9AB}"/>
                </a:ext>
              </a:extLst>
            </p:cNvPr>
            <p:cNvSpPr/>
            <p:nvPr/>
          </p:nvSpPr>
          <p:spPr>
            <a:xfrm>
              <a:off x="3034656" y="4862685"/>
              <a:ext cx="201526" cy="201525"/>
            </a:xfrm>
            <a:custGeom>
              <a:avLst/>
              <a:gdLst>
                <a:gd name="connsiteX0" fmla="*/ 95460 w 201526"/>
                <a:gd name="connsiteY0" fmla="*/ 0 h 201525"/>
                <a:gd name="connsiteX1" fmla="*/ 201526 w 201526"/>
                <a:gd name="connsiteY1" fmla="*/ 106066 h 201525"/>
                <a:gd name="connsiteX2" fmla="*/ 106066 w 201526"/>
                <a:gd name="connsiteY2" fmla="*/ 201526 h 201525"/>
                <a:gd name="connsiteX3" fmla="*/ 0 w 201526"/>
                <a:gd name="connsiteY3" fmla="*/ 95459 h 201525"/>
                <a:gd name="connsiteX4" fmla="*/ 95460 w 201526"/>
                <a:gd name="connsiteY4" fmla="*/ 0 h 201525"/>
                <a:gd name="connsiteX5" fmla="*/ 53033 w 201526"/>
                <a:gd name="connsiteY5" fmla="*/ 84853 h 201525"/>
                <a:gd name="connsiteX6" fmla="*/ 53033 w 201526"/>
                <a:gd name="connsiteY6" fmla="*/ 106066 h 201525"/>
                <a:gd name="connsiteX7" fmla="*/ 74246 w 201526"/>
                <a:gd name="connsiteY7" fmla="*/ 106066 h 201525"/>
                <a:gd name="connsiteX8" fmla="*/ 74246 w 201526"/>
                <a:gd name="connsiteY8" fmla="*/ 84853 h 201525"/>
                <a:gd name="connsiteX9" fmla="*/ 53033 w 201526"/>
                <a:gd name="connsiteY9" fmla="*/ 84853 h 201525"/>
                <a:gd name="connsiteX10" fmla="*/ 95460 w 201526"/>
                <a:gd name="connsiteY10" fmla="*/ 42426 h 201525"/>
                <a:gd name="connsiteX11" fmla="*/ 95460 w 201526"/>
                <a:gd name="connsiteY11" fmla="*/ 63640 h 201525"/>
                <a:gd name="connsiteX12" fmla="*/ 116673 w 201526"/>
                <a:gd name="connsiteY12" fmla="*/ 63640 h 201525"/>
                <a:gd name="connsiteX13" fmla="*/ 116673 w 201526"/>
                <a:gd name="connsiteY13" fmla="*/ 42426 h 201525"/>
                <a:gd name="connsiteX14" fmla="*/ 95460 w 201526"/>
                <a:gd name="connsiteY14" fmla="*/ 42426 h 201525"/>
                <a:gd name="connsiteX15" fmla="*/ 95460 w 201526"/>
                <a:gd name="connsiteY15" fmla="*/ 127279 h 201525"/>
                <a:gd name="connsiteX16" fmla="*/ 95460 w 201526"/>
                <a:gd name="connsiteY16" fmla="*/ 148492 h 201525"/>
                <a:gd name="connsiteX17" fmla="*/ 116673 w 201526"/>
                <a:gd name="connsiteY17" fmla="*/ 148492 h 201525"/>
                <a:gd name="connsiteX18" fmla="*/ 116673 w 201526"/>
                <a:gd name="connsiteY18" fmla="*/ 127279 h 201525"/>
                <a:gd name="connsiteX19" fmla="*/ 95460 w 201526"/>
                <a:gd name="connsiteY19" fmla="*/ 127279 h 201525"/>
                <a:gd name="connsiteX20" fmla="*/ 137886 w 201526"/>
                <a:gd name="connsiteY20" fmla="*/ 84853 h 201525"/>
                <a:gd name="connsiteX21" fmla="*/ 137886 w 201526"/>
                <a:gd name="connsiteY21" fmla="*/ 106066 h 201525"/>
                <a:gd name="connsiteX22" fmla="*/ 159099 w 201526"/>
                <a:gd name="connsiteY22" fmla="*/ 106066 h 201525"/>
                <a:gd name="connsiteX23" fmla="*/ 159099 w 201526"/>
                <a:gd name="connsiteY23" fmla="*/ 84853 h 201525"/>
                <a:gd name="connsiteX24" fmla="*/ 137886 w 201526"/>
                <a:gd name="connsiteY24" fmla="*/ 84853 h 20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01526" h="201525">
                  <a:moveTo>
                    <a:pt x="95460" y="0"/>
                  </a:moveTo>
                  <a:lnTo>
                    <a:pt x="201526" y="106066"/>
                  </a:lnTo>
                  <a:lnTo>
                    <a:pt x="106066" y="201526"/>
                  </a:lnTo>
                  <a:lnTo>
                    <a:pt x="0" y="95459"/>
                  </a:lnTo>
                  <a:lnTo>
                    <a:pt x="95460" y="0"/>
                  </a:lnTo>
                  <a:close/>
                  <a:moveTo>
                    <a:pt x="53033" y="84853"/>
                  </a:moveTo>
                  <a:cubicBezTo>
                    <a:pt x="47175" y="90710"/>
                    <a:pt x="47175" y="100208"/>
                    <a:pt x="53033" y="106066"/>
                  </a:cubicBezTo>
                  <a:cubicBezTo>
                    <a:pt x="58891" y="111923"/>
                    <a:pt x="68388" y="111923"/>
                    <a:pt x="74246" y="106066"/>
                  </a:cubicBezTo>
                  <a:cubicBezTo>
                    <a:pt x="80104" y="100208"/>
                    <a:pt x="80104" y="90710"/>
                    <a:pt x="74246" y="84853"/>
                  </a:cubicBezTo>
                  <a:cubicBezTo>
                    <a:pt x="68388" y="78995"/>
                    <a:pt x="58891" y="78995"/>
                    <a:pt x="53033" y="84853"/>
                  </a:cubicBezTo>
                  <a:close/>
                  <a:moveTo>
                    <a:pt x="95460" y="42426"/>
                  </a:moveTo>
                  <a:cubicBezTo>
                    <a:pt x="89602" y="48284"/>
                    <a:pt x="89602" y="57782"/>
                    <a:pt x="95460" y="63640"/>
                  </a:cubicBezTo>
                  <a:cubicBezTo>
                    <a:pt x="101317" y="69497"/>
                    <a:pt x="110815" y="69497"/>
                    <a:pt x="116673" y="63640"/>
                  </a:cubicBezTo>
                  <a:cubicBezTo>
                    <a:pt x="122530" y="57782"/>
                    <a:pt x="122530" y="48284"/>
                    <a:pt x="116673" y="42426"/>
                  </a:cubicBezTo>
                  <a:cubicBezTo>
                    <a:pt x="110815" y="36569"/>
                    <a:pt x="101317" y="36569"/>
                    <a:pt x="95460" y="42426"/>
                  </a:cubicBezTo>
                  <a:close/>
                  <a:moveTo>
                    <a:pt x="95460" y="127279"/>
                  </a:moveTo>
                  <a:cubicBezTo>
                    <a:pt x="89602" y="133136"/>
                    <a:pt x="89602" y="142634"/>
                    <a:pt x="95460" y="148492"/>
                  </a:cubicBezTo>
                  <a:cubicBezTo>
                    <a:pt x="101317" y="154351"/>
                    <a:pt x="110815" y="154351"/>
                    <a:pt x="116673" y="148492"/>
                  </a:cubicBezTo>
                  <a:cubicBezTo>
                    <a:pt x="122530" y="142634"/>
                    <a:pt x="122530" y="133136"/>
                    <a:pt x="116673" y="127279"/>
                  </a:cubicBezTo>
                  <a:cubicBezTo>
                    <a:pt x="110815" y="121421"/>
                    <a:pt x="101317" y="121421"/>
                    <a:pt x="95460" y="127279"/>
                  </a:cubicBezTo>
                  <a:close/>
                  <a:moveTo>
                    <a:pt x="137886" y="84853"/>
                  </a:moveTo>
                  <a:cubicBezTo>
                    <a:pt x="132028" y="90710"/>
                    <a:pt x="132028" y="100208"/>
                    <a:pt x="137886" y="106066"/>
                  </a:cubicBezTo>
                  <a:cubicBezTo>
                    <a:pt x="143743" y="111923"/>
                    <a:pt x="153241" y="111923"/>
                    <a:pt x="159099" y="106066"/>
                  </a:cubicBezTo>
                  <a:cubicBezTo>
                    <a:pt x="164958" y="100208"/>
                    <a:pt x="164958" y="90710"/>
                    <a:pt x="159099" y="84853"/>
                  </a:cubicBezTo>
                  <a:cubicBezTo>
                    <a:pt x="153241" y="78995"/>
                    <a:pt x="143743" y="78995"/>
                    <a:pt x="137886" y="8485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9" name="Полилиния 618">
              <a:extLst>
                <a:ext uri="{FF2B5EF4-FFF2-40B4-BE49-F238E27FC236}">
                  <a16:creationId xmlns:a16="http://schemas.microsoft.com/office/drawing/2014/main" id="{67383BD8-D57C-6840-8352-EB43E6D92FC8}"/>
                </a:ext>
              </a:extLst>
            </p:cNvPr>
            <p:cNvSpPr/>
            <p:nvPr/>
          </p:nvSpPr>
          <p:spPr>
            <a:xfrm>
              <a:off x="3002083" y="4980418"/>
              <a:ext cx="116366" cy="116366"/>
            </a:xfrm>
            <a:custGeom>
              <a:avLst/>
              <a:gdLst>
                <a:gd name="connsiteX0" fmla="*/ 116366 w 116366"/>
                <a:gd name="connsiteY0" fmla="*/ 103946 h 116366"/>
                <a:gd name="connsiteX1" fmla="*/ 21967 w 116366"/>
                <a:gd name="connsiteY1" fmla="*/ 94399 h 116366"/>
                <a:gd name="connsiteX2" fmla="*/ 12421 w 116366"/>
                <a:gd name="connsiteY2" fmla="*/ 0 h 116366"/>
                <a:gd name="connsiteX3" fmla="*/ 116366 w 116366"/>
                <a:gd name="connsiteY3" fmla="*/ 103946 h 116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366" h="116366">
                  <a:moveTo>
                    <a:pt x="116366" y="103946"/>
                  </a:moveTo>
                  <a:cubicBezTo>
                    <a:pt x="87245" y="123238"/>
                    <a:pt x="47624" y="120055"/>
                    <a:pt x="21967" y="94399"/>
                  </a:cubicBezTo>
                  <a:cubicBezTo>
                    <a:pt x="-3690" y="68742"/>
                    <a:pt x="-6872" y="29121"/>
                    <a:pt x="12421" y="0"/>
                  </a:cubicBezTo>
                  <a:lnTo>
                    <a:pt x="116366" y="103946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0" name="Полилиния 619">
              <a:extLst>
                <a:ext uri="{FF2B5EF4-FFF2-40B4-BE49-F238E27FC236}">
                  <a16:creationId xmlns:a16="http://schemas.microsoft.com/office/drawing/2014/main" id="{24E5164C-6546-A34B-BDB7-C8B37B81F297}"/>
                </a:ext>
              </a:extLst>
            </p:cNvPr>
            <p:cNvSpPr/>
            <p:nvPr/>
          </p:nvSpPr>
          <p:spPr>
            <a:xfrm>
              <a:off x="3152389" y="4830111"/>
              <a:ext cx="116366" cy="116366"/>
            </a:xfrm>
            <a:custGeom>
              <a:avLst/>
              <a:gdLst>
                <a:gd name="connsiteX0" fmla="*/ 0 w 116366"/>
                <a:gd name="connsiteY0" fmla="*/ 12421 h 116366"/>
                <a:gd name="connsiteX1" fmla="*/ 94400 w 116366"/>
                <a:gd name="connsiteY1" fmla="*/ 21967 h 116366"/>
                <a:gd name="connsiteX2" fmla="*/ 103946 w 116366"/>
                <a:gd name="connsiteY2" fmla="*/ 116366 h 116366"/>
                <a:gd name="connsiteX3" fmla="*/ 0 w 116366"/>
                <a:gd name="connsiteY3" fmla="*/ 12421 h 116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366" h="116366">
                  <a:moveTo>
                    <a:pt x="0" y="12421"/>
                  </a:moveTo>
                  <a:cubicBezTo>
                    <a:pt x="29121" y="-6872"/>
                    <a:pt x="68742" y="-3690"/>
                    <a:pt x="94400" y="21967"/>
                  </a:cubicBezTo>
                  <a:cubicBezTo>
                    <a:pt x="120056" y="47624"/>
                    <a:pt x="123239" y="87245"/>
                    <a:pt x="103946" y="116366"/>
                  </a:cubicBezTo>
                  <a:lnTo>
                    <a:pt x="0" y="1242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21" name="Рисунок 144">
            <a:extLst>
              <a:ext uri="{FF2B5EF4-FFF2-40B4-BE49-F238E27FC236}">
                <a16:creationId xmlns:a16="http://schemas.microsoft.com/office/drawing/2014/main" id="{0F3645A6-D4BD-4A4E-9C46-718FB63E6E2E}"/>
              </a:ext>
            </a:extLst>
          </p:cNvPr>
          <p:cNvGrpSpPr/>
          <p:nvPr/>
        </p:nvGrpSpPr>
        <p:grpSpPr>
          <a:xfrm>
            <a:off x="8213201" y="4459189"/>
            <a:ext cx="360000" cy="360000"/>
            <a:chOff x="8246654" y="4778145"/>
            <a:chExt cx="360000" cy="360000"/>
          </a:xfrm>
        </p:grpSpPr>
        <p:sp>
          <p:nvSpPr>
            <p:cNvPr id="622" name="Полилиния 621">
              <a:extLst>
                <a:ext uri="{FF2B5EF4-FFF2-40B4-BE49-F238E27FC236}">
                  <a16:creationId xmlns:a16="http://schemas.microsoft.com/office/drawing/2014/main" id="{2E15D603-054F-0149-A34B-952D6BDF5064}"/>
                </a:ext>
              </a:extLst>
            </p:cNvPr>
            <p:cNvSpPr/>
            <p:nvPr/>
          </p:nvSpPr>
          <p:spPr>
            <a:xfrm>
              <a:off x="8246654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3" name="Полилиния 622">
              <a:extLst>
                <a:ext uri="{FF2B5EF4-FFF2-40B4-BE49-F238E27FC236}">
                  <a16:creationId xmlns:a16="http://schemas.microsoft.com/office/drawing/2014/main" id="{6E9BD02D-8778-3044-86A0-44C3BD1DA953}"/>
                </a:ext>
              </a:extLst>
            </p:cNvPr>
            <p:cNvSpPr/>
            <p:nvPr/>
          </p:nvSpPr>
          <p:spPr>
            <a:xfrm>
              <a:off x="8351654" y="4868145"/>
              <a:ext cx="150000" cy="180000"/>
            </a:xfrm>
            <a:custGeom>
              <a:avLst/>
              <a:gdLst>
                <a:gd name="connsiteX0" fmla="*/ 15000 w 150000"/>
                <a:gd name="connsiteY0" fmla="*/ 0 h 180000"/>
                <a:gd name="connsiteX1" fmla="*/ 45000 w 150000"/>
                <a:gd name="connsiteY1" fmla="*/ 0 h 180000"/>
                <a:gd name="connsiteX2" fmla="*/ 60000 w 150000"/>
                <a:gd name="connsiteY2" fmla="*/ 15000 h 180000"/>
                <a:gd name="connsiteX3" fmla="*/ 60000 w 150000"/>
                <a:gd name="connsiteY3" fmla="*/ 165000 h 180000"/>
                <a:gd name="connsiteX4" fmla="*/ 45000 w 150000"/>
                <a:gd name="connsiteY4" fmla="*/ 180000 h 180000"/>
                <a:gd name="connsiteX5" fmla="*/ 15000 w 150000"/>
                <a:gd name="connsiteY5" fmla="*/ 180000 h 180000"/>
                <a:gd name="connsiteX6" fmla="*/ 0 w 150000"/>
                <a:gd name="connsiteY6" fmla="*/ 165000 h 180000"/>
                <a:gd name="connsiteX7" fmla="*/ 0 w 150000"/>
                <a:gd name="connsiteY7" fmla="*/ 15000 h 180000"/>
                <a:gd name="connsiteX8" fmla="*/ 15000 w 150000"/>
                <a:gd name="connsiteY8" fmla="*/ 0 h 180000"/>
                <a:gd name="connsiteX9" fmla="*/ 105000 w 150000"/>
                <a:gd name="connsiteY9" fmla="*/ 0 h 180000"/>
                <a:gd name="connsiteX10" fmla="*/ 135000 w 150000"/>
                <a:gd name="connsiteY10" fmla="*/ 0 h 180000"/>
                <a:gd name="connsiteX11" fmla="*/ 150000 w 150000"/>
                <a:gd name="connsiteY11" fmla="*/ 15000 h 180000"/>
                <a:gd name="connsiteX12" fmla="*/ 150000 w 150000"/>
                <a:gd name="connsiteY12" fmla="*/ 165000 h 180000"/>
                <a:gd name="connsiteX13" fmla="*/ 135000 w 150000"/>
                <a:gd name="connsiteY13" fmla="*/ 180000 h 180000"/>
                <a:gd name="connsiteX14" fmla="*/ 105000 w 150000"/>
                <a:gd name="connsiteY14" fmla="*/ 180000 h 180000"/>
                <a:gd name="connsiteX15" fmla="*/ 90000 w 150000"/>
                <a:gd name="connsiteY15" fmla="*/ 165000 h 180000"/>
                <a:gd name="connsiteX16" fmla="*/ 90000 w 150000"/>
                <a:gd name="connsiteY16" fmla="*/ 15000 h 180000"/>
                <a:gd name="connsiteX17" fmla="*/ 105000 w 150000"/>
                <a:gd name="connsiteY17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0000" h="180000">
                  <a:moveTo>
                    <a:pt x="15000" y="0"/>
                  </a:moveTo>
                  <a:lnTo>
                    <a:pt x="45000" y="0"/>
                  </a:lnTo>
                  <a:cubicBezTo>
                    <a:pt x="53285" y="0"/>
                    <a:pt x="60000" y="6716"/>
                    <a:pt x="60000" y="15000"/>
                  </a:cubicBezTo>
                  <a:lnTo>
                    <a:pt x="60000" y="165000"/>
                  </a:lnTo>
                  <a:cubicBezTo>
                    <a:pt x="60000" y="173285"/>
                    <a:pt x="53285" y="180000"/>
                    <a:pt x="45000" y="180000"/>
                  </a:cubicBezTo>
                  <a:lnTo>
                    <a:pt x="15000" y="180000"/>
                  </a:lnTo>
                  <a:cubicBezTo>
                    <a:pt x="6716" y="180000"/>
                    <a:pt x="0" y="173285"/>
                    <a:pt x="0" y="16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05000" y="0"/>
                  </a:moveTo>
                  <a:lnTo>
                    <a:pt x="135000" y="0"/>
                  </a:lnTo>
                  <a:cubicBezTo>
                    <a:pt x="143285" y="0"/>
                    <a:pt x="150000" y="6716"/>
                    <a:pt x="150000" y="15000"/>
                  </a:cubicBezTo>
                  <a:lnTo>
                    <a:pt x="150000" y="165000"/>
                  </a:lnTo>
                  <a:cubicBezTo>
                    <a:pt x="150000" y="173285"/>
                    <a:pt x="143285" y="180000"/>
                    <a:pt x="135000" y="180000"/>
                  </a:cubicBezTo>
                  <a:lnTo>
                    <a:pt x="105000" y="180000"/>
                  </a:lnTo>
                  <a:cubicBezTo>
                    <a:pt x="96715" y="180000"/>
                    <a:pt x="90000" y="173285"/>
                    <a:pt x="90000" y="165000"/>
                  </a:cubicBezTo>
                  <a:lnTo>
                    <a:pt x="90000" y="15000"/>
                  </a:lnTo>
                  <a:cubicBezTo>
                    <a:pt x="90000" y="6716"/>
                    <a:pt x="96715" y="0"/>
                    <a:pt x="10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24" name="Рисунок 145">
            <a:extLst>
              <a:ext uri="{FF2B5EF4-FFF2-40B4-BE49-F238E27FC236}">
                <a16:creationId xmlns:a16="http://schemas.microsoft.com/office/drawing/2014/main" id="{5FBC615A-4CAE-864F-8468-0157AF9142E2}"/>
              </a:ext>
            </a:extLst>
          </p:cNvPr>
          <p:cNvGrpSpPr/>
          <p:nvPr/>
        </p:nvGrpSpPr>
        <p:grpSpPr>
          <a:xfrm>
            <a:off x="5192669" y="4459189"/>
            <a:ext cx="360000" cy="360000"/>
            <a:chOff x="5226122" y="4778145"/>
            <a:chExt cx="360000" cy="360000"/>
          </a:xfrm>
        </p:grpSpPr>
        <p:sp>
          <p:nvSpPr>
            <p:cNvPr id="625" name="Полилиния 624">
              <a:extLst>
                <a:ext uri="{FF2B5EF4-FFF2-40B4-BE49-F238E27FC236}">
                  <a16:creationId xmlns:a16="http://schemas.microsoft.com/office/drawing/2014/main" id="{5152553C-77F5-A34D-8E4C-D2ED20BC2A5A}"/>
                </a:ext>
              </a:extLst>
            </p:cNvPr>
            <p:cNvSpPr/>
            <p:nvPr/>
          </p:nvSpPr>
          <p:spPr>
            <a:xfrm>
              <a:off x="5436122" y="4823145"/>
              <a:ext cx="105000" cy="251110"/>
            </a:xfrm>
            <a:custGeom>
              <a:avLst/>
              <a:gdLst>
                <a:gd name="connsiteX0" fmla="*/ 30000 w 105000"/>
                <a:gd name="connsiteY0" fmla="*/ 0 h 251110"/>
                <a:gd name="connsiteX1" fmla="*/ 75000 w 105000"/>
                <a:gd name="connsiteY1" fmla="*/ 0 h 251110"/>
                <a:gd name="connsiteX2" fmla="*/ 105000 w 105000"/>
                <a:gd name="connsiteY2" fmla="*/ 30000 h 251110"/>
                <a:gd name="connsiteX3" fmla="*/ 105000 w 105000"/>
                <a:gd name="connsiteY3" fmla="*/ 183728 h 251110"/>
                <a:gd name="connsiteX4" fmla="*/ 97578 w 105000"/>
                <a:gd name="connsiteY4" fmla="*/ 203483 h 251110"/>
                <a:gd name="connsiteX5" fmla="*/ 58145 w 105000"/>
                <a:gd name="connsiteY5" fmla="*/ 248550 h 251110"/>
                <a:gd name="connsiteX6" fmla="*/ 47561 w 105000"/>
                <a:gd name="connsiteY6" fmla="*/ 249255 h 251110"/>
                <a:gd name="connsiteX7" fmla="*/ 46855 w 105000"/>
                <a:gd name="connsiteY7" fmla="*/ 248550 h 251110"/>
                <a:gd name="connsiteX8" fmla="*/ 7422 w 105000"/>
                <a:gd name="connsiteY8" fmla="*/ 203483 h 251110"/>
                <a:gd name="connsiteX9" fmla="*/ 0 w 105000"/>
                <a:gd name="connsiteY9" fmla="*/ 183728 h 251110"/>
                <a:gd name="connsiteX10" fmla="*/ 0 w 105000"/>
                <a:gd name="connsiteY10" fmla="*/ 30000 h 251110"/>
                <a:gd name="connsiteX11" fmla="*/ 30000 w 105000"/>
                <a:gd name="connsiteY11" fmla="*/ 0 h 251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000" h="251110">
                  <a:moveTo>
                    <a:pt x="30000" y="0"/>
                  </a:moveTo>
                  <a:lnTo>
                    <a:pt x="75000" y="0"/>
                  </a:lnTo>
                  <a:cubicBezTo>
                    <a:pt x="91569" y="0"/>
                    <a:pt x="105000" y="13431"/>
                    <a:pt x="105000" y="30000"/>
                  </a:cubicBezTo>
                  <a:lnTo>
                    <a:pt x="105000" y="183728"/>
                  </a:lnTo>
                  <a:cubicBezTo>
                    <a:pt x="105000" y="190995"/>
                    <a:pt x="102363" y="198015"/>
                    <a:pt x="97578" y="203483"/>
                  </a:cubicBezTo>
                  <a:lnTo>
                    <a:pt x="58145" y="248550"/>
                  </a:lnTo>
                  <a:cubicBezTo>
                    <a:pt x="55416" y="251667"/>
                    <a:pt x="50679" y="251982"/>
                    <a:pt x="47561" y="249255"/>
                  </a:cubicBezTo>
                  <a:cubicBezTo>
                    <a:pt x="47310" y="249036"/>
                    <a:pt x="47075" y="248801"/>
                    <a:pt x="46855" y="248550"/>
                  </a:cubicBezTo>
                  <a:lnTo>
                    <a:pt x="7422" y="203483"/>
                  </a:lnTo>
                  <a:cubicBezTo>
                    <a:pt x="2637" y="198015"/>
                    <a:pt x="0" y="190995"/>
                    <a:pt x="0" y="183728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6" name="Полилиния 625">
              <a:extLst>
                <a:ext uri="{FF2B5EF4-FFF2-40B4-BE49-F238E27FC236}">
                  <a16:creationId xmlns:a16="http://schemas.microsoft.com/office/drawing/2014/main" id="{746F6417-76AB-1D49-98A4-08B63B9A9EE5}"/>
                </a:ext>
              </a:extLst>
            </p:cNvPr>
            <p:cNvSpPr/>
            <p:nvPr/>
          </p:nvSpPr>
          <p:spPr>
            <a:xfrm>
              <a:off x="5226122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7" name="Полилиния 626">
              <a:extLst>
                <a:ext uri="{FF2B5EF4-FFF2-40B4-BE49-F238E27FC236}">
                  <a16:creationId xmlns:a16="http://schemas.microsoft.com/office/drawing/2014/main" id="{FE9799B4-4330-754E-A71A-2A7F6BD4A391}"/>
                </a:ext>
              </a:extLst>
            </p:cNvPr>
            <p:cNvSpPr/>
            <p:nvPr/>
          </p:nvSpPr>
          <p:spPr>
            <a:xfrm>
              <a:off x="5271122" y="4823145"/>
              <a:ext cx="120000" cy="255000"/>
            </a:xfrm>
            <a:custGeom>
              <a:avLst/>
              <a:gdLst>
                <a:gd name="connsiteX0" fmla="*/ 0 w 120000"/>
                <a:gd name="connsiteY0" fmla="*/ 195000 h 255000"/>
                <a:gd name="connsiteX1" fmla="*/ 30000 w 120000"/>
                <a:gd name="connsiteY1" fmla="*/ 195000 h 255000"/>
                <a:gd name="connsiteX2" fmla="*/ 45000 w 120000"/>
                <a:gd name="connsiteY2" fmla="*/ 180000 h 255000"/>
                <a:gd name="connsiteX3" fmla="*/ 30000 w 120000"/>
                <a:gd name="connsiteY3" fmla="*/ 165000 h 255000"/>
                <a:gd name="connsiteX4" fmla="*/ 0 w 120000"/>
                <a:gd name="connsiteY4" fmla="*/ 165000 h 255000"/>
                <a:gd name="connsiteX5" fmla="*/ 0 w 120000"/>
                <a:gd name="connsiteY5" fmla="*/ 135000 h 255000"/>
                <a:gd name="connsiteX6" fmla="*/ 30000 w 120000"/>
                <a:gd name="connsiteY6" fmla="*/ 135000 h 255000"/>
                <a:gd name="connsiteX7" fmla="*/ 45000 w 120000"/>
                <a:gd name="connsiteY7" fmla="*/ 120000 h 255000"/>
                <a:gd name="connsiteX8" fmla="*/ 30000 w 120000"/>
                <a:gd name="connsiteY8" fmla="*/ 105000 h 255000"/>
                <a:gd name="connsiteX9" fmla="*/ 0 w 120000"/>
                <a:gd name="connsiteY9" fmla="*/ 105000 h 255000"/>
                <a:gd name="connsiteX10" fmla="*/ 0 w 120000"/>
                <a:gd name="connsiteY10" fmla="*/ 75000 h 255000"/>
                <a:gd name="connsiteX11" fmla="*/ 30000 w 120000"/>
                <a:gd name="connsiteY11" fmla="*/ 75000 h 255000"/>
                <a:gd name="connsiteX12" fmla="*/ 45000 w 120000"/>
                <a:gd name="connsiteY12" fmla="*/ 60000 h 255000"/>
                <a:gd name="connsiteX13" fmla="*/ 30000 w 120000"/>
                <a:gd name="connsiteY13" fmla="*/ 45000 h 255000"/>
                <a:gd name="connsiteX14" fmla="*/ 0 w 120000"/>
                <a:gd name="connsiteY14" fmla="*/ 45000 h 255000"/>
                <a:gd name="connsiteX15" fmla="*/ 0 w 120000"/>
                <a:gd name="connsiteY15" fmla="*/ 15000 h 255000"/>
                <a:gd name="connsiteX16" fmla="*/ 15000 w 120000"/>
                <a:gd name="connsiteY16" fmla="*/ 0 h 255000"/>
                <a:gd name="connsiteX17" fmla="*/ 105000 w 120000"/>
                <a:gd name="connsiteY17" fmla="*/ 0 h 255000"/>
                <a:gd name="connsiteX18" fmla="*/ 120000 w 120000"/>
                <a:gd name="connsiteY18" fmla="*/ 15000 h 255000"/>
                <a:gd name="connsiteX19" fmla="*/ 120000 w 120000"/>
                <a:gd name="connsiteY19" fmla="*/ 240000 h 255000"/>
                <a:gd name="connsiteX20" fmla="*/ 105000 w 120000"/>
                <a:gd name="connsiteY20" fmla="*/ 255000 h 255000"/>
                <a:gd name="connsiteX21" fmla="*/ 15000 w 120000"/>
                <a:gd name="connsiteY21" fmla="*/ 255000 h 255000"/>
                <a:gd name="connsiteX22" fmla="*/ 0 w 120000"/>
                <a:gd name="connsiteY22" fmla="*/ 240000 h 255000"/>
                <a:gd name="connsiteX23" fmla="*/ 0 w 120000"/>
                <a:gd name="connsiteY23" fmla="*/ 19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0000" h="255000">
                  <a:moveTo>
                    <a:pt x="0" y="195000"/>
                  </a:moveTo>
                  <a:lnTo>
                    <a:pt x="30000" y="195000"/>
                  </a:lnTo>
                  <a:cubicBezTo>
                    <a:pt x="38284" y="195000"/>
                    <a:pt x="45000" y="188285"/>
                    <a:pt x="45000" y="180000"/>
                  </a:cubicBezTo>
                  <a:cubicBezTo>
                    <a:pt x="45000" y="171716"/>
                    <a:pt x="38284" y="165000"/>
                    <a:pt x="30000" y="165000"/>
                  </a:cubicBezTo>
                  <a:lnTo>
                    <a:pt x="0" y="165000"/>
                  </a:lnTo>
                  <a:lnTo>
                    <a:pt x="0" y="135000"/>
                  </a:lnTo>
                  <a:lnTo>
                    <a:pt x="30000" y="135000"/>
                  </a:lnTo>
                  <a:cubicBezTo>
                    <a:pt x="38284" y="135000"/>
                    <a:pt x="45000" y="128285"/>
                    <a:pt x="45000" y="120000"/>
                  </a:cubicBezTo>
                  <a:cubicBezTo>
                    <a:pt x="45000" y="111715"/>
                    <a:pt x="38284" y="105000"/>
                    <a:pt x="30000" y="105000"/>
                  </a:cubicBezTo>
                  <a:lnTo>
                    <a:pt x="0" y="105000"/>
                  </a:lnTo>
                  <a:lnTo>
                    <a:pt x="0" y="75000"/>
                  </a:lnTo>
                  <a:lnTo>
                    <a:pt x="30000" y="75000"/>
                  </a:lnTo>
                  <a:cubicBezTo>
                    <a:pt x="38284" y="75000"/>
                    <a:pt x="45000" y="68284"/>
                    <a:pt x="45000" y="60000"/>
                  </a:cubicBezTo>
                  <a:cubicBezTo>
                    <a:pt x="45000" y="51716"/>
                    <a:pt x="38284" y="45000"/>
                    <a:pt x="30000" y="45000"/>
                  </a:cubicBezTo>
                  <a:lnTo>
                    <a:pt x="0" y="45000"/>
                  </a:ln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105000" y="0"/>
                  </a:lnTo>
                  <a:cubicBezTo>
                    <a:pt x="113285" y="0"/>
                    <a:pt x="120000" y="6716"/>
                    <a:pt x="120000" y="15000"/>
                  </a:cubicBezTo>
                  <a:lnTo>
                    <a:pt x="120000" y="240000"/>
                  </a:lnTo>
                  <a:cubicBezTo>
                    <a:pt x="120000" y="248285"/>
                    <a:pt x="113285" y="255000"/>
                    <a:pt x="105000" y="255000"/>
                  </a:cubicBezTo>
                  <a:lnTo>
                    <a:pt x="15000" y="255000"/>
                  </a:lnTo>
                  <a:cubicBezTo>
                    <a:pt x="6716" y="255000"/>
                    <a:pt x="0" y="248285"/>
                    <a:pt x="0" y="240000"/>
                  </a:cubicBezTo>
                  <a:lnTo>
                    <a:pt x="0" y="19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28" name="Рисунок 146">
            <a:extLst>
              <a:ext uri="{FF2B5EF4-FFF2-40B4-BE49-F238E27FC236}">
                <a16:creationId xmlns:a16="http://schemas.microsoft.com/office/drawing/2014/main" id="{64E17138-790F-3B43-BE5A-B8AFB4BFFF5E}"/>
              </a:ext>
            </a:extLst>
          </p:cNvPr>
          <p:cNvGrpSpPr/>
          <p:nvPr/>
        </p:nvGrpSpPr>
        <p:grpSpPr>
          <a:xfrm>
            <a:off x="7458068" y="4459189"/>
            <a:ext cx="360000" cy="360000"/>
            <a:chOff x="7491521" y="4778145"/>
            <a:chExt cx="360000" cy="360000"/>
          </a:xfrm>
        </p:grpSpPr>
        <p:sp>
          <p:nvSpPr>
            <p:cNvPr id="629" name="Полилиния 628">
              <a:extLst>
                <a:ext uri="{FF2B5EF4-FFF2-40B4-BE49-F238E27FC236}">
                  <a16:creationId xmlns:a16="http://schemas.microsoft.com/office/drawing/2014/main" id="{4D0487C9-07AD-1440-B003-FF15D607EF7B}"/>
                </a:ext>
              </a:extLst>
            </p:cNvPr>
            <p:cNvSpPr/>
            <p:nvPr/>
          </p:nvSpPr>
          <p:spPr>
            <a:xfrm>
              <a:off x="7491521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0" name="Полилиния 629">
              <a:extLst>
                <a:ext uri="{FF2B5EF4-FFF2-40B4-BE49-F238E27FC236}">
                  <a16:creationId xmlns:a16="http://schemas.microsoft.com/office/drawing/2014/main" id="{59946253-75AE-974C-8A50-53B0AE402AA7}"/>
                </a:ext>
              </a:extLst>
            </p:cNvPr>
            <p:cNvSpPr/>
            <p:nvPr/>
          </p:nvSpPr>
          <p:spPr>
            <a:xfrm>
              <a:off x="7581521" y="4898145"/>
              <a:ext cx="195000" cy="195001"/>
            </a:xfrm>
            <a:custGeom>
              <a:avLst/>
              <a:gdLst>
                <a:gd name="connsiteX0" fmla="*/ 67500 w 195000"/>
                <a:gd name="connsiteY0" fmla="*/ 0 h 195001"/>
                <a:gd name="connsiteX1" fmla="*/ 0 w 195000"/>
                <a:gd name="connsiteY1" fmla="*/ 165000 h 195001"/>
                <a:gd name="connsiteX2" fmla="*/ 1234 w 195000"/>
                <a:gd name="connsiteY2" fmla="*/ 169410 h 195001"/>
                <a:gd name="connsiteX3" fmla="*/ 45000 w 195000"/>
                <a:gd name="connsiteY3" fmla="*/ 195000 h 195001"/>
                <a:gd name="connsiteX4" fmla="*/ 97500 w 195000"/>
                <a:gd name="connsiteY4" fmla="*/ 165000 h 195001"/>
                <a:gd name="connsiteX5" fmla="*/ 150000 w 195000"/>
                <a:gd name="connsiteY5" fmla="*/ 195000 h 195001"/>
                <a:gd name="connsiteX6" fmla="*/ 195000 w 195000"/>
                <a:gd name="connsiteY6" fmla="*/ 165000 h 195001"/>
                <a:gd name="connsiteX7" fmla="*/ 127500 w 195000"/>
                <a:gd name="connsiteY7" fmla="*/ 0 h 195001"/>
                <a:gd name="connsiteX8" fmla="*/ 67500 w 195000"/>
                <a:gd name="connsiteY8" fmla="*/ 0 h 195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5000" h="195001">
                  <a:moveTo>
                    <a:pt x="67500" y="0"/>
                  </a:moveTo>
                  <a:lnTo>
                    <a:pt x="0" y="165000"/>
                  </a:lnTo>
                  <a:cubicBezTo>
                    <a:pt x="529" y="167000"/>
                    <a:pt x="940" y="168470"/>
                    <a:pt x="1234" y="169410"/>
                  </a:cubicBezTo>
                  <a:cubicBezTo>
                    <a:pt x="6558" y="186469"/>
                    <a:pt x="31146" y="195000"/>
                    <a:pt x="45000" y="195000"/>
                  </a:cubicBezTo>
                  <a:cubicBezTo>
                    <a:pt x="67500" y="195000"/>
                    <a:pt x="75000" y="165000"/>
                    <a:pt x="97500" y="165000"/>
                  </a:cubicBezTo>
                  <a:cubicBezTo>
                    <a:pt x="120000" y="165000"/>
                    <a:pt x="128875" y="194765"/>
                    <a:pt x="150000" y="195000"/>
                  </a:cubicBezTo>
                  <a:cubicBezTo>
                    <a:pt x="164082" y="195158"/>
                    <a:pt x="179082" y="185157"/>
                    <a:pt x="195000" y="165000"/>
                  </a:cubicBezTo>
                  <a:lnTo>
                    <a:pt x="127500" y="0"/>
                  </a:lnTo>
                  <a:lnTo>
                    <a:pt x="675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1" name="Полилиния 630">
              <a:extLst>
                <a:ext uri="{FF2B5EF4-FFF2-40B4-BE49-F238E27FC236}">
                  <a16:creationId xmlns:a16="http://schemas.microsoft.com/office/drawing/2014/main" id="{2A66B67C-A56B-5845-B378-D9D4BADCC8AB}"/>
                </a:ext>
              </a:extLst>
            </p:cNvPr>
            <p:cNvSpPr/>
            <p:nvPr/>
          </p:nvSpPr>
          <p:spPr>
            <a:xfrm>
              <a:off x="7649021" y="4823145"/>
              <a:ext cx="60000" cy="75000"/>
            </a:xfrm>
            <a:custGeom>
              <a:avLst/>
              <a:gdLst>
                <a:gd name="connsiteX0" fmla="*/ 12000 w 60000"/>
                <a:gd name="connsiteY0" fmla="*/ 45000 h 75000"/>
                <a:gd name="connsiteX1" fmla="*/ 30000 w 60000"/>
                <a:gd name="connsiteY1" fmla="*/ 0 h 75000"/>
                <a:gd name="connsiteX2" fmla="*/ 48000 w 60000"/>
                <a:gd name="connsiteY2" fmla="*/ 45000 h 75000"/>
                <a:gd name="connsiteX3" fmla="*/ 12000 w 60000"/>
                <a:gd name="connsiteY3" fmla="*/ 45000 h 75000"/>
                <a:gd name="connsiteX4" fmla="*/ 60000 w 60000"/>
                <a:gd name="connsiteY4" fmla="*/ 75000 h 75000"/>
                <a:gd name="connsiteX5" fmla="*/ 0 w 60000"/>
                <a:gd name="connsiteY5" fmla="*/ 75000 h 75000"/>
                <a:gd name="connsiteX6" fmla="*/ 60000 w 60000"/>
                <a:gd name="connsiteY6" fmla="*/ 750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000" h="75000">
                  <a:moveTo>
                    <a:pt x="12000" y="45000"/>
                  </a:moveTo>
                  <a:lnTo>
                    <a:pt x="30000" y="0"/>
                  </a:lnTo>
                  <a:lnTo>
                    <a:pt x="48000" y="45000"/>
                  </a:lnTo>
                  <a:lnTo>
                    <a:pt x="12000" y="45000"/>
                  </a:lnTo>
                  <a:close/>
                  <a:moveTo>
                    <a:pt x="60000" y="75000"/>
                  </a:moveTo>
                  <a:lnTo>
                    <a:pt x="0" y="75000"/>
                  </a:lnTo>
                  <a:lnTo>
                    <a:pt x="60000" y="7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32" name="Рисунок 147">
            <a:extLst>
              <a:ext uri="{FF2B5EF4-FFF2-40B4-BE49-F238E27FC236}">
                <a16:creationId xmlns:a16="http://schemas.microsoft.com/office/drawing/2014/main" id="{F6B32D8C-EF83-DD4C-A67E-EAB758FE0373}"/>
              </a:ext>
            </a:extLst>
          </p:cNvPr>
          <p:cNvGrpSpPr/>
          <p:nvPr/>
        </p:nvGrpSpPr>
        <p:grpSpPr>
          <a:xfrm>
            <a:off x="6702935" y="4459189"/>
            <a:ext cx="360000" cy="360000"/>
            <a:chOff x="6736388" y="4778145"/>
            <a:chExt cx="360000" cy="360000"/>
          </a:xfrm>
        </p:grpSpPr>
        <p:sp>
          <p:nvSpPr>
            <p:cNvPr id="633" name="Полилиния 632">
              <a:extLst>
                <a:ext uri="{FF2B5EF4-FFF2-40B4-BE49-F238E27FC236}">
                  <a16:creationId xmlns:a16="http://schemas.microsoft.com/office/drawing/2014/main" id="{5E06B349-A1D0-604F-A988-E7A8AE59C28F}"/>
                </a:ext>
              </a:extLst>
            </p:cNvPr>
            <p:cNvSpPr/>
            <p:nvPr/>
          </p:nvSpPr>
          <p:spPr>
            <a:xfrm>
              <a:off x="6736388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4" name="Полилиния 633">
              <a:extLst>
                <a:ext uri="{FF2B5EF4-FFF2-40B4-BE49-F238E27FC236}">
                  <a16:creationId xmlns:a16="http://schemas.microsoft.com/office/drawing/2014/main" id="{12821984-6E5B-F34B-8D7C-D210DC53D39A}"/>
                </a:ext>
              </a:extLst>
            </p:cNvPr>
            <p:cNvSpPr/>
            <p:nvPr/>
          </p:nvSpPr>
          <p:spPr>
            <a:xfrm>
              <a:off x="6827915" y="4823145"/>
              <a:ext cx="176944" cy="255000"/>
            </a:xfrm>
            <a:custGeom>
              <a:avLst/>
              <a:gdLst>
                <a:gd name="connsiteX0" fmla="*/ 73472 w 176944"/>
                <a:gd name="connsiteY0" fmla="*/ 0 h 255000"/>
                <a:gd name="connsiteX1" fmla="*/ 73472 w 176944"/>
                <a:gd name="connsiteY1" fmla="*/ 120000 h 255000"/>
                <a:gd name="connsiteX2" fmla="*/ 73943 w 176944"/>
                <a:gd name="connsiteY2" fmla="*/ 123747 h 255000"/>
                <a:gd name="connsiteX3" fmla="*/ 58472 w 176944"/>
                <a:gd name="connsiteY3" fmla="*/ 150000 h 255000"/>
                <a:gd name="connsiteX4" fmla="*/ 88472 w 176944"/>
                <a:gd name="connsiteY4" fmla="*/ 180000 h 255000"/>
                <a:gd name="connsiteX5" fmla="*/ 118472 w 176944"/>
                <a:gd name="connsiteY5" fmla="*/ 150000 h 255000"/>
                <a:gd name="connsiteX6" fmla="*/ 103001 w 176944"/>
                <a:gd name="connsiteY6" fmla="*/ 123747 h 255000"/>
                <a:gd name="connsiteX7" fmla="*/ 103472 w 176944"/>
                <a:gd name="connsiteY7" fmla="*/ 120000 h 255000"/>
                <a:gd name="connsiteX8" fmla="*/ 103472 w 176944"/>
                <a:gd name="connsiteY8" fmla="*/ 0 h 255000"/>
                <a:gd name="connsiteX9" fmla="*/ 175361 w 176944"/>
                <a:gd name="connsiteY9" fmla="*/ 143778 h 255000"/>
                <a:gd name="connsiteX10" fmla="*/ 175732 w 176944"/>
                <a:gd name="connsiteY10" fmla="*/ 156395 h 255000"/>
                <a:gd name="connsiteX11" fmla="*/ 135421 w 176944"/>
                <a:gd name="connsiteY11" fmla="*/ 250455 h 255000"/>
                <a:gd name="connsiteX12" fmla="*/ 128527 w 176944"/>
                <a:gd name="connsiteY12" fmla="*/ 255000 h 255000"/>
                <a:gd name="connsiteX13" fmla="*/ 48418 w 176944"/>
                <a:gd name="connsiteY13" fmla="*/ 255000 h 255000"/>
                <a:gd name="connsiteX14" fmla="*/ 41524 w 176944"/>
                <a:gd name="connsiteY14" fmla="*/ 250455 h 255000"/>
                <a:gd name="connsiteX15" fmla="*/ 1213 w 176944"/>
                <a:gd name="connsiteY15" fmla="*/ 156395 h 255000"/>
                <a:gd name="connsiteX16" fmla="*/ 1584 w 176944"/>
                <a:gd name="connsiteY16" fmla="*/ 143778 h 255000"/>
                <a:gd name="connsiteX17" fmla="*/ 73472 w 176944"/>
                <a:gd name="connsiteY17" fmla="*/ 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6944" h="255000">
                  <a:moveTo>
                    <a:pt x="73472" y="0"/>
                  </a:moveTo>
                  <a:lnTo>
                    <a:pt x="73472" y="120000"/>
                  </a:lnTo>
                  <a:cubicBezTo>
                    <a:pt x="73472" y="121293"/>
                    <a:pt x="73636" y="122549"/>
                    <a:pt x="73943" y="123747"/>
                  </a:cubicBezTo>
                  <a:cubicBezTo>
                    <a:pt x="64717" y="128864"/>
                    <a:pt x="58472" y="138702"/>
                    <a:pt x="58472" y="150000"/>
                  </a:cubicBezTo>
                  <a:cubicBezTo>
                    <a:pt x="58472" y="166569"/>
                    <a:pt x="71903" y="180000"/>
                    <a:pt x="88472" y="180000"/>
                  </a:cubicBezTo>
                  <a:cubicBezTo>
                    <a:pt x="105041" y="180000"/>
                    <a:pt x="118472" y="166569"/>
                    <a:pt x="118472" y="150000"/>
                  </a:cubicBezTo>
                  <a:cubicBezTo>
                    <a:pt x="118472" y="138702"/>
                    <a:pt x="112228" y="128864"/>
                    <a:pt x="103001" y="123747"/>
                  </a:cubicBezTo>
                  <a:cubicBezTo>
                    <a:pt x="103309" y="122549"/>
                    <a:pt x="103472" y="121293"/>
                    <a:pt x="103472" y="120000"/>
                  </a:cubicBezTo>
                  <a:lnTo>
                    <a:pt x="103472" y="0"/>
                  </a:lnTo>
                  <a:lnTo>
                    <a:pt x="175361" y="143778"/>
                  </a:lnTo>
                  <a:cubicBezTo>
                    <a:pt x="177334" y="147725"/>
                    <a:pt x="177470" y="152339"/>
                    <a:pt x="175732" y="156395"/>
                  </a:cubicBezTo>
                  <a:lnTo>
                    <a:pt x="135421" y="250455"/>
                  </a:lnTo>
                  <a:cubicBezTo>
                    <a:pt x="134239" y="253212"/>
                    <a:pt x="131527" y="255000"/>
                    <a:pt x="128527" y="255000"/>
                  </a:cubicBezTo>
                  <a:lnTo>
                    <a:pt x="48418" y="255000"/>
                  </a:lnTo>
                  <a:cubicBezTo>
                    <a:pt x="45418" y="255000"/>
                    <a:pt x="42706" y="253212"/>
                    <a:pt x="41524" y="250455"/>
                  </a:cubicBezTo>
                  <a:lnTo>
                    <a:pt x="1213" y="156395"/>
                  </a:lnTo>
                  <a:cubicBezTo>
                    <a:pt x="-525" y="152339"/>
                    <a:pt x="-390" y="147725"/>
                    <a:pt x="1584" y="143778"/>
                  </a:cubicBezTo>
                  <a:lnTo>
                    <a:pt x="73472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5" name="Полилиния 634">
              <a:extLst>
                <a:ext uri="{FF2B5EF4-FFF2-40B4-BE49-F238E27FC236}">
                  <a16:creationId xmlns:a16="http://schemas.microsoft.com/office/drawing/2014/main" id="{84E330E3-6F33-2F4C-92EF-151BDD82C168}"/>
                </a:ext>
              </a:extLst>
            </p:cNvPr>
            <p:cNvSpPr/>
            <p:nvPr/>
          </p:nvSpPr>
          <p:spPr>
            <a:xfrm>
              <a:off x="6871388" y="5093145"/>
              <a:ext cx="90000" cy="30000"/>
            </a:xfrm>
            <a:custGeom>
              <a:avLst/>
              <a:gdLst>
                <a:gd name="connsiteX0" fmla="*/ 15000 w 90000"/>
                <a:gd name="connsiteY0" fmla="*/ 0 h 30000"/>
                <a:gd name="connsiteX1" fmla="*/ 75000 w 90000"/>
                <a:gd name="connsiteY1" fmla="*/ 0 h 30000"/>
                <a:gd name="connsiteX2" fmla="*/ 90000 w 90000"/>
                <a:gd name="connsiteY2" fmla="*/ 15000 h 30000"/>
                <a:gd name="connsiteX3" fmla="*/ 90000 w 90000"/>
                <a:gd name="connsiteY3" fmla="*/ 30000 h 30000"/>
                <a:gd name="connsiteX4" fmla="*/ 0 w 90000"/>
                <a:gd name="connsiteY4" fmla="*/ 30000 h 30000"/>
                <a:gd name="connsiteX5" fmla="*/ 0 w 90000"/>
                <a:gd name="connsiteY5" fmla="*/ 15000 h 30000"/>
                <a:gd name="connsiteX6" fmla="*/ 15000 w 90000"/>
                <a:gd name="connsiteY6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000" h="30000">
                  <a:moveTo>
                    <a:pt x="15000" y="0"/>
                  </a:moveTo>
                  <a:lnTo>
                    <a:pt x="75000" y="0"/>
                  </a:lnTo>
                  <a:cubicBezTo>
                    <a:pt x="83285" y="0"/>
                    <a:pt x="90000" y="6716"/>
                    <a:pt x="90000" y="15000"/>
                  </a:cubicBezTo>
                  <a:lnTo>
                    <a:pt x="90000" y="30000"/>
                  </a:lnTo>
                  <a:lnTo>
                    <a:pt x="0" y="30000"/>
                  </a:ln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36" name="Рисунок 148">
            <a:extLst>
              <a:ext uri="{FF2B5EF4-FFF2-40B4-BE49-F238E27FC236}">
                <a16:creationId xmlns:a16="http://schemas.microsoft.com/office/drawing/2014/main" id="{83CF6E9E-4B71-9D42-B4E3-0AE66F5A1D31}"/>
              </a:ext>
            </a:extLst>
          </p:cNvPr>
          <p:cNvGrpSpPr/>
          <p:nvPr/>
        </p:nvGrpSpPr>
        <p:grpSpPr>
          <a:xfrm>
            <a:off x="5947802" y="4459189"/>
            <a:ext cx="360000" cy="360000"/>
            <a:chOff x="5981255" y="4778145"/>
            <a:chExt cx="360000" cy="360000"/>
          </a:xfrm>
        </p:grpSpPr>
        <p:sp>
          <p:nvSpPr>
            <p:cNvPr id="637" name="Полилиния 636">
              <a:extLst>
                <a:ext uri="{FF2B5EF4-FFF2-40B4-BE49-F238E27FC236}">
                  <a16:creationId xmlns:a16="http://schemas.microsoft.com/office/drawing/2014/main" id="{DC1EEBF1-E8D8-0845-890F-929805ECCD31}"/>
                </a:ext>
              </a:extLst>
            </p:cNvPr>
            <p:cNvSpPr/>
            <p:nvPr/>
          </p:nvSpPr>
          <p:spPr>
            <a:xfrm>
              <a:off x="5981255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8" name="Полилиния 637">
              <a:extLst>
                <a:ext uri="{FF2B5EF4-FFF2-40B4-BE49-F238E27FC236}">
                  <a16:creationId xmlns:a16="http://schemas.microsoft.com/office/drawing/2014/main" id="{7DB69464-DA0F-2847-A5EE-B4A7944E2085}"/>
                </a:ext>
              </a:extLst>
            </p:cNvPr>
            <p:cNvSpPr/>
            <p:nvPr/>
          </p:nvSpPr>
          <p:spPr>
            <a:xfrm>
              <a:off x="6067505" y="4793145"/>
              <a:ext cx="187500" cy="330000"/>
            </a:xfrm>
            <a:custGeom>
              <a:avLst/>
              <a:gdLst>
                <a:gd name="connsiteX0" fmla="*/ 20833 w 187500"/>
                <a:gd name="connsiteY0" fmla="*/ 45000 h 330000"/>
                <a:gd name="connsiteX1" fmla="*/ 20833 w 187500"/>
                <a:gd name="connsiteY1" fmla="*/ 270000 h 330000"/>
                <a:gd name="connsiteX2" fmla="*/ 166666 w 187500"/>
                <a:gd name="connsiteY2" fmla="*/ 270000 h 330000"/>
                <a:gd name="connsiteX3" fmla="*/ 166666 w 187500"/>
                <a:gd name="connsiteY3" fmla="*/ 45000 h 330000"/>
                <a:gd name="connsiteX4" fmla="*/ 20833 w 187500"/>
                <a:gd name="connsiteY4" fmla="*/ 45000 h 330000"/>
                <a:gd name="connsiteX5" fmla="*/ 31250 w 187500"/>
                <a:gd name="connsiteY5" fmla="*/ 0 h 330000"/>
                <a:gd name="connsiteX6" fmla="*/ 156251 w 187500"/>
                <a:gd name="connsiteY6" fmla="*/ 0 h 330000"/>
                <a:gd name="connsiteX7" fmla="*/ 187500 w 187500"/>
                <a:gd name="connsiteY7" fmla="*/ 37500 h 330000"/>
                <a:gd name="connsiteX8" fmla="*/ 187500 w 187500"/>
                <a:gd name="connsiteY8" fmla="*/ 292500 h 330000"/>
                <a:gd name="connsiteX9" fmla="*/ 156251 w 187500"/>
                <a:gd name="connsiteY9" fmla="*/ 330000 h 330000"/>
                <a:gd name="connsiteX10" fmla="*/ 31250 w 187500"/>
                <a:gd name="connsiteY10" fmla="*/ 330000 h 330000"/>
                <a:gd name="connsiteX11" fmla="*/ 0 w 187500"/>
                <a:gd name="connsiteY11" fmla="*/ 292500 h 330000"/>
                <a:gd name="connsiteX12" fmla="*/ 0 w 187500"/>
                <a:gd name="connsiteY12" fmla="*/ 37500 h 330000"/>
                <a:gd name="connsiteX13" fmla="*/ 31250 w 187500"/>
                <a:gd name="connsiteY13" fmla="*/ 0 h 3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7500" h="330000">
                  <a:moveTo>
                    <a:pt x="20833" y="45000"/>
                  </a:moveTo>
                  <a:lnTo>
                    <a:pt x="20833" y="270000"/>
                  </a:lnTo>
                  <a:lnTo>
                    <a:pt x="166666" y="270000"/>
                  </a:lnTo>
                  <a:lnTo>
                    <a:pt x="166666" y="45000"/>
                  </a:lnTo>
                  <a:lnTo>
                    <a:pt x="20833" y="45000"/>
                  </a:lnTo>
                  <a:close/>
                  <a:moveTo>
                    <a:pt x="31250" y="0"/>
                  </a:moveTo>
                  <a:lnTo>
                    <a:pt x="156251" y="0"/>
                  </a:lnTo>
                  <a:cubicBezTo>
                    <a:pt x="177344" y="0"/>
                    <a:pt x="187500" y="14718"/>
                    <a:pt x="187500" y="37500"/>
                  </a:cubicBezTo>
                  <a:lnTo>
                    <a:pt x="187500" y="292500"/>
                  </a:lnTo>
                  <a:cubicBezTo>
                    <a:pt x="187500" y="315282"/>
                    <a:pt x="177344" y="330000"/>
                    <a:pt x="156251" y="330000"/>
                  </a:cubicBezTo>
                  <a:lnTo>
                    <a:pt x="31250" y="330000"/>
                  </a:lnTo>
                  <a:cubicBezTo>
                    <a:pt x="10156" y="330000"/>
                    <a:pt x="0" y="315282"/>
                    <a:pt x="0" y="292500"/>
                  </a:cubicBezTo>
                  <a:lnTo>
                    <a:pt x="0" y="37500"/>
                  </a:lnTo>
                  <a:cubicBezTo>
                    <a:pt x="0" y="14718"/>
                    <a:pt x="10156" y="0"/>
                    <a:pt x="3125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9" name="Полилиния 638">
              <a:extLst>
                <a:ext uri="{FF2B5EF4-FFF2-40B4-BE49-F238E27FC236}">
                  <a16:creationId xmlns:a16="http://schemas.microsoft.com/office/drawing/2014/main" id="{823A3A53-E957-6543-8E55-FB724B90246C}"/>
                </a:ext>
              </a:extLst>
            </p:cNvPr>
            <p:cNvSpPr/>
            <p:nvPr/>
          </p:nvSpPr>
          <p:spPr>
            <a:xfrm>
              <a:off x="6086255" y="4838145"/>
              <a:ext cx="150000" cy="225000"/>
            </a:xfrm>
            <a:custGeom>
              <a:avLst/>
              <a:gdLst>
                <a:gd name="connsiteX0" fmla="*/ 0 w 150000"/>
                <a:gd name="connsiteY0" fmla="*/ 0 h 225000"/>
                <a:gd name="connsiteX1" fmla="*/ 0 w 150000"/>
                <a:gd name="connsiteY1" fmla="*/ 225000 h 225000"/>
                <a:gd name="connsiteX2" fmla="*/ 150000 w 150000"/>
                <a:gd name="connsiteY2" fmla="*/ 225000 h 225000"/>
                <a:gd name="connsiteX3" fmla="*/ 150000 w 150000"/>
                <a:gd name="connsiteY3" fmla="*/ 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000" h="225000">
                  <a:moveTo>
                    <a:pt x="0" y="0"/>
                  </a:moveTo>
                  <a:lnTo>
                    <a:pt x="0" y="225000"/>
                  </a:lnTo>
                  <a:lnTo>
                    <a:pt x="150000" y="225000"/>
                  </a:lnTo>
                  <a:lnTo>
                    <a:pt x="15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0" name="Полилиния 639">
              <a:extLst>
                <a:ext uri="{FF2B5EF4-FFF2-40B4-BE49-F238E27FC236}">
                  <a16:creationId xmlns:a16="http://schemas.microsoft.com/office/drawing/2014/main" id="{1B77B4FB-F9E7-244F-BB19-43C3073CEF32}"/>
                </a:ext>
              </a:extLst>
            </p:cNvPr>
            <p:cNvSpPr/>
            <p:nvPr/>
          </p:nvSpPr>
          <p:spPr>
            <a:xfrm>
              <a:off x="6146255" y="5078145"/>
              <a:ext cx="30000" cy="30000"/>
            </a:xfrm>
            <a:custGeom>
              <a:avLst/>
              <a:gdLst>
                <a:gd name="connsiteX0" fmla="*/ 30000 w 30000"/>
                <a:gd name="connsiteY0" fmla="*/ 15000 h 30000"/>
                <a:gd name="connsiteX1" fmla="*/ 15000 w 30000"/>
                <a:gd name="connsiteY1" fmla="*/ 30000 h 30000"/>
                <a:gd name="connsiteX2" fmla="*/ 0 w 30000"/>
                <a:gd name="connsiteY2" fmla="*/ 15000 h 30000"/>
                <a:gd name="connsiteX3" fmla="*/ 15000 w 30000"/>
                <a:gd name="connsiteY3" fmla="*/ 0 h 30000"/>
                <a:gd name="connsiteX4" fmla="*/ 30000 w 30000"/>
                <a:gd name="connsiteY4" fmla="*/ 1500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" h="30000">
                  <a:moveTo>
                    <a:pt x="30000" y="15000"/>
                  </a:moveTo>
                  <a:cubicBezTo>
                    <a:pt x="30000" y="23284"/>
                    <a:pt x="23284" y="30000"/>
                    <a:pt x="15000" y="30000"/>
                  </a:cubicBez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ubicBezTo>
                    <a:pt x="23284" y="0"/>
                    <a:pt x="30000" y="6716"/>
                    <a:pt x="30000" y="15000"/>
                  </a:cubicBezTo>
                  <a:close/>
                </a:path>
              </a:pathLst>
            </a:custGeom>
            <a:solidFill>
              <a:srgbClr val="000000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41" name="Рисунок 149">
            <a:extLst>
              <a:ext uri="{FF2B5EF4-FFF2-40B4-BE49-F238E27FC236}">
                <a16:creationId xmlns:a16="http://schemas.microsoft.com/office/drawing/2014/main" id="{26509FA3-974E-CC4A-814B-9D9E5B69891B}"/>
              </a:ext>
            </a:extLst>
          </p:cNvPr>
          <p:cNvGrpSpPr/>
          <p:nvPr/>
        </p:nvGrpSpPr>
        <p:grpSpPr>
          <a:xfrm>
            <a:off x="2172137" y="4459189"/>
            <a:ext cx="360000" cy="360000"/>
            <a:chOff x="2205590" y="4778145"/>
            <a:chExt cx="360000" cy="360000"/>
          </a:xfrm>
        </p:grpSpPr>
        <p:sp>
          <p:nvSpPr>
            <p:cNvPr id="642" name="Полилиния 641">
              <a:extLst>
                <a:ext uri="{FF2B5EF4-FFF2-40B4-BE49-F238E27FC236}">
                  <a16:creationId xmlns:a16="http://schemas.microsoft.com/office/drawing/2014/main" id="{A126A507-0A76-044A-8D30-F56428F31AA8}"/>
                </a:ext>
              </a:extLst>
            </p:cNvPr>
            <p:cNvSpPr/>
            <p:nvPr/>
          </p:nvSpPr>
          <p:spPr>
            <a:xfrm>
              <a:off x="2205590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3" name="Полилиния 642">
              <a:extLst>
                <a:ext uri="{FF2B5EF4-FFF2-40B4-BE49-F238E27FC236}">
                  <a16:creationId xmlns:a16="http://schemas.microsoft.com/office/drawing/2014/main" id="{7D606EFD-971D-7D41-AF00-9E7362FEAF37}"/>
                </a:ext>
              </a:extLst>
            </p:cNvPr>
            <p:cNvSpPr/>
            <p:nvPr/>
          </p:nvSpPr>
          <p:spPr>
            <a:xfrm>
              <a:off x="2268540" y="4931627"/>
              <a:ext cx="143566" cy="143566"/>
            </a:xfrm>
            <a:custGeom>
              <a:avLst/>
              <a:gdLst>
                <a:gd name="connsiteX0" fmla="*/ 90533 w 143566"/>
                <a:gd name="connsiteY0" fmla="*/ 0 h 143566"/>
                <a:gd name="connsiteX1" fmla="*/ 143567 w 143566"/>
                <a:gd name="connsiteY1" fmla="*/ 53034 h 143566"/>
                <a:gd name="connsiteX2" fmla="*/ 64017 w 143566"/>
                <a:gd name="connsiteY2" fmla="*/ 132584 h 143566"/>
                <a:gd name="connsiteX3" fmla="*/ 10983 w 143566"/>
                <a:gd name="connsiteY3" fmla="*/ 132584 h 143566"/>
                <a:gd name="connsiteX4" fmla="*/ 10983 w 143566"/>
                <a:gd name="connsiteY4" fmla="*/ 79550 h 143566"/>
                <a:gd name="connsiteX5" fmla="*/ 90533 w 143566"/>
                <a:gd name="connsiteY5" fmla="*/ 0 h 143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566" h="143566">
                  <a:moveTo>
                    <a:pt x="90533" y="0"/>
                  </a:moveTo>
                  <a:lnTo>
                    <a:pt x="143567" y="53034"/>
                  </a:lnTo>
                  <a:lnTo>
                    <a:pt x="64017" y="132584"/>
                  </a:lnTo>
                  <a:cubicBezTo>
                    <a:pt x="49372" y="147228"/>
                    <a:pt x="25628" y="147228"/>
                    <a:pt x="10983" y="132584"/>
                  </a:cubicBezTo>
                  <a:cubicBezTo>
                    <a:pt x="-3661" y="117939"/>
                    <a:pt x="-3661" y="94194"/>
                    <a:pt x="10983" y="79550"/>
                  </a:cubicBezTo>
                  <a:lnTo>
                    <a:pt x="90533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4" name="Полилиния 643">
              <a:extLst>
                <a:ext uri="{FF2B5EF4-FFF2-40B4-BE49-F238E27FC236}">
                  <a16:creationId xmlns:a16="http://schemas.microsoft.com/office/drawing/2014/main" id="{E9D655AC-187F-544A-8DEC-9F8BF8A4DB4E}"/>
                </a:ext>
              </a:extLst>
            </p:cNvPr>
            <p:cNvSpPr/>
            <p:nvPr/>
          </p:nvSpPr>
          <p:spPr>
            <a:xfrm>
              <a:off x="2357786" y="4841095"/>
              <a:ext cx="144853" cy="144852"/>
            </a:xfrm>
            <a:custGeom>
              <a:avLst/>
              <a:gdLst>
                <a:gd name="connsiteX0" fmla="*/ 54320 w 144853"/>
                <a:gd name="connsiteY0" fmla="*/ 37500 h 144852"/>
                <a:gd name="connsiteX1" fmla="*/ 80836 w 144853"/>
                <a:gd name="connsiteY1" fmla="*/ 10983 h 144852"/>
                <a:gd name="connsiteX2" fmla="*/ 133870 w 144853"/>
                <a:gd name="connsiteY2" fmla="*/ 10983 h 144852"/>
                <a:gd name="connsiteX3" fmla="*/ 133870 w 144853"/>
                <a:gd name="connsiteY3" fmla="*/ 64017 h 144852"/>
                <a:gd name="connsiteX4" fmla="*/ 107353 w 144853"/>
                <a:gd name="connsiteY4" fmla="*/ 90533 h 144852"/>
                <a:gd name="connsiteX5" fmla="*/ 123263 w 144853"/>
                <a:gd name="connsiteY5" fmla="*/ 106443 h 144852"/>
                <a:gd name="connsiteX6" fmla="*/ 123263 w 144853"/>
                <a:gd name="connsiteY6" fmla="*/ 138263 h 144852"/>
                <a:gd name="connsiteX7" fmla="*/ 91442 w 144853"/>
                <a:gd name="connsiteY7" fmla="*/ 138263 h 144852"/>
                <a:gd name="connsiteX8" fmla="*/ 6590 w 144853"/>
                <a:gd name="connsiteY8" fmla="*/ 53410 h 144852"/>
                <a:gd name="connsiteX9" fmla="*/ 6590 w 144853"/>
                <a:gd name="connsiteY9" fmla="*/ 21590 h 144852"/>
                <a:gd name="connsiteX10" fmla="*/ 38410 w 144853"/>
                <a:gd name="connsiteY10" fmla="*/ 21590 h 144852"/>
                <a:gd name="connsiteX11" fmla="*/ 54320 w 144853"/>
                <a:gd name="connsiteY11" fmla="*/ 37500 h 144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4853" h="144852">
                  <a:moveTo>
                    <a:pt x="54320" y="37500"/>
                  </a:moveTo>
                  <a:lnTo>
                    <a:pt x="80836" y="10983"/>
                  </a:lnTo>
                  <a:cubicBezTo>
                    <a:pt x="95480" y="-3661"/>
                    <a:pt x="119225" y="-3661"/>
                    <a:pt x="133870" y="10983"/>
                  </a:cubicBezTo>
                  <a:cubicBezTo>
                    <a:pt x="148514" y="25628"/>
                    <a:pt x="148514" y="49372"/>
                    <a:pt x="133870" y="64017"/>
                  </a:cubicBezTo>
                  <a:lnTo>
                    <a:pt x="107353" y="90533"/>
                  </a:lnTo>
                  <a:lnTo>
                    <a:pt x="123263" y="106443"/>
                  </a:lnTo>
                  <a:cubicBezTo>
                    <a:pt x="132049" y="115230"/>
                    <a:pt x="132049" y="129476"/>
                    <a:pt x="123263" y="138263"/>
                  </a:cubicBezTo>
                  <a:cubicBezTo>
                    <a:pt x="114476" y="147050"/>
                    <a:pt x="100229" y="147050"/>
                    <a:pt x="91442" y="138263"/>
                  </a:cubicBezTo>
                  <a:lnTo>
                    <a:pt x="6590" y="53410"/>
                  </a:lnTo>
                  <a:cubicBezTo>
                    <a:pt x="-2197" y="44623"/>
                    <a:pt x="-2197" y="30377"/>
                    <a:pt x="6590" y="21590"/>
                  </a:cubicBezTo>
                  <a:cubicBezTo>
                    <a:pt x="15377" y="12803"/>
                    <a:pt x="29623" y="12803"/>
                    <a:pt x="38410" y="21590"/>
                  </a:cubicBezTo>
                  <a:lnTo>
                    <a:pt x="54320" y="375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45" name="Рисунок 150">
            <a:extLst>
              <a:ext uri="{FF2B5EF4-FFF2-40B4-BE49-F238E27FC236}">
                <a16:creationId xmlns:a16="http://schemas.microsoft.com/office/drawing/2014/main" id="{C7A8C9D7-E7E3-0841-B4BD-111624C04AFE}"/>
              </a:ext>
            </a:extLst>
          </p:cNvPr>
          <p:cNvGrpSpPr/>
          <p:nvPr/>
        </p:nvGrpSpPr>
        <p:grpSpPr>
          <a:xfrm>
            <a:off x="1417004" y="4459189"/>
            <a:ext cx="360000" cy="360000"/>
            <a:chOff x="1450457" y="4778145"/>
            <a:chExt cx="360000" cy="360000"/>
          </a:xfrm>
        </p:grpSpPr>
        <p:sp>
          <p:nvSpPr>
            <p:cNvPr id="646" name="Полилиния 645">
              <a:extLst>
                <a:ext uri="{FF2B5EF4-FFF2-40B4-BE49-F238E27FC236}">
                  <a16:creationId xmlns:a16="http://schemas.microsoft.com/office/drawing/2014/main" id="{BF699A56-BE92-6B44-8FB5-E776F3B0FF3C}"/>
                </a:ext>
              </a:extLst>
            </p:cNvPr>
            <p:cNvSpPr/>
            <p:nvPr/>
          </p:nvSpPr>
          <p:spPr>
            <a:xfrm>
              <a:off x="1450457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7" name="Скругленный прямоугольник 646">
              <a:extLst>
                <a:ext uri="{FF2B5EF4-FFF2-40B4-BE49-F238E27FC236}">
                  <a16:creationId xmlns:a16="http://schemas.microsoft.com/office/drawing/2014/main" id="{C31A110A-AE53-5542-B668-58BD2332CBE1}"/>
                </a:ext>
              </a:extLst>
            </p:cNvPr>
            <p:cNvSpPr/>
            <p:nvPr/>
          </p:nvSpPr>
          <p:spPr>
            <a:xfrm>
              <a:off x="1480457" y="4838145"/>
              <a:ext cx="300000" cy="240000"/>
            </a:xfrm>
            <a:prstGeom prst="roundRect">
              <a:avLst>
                <a:gd name="adj" fmla="val 16667"/>
              </a:avLst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8" name="Полилиния 647">
              <a:extLst>
                <a:ext uri="{FF2B5EF4-FFF2-40B4-BE49-F238E27FC236}">
                  <a16:creationId xmlns:a16="http://schemas.microsoft.com/office/drawing/2014/main" id="{B7E6AD03-AC7D-F849-8950-0AB38E67BE89}"/>
                </a:ext>
              </a:extLst>
            </p:cNvPr>
            <p:cNvSpPr/>
            <p:nvPr/>
          </p:nvSpPr>
          <p:spPr>
            <a:xfrm>
              <a:off x="1510457" y="4943145"/>
              <a:ext cx="195000" cy="135000"/>
            </a:xfrm>
            <a:custGeom>
              <a:avLst/>
              <a:gdLst>
                <a:gd name="connsiteX0" fmla="*/ 0 w 195000"/>
                <a:gd name="connsiteY0" fmla="*/ 135000 h 135000"/>
                <a:gd name="connsiteX1" fmla="*/ 97500 w 195000"/>
                <a:gd name="connsiteY1" fmla="*/ 0 h 135000"/>
                <a:gd name="connsiteX2" fmla="*/ 195000 w 195000"/>
                <a:gd name="connsiteY2" fmla="*/ 135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5000" h="135000">
                  <a:moveTo>
                    <a:pt x="0" y="135000"/>
                  </a:moveTo>
                  <a:lnTo>
                    <a:pt x="97500" y="0"/>
                  </a:lnTo>
                  <a:lnTo>
                    <a:pt x="195000" y="13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9" name="Полилиния 648">
              <a:extLst>
                <a:ext uri="{FF2B5EF4-FFF2-40B4-BE49-F238E27FC236}">
                  <a16:creationId xmlns:a16="http://schemas.microsoft.com/office/drawing/2014/main" id="{1F51116D-2895-CC40-876C-331CBC96C25E}"/>
                </a:ext>
              </a:extLst>
            </p:cNvPr>
            <p:cNvSpPr/>
            <p:nvPr/>
          </p:nvSpPr>
          <p:spPr>
            <a:xfrm>
              <a:off x="1615457" y="4988145"/>
              <a:ext cx="135000" cy="90000"/>
            </a:xfrm>
            <a:custGeom>
              <a:avLst/>
              <a:gdLst>
                <a:gd name="connsiteX0" fmla="*/ 0 w 135000"/>
                <a:gd name="connsiteY0" fmla="*/ 90000 h 90000"/>
                <a:gd name="connsiteX1" fmla="*/ 67500 w 135000"/>
                <a:gd name="connsiteY1" fmla="*/ 0 h 90000"/>
                <a:gd name="connsiteX2" fmla="*/ 135000 w 135000"/>
                <a:gd name="connsiteY2" fmla="*/ 9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000" h="90000">
                  <a:moveTo>
                    <a:pt x="0" y="90000"/>
                  </a:moveTo>
                  <a:lnTo>
                    <a:pt x="67500" y="0"/>
                  </a:lnTo>
                  <a:lnTo>
                    <a:pt x="135000" y="9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0" name="Полилиния 649">
              <a:extLst>
                <a:ext uri="{FF2B5EF4-FFF2-40B4-BE49-F238E27FC236}">
                  <a16:creationId xmlns:a16="http://schemas.microsoft.com/office/drawing/2014/main" id="{046E4A55-EC8A-4A4E-BE32-47A5FEEDB2DA}"/>
                </a:ext>
              </a:extLst>
            </p:cNvPr>
            <p:cNvSpPr/>
            <p:nvPr/>
          </p:nvSpPr>
          <p:spPr>
            <a:xfrm>
              <a:off x="1705457" y="4883145"/>
              <a:ext cx="45000" cy="45000"/>
            </a:xfrm>
            <a:custGeom>
              <a:avLst/>
              <a:gdLst>
                <a:gd name="connsiteX0" fmla="*/ 45000 w 45000"/>
                <a:gd name="connsiteY0" fmla="*/ 22500 h 45000"/>
                <a:gd name="connsiteX1" fmla="*/ 22500 w 45000"/>
                <a:gd name="connsiteY1" fmla="*/ 45000 h 45000"/>
                <a:gd name="connsiteX2" fmla="*/ 0 w 45000"/>
                <a:gd name="connsiteY2" fmla="*/ 22500 h 45000"/>
                <a:gd name="connsiteX3" fmla="*/ 22500 w 45000"/>
                <a:gd name="connsiteY3" fmla="*/ 0 h 45000"/>
                <a:gd name="connsiteX4" fmla="*/ 45000 w 45000"/>
                <a:gd name="connsiteY4" fmla="*/ 2250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00" h="45000">
                  <a:moveTo>
                    <a:pt x="45000" y="22500"/>
                  </a:moveTo>
                  <a:cubicBezTo>
                    <a:pt x="45000" y="34926"/>
                    <a:pt x="34926" y="45000"/>
                    <a:pt x="22500" y="45000"/>
                  </a:cubicBez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ubicBezTo>
                    <a:pt x="34926" y="0"/>
                    <a:pt x="45000" y="10074"/>
                    <a:pt x="45000" y="22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51" name="Рисунок 151">
            <a:extLst>
              <a:ext uri="{FF2B5EF4-FFF2-40B4-BE49-F238E27FC236}">
                <a16:creationId xmlns:a16="http://schemas.microsoft.com/office/drawing/2014/main" id="{69BE0EE9-22E8-2149-BDF7-042DE821BB75}"/>
              </a:ext>
            </a:extLst>
          </p:cNvPr>
          <p:cNvGrpSpPr/>
          <p:nvPr/>
        </p:nvGrpSpPr>
        <p:grpSpPr>
          <a:xfrm>
            <a:off x="661871" y="4459189"/>
            <a:ext cx="360000" cy="360000"/>
            <a:chOff x="695324" y="4778145"/>
            <a:chExt cx="360000" cy="360000"/>
          </a:xfrm>
        </p:grpSpPr>
        <p:sp>
          <p:nvSpPr>
            <p:cNvPr id="652" name="Полилиния 651">
              <a:extLst>
                <a:ext uri="{FF2B5EF4-FFF2-40B4-BE49-F238E27FC236}">
                  <a16:creationId xmlns:a16="http://schemas.microsoft.com/office/drawing/2014/main" id="{38817C09-E9C3-FE4B-9093-EAF500C344B7}"/>
                </a:ext>
              </a:extLst>
            </p:cNvPr>
            <p:cNvSpPr/>
            <p:nvPr/>
          </p:nvSpPr>
          <p:spPr>
            <a:xfrm>
              <a:off x="695324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3" name="Полилиния 652">
              <a:extLst>
                <a:ext uri="{FF2B5EF4-FFF2-40B4-BE49-F238E27FC236}">
                  <a16:creationId xmlns:a16="http://schemas.microsoft.com/office/drawing/2014/main" id="{8589FA91-D66B-3247-8805-31EC93829359}"/>
                </a:ext>
              </a:extLst>
            </p:cNvPr>
            <p:cNvSpPr/>
            <p:nvPr/>
          </p:nvSpPr>
          <p:spPr>
            <a:xfrm>
              <a:off x="725324" y="4838145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4" name="Полилиния 653">
              <a:extLst>
                <a:ext uri="{FF2B5EF4-FFF2-40B4-BE49-F238E27FC236}">
                  <a16:creationId xmlns:a16="http://schemas.microsoft.com/office/drawing/2014/main" id="{75F9E970-7F1C-184F-8989-77B95483F7A1}"/>
                </a:ext>
              </a:extLst>
            </p:cNvPr>
            <p:cNvSpPr/>
            <p:nvPr/>
          </p:nvSpPr>
          <p:spPr>
            <a:xfrm>
              <a:off x="755324" y="4943145"/>
              <a:ext cx="180000" cy="120000"/>
            </a:xfrm>
            <a:custGeom>
              <a:avLst/>
              <a:gdLst>
                <a:gd name="connsiteX0" fmla="*/ 0 w 180000"/>
                <a:gd name="connsiteY0" fmla="*/ 120000 h 120000"/>
                <a:gd name="connsiteX1" fmla="*/ 90000 w 180000"/>
                <a:gd name="connsiteY1" fmla="*/ 0 h 120000"/>
                <a:gd name="connsiteX2" fmla="*/ 180000 w 180000"/>
                <a:gd name="connsiteY2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000" h="120000">
                  <a:moveTo>
                    <a:pt x="0" y="120000"/>
                  </a:moveTo>
                  <a:lnTo>
                    <a:pt x="90000" y="0"/>
                  </a:lnTo>
                  <a:lnTo>
                    <a:pt x="180000" y="12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5" name="Полилиния 654">
              <a:extLst>
                <a:ext uri="{FF2B5EF4-FFF2-40B4-BE49-F238E27FC236}">
                  <a16:creationId xmlns:a16="http://schemas.microsoft.com/office/drawing/2014/main" id="{CAF63031-BBE8-124F-8060-D173DB8EE27A}"/>
                </a:ext>
              </a:extLst>
            </p:cNvPr>
            <p:cNvSpPr/>
            <p:nvPr/>
          </p:nvSpPr>
          <p:spPr>
            <a:xfrm>
              <a:off x="860324" y="4988145"/>
              <a:ext cx="120000" cy="75000"/>
            </a:xfrm>
            <a:custGeom>
              <a:avLst/>
              <a:gdLst>
                <a:gd name="connsiteX0" fmla="*/ 0 w 120000"/>
                <a:gd name="connsiteY0" fmla="*/ 75000 h 75000"/>
                <a:gd name="connsiteX1" fmla="*/ 60000 w 120000"/>
                <a:gd name="connsiteY1" fmla="*/ 0 h 75000"/>
                <a:gd name="connsiteX2" fmla="*/ 120000 w 120000"/>
                <a:gd name="connsiteY2" fmla="*/ 750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000" h="75000">
                  <a:moveTo>
                    <a:pt x="0" y="75000"/>
                  </a:moveTo>
                  <a:lnTo>
                    <a:pt x="60000" y="0"/>
                  </a:lnTo>
                  <a:lnTo>
                    <a:pt x="120000" y="7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6" name="Полилиния 655">
              <a:extLst>
                <a:ext uri="{FF2B5EF4-FFF2-40B4-BE49-F238E27FC236}">
                  <a16:creationId xmlns:a16="http://schemas.microsoft.com/office/drawing/2014/main" id="{50E1DB25-3499-784B-A9F4-264F8DC06285}"/>
                </a:ext>
              </a:extLst>
            </p:cNvPr>
            <p:cNvSpPr/>
            <p:nvPr/>
          </p:nvSpPr>
          <p:spPr>
            <a:xfrm>
              <a:off x="942824" y="4913145"/>
              <a:ext cx="45000" cy="45000"/>
            </a:xfrm>
            <a:custGeom>
              <a:avLst/>
              <a:gdLst>
                <a:gd name="connsiteX0" fmla="*/ 22500 w 45000"/>
                <a:gd name="connsiteY0" fmla="*/ 45000 h 45000"/>
                <a:gd name="connsiteX1" fmla="*/ 45000 w 45000"/>
                <a:gd name="connsiteY1" fmla="*/ 22500 h 45000"/>
                <a:gd name="connsiteX2" fmla="*/ 22500 w 45000"/>
                <a:gd name="connsiteY2" fmla="*/ 0 h 45000"/>
                <a:gd name="connsiteX3" fmla="*/ 0 w 45000"/>
                <a:gd name="connsiteY3" fmla="*/ 22500 h 45000"/>
                <a:gd name="connsiteX4" fmla="*/ 22500 w 45000"/>
                <a:gd name="connsiteY4" fmla="*/ 4500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00" h="45000">
                  <a:moveTo>
                    <a:pt x="22500" y="45000"/>
                  </a:moveTo>
                  <a:cubicBezTo>
                    <a:pt x="34926" y="45000"/>
                    <a:pt x="45000" y="34926"/>
                    <a:pt x="45000" y="22500"/>
                  </a:cubicBezTo>
                  <a:cubicBezTo>
                    <a:pt x="45000" y="10074"/>
                    <a:pt x="34926" y="0"/>
                    <a:pt x="22500" y="0"/>
                  </a:cubicBezTo>
                  <a:cubicBezTo>
                    <a:pt x="10074" y="0"/>
                    <a:pt x="0" y="10074"/>
                    <a:pt x="0" y="22500"/>
                  </a:cubicBezTo>
                  <a:cubicBezTo>
                    <a:pt x="0" y="34926"/>
                    <a:pt x="10074" y="45000"/>
                    <a:pt x="22500" y="4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57" name="Рисунок 152">
            <a:extLst>
              <a:ext uri="{FF2B5EF4-FFF2-40B4-BE49-F238E27FC236}">
                <a16:creationId xmlns:a16="http://schemas.microsoft.com/office/drawing/2014/main" id="{AC536277-AFA6-1140-9EF2-2459CF830B18}"/>
              </a:ext>
            </a:extLst>
          </p:cNvPr>
          <p:cNvGrpSpPr/>
          <p:nvPr/>
        </p:nvGrpSpPr>
        <p:grpSpPr>
          <a:xfrm>
            <a:off x="11233735" y="3786135"/>
            <a:ext cx="360000" cy="360000"/>
            <a:chOff x="11267188" y="4105091"/>
            <a:chExt cx="360000" cy="360000"/>
          </a:xfrm>
        </p:grpSpPr>
        <p:sp>
          <p:nvSpPr>
            <p:cNvPr id="658" name="Полилиния 657">
              <a:extLst>
                <a:ext uri="{FF2B5EF4-FFF2-40B4-BE49-F238E27FC236}">
                  <a16:creationId xmlns:a16="http://schemas.microsoft.com/office/drawing/2014/main" id="{7298A28D-8001-2F4A-8D03-3BC2008278B0}"/>
                </a:ext>
              </a:extLst>
            </p:cNvPr>
            <p:cNvSpPr/>
            <p:nvPr/>
          </p:nvSpPr>
          <p:spPr>
            <a:xfrm>
              <a:off x="11267188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9" name="Полилиния 658">
              <a:extLst>
                <a:ext uri="{FF2B5EF4-FFF2-40B4-BE49-F238E27FC236}">
                  <a16:creationId xmlns:a16="http://schemas.microsoft.com/office/drawing/2014/main" id="{625E1D72-6A5D-A540-A1AF-C0882327BBBA}"/>
                </a:ext>
              </a:extLst>
            </p:cNvPr>
            <p:cNvSpPr/>
            <p:nvPr/>
          </p:nvSpPr>
          <p:spPr>
            <a:xfrm>
              <a:off x="11297188" y="4165091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0" name="Полилиния 659">
              <a:extLst>
                <a:ext uri="{FF2B5EF4-FFF2-40B4-BE49-F238E27FC236}">
                  <a16:creationId xmlns:a16="http://schemas.microsoft.com/office/drawing/2014/main" id="{86DA9A9E-ADCD-594F-A109-27BBF160A854}"/>
                </a:ext>
              </a:extLst>
            </p:cNvPr>
            <p:cNvSpPr/>
            <p:nvPr/>
          </p:nvSpPr>
          <p:spPr>
            <a:xfrm>
              <a:off x="11432188" y="4315091"/>
              <a:ext cx="75000" cy="75000"/>
            </a:xfrm>
            <a:custGeom>
              <a:avLst/>
              <a:gdLst>
                <a:gd name="connsiteX0" fmla="*/ 75000 w 75000"/>
                <a:gd name="connsiteY0" fmla="*/ 37500 h 75000"/>
                <a:gd name="connsiteX1" fmla="*/ 37500 w 75000"/>
                <a:gd name="connsiteY1" fmla="*/ 75000 h 75000"/>
                <a:gd name="connsiteX2" fmla="*/ 0 w 75000"/>
                <a:gd name="connsiteY2" fmla="*/ 37500 h 75000"/>
                <a:gd name="connsiteX3" fmla="*/ 37500 w 75000"/>
                <a:gd name="connsiteY3" fmla="*/ 0 h 75000"/>
                <a:gd name="connsiteX4" fmla="*/ 75000 w 75000"/>
                <a:gd name="connsiteY4" fmla="*/ 375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00" h="75000">
                  <a:moveTo>
                    <a:pt x="75000" y="37500"/>
                  </a:moveTo>
                  <a:cubicBezTo>
                    <a:pt x="75000" y="58211"/>
                    <a:pt x="58211" y="75000"/>
                    <a:pt x="37500" y="75000"/>
                  </a:cubicBezTo>
                  <a:cubicBezTo>
                    <a:pt x="16789" y="75000"/>
                    <a:pt x="0" y="58211"/>
                    <a:pt x="0" y="37500"/>
                  </a:cubicBezTo>
                  <a:cubicBezTo>
                    <a:pt x="0" y="16789"/>
                    <a:pt x="16789" y="0"/>
                    <a:pt x="37500" y="0"/>
                  </a:cubicBezTo>
                  <a:cubicBezTo>
                    <a:pt x="58211" y="0"/>
                    <a:pt x="75000" y="16789"/>
                    <a:pt x="75000" y="37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1" name="Полилиния 660">
              <a:extLst>
                <a:ext uri="{FF2B5EF4-FFF2-40B4-BE49-F238E27FC236}">
                  <a16:creationId xmlns:a16="http://schemas.microsoft.com/office/drawing/2014/main" id="{739FBD5E-DA11-9F46-90AF-38B116C3A987}"/>
                </a:ext>
              </a:extLst>
            </p:cNvPr>
            <p:cNvSpPr/>
            <p:nvPr/>
          </p:nvSpPr>
          <p:spPr>
            <a:xfrm>
              <a:off x="11387188" y="4315091"/>
              <a:ext cx="75000" cy="75000"/>
            </a:xfrm>
            <a:custGeom>
              <a:avLst/>
              <a:gdLst>
                <a:gd name="connsiteX0" fmla="*/ 75000 w 75000"/>
                <a:gd name="connsiteY0" fmla="*/ 37500 h 75000"/>
                <a:gd name="connsiteX1" fmla="*/ 37500 w 75000"/>
                <a:gd name="connsiteY1" fmla="*/ 75000 h 75000"/>
                <a:gd name="connsiteX2" fmla="*/ 0 w 75000"/>
                <a:gd name="connsiteY2" fmla="*/ 37500 h 75000"/>
                <a:gd name="connsiteX3" fmla="*/ 37500 w 75000"/>
                <a:gd name="connsiteY3" fmla="*/ 0 h 75000"/>
                <a:gd name="connsiteX4" fmla="*/ 75000 w 75000"/>
                <a:gd name="connsiteY4" fmla="*/ 375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00" h="75000">
                  <a:moveTo>
                    <a:pt x="75000" y="37500"/>
                  </a:moveTo>
                  <a:cubicBezTo>
                    <a:pt x="75000" y="58211"/>
                    <a:pt x="58211" y="75000"/>
                    <a:pt x="37500" y="75000"/>
                  </a:cubicBezTo>
                  <a:cubicBezTo>
                    <a:pt x="16789" y="75000"/>
                    <a:pt x="0" y="58211"/>
                    <a:pt x="0" y="37500"/>
                  </a:cubicBezTo>
                  <a:cubicBezTo>
                    <a:pt x="0" y="16789"/>
                    <a:pt x="16789" y="0"/>
                    <a:pt x="37500" y="0"/>
                  </a:cubicBezTo>
                  <a:cubicBezTo>
                    <a:pt x="58211" y="0"/>
                    <a:pt x="75000" y="16789"/>
                    <a:pt x="75000" y="37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2" name="Полилиния 661">
              <a:extLst>
                <a:ext uri="{FF2B5EF4-FFF2-40B4-BE49-F238E27FC236}">
                  <a16:creationId xmlns:a16="http://schemas.microsoft.com/office/drawing/2014/main" id="{75DC1EF2-901A-6348-A93C-6BBF4F9AFA4A}"/>
                </a:ext>
              </a:extLst>
            </p:cNvPr>
            <p:cNvSpPr/>
            <p:nvPr/>
          </p:nvSpPr>
          <p:spPr>
            <a:xfrm>
              <a:off x="11372188" y="4270091"/>
              <a:ext cx="75000" cy="75000"/>
            </a:xfrm>
            <a:custGeom>
              <a:avLst/>
              <a:gdLst>
                <a:gd name="connsiteX0" fmla="*/ 75000 w 75000"/>
                <a:gd name="connsiteY0" fmla="*/ 37500 h 75000"/>
                <a:gd name="connsiteX1" fmla="*/ 37500 w 75000"/>
                <a:gd name="connsiteY1" fmla="*/ 75000 h 75000"/>
                <a:gd name="connsiteX2" fmla="*/ 0 w 75000"/>
                <a:gd name="connsiteY2" fmla="*/ 37500 h 75000"/>
                <a:gd name="connsiteX3" fmla="*/ 37500 w 75000"/>
                <a:gd name="connsiteY3" fmla="*/ 0 h 75000"/>
                <a:gd name="connsiteX4" fmla="*/ 75000 w 75000"/>
                <a:gd name="connsiteY4" fmla="*/ 375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00" h="75000">
                  <a:moveTo>
                    <a:pt x="75000" y="37500"/>
                  </a:moveTo>
                  <a:cubicBezTo>
                    <a:pt x="75000" y="58211"/>
                    <a:pt x="58211" y="75000"/>
                    <a:pt x="37500" y="75000"/>
                  </a:cubicBezTo>
                  <a:cubicBezTo>
                    <a:pt x="16789" y="75000"/>
                    <a:pt x="0" y="58211"/>
                    <a:pt x="0" y="37500"/>
                  </a:cubicBezTo>
                  <a:cubicBezTo>
                    <a:pt x="0" y="16789"/>
                    <a:pt x="16789" y="0"/>
                    <a:pt x="37500" y="0"/>
                  </a:cubicBezTo>
                  <a:cubicBezTo>
                    <a:pt x="58211" y="0"/>
                    <a:pt x="75000" y="16789"/>
                    <a:pt x="75000" y="37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3" name="Полилиния 662">
              <a:extLst>
                <a:ext uri="{FF2B5EF4-FFF2-40B4-BE49-F238E27FC236}">
                  <a16:creationId xmlns:a16="http://schemas.microsoft.com/office/drawing/2014/main" id="{985D2C0D-A7E8-6941-9BD7-393A0417B723}"/>
                </a:ext>
              </a:extLst>
            </p:cNvPr>
            <p:cNvSpPr/>
            <p:nvPr/>
          </p:nvSpPr>
          <p:spPr>
            <a:xfrm>
              <a:off x="11447188" y="4270091"/>
              <a:ext cx="75000" cy="75000"/>
            </a:xfrm>
            <a:custGeom>
              <a:avLst/>
              <a:gdLst>
                <a:gd name="connsiteX0" fmla="*/ 75000 w 75000"/>
                <a:gd name="connsiteY0" fmla="*/ 37500 h 75000"/>
                <a:gd name="connsiteX1" fmla="*/ 37500 w 75000"/>
                <a:gd name="connsiteY1" fmla="*/ 75000 h 75000"/>
                <a:gd name="connsiteX2" fmla="*/ 0 w 75000"/>
                <a:gd name="connsiteY2" fmla="*/ 37500 h 75000"/>
                <a:gd name="connsiteX3" fmla="*/ 37500 w 75000"/>
                <a:gd name="connsiteY3" fmla="*/ 0 h 75000"/>
                <a:gd name="connsiteX4" fmla="*/ 75000 w 75000"/>
                <a:gd name="connsiteY4" fmla="*/ 375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00" h="75000">
                  <a:moveTo>
                    <a:pt x="75000" y="37500"/>
                  </a:moveTo>
                  <a:cubicBezTo>
                    <a:pt x="75000" y="58211"/>
                    <a:pt x="58211" y="75000"/>
                    <a:pt x="37500" y="75000"/>
                  </a:cubicBezTo>
                  <a:cubicBezTo>
                    <a:pt x="16789" y="75000"/>
                    <a:pt x="0" y="58211"/>
                    <a:pt x="0" y="37500"/>
                  </a:cubicBezTo>
                  <a:cubicBezTo>
                    <a:pt x="0" y="16789"/>
                    <a:pt x="16789" y="0"/>
                    <a:pt x="37500" y="0"/>
                  </a:cubicBezTo>
                  <a:cubicBezTo>
                    <a:pt x="58211" y="0"/>
                    <a:pt x="75000" y="16789"/>
                    <a:pt x="75000" y="37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4" name="Полилиния 663">
              <a:extLst>
                <a:ext uri="{FF2B5EF4-FFF2-40B4-BE49-F238E27FC236}">
                  <a16:creationId xmlns:a16="http://schemas.microsoft.com/office/drawing/2014/main" id="{FEFEA166-2C0A-B847-B8B4-5CDC3C1CB9DB}"/>
                </a:ext>
              </a:extLst>
            </p:cNvPr>
            <p:cNvSpPr/>
            <p:nvPr/>
          </p:nvSpPr>
          <p:spPr>
            <a:xfrm>
              <a:off x="11409688" y="4240091"/>
              <a:ext cx="75000" cy="75000"/>
            </a:xfrm>
            <a:custGeom>
              <a:avLst/>
              <a:gdLst>
                <a:gd name="connsiteX0" fmla="*/ 75000 w 75000"/>
                <a:gd name="connsiteY0" fmla="*/ 37500 h 75000"/>
                <a:gd name="connsiteX1" fmla="*/ 37500 w 75000"/>
                <a:gd name="connsiteY1" fmla="*/ 75000 h 75000"/>
                <a:gd name="connsiteX2" fmla="*/ 0 w 75000"/>
                <a:gd name="connsiteY2" fmla="*/ 37500 h 75000"/>
                <a:gd name="connsiteX3" fmla="*/ 37500 w 75000"/>
                <a:gd name="connsiteY3" fmla="*/ 0 h 75000"/>
                <a:gd name="connsiteX4" fmla="*/ 75000 w 75000"/>
                <a:gd name="connsiteY4" fmla="*/ 375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00" h="75000">
                  <a:moveTo>
                    <a:pt x="75000" y="37500"/>
                  </a:moveTo>
                  <a:cubicBezTo>
                    <a:pt x="75000" y="58211"/>
                    <a:pt x="58211" y="75000"/>
                    <a:pt x="37500" y="75000"/>
                  </a:cubicBezTo>
                  <a:cubicBezTo>
                    <a:pt x="16789" y="75000"/>
                    <a:pt x="0" y="58211"/>
                    <a:pt x="0" y="37500"/>
                  </a:cubicBezTo>
                  <a:cubicBezTo>
                    <a:pt x="0" y="16789"/>
                    <a:pt x="16789" y="0"/>
                    <a:pt x="37500" y="0"/>
                  </a:cubicBezTo>
                  <a:cubicBezTo>
                    <a:pt x="58211" y="0"/>
                    <a:pt x="75000" y="16789"/>
                    <a:pt x="75000" y="37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65" name="Рисунок 153">
            <a:extLst>
              <a:ext uri="{FF2B5EF4-FFF2-40B4-BE49-F238E27FC236}">
                <a16:creationId xmlns:a16="http://schemas.microsoft.com/office/drawing/2014/main" id="{CA1154B5-47FA-4F43-96E6-5AE672A61D68}"/>
              </a:ext>
            </a:extLst>
          </p:cNvPr>
          <p:cNvGrpSpPr/>
          <p:nvPr/>
        </p:nvGrpSpPr>
        <p:grpSpPr>
          <a:xfrm>
            <a:off x="8213201" y="3786135"/>
            <a:ext cx="360000" cy="360000"/>
            <a:chOff x="8246654" y="4105091"/>
            <a:chExt cx="360000" cy="360000"/>
          </a:xfrm>
        </p:grpSpPr>
        <p:sp>
          <p:nvSpPr>
            <p:cNvPr id="666" name="Полилиния 665">
              <a:extLst>
                <a:ext uri="{FF2B5EF4-FFF2-40B4-BE49-F238E27FC236}">
                  <a16:creationId xmlns:a16="http://schemas.microsoft.com/office/drawing/2014/main" id="{5E31B14A-0D95-3B46-BB8B-BA5CD377A94B}"/>
                </a:ext>
              </a:extLst>
            </p:cNvPr>
            <p:cNvSpPr/>
            <p:nvPr/>
          </p:nvSpPr>
          <p:spPr>
            <a:xfrm>
              <a:off x="8246654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7" name="Скругленный прямоугольник 666">
              <a:extLst>
                <a:ext uri="{FF2B5EF4-FFF2-40B4-BE49-F238E27FC236}">
                  <a16:creationId xmlns:a16="http://schemas.microsoft.com/office/drawing/2014/main" id="{56B9F3F3-CE65-C04D-9380-685B7438280E}"/>
                </a:ext>
              </a:extLst>
            </p:cNvPr>
            <p:cNvSpPr/>
            <p:nvPr/>
          </p:nvSpPr>
          <p:spPr>
            <a:xfrm>
              <a:off x="8306654" y="4345091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8" name="Скругленный прямоугольник 667">
              <a:extLst>
                <a:ext uri="{FF2B5EF4-FFF2-40B4-BE49-F238E27FC236}">
                  <a16:creationId xmlns:a16="http://schemas.microsoft.com/office/drawing/2014/main" id="{23910C69-4E5C-EF4E-983A-EFFC6ECE45F2}"/>
                </a:ext>
              </a:extLst>
            </p:cNvPr>
            <p:cNvSpPr/>
            <p:nvPr/>
          </p:nvSpPr>
          <p:spPr>
            <a:xfrm>
              <a:off x="8306654" y="4255091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9" name="Скругленный прямоугольник 668">
              <a:extLst>
                <a:ext uri="{FF2B5EF4-FFF2-40B4-BE49-F238E27FC236}">
                  <a16:creationId xmlns:a16="http://schemas.microsoft.com/office/drawing/2014/main" id="{5DA4B988-8868-4245-9D1B-4FE65151BC99}"/>
                </a:ext>
              </a:extLst>
            </p:cNvPr>
            <p:cNvSpPr/>
            <p:nvPr/>
          </p:nvSpPr>
          <p:spPr>
            <a:xfrm>
              <a:off x="8396654" y="4345091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0" name="Скругленный прямоугольник 669">
              <a:extLst>
                <a:ext uri="{FF2B5EF4-FFF2-40B4-BE49-F238E27FC236}">
                  <a16:creationId xmlns:a16="http://schemas.microsoft.com/office/drawing/2014/main" id="{FB8CD97C-D14D-D54A-A5D8-0F0FCFBB9D97}"/>
                </a:ext>
              </a:extLst>
            </p:cNvPr>
            <p:cNvSpPr/>
            <p:nvPr/>
          </p:nvSpPr>
          <p:spPr>
            <a:xfrm>
              <a:off x="8396654" y="4255091"/>
              <a:ext cx="60000" cy="6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71" name="Скругленный прямоугольник 670">
              <a:extLst>
                <a:ext uri="{FF2B5EF4-FFF2-40B4-BE49-F238E27FC236}">
                  <a16:creationId xmlns:a16="http://schemas.microsoft.com/office/drawing/2014/main" id="{80812355-86D7-AB45-951E-0E5C738AEC5C}"/>
                </a:ext>
              </a:extLst>
            </p:cNvPr>
            <p:cNvSpPr/>
            <p:nvPr/>
          </p:nvSpPr>
          <p:spPr>
            <a:xfrm>
              <a:off x="8306654" y="4165091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2" name="Скругленный прямоугольник 671">
              <a:extLst>
                <a:ext uri="{FF2B5EF4-FFF2-40B4-BE49-F238E27FC236}">
                  <a16:creationId xmlns:a16="http://schemas.microsoft.com/office/drawing/2014/main" id="{990762BB-84A8-2E42-B3AF-F532A6B8D353}"/>
                </a:ext>
              </a:extLst>
            </p:cNvPr>
            <p:cNvSpPr/>
            <p:nvPr/>
          </p:nvSpPr>
          <p:spPr>
            <a:xfrm>
              <a:off x="8486654" y="4345091"/>
              <a:ext cx="60000" cy="6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73" name="Рисунок 154">
            <a:extLst>
              <a:ext uri="{FF2B5EF4-FFF2-40B4-BE49-F238E27FC236}">
                <a16:creationId xmlns:a16="http://schemas.microsoft.com/office/drawing/2014/main" id="{FC2FB804-8A8A-C64B-825B-17D7D906E061}"/>
              </a:ext>
            </a:extLst>
          </p:cNvPr>
          <p:cNvGrpSpPr/>
          <p:nvPr/>
        </p:nvGrpSpPr>
        <p:grpSpPr>
          <a:xfrm>
            <a:off x="6702935" y="3786135"/>
            <a:ext cx="360000" cy="360000"/>
            <a:chOff x="6736388" y="4105091"/>
            <a:chExt cx="360000" cy="360000"/>
          </a:xfrm>
        </p:grpSpPr>
        <p:sp>
          <p:nvSpPr>
            <p:cNvPr id="674" name="Полилиния 673">
              <a:extLst>
                <a:ext uri="{FF2B5EF4-FFF2-40B4-BE49-F238E27FC236}">
                  <a16:creationId xmlns:a16="http://schemas.microsoft.com/office/drawing/2014/main" id="{60E8A59C-27B2-3947-8708-9160D940CF8C}"/>
                </a:ext>
              </a:extLst>
            </p:cNvPr>
            <p:cNvSpPr/>
            <p:nvPr/>
          </p:nvSpPr>
          <p:spPr>
            <a:xfrm>
              <a:off x="6736388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5" name="Полилиния 674">
              <a:extLst>
                <a:ext uri="{FF2B5EF4-FFF2-40B4-BE49-F238E27FC236}">
                  <a16:creationId xmlns:a16="http://schemas.microsoft.com/office/drawing/2014/main" id="{A1B14099-8F01-A347-AAD8-F3F158DA25A7}"/>
                </a:ext>
              </a:extLst>
            </p:cNvPr>
            <p:cNvSpPr/>
            <p:nvPr/>
          </p:nvSpPr>
          <p:spPr>
            <a:xfrm>
              <a:off x="6871388" y="4189153"/>
              <a:ext cx="116110" cy="191943"/>
            </a:xfrm>
            <a:custGeom>
              <a:avLst/>
              <a:gdLst>
                <a:gd name="connsiteX0" fmla="*/ 12430 w 116110"/>
                <a:gd name="connsiteY0" fmla="*/ 190096 h 191943"/>
                <a:gd name="connsiteX1" fmla="*/ 113541 w 116110"/>
                <a:gd name="connsiteY1" fmla="*/ 101902 h 191943"/>
                <a:gd name="connsiteX2" fmla="*/ 114263 w 116110"/>
                <a:gd name="connsiteY2" fmla="*/ 91321 h 191943"/>
                <a:gd name="connsiteX3" fmla="*/ 113557 w 116110"/>
                <a:gd name="connsiteY3" fmla="*/ 90613 h 191943"/>
                <a:gd name="connsiteX4" fmla="*/ 12448 w 116110"/>
                <a:gd name="connsiteY4" fmla="*/ 1863 h 191943"/>
                <a:gd name="connsiteX5" fmla="*/ 1863 w 116110"/>
                <a:gd name="connsiteY5" fmla="*/ 2553 h 191943"/>
                <a:gd name="connsiteX6" fmla="*/ 0 w 116110"/>
                <a:gd name="connsiteY6" fmla="*/ 7500 h 191943"/>
                <a:gd name="connsiteX7" fmla="*/ 0 w 116110"/>
                <a:gd name="connsiteY7" fmla="*/ 184444 h 191943"/>
                <a:gd name="connsiteX8" fmla="*/ 7500 w 116110"/>
                <a:gd name="connsiteY8" fmla="*/ 191944 h 191943"/>
                <a:gd name="connsiteX9" fmla="*/ 12430 w 116110"/>
                <a:gd name="connsiteY9" fmla="*/ 190096 h 191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0" h="191943">
                  <a:moveTo>
                    <a:pt x="12430" y="190096"/>
                  </a:moveTo>
                  <a:lnTo>
                    <a:pt x="113541" y="101902"/>
                  </a:lnTo>
                  <a:cubicBezTo>
                    <a:pt x="116663" y="99179"/>
                    <a:pt x="116985" y="94442"/>
                    <a:pt x="114263" y="91321"/>
                  </a:cubicBezTo>
                  <a:cubicBezTo>
                    <a:pt x="114043" y="91069"/>
                    <a:pt x="113808" y="90833"/>
                    <a:pt x="113557" y="90613"/>
                  </a:cubicBezTo>
                  <a:lnTo>
                    <a:pt x="12448" y="1863"/>
                  </a:lnTo>
                  <a:cubicBezTo>
                    <a:pt x="9335" y="-869"/>
                    <a:pt x="4596" y="-561"/>
                    <a:pt x="1863" y="2553"/>
                  </a:cubicBezTo>
                  <a:cubicBezTo>
                    <a:pt x="662" y="3921"/>
                    <a:pt x="0" y="5679"/>
                    <a:pt x="0" y="7500"/>
                  </a:cubicBezTo>
                  <a:lnTo>
                    <a:pt x="0" y="184444"/>
                  </a:lnTo>
                  <a:cubicBezTo>
                    <a:pt x="0" y="188585"/>
                    <a:pt x="3358" y="191944"/>
                    <a:pt x="7500" y="191944"/>
                  </a:cubicBezTo>
                  <a:cubicBezTo>
                    <a:pt x="9313" y="191944"/>
                    <a:pt x="11064" y="191287"/>
                    <a:pt x="12430" y="190096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76" name="Рисунок 155">
            <a:extLst>
              <a:ext uri="{FF2B5EF4-FFF2-40B4-BE49-F238E27FC236}">
                <a16:creationId xmlns:a16="http://schemas.microsoft.com/office/drawing/2014/main" id="{C0F1A6BC-A94F-0548-8F1E-8784C169A625}"/>
              </a:ext>
            </a:extLst>
          </p:cNvPr>
          <p:cNvGrpSpPr/>
          <p:nvPr/>
        </p:nvGrpSpPr>
        <p:grpSpPr>
          <a:xfrm>
            <a:off x="5947802" y="3786135"/>
            <a:ext cx="360000" cy="360000"/>
            <a:chOff x="5981255" y="4105091"/>
            <a:chExt cx="360000" cy="360000"/>
          </a:xfrm>
        </p:grpSpPr>
        <p:sp>
          <p:nvSpPr>
            <p:cNvPr id="677" name="Полилиния 676">
              <a:extLst>
                <a:ext uri="{FF2B5EF4-FFF2-40B4-BE49-F238E27FC236}">
                  <a16:creationId xmlns:a16="http://schemas.microsoft.com/office/drawing/2014/main" id="{F871BFE3-260F-DA4B-83FD-4BD38AB0E43C}"/>
                </a:ext>
              </a:extLst>
            </p:cNvPr>
            <p:cNvSpPr/>
            <p:nvPr/>
          </p:nvSpPr>
          <p:spPr>
            <a:xfrm>
              <a:off x="5981255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8" name="Полилиния 677">
              <a:extLst>
                <a:ext uri="{FF2B5EF4-FFF2-40B4-BE49-F238E27FC236}">
                  <a16:creationId xmlns:a16="http://schemas.microsoft.com/office/drawing/2014/main" id="{9E803E3E-6D1F-9D42-BB79-45E04718873C}"/>
                </a:ext>
              </a:extLst>
            </p:cNvPr>
            <p:cNvSpPr/>
            <p:nvPr/>
          </p:nvSpPr>
          <p:spPr>
            <a:xfrm>
              <a:off x="6026255" y="4150090"/>
              <a:ext cx="180000" cy="270000"/>
            </a:xfrm>
            <a:custGeom>
              <a:avLst/>
              <a:gdLst>
                <a:gd name="connsiteX0" fmla="*/ 89678 w 180000"/>
                <a:gd name="connsiteY0" fmla="*/ 237011 h 270000"/>
                <a:gd name="connsiteX1" fmla="*/ 45000 w 180000"/>
                <a:gd name="connsiteY1" fmla="*/ 270000 h 270000"/>
                <a:gd name="connsiteX2" fmla="*/ 0 w 180000"/>
                <a:gd name="connsiteY2" fmla="*/ 232500 h 270000"/>
                <a:gd name="connsiteX3" fmla="*/ 45000 w 180000"/>
                <a:gd name="connsiteY3" fmla="*/ 195000 h 270000"/>
                <a:gd name="connsiteX4" fmla="*/ 60000 w 180000"/>
                <a:gd name="connsiteY4" fmla="*/ 197135 h 270000"/>
                <a:gd name="connsiteX5" fmla="*/ 60000 w 180000"/>
                <a:gd name="connsiteY5" fmla="*/ 43976 h 270000"/>
                <a:gd name="connsiteX6" fmla="*/ 71842 w 180000"/>
                <a:gd name="connsiteY6" fmla="*/ 27191 h 270000"/>
                <a:gd name="connsiteX7" fmla="*/ 158091 w 180000"/>
                <a:gd name="connsiteY7" fmla="*/ 813 h 270000"/>
                <a:gd name="connsiteX8" fmla="*/ 180000 w 180000"/>
                <a:gd name="connsiteY8" fmla="*/ 17598 h 270000"/>
                <a:gd name="connsiteX9" fmla="*/ 180000 w 180000"/>
                <a:gd name="connsiteY9" fmla="*/ 43976 h 270000"/>
                <a:gd name="connsiteX10" fmla="*/ 165000 w 180000"/>
                <a:gd name="connsiteY10" fmla="*/ 60000 h 270000"/>
                <a:gd name="connsiteX11" fmla="*/ 90000 w 180000"/>
                <a:gd name="connsiteY11" fmla="*/ 75000 h 270000"/>
                <a:gd name="connsiteX12" fmla="*/ 90000 w 180000"/>
                <a:gd name="connsiteY12" fmla="*/ 233268 h 270000"/>
                <a:gd name="connsiteX13" fmla="*/ 89678 w 180000"/>
                <a:gd name="connsiteY13" fmla="*/ 237011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0000" h="270000">
                  <a:moveTo>
                    <a:pt x="89678" y="237011"/>
                  </a:moveTo>
                  <a:cubicBezTo>
                    <a:pt x="87004" y="255594"/>
                    <a:pt x="68021" y="270000"/>
                    <a:pt x="45000" y="270000"/>
                  </a:cubicBezTo>
                  <a:cubicBezTo>
                    <a:pt x="20147" y="270000"/>
                    <a:pt x="0" y="253211"/>
                    <a:pt x="0" y="232500"/>
                  </a:cubicBezTo>
                  <a:cubicBezTo>
                    <a:pt x="0" y="211790"/>
                    <a:pt x="20147" y="195000"/>
                    <a:pt x="45000" y="195000"/>
                  </a:cubicBezTo>
                  <a:cubicBezTo>
                    <a:pt x="50260" y="195000"/>
                    <a:pt x="55308" y="195752"/>
                    <a:pt x="60000" y="197135"/>
                  </a:cubicBezTo>
                  <a:lnTo>
                    <a:pt x="60000" y="43976"/>
                  </a:lnTo>
                  <a:cubicBezTo>
                    <a:pt x="60000" y="36284"/>
                    <a:pt x="64797" y="29485"/>
                    <a:pt x="71842" y="27191"/>
                  </a:cubicBezTo>
                  <a:lnTo>
                    <a:pt x="158091" y="813"/>
                  </a:lnTo>
                  <a:cubicBezTo>
                    <a:pt x="168959" y="-2726"/>
                    <a:pt x="180000" y="5734"/>
                    <a:pt x="180000" y="17598"/>
                  </a:cubicBezTo>
                  <a:cubicBezTo>
                    <a:pt x="180000" y="29321"/>
                    <a:pt x="180000" y="38114"/>
                    <a:pt x="180000" y="43976"/>
                  </a:cubicBezTo>
                  <a:cubicBezTo>
                    <a:pt x="180000" y="52768"/>
                    <a:pt x="171768" y="58384"/>
                    <a:pt x="165000" y="60000"/>
                  </a:cubicBezTo>
                  <a:cubicBezTo>
                    <a:pt x="155264" y="62325"/>
                    <a:pt x="130263" y="67325"/>
                    <a:pt x="90000" y="75000"/>
                  </a:cubicBezTo>
                  <a:lnTo>
                    <a:pt x="90000" y="233268"/>
                  </a:lnTo>
                  <a:cubicBezTo>
                    <a:pt x="90000" y="234615"/>
                    <a:pt x="89891" y="235862"/>
                    <a:pt x="89678" y="237011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9" name="Полилиния 678">
              <a:extLst>
                <a:ext uri="{FF2B5EF4-FFF2-40B4-BE49-F238E27FC236}">
                  <a16:creationId xmlns:a16="http://schemas.microsoft.com/office/drawing/2014/main" id="{39040309-1BD3-D04C-8342-27A272E2A798}"/>
                </a:ext>
              </a:extLst>
            </p:cNvPr>
            <p:cNvSpPr/>
            <p:nvPr/>
          </p:nvSpPr>
          <p:spPr>
            <a:xfrm>
              <a:off x="6176255" y="4240091"/>
              <a:ext cx="120000" cy="150000"/>
            </a:xfrm>
            <a:custGeom>
              <a:avLst/>
              <a:gdLst>
                <a:gd name="connsiteX0" fmla="*/ 45000 w 120000"/>
                <a:gd name="connsiteY0" fmla="*/ 0 h 150000"/>
                <a:gd name="connsiteX1" fmla="*/ 105000 w 120000"/>
                <a:gd name="connsiteY1" fmla="*/ 0 h 150000"/>
                <a:gd name="connsiteX2" fmla="*/ 120000 w 120000"/>
                <a:gd name="connsiteY2" fmla="*/ 15000 h 150000"/>
                <a:gd name="connsiteX3" fmla="*/ 105000 w 120000"/>
                <a:gd name="connsiteY3" fmla="*/ 30000 h 150000"/>
                <a:gd name="connsiteX4" fmla="*/ 45000 w 120000"/>
                <a:gd name="connsiteY4" fmla="*/ 30000 h 150000"/>
                <a:gd name="connsiteX5" fmla="*/ 30000 w 120000"/>
                <a:gd name="connsiteY5" fmla="*/ 15000 h 150000"/>
                <a:gd name="connsiteX6" fmla="*/ 45000 w 120000"/>
                <a:gd name="connsiteY6" fmla="*/ 0 h 150000"/>
                <a:gd name="connsiteX7" fmla="*/ 15000 w 120000"/>
                <a:gd name="connsiteY7" fmla="*/ 60000 h 150000"/>
                <a:gd name="connsiteX8" fmla="*/ 105000 w 120000"/>
                <a:gd name="connsiteY8" fmla="*/ 60000 h 150000"/>
                <a:gd name="connsiteX9" fmla="*/ 120000 w 120000"/>
                <a:gd name="connsiteY9" fmla="*/ 75000 h 150000"/>
                <a:gd name="connsiteX10" fmla="*/ 105000 w 120000"/>
                <a:gd name="connsiteY10" fmla="*/ 90000 h 150000"/>
                <a:gd name="connsiteX11" fmla="*/ 15000 w 120000"/>
                <a:gd name="connsiteY11" fmla="*/ 90000 h 150000"/>
                <a:gd name="connsiteX12" fmla="*/ 0 w 120000"/>
                <a:gd name="connsiteY12" fmla="*/ 75000 h 150000"/>
                <a:gd name="connsiteX13" fmla="*/ 15000 w 120000"/>
                <a:gd name="connsiteY13" fmla="*/ 60000 h 150000"/>
                <a:gd name="connsiteX14" fmla="*/ 15000 w 120000"/>
                <a:gd name="connsiteY14" fmla="*/ 120000 h 150000"/>
                <a:gd name="connsiteX15" fmla="*/ 105000 w 120000"/>
                <a:gd name="connsiteY15" fmla="*/ 120000 h 150000"/>
                <a:gd name="connsiteX16" fmla="*/ 120000 w 120000"/>
                <a:gd name="connsiteY16" fmla="*/ 135000 h 150000"/>
                <a:gd name="connsiteX17" fmla="*/ 105000 w 120000"/>
                <a:gd name="connsiteY17" fmla="*/ 150000 h 150000"/>
                <a:gd name="connsiteX18" fmla="*/ 15000 w 120000"/>
                <a:gd name="connsiteY18" fmla="*/ 150000 h 150000"/>
                <a:gd name="connsiteX19" fmla="*/ 0 w 120000"/>
                <a:gd name="connsiteY19" fmla="*/ 135000 h 150000"/>
                <a:gd name="connsiteX20" fmla="*/ 15000 w 120000"/>
                <a:gd name="connsiteY20" fmla="*/ 120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0000" h="150000">
                  <a:moveTo>
                    <a:pt x="45000" y="0"/>
                  </a:moveTo>
                  <a:lnTo>
                    <a:pt x="105000" y="0"/>
                  </a:lnTo>
                  <a:cubicBezTo>
                    <a:pt x="113284" y="0"/>
                    <a:pt x="120000" y="6716"/>
                    <a:pt x="120000" y="15000"/>
                  </a:cubicBezTo>
                  <a:cubicBezTo>
                    <a:pt x="120000" y="23285"/>
                    <a:pt x="113284" y="30000"/>
                    <a:pt x="105000" y="30000"/>
                  </a:cubicBezTo>
                  <a:lnTo>
                    <a:pt x="45000" y="30000"/>
                  </a:lnTo>
                  <a:cubicBezTo>
                    <a:pt x="36715" y="30000"/>
                    <a:pt x="30000" y="23285"/>
                    <a:pt x="30000" y="15000"/>
                  </a:cubicBezTo>
                  <a:cubicBezTo>
                    <a:pt x="30000" y="6716"/>
                    <a:pt x="36715" y="0"/>
                    <a:pt x="45000" y="0"/>
                  </a:cubicBezTo>
                  <a:close/>
                  <a:moveTo>
                    <a:pt x="15000" y="60000"/>
                  </a:moveTo>
                  <a:lnTo>
                    <a:pt x="105000" y="60000"/>
                  </a:lnTo>
                  <a:cubicBezTo>
                    <a:pt x="113284" y="60000"/>
                    <a:pt x="120000" y="66715"/>
                    <a:pt x="120000" y="75000"/>
                  </a:cubicBezTo>
                  <a:cubicBezTo>
                    <a:pt x="120000" y="83285"/>
                    <a:pt x="113284" y="90000"/>
                    <a:pt x="105000" y="90000"/>
                  </a:cubicBezTo>
                  <a:lnTo>
                    <a:pt x="15000" y="90000"/>
                  </a:lnTo>
                  <a:cubicBezTo>
                    <a:pt x="6715" y="90000"/>
                    <a:pt x="0" y="83285"/>
                    <a:pt x="0" y="75000"/>
                  </a:cubicBezTo>
                  <a:cubicBezTo>
                    <a:pt x="0" y="66715"/>
                    <a:pt x="6715" y="60000"/>
                    <a:pt x="15000" y="60000"/>
                  </a:cubicBezTo>
                  <a:close/>
                  <a:moveTo>
                    <a:pt x="15000" y="120000"/>
                  </a:moveTo>
                  <a:lnTo>
                    <a:pt x="105000" y="120000"/>
                  </a:lnTo>
                  <a:cubicBezTo>
                    <a:pt x="113284" y="120000"/>
                    <a:pt x="120000" y="126716"/>
                    <a:pt x="120000" y="135000"/>
                  </a:cubicBezTo>
                  <a:cubicBezTo>
                    <a:pt x="120000" y="143285"/>
                    <a:pt x="113284" y="150000"/>
                    <a:pt x="105000" y="150000"/>
                  </a:cubicBezTo>
                  <a:lnTo>
                    <a:pt x="15000" y="150000"/>
                  </a:lnTo>
                  <a:cubicBezTo>
                    <a:pt x="6715" y="150000"/>
                    <a:pt x="0" y="143285"/>
                    <a:pt x="0" y="135000"/>
                  </a:cubicBezTo>
                  <a:cubicBezTo>
                    <a:pt x="0" y="126716"/>
                    <a:pt x="6715" y="120000"/>
                    <a:pt x="15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80" name="Рисунок 156">
            <a:extLst>
              <a:ext uri="{FF2B5EF4-FFF2-40B4-BE49-F238E27FC236}">
                <a16:creationId xmlns:a16="http://schemas.microsoft.com/office/drawing/2014/main" id="{876B7578-EC09-0644-B3D3-029F905EA563}"/>
              </a:ext>
            </a:extLst>
          </p:cNvPr>
          <p:cNvGrpSpPr/>
          <p:nvPr/>
        </p:nvGrpSpPr>
        <p:grpSpPr>
          <a:xfrm>
            <a:off x="7458068" y="3786135"/>
            <a:ext cx="360000" cy="360000"/>
            <a:chOff x="7491521" y="4105091"/>
            <a:chExt cx="360000" cy="360000"/>
          </a:xfrm>
        </p:grpSpPr>
        <p:sp>
          <p:nvSpPr>
            <p:cNvPr id="681" name="Полилиния 680">
              <a:extLst>
                <a:ext uri="{FF2B5EF4-FFF2-40B4-BE49-F238E27FC236}">
                  <a16:creationId xmlns:a16="http://schemas.microsoft.com/office/drawing/2014/main" id="{77FC9683-1908-2746-8DB8-B644BDB2AEAB}"/>
                </a:ext>
              </a:extLst>
            </p:cNvPr>
            <p:cNvSpPr/>
            <p:nvPr/>
          </p:nvSpPr>
          <p:spPr>
            <a:xfrm>
              <a:off x="7491521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2" name="Полилиния 681">
              <a:extLst>
                <a:ext uri="{FF2B5EF4-FFF2-40B4-BE49-F238E27FC236}">
                  <a16:creationId xmlns:a16="http://schemas.microsoft.com/office/drawing/2014/main" id="{86DFE313-8350-FA44-93F1-A457799439DA}"/>
                </a:ext>
              </a:extLst>
            </p:cNvPr>
            <p:cNvSpPr/>
            <p:nvPr/>
          </p:nvSpPr>
          <p:spPr>
            <a:xfrm>
              <a:off x="7551521" y="4180091"/>
              <a:ext cx="240000" cy="225000"/>
            </a:xfrm>
            <a:custGeom>
              <a:avLst/>
              <a:gdLst>
                <a:gd name="connsiteX0" fmla="*/ 112500 w 240000"/>
                <a:gd name="connsiteY0" fmla="*/ 0 h 225000"/>
                <a:gd name="connsiteX1" fmla="*/ 217500 w 240000"/>
                <a:gd name="connsiteY1" fmla="*/ 0 h 225000"/>
                <a:gd name="connsiteX2" fmla="*/ 240000 w 240000"/>
                <a:gd name="connsiteY2" fmla="*/ 22500 h 225000"/>
                <a:gd name="connsiteX3" fmla="*/ 217500 w 240000"/>
                <a:gd name="connsiteY3" fmla="*/ 45000 h 225000"/>
                <a:gd name="connsiteX4" fmla="*/ 112500 w 240000"/>
                <a:gd name="connsiteY4" fmla="*/ 45000 h 225000"/>
                <a:gd name="connsiteX5" fmla="*/ 90000 w 240000"/>
                <a:gd name="connsiteY5" fmla="*/ 22500 h 225000"/>
                <a:gd name="connsiteX6" fmla="*/ 112500 w 240000"/>
                <a:gd name="connsiteY6" fmla="*/ 0 h 225000"/>
                <a:gd name="connsiteX7" fmla="*/ 22500 w 240000"/>
                <a:gd name="connsiteY7" fmla="*/ 180000 h 225000"/>
                <a:gd name="connsiteX8" fmla="*/ 217500 w 240000"/>
                <a:gd name="connsiteY8" fmla="*/ 180000 h 225000"/>
                <a:gd name="connsiteX9" fmla="*/ 240000 w 240000"/>
                <a:gd name="connsiteY9" fmla="*/ 202500 h 225000"/>
                <a:gd name="connsiteX10" fmla="*/ 217500 w 240000"/>
                <a:gd name="connsiteY10" fmla="*/ 225000 h 225000"/>
                <a:gd name="connsiteX11" fmla="*/ 22500 w 240000"/>
                <a:gd name="connsiteY11" fmla="*/ 225000 h 225000"/>
                <a:gd name="connsiteX12" fmla="*/ 0 w 240000"/>
                <a:gd name="connsiteY12" fmla="*/ 202500 h 225000"/>
                <a:gd name="connsiteX13" fmla="*/ 22500 w 240000"/>
                <a:gd name="connsiteY13" fmla="*/ 180000 h 225000"/>
                <a:gd name="connsiteX14" fmla="*/ 22500 w 240000"/>
                <a:gd name="connsiteY14" fmla="*/ 90000 h 225000"/>
                <a:gd name="connsiteX15" fmla="*/ 217500 w 240000"/>
                <a:gd name="connsiteY15" fmla="*/ 90000 h 225000"/>
                <a:gd name="connsiteX16" fmla="*/ 240000 w 240000"/>
                <a:gd name="connsiteY16" fmla="*/ 112500 h 225000"/>
                <a:gd name="connsiteX17" fmla="*/ 217500 w 240000"/>
                <a:gd name="connsiteY17" fmla="*/ 135000 h 225000"/>
                <a:gd name="connsiteX18" fmla="*/ 22500 w 240000"/>
                <a:gd name="connsiteY18" fmla="*/ 135000 h 225000"/>
                <a:gd name="connsiteX19" fmla="*/ 0 w 240000"/>
                <a:gd name="connsiteY19" fmla="*/ 112500 h 225000"/>
                <a:gd name="connsiteX20" fmla="*/ 22500 w 240000"/>
                <a:gd name="connsiteY20" fmla="*/ 90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0000" h="225000">
                  <a:moveTo>
                    <a:pt x="112500" y="0"/>
                  </a:moveTo>
                  <a:lnTo>
                    <a:pt x="217500" y="0"/>
                  </a:lnTo>
                  <a:cubicBezTo>
                    <a:pt x="229926" y="0"/>
                    <a:pt x="240000" y="10074"/>
                    <a:pt x="240000" y="22500"/>
                  </a:cubicBezTo>
                  <a:cubicBezTo>
                    <a:pt x="240000" y="34926"/>
                    <a:pt x="229926" y="45000"/>
                    <a:pt x="217500" y="45000"/>
                  </a:cubicBezTo>
                  <a:lnTo>
                    <a:pt x="112500" y="45000"/>
                  </a:lnTo>
                  <a:cubicBezTo>
                    <a:pt x="100074" y="45000"/>
                    <a:pt x="90000" y="34926"/>
                    <a:pt x="90000" y="22500"/>
                  </a:cubicBezTo>
                  <a:cubicBezTo>
                    <a:pt x="90000" y="10074"/>
                    <a:pt x="100074" y="0"/>
                    <a:pt x="112500" y="0"/>
                  </a:cubicBezTo>
                  <a:close/>
                  <a:moveTo>
                    <a:pt x="22500" y="180000"/>
                  </a:moveTo>
                  <a:lnTo>
                    <a:pt x="217500" y="180000"/>
                  </a:lnTo>
                  <a:cubicBezTo>
                    <a:pt x="229926" y="180000"/>
                    <a:pt x="240000" y="190074"/>
                    <a:pt x="240000" y="202500"/>
                  </a:cubicBezTo>
                  <a:cubicBezTo>
                    <a:pt x="240000" y="214926"/>
                    <a:pt x="229926" y="225000"/>
                    <a:pt x="217500" y="225000"/>
                  </a:cubicBezTo>
                  <a:lnTo>
                    <a:pt x="22500" y="225000"/>
                  </a:lnTo>
                  <a:cubicBezTo>
                    <a:pt x="10074" y="225000"/>
                    <a:pt x="0" y="214926"/>
                    <a:pt x="0" y="202500"/>
                  </a:cubicBezTo>
                  <a:cubicBezTo>
                    <a:pt x="0" y="190074"/>
                    <a:pt x="10074" y="180000"/>
                    <a:pt x="22500" y="180000"/>
                  </a:cubicBezTo>
                  <a:close/>
                  <a:moveTo>
                    <a:pt x="22500" y="90000"/>
                  </a:moveTo>
                  <a:lnTo>
                    <a:pt x="217500" y="90000"/>
                  </a:lnTo>
                  <a:cubicBezTo>
                    <a:pt x="229926" y="90000"/>
                    <a:pt x="240000" y="100074"/>
                    <a:pt x="240000" y="112500"/>
                  </a:cubicBezTo>
                  <a:cubicBezTo>
                    <a:pt x="240000" y="124926"/>
                    <a:pt x="229926" y="135000"/>
                    <a:pt x="217500" y="135000"/>
                  </a:cubicBezTo>
                  <a:lnTo>
                    <a:pt x="22500" y="135000"/>
                  </a:lnTo>
                  <a:cubicBezTo>
                    <a:pt x="10074" y="135000"/>
                    <a:pt x="0" y="124926"/>
                    <a:pt x="0" y="112500"/>
                  </a:cubicBezTo>
                  <a:cubicBezTo>
                    <a:pt x="0" y="100074"/>
                    <a:pt x="10074" y="90000"/>
                    <a:pt x="22500" y="9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3" name="Полилиния 682">
              <a:extLst>
                <a:ext uri="{FF2B5EF4-FFF2-40B4-BE49-F238E27FC236}">
                  <a16:creationId xmlns:a16="http://schemas.microsoft.com/office/drawing/2014/main" id="{D2D2588C-6AD2-C846-80D7-D7DB7D724B15}"/>
                </a:ext>
              </a:extLst>
            </p:cNvPr>
            <p:cNvSpPr/>
            <p:nvPr/>
          </p:nvSpPr>
          <p:spPr>
            <a:xfrm>
              <a:off x="7551521" y="4157590"/>
              <a:ext cx="58120" cy="90460"/>
            </a:xfrm>
            <a:custGeom>
              <a:avLst/>
              <a:gdLst>
                <a:gd name="connsiteX0" fmla="*/ 12430 w 58120"/>
                <a:gd name="connsiteY0" fmla="*/ 88613 h 90460"/>
                <a:gd name="connsiteX1" fmla="*/ 55550 w 58120"/>
                <a:gd name="connsiteY1" fmla="*/ 51001 h 90460"/>
                <a:gd name="connsiteX2" fmla="*/ 56272 w 58120"/>
                <a:gd name="connsiteY2" fmla="*/ 40419 h 90460"/>
                <a:gd name="connsiteX3" fmla="*/ 55568 w 58120"/>
                <a:gd name="connsiteY3" fmla="*/ 39712 h 90460"/>
                <a:gd name="connsiteX4" fmla="*/ 12448 w 58120"/>
                <a:gd name="connsiteY4" fmla="*/ 1863 h 90460"/>
                <a:gd name="connsiteX5" fmla="*/ 1863 w 58120"/>
                <a:gd name="connsiteY5" fmla="*/ 2553 h 90460"/>
                <a:gd name="connsiteX6" fmla="*/ 0 w 58120"/>
                <a:gd name="connsiteY6" fmla="*/ 7500 h 90460"/>
                <a:gd name="connsiteX7" fmla="*/ 0 w 58120"/>
                <a:gd name="connsiteY7" fmla="*/ 82961 h 90460"/>
                <a:gd name="connsiteX8" fmla="*/ 7500 w 58120"/>
                <a:gd name="connsiteY8" fmla="*/ 90461 h 90460"/>
                <a:gd name="connsiteX9" fmla="*/ 12430 w 58120"/>
                <a:gd name="connsiteY9" fmla="*/ 88613 h 9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120" h="90460">
                  <a:moveTo>
                    <a:pt x="12430" y="88613"/>
                  </a:moveTo>
                  <a:lnTo>
                    <a:pt x="55550" y="51001"/>
                  </a:lnTo>
                  <a:cubicBezTo>
                    <a:pt x="58672" y="48278"/>
                    <a:pt x="58995" y="43541"/>
                    <a:pt x="56272" y="40419"/>
                  </a:cubicBezTo>
                  <a:cubicBezTo>
                    <a:pt x="56053" y="40168"/>
                    <a:pt x="55818" y="39932"/>
                    <a:pt x="55568" y="39712"/>
                  </a:cubicBezTo>
                  <a:lnTo>
                    <a:pt x="12448" y="1863"/>
                  </a:lnTo>
                  <a:cubicBezTo>
                    <a:pt x="9335" y="-869"/>
                    <a:pt x="4596" y="-561"/>
                    <a:pt x="1863" y="2553"/>
                  </a:cubicBezTo>
                  <a:cubicBezTo>
                    <a:pt x="662" y="3921"/>
                    <a:pt x="0" y="5679"/>
                    <a:pt x="0" y="7500"/>
                  </a:cubicBezTo>
                  <a:lnTo>
                    <a:pt x="0" y="82961"/>
                  </a:lnTo>
                  <a:cubicBezTo>
                    <a:pt x="0" y="87103"/>
                    <a:pt x="3358" y="90461"/>
                    <a:pt x="7500" y="90461"/>
                  </a:cubicBezTo>
                  <a:cubicBezTo>
                    <a:pt x="9313" y="90461"/>
                    <a:pt x="11064" y="89804"/>
                    <a:pt x="12430" y="8861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84" name="Рисунок 157">
            <a:extLst>
              <a:ext uri="{FF2B5EF4-FFF2-40B4-BE49-F238E27FC236}">
                <a16:creationId xmlns:a16="http://schemas.microsoft.com/office/drawing/2014/main" id="{318BDE6D-6D24-0C42-AEB1-17CF72023BB1}"/>
              </a:ext>
            </a:extLst>
          </p:cNvPr>
          <p:cNvGrpSpPr/>
          <p:nvPr/>
        </p:nvGrpSpPr>
        <p:grpSpPr>
          <a:xfrm>
            <a:off x="9723467" y="3786135"/>
            <a:ext cx="360000" cy="360000"/>
            <a:chOff x="9756920" y="4105091"/>
            <a:chExt cx="360000" cy="360000"/>
          </a:xfrm>
        </p:grpSpPr>
        <p:sp>
          <p:nvSpPr>
            <p:cNvPr id="685" name="Полилиния 684">
              <a:extLst>
                <a:ext uri="{FF2B5EF4-FFF2-40B4-BE49-F238E27FC236}">
                  <a16:creationId xmlns:a16="http://schemas.microsoft.com/office/drawing/2014/main" id="{86FEDD95-0017-514D-A84A-C100D9BF5EC4}"/>
                </a:ext>
              </a:extLst>
            </p:cNvPr>
            <p:cNvSpPr/>
            <p:nvPr/>
          </p:nvSpPr>
          <p:spPr>
            <a:xfrm>
              <a:off x="9756920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6" name="Полилиния 685">
              <a:extLst>
                <a:ext uri="{FF2B5EF4-FFF2-40B4-BE49-F238E27FC236}">
                  <a16:creationId xmlns:a16="http://schemas.microsoft.com/office/drawing/2014/main" id="{DAE1F67D-22E0-9542-91B3-21125BAF76A3}"/>
                </a:ext>
              </a:extLst>
            </p:cNvPr>
            <p:cNvSpPr/>
            <p:nvPr/>
          </p:nvSpPr>
          <p:spPr>
            <a:xfrm>
              <a:off x="9786920" y="4135091"/>
              <a:ext cx="300000" cy="300000"/>
            </a:xfrm>
            <a:custGeom>
              <a:avLst/>
              <a:gdLst>
                <a:gd name="connsiteX0" fmla="*/ 300000 w 300000"/>
                <a:gd name="connsiteY0" fmla="*/ 150000 h 300000"/>
                <a:gd name="connsiteX1" fmla="*/ 150000 w 300000"/>
                <a:gd name="connsiteY1" fmla="*/ 300000 h 300000"/>
                <a:gd name="connsiteX2" fmla="*/ 0 w 300000"/>
                <a:gd name="connsiteY2" fmla="*/ 150000 h 300000"/>
                <a:gd name="connsiteX3" fmla="*/ 150000 w 300000"/>
                <a:gd name="connsiteY3" fmla="*/ 0 h 300000"/>
                <a:gd name="connsiteX4" fmla="*/ 300000 w 300000"/>
                <a:gd name="connsiteY4" fmla="*/ 15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0" h="300000">
                  <a:moveTo>
                    <a:pt x="300000" y="150000"/>
                  </a:moveTo>
                  <a:cubicBezTo>
                    <a:pt x="300000" y="232843"/>
                    <a:pt x="232843" y="300000"/>
                    <a:pt x="150000" y="300000"/>
                  </a:cubicBezTo>
                  <a:cubicBezTo>
                    <a:pt x="67157" y="300000"/>
                    <a:pt x="0" y="232843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3" y="0"/>
                    <a:pt x="300000" y="67157"/>
                    <a:pt x="300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7" name="Полилиния 686">
              <a:extLst>
                <a:ext uri="{FF2B5EF4-FFF2-40B4-BE49-F238E27FC236}">
                  <a16:creationId xmlns:a16="http://schemas.microsoft.com/office/drawing/2014/main" id="{995EF393-DDC5-E946-8189-325933FC3F89}"/>
                </a:ext>
              </a:extLst>
            </p:cNvPr>
            <p:cNvSpPr/>
            <p:nvPr/>
          </p:nvSpPr>
          <p:spPr>
            <a:xfrm>
              <a:off x="9846920" y="4195091"/>
              <a:ext cx="180000" cy="180000"/>
            </a:xfrm>
            <a:custGeom>
              <a:avLst/>
              <a:gdLst>
                <a:gd name="connsiteX0" fmla="*/ 75000 w 180000"/>
                <a:gd name="connsiteY0" fmla="*/ 75000 h 180000"/>
                <a:gd name="connsiteX1" fmla="*/ 75000 w 180000"/>
                <a:gd name="connsiteY1" fmla="*/ 15000 h 180000"/>
                <a:gd name="connsiteX2" fmla="*/ 90000 w 180000"/>
                <a:gd name="connsiteY2" fmla="*/ 0 h 180000"/>
                <a:gd name="connsiteX3" fmla="*/ 105000 w 180000"/>
                <a:gd name="connsiteY3" fmla="*/ 15000 h 180000"/>
                <a:gd name="connsiteX4" fmla="*/ 105000 w 180000"/>
                <a:gd name="connsiteY4" fmla="*/ 75000 h 180000"/>
                <a:gd name="connsiteX5" fmla="*/ 165000 w 180000"/>
                <a:gd name="connsiteY5" fmla="*/ 75000 h 180000"/>
                <a:gd name="connsiteX6" fmla="*/ 180000 w 180000"/>
                <a:gd name="connsiteY6" fmla="*/ 90000 h 180000"/>
                <a:gd name="connsiteX7" fmla="*/ 165000 w 180000"/>
                <a:gd name="connsiteY7" fmla="*/ 105000 h 180000"/>
                <a:gd name="connsiteX8" fmla="*/ 105000 w 180000"/>
                <a:gd name="connsiteY8" fmla="*/ 105000 h 180000"/>
                <a:gd name="connsiteX9" fmla="*/ 105000 w 180000"/>
                <a:gd name="connsiteY9" fmla="*/ 165000 h 180000"/>
                <a:gd name="connsiteX10" fmla="*/ 90000 w 180000"/>
                <a:gd name="connsiteY10" fmla="*/ 180000 h 180000"/>
                <a:gd name="connsiteX11" fmla="*/ 75000 w 180000"/>
                <a:gd name="connsiteY11" fmla="*/ 165000 h 180000"/>
                <a:gd name="connsiteX12" fmla="*/ 75000 w 180000"/>
                <a:gd name="connsiteY12" fmla="*/ 105000 h 180000"/>
                <a:gd name="connsiteX13" fmla="*/ 15000 w 180000"/>
                <a:gd name="connsiteY13" fmla="*/ 105000 h 180000"/>
                <a:gd name="connsiteX14" fmla="*/ 0 w 180000"/>
                <a:gd name="connsiteY14" fmla="*/ 90000 h 180000"/>
                <a:gd name="connsiteX15" fmla="*/ 15000 w 180000"/>
                <a:gd name="connsiteY15" fmla="*/ 75000 h 180000"/>
                <a:gd name="connsiteX16" fmla="*/ 75000 w 180000"/>
                <a:gd name="connsiteY16" fmla="*/ 75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0000" h="180000">
                  <a:moveTo>
                    <a:pt x="75000" y="75000"/>
                  </a:moveTo>
                  <a:lnTo>
                    <a:pt x="75000" y="15000"/>
                  </a:lnTo>
                  <a:cubicBezTo>
                    <a:pt x="75000" y="6716"/>
                    <a:pt x="81715" y="0"/>
                    <a:pt x="90000" y="0"/>
                  </a:cubicBezTo>
                  <a:cubicBezTo>
                    <a:pt x="98285" y="0"/>
                    <a:pt x="105000" y="6716"/>
                    <a:pt x="105000" y="15000"/>
                  </a:cubicBezTo>
                  <a:lnTo>
                    <a:pt x="105000" y="75000"/>
                  </a:lnTo>
                  <a:lnTo>
                    <a:pt x="165000" y="75000"/>
                  </a:lnTo>
                  <a:cubicBezTo>
                    <a:pt x="173285" y="75000"/>
                    <a:pt x="180000" y="81715"/>
                    <a:pt x="180000" y="90000"/>
                  </a:cubicBezTo>
                  <a:cubicBezTo>
                    <a:pt x="180000" y="98285"/>
                    <a:pt x="173285" y="105000"/>
                    <a:pt x="165000" y="105000"/>
                  </a:cubicBezTo>
                  <a:lnTo>
                    <a:pt x="105000" y="105000"/>
                  </a:lnTo>
                  <a:lnTo>
                    <a:pt x="105000" y="165000"/>
                  </a:lnTo>
                  <a:cubicBezTo>
                    <a:pt x="105000" y="173285"/>
                    <a:pt x="98285" y="180000"/>
                    <a:pt x="90000" y="180000"/>
                  </a:cubicBezTo>
                  <a:cubicBezTo>
                    <a:pt x="81715" y="180000"/>
                    <a:pt x="75000" y="173285"/>
                    <a:pt x="75000" y="165000"/>
                  </a:cubicBezTo>
                  <a:lnTo>
                    <a:pt x="75000" y="105000"/>
                  </a:lnTo>
                  <a:lnTo>
                    <a:pt x="15000" y="105000"/>
                  </a:lnTo>
                  <a:cubicBezTo>
                    <a:pt x="6716" y="105000"/>
                    <a:pt x="0" y="98285"/>
                    <a:pt x="0" y="90000"/>
                  </a:cubicBezTo>
                  <a:cubicBezTo>
                    <a:pt x="0" y="81715"/>
                    <a:pt x="6716" y="75000"/>
                    <a:pt x="15000" y="75000"/>
                  </a:cubicBezTo>
                  <a:lnTo>
                    <a:pt x="75000" y="7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88" name="Рисунок 158">
            <a:extLst>
              <a:ext uri="{FF2B5EF4-FFF2-40B4-BE49-F238E27FC236}">
                <a16:creationId xmlns:a16="http://schemas.microsoft.com/office/drawing/2014/main" id="{F3FA6A15-2189-AD48-82F1-B0A14C0CD295}"/>
              </a:ext>
            </a:extLst>
          </p:cNvPr>
          <p:cNvGrpSpPr/>
          <p:nvPr/>
        </p:nvGrpSpPr>
        <p:grpSpPr>
          <a:xfrm>
            <a:off x="10478600" y="3786135"/>
            <a:ext cx="360000" cy="360000"/>
            <a:chOff x="10512053" y="4105091"/>
            <a:chExt cx="360000" cy="360000"/>
          </a:xfrm>
        </p:grpSpPr>
        <p:sp>
          <p:nvSpPr>
            <p:cNvPr id="689" name="Полилиния 688">
              <a:extLst>
                <a:ext uri="{FF2B5EF4-FFF2-40B4-BE49-F238E27FC236}">
                  <a16:creationId xmlns:a16="http://schemas.microsoft.com/office/drawing/2014/main" id="{5634D70C-550B-DD4E-A1C0-892DE45C4D05}"/>
                </a:ext>
              </a:extLst>
            </p:cNvPr>
            <p:cNvSpPr/>
            <p:nvPr/>
          </p:nvSpPr>
          <p:spPr>
            <a:xfrm>
              <a:off x="10512053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0" name="Полилиния 689">
              <a:extLst>
                <a:ext uri="{FF2B5EF4-FFF2-40B4-BE49-F238E27FC236}">
                  <a16:creationId xmlns:a16="http://schemas.microsoft.com/office/drawing/2014/main" id="{28B46475-889E-B343-BCA5-4E3613FDAC24}"/>
                </a:ext>
              </a:extLst>
            </p:cNvPr>
            <p:cNvSpPr/>
            <p:nvPr/>
          </p:nvSpPr>
          <p:spPr>
            <a:xfrm>
              <a:off x="10575822" y="4179081"/>
              <a:ext cx="232468" cy="226009"/>
            </a:xfrm>
            <a:custGeom>
              <a:avLst/>
              <a:gdLst>
                <a:gd name="connsiteX0" fmla="*/ 57448 w 232468"/>
                <a:gd name="connsiteY0" fmla="*/ 226009 h 226009"/>
                <a:gd name="connsiteX1" fmla="*/ 175014 w 232468"/>
                <a:gd name="connsiteY1" fmla="*/ 226009 h 226009"/>
                <a:gd name="connsiteX2" fmla="*/ 196360 w 232468"/>
                <a:gd name="connsiteY2" fmla="*/ 210624 h 226009"/>
                <a:gd name="connsiteX3" fmla="*/ 231313 w 232468"/>
                <a:gd name="connsiteY3" fmla="*/ 105763 h 226009"/>
                <a:gd name="connsiteX4" fmla="*/ 224168 w 232468"/>
                <a:gd name="connsiteY4" fmla="*/ 81195 h 226009"/>
                <a:gd name="connsiteX5" fmla="*/ 130574 w 232468"/>
                <a:gd name="connsiteY5" fmla="*/ 5047 h 226009"/>
                <a:gd name="connsiteX6" fmla="*/ 102197 w 232468"/>
                <a:gd name="connsiteY6" fmla="*/ 5028 h 226009"/>
                <a:gd name="connsiteX7" fmla="*/ 8324 w 232468"/>
                <a:gd name="connsiteY7" fmla="*/ 81196 h 226009"/>
                <a:gd name="connsiteX8" fmla="*/ 1156 w 232468"/>
                <a:gd name="connsiteY8" fmla="*/ 105784 h 226009"/>
                <a:gd name="connsiteX9" fmla="*/ 36103 w 232468"/>
                <a:gd name="connsiteY9" fmla="*/ 210624 h 226009"/>
                <a:gd name="connsiteX10" fmla="*/ 57448 w 232468"/>
                <a:gd name="connsiteY10" fmla="*/ 226009 h 22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2468" h="226009">
                  <a:moveTo>
                    <a:pt x="57448" y="226009"/>
                  </a:moveTo>
                  <a:lnTo>
                    <a:pt x="175014" y="226009"/>
                  </a:lnTo>
                  <a:cubicBezTo>
                    <a:pt x="184699" y="226009"/>
                    <a:pt x="193296" y="219813"/>
                    <a:pt x="196360" y="210624"/>
                  </a:cubicBezTo>
                  <a:lnTo>
                    <a:pt x="231313" y="105763"/>
                  </a:lnTo>
                  <a:cubicBezTo>
                    <a:pt x="234272" y="96885"/>
                    <a:pt x="231427" y="87100"/>
                    <a:pt x="224168" y="81195"/>
                  </a:cubicBezTo>
                  <a:lnTo>
                    <a:pt x="130574" y="5047"/>
                  </a:lnTo>
                  <a:cubicBezTo>
                    <a:pt x="122312" y="-1675"/>
                    <a:pt x="110468" y="-1683"/>
                    <a:pt x="102197" y="5028"/>
                  </a:cubicBezTo>
                  <a:lnTo>
                    <a:pt x="8324" y="81196"/>
                  </a:lnTo>
                  <a:cubicBezTo>
                    <a:pt x="1049" y="87100"/>
                    <a:pt x="-1807" y="96895"/>
                    <a:pt x="1156" y="105784"/>
                  </a:cubicBezTo>
                  <a:lnTo>
                    <a:pt x="36103" y="210624"/>
                  </a:lnTo>
                  <a:cubicBezTo>
                    <a:pt x="39165" y="219813"/>
                    <a:pt x="47763" y="226009"/>
                    <a:pt x="57448" y="22600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91" name="Рисунок 159">
            <a:extLst>
              <a:ext uri="{FF2B5EF4-FFF2-40B4-BE49-F238E27FC236}">
                <a16:creationId xmlns:a16="http://schemas.microsoft.com/office/drawing/2014/main" id="{89053307-A431-574E-B52E-6DEC14D27869}"/>
              </a:ext>
            </a:extLst>
          </p:cNvPr>
          <p:cNvGrpSpPr/>
          <p:nvPr/>
        </p:nvGrpSpPr>
        <p:grpSpPr>
          <a:xfrm>
            <a:off x="8968334" y="3786135"/>
            <a:ext cx="360000" cy="360000"/>
            <a:chOff x="9001787" y="4105091"/>
            <a:chExt cx="360000" cy="360000"/>
          </a:xfrm>
        </p:grpSpPr>
        <p:sp>
          <p:nvSpPr>
            <p:cNvPr id="692" name="Полилиния 691">
              <a:extLst>
                <a:ext uri="{FF2B5EF4-FFF2-40B4-BE49-F238E27FC236}">
                  <a16:creationId xmlns:a16="http://schemas.microsoft.com/office/drawing/2014/main" id="{1B5A24E4-341B-2F4C-979C-1A72A6B43D8C}"/>
                </a:ext>
              </a:extLst>
            </p:cNvPr>
            <p:cNvSpPr/>
            <p:nvPr/>
          </p:nvSpPr>
          <p:spPr>
            <a:xfrm>
              <a:off x="9001787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3" name="Полилиния 692">
              <a:extLst>
                <a:ext uri="{FF2B5EF4-FFF2-40B4-BE49-F238E27FC236}">
                  <a16:creationId xmlns:a16="http://schemas.microsoft.com/office/drawing/2014/main" id="{3687214D-55A8-AB48-AF2F-B7AA004CE140}"/>
                </a:ext>
              </a:extLst>
            </p:cNvPr>
            <p:cNvSpPr/>
            <p:nvPr/>
          </p:nvSpPr>
          <p:spPr>
            <a:xfrm>
              <a:off x="9061787" y="4165091"/>
              <a:ext cx="240000" cy="240000"/>
            </a:xfrm>
            <a:custGeom>
              <a:avLst/>
              <a:gdLst>
                <a:gd name="connsiteX0" fmla="*/ 30000 w 240000"/>
                <a:gd name="connsiteY0" fmla="*/ 210000 h 240000"/>
                <a:gd name="connsiteX1" fmla="*/ 75000 w 240000"/>
                <a:gd name="connsiteY1" fmla="*/ 210000 h 240000"/>
                <a:gd name="connsiteX2" fmla="*/ 90000 w 240000"/>
                <a:gd name="connsiteY2" fmla="*/ 225000 h 240000"/>
                <a:gd name="connsiteX3" fmla="*/ 75000 w 240000"/>
                <a:gd name="connsiteY3" fmla="*/ 240000 h 240000"/>
                <a:gd name="connsiteX4" fmla="*/ 0 w 240000"/>
                <a:gd name="connsiteY4" fmla="*/ 240000 h 240000"/>
                <a:gd name="connsiteX5" fmla="*/ 0 w 240000"/>
                <a:gd name="connsiteY5" fmla="*/ 165000 h 240000"/>
                <a:gd name="connsiteX6" fmla="*/ 15000 w 240000"/>
                <a:gd name="connsiteY6" fmla="*/ 150000 h 240000"/>
                <a:gd name="connsiteX7" fmla="*/ 30000 w 240000"/>
                <a:gd name="connsiteY7" fmla="*/ 165000 h 240000"/>
                <a:gd name="connsiteX8" fmla="*/ 30000 w 240000"/>
                <a:gd name="connsiteY8" fmla="*/ 210000 h 240000"/>
                <a:gd name="connsiteX9" fmla="*/ 210000 w 240000"/>
                <a:gd name="connsiteY9" fmla="*/ 210000 h 240000"/>
                <a:gd name="connsiteX10" fmla="*/ 210000 w 240000"/>
                <a:gd name="connsiteY10" fmla="*/ 165000 h 240000"/>
                <a:gd name="connsiteX11" fmla="*/ 225000 w 240000"/>
                <a:gd name="connsiteY11" fmla="*/ 150000 h 240000"/>
                <a:gd name="connsiteX12" fmla="*/ 240000 w 240000"/>
                <a:gd name="connsiteY12" fmla="*/ 165000 h 240000"/>
                <a:gd name="connsiteX13" fmla="*/ 240000 w 240000"/>
                <a:gd name="connsiteY13" fmla="*/ 240000 h 240000"/>
                <a:gd name="connsiteX14" fmla="*/ 165000 w 240000"/>
                <a:gd name="connsiteY14" fmla="*/ 240000 h 240000"/>
                <a:gd name="connsiteX15" fmla="*/ 150000 w 240000"/>
                <a:gd name="connsiteY15" fmla="*/ 225000 h 240000"/>
                <a:gd name="connsiteX16" fmla="*/ 165000 w 240000"/>
                <a:gd name="connsiteY16" fmla="*/ 210000 h 240000"/>
                <a:gd name="connsiteX17" fmla="*/ 210000 w 240000"/>
                <a:gd name="connsiteY17" fmla="*/ 210000 h 240000"/>
                <a:gd name="connsiteX18" fmla="*/ 210000 w 240000"/>
                <a:gd name="connsiteY18" fmla="*/ 30000 h 240000"/>
                <a:gd name="connsiteX19" fmla="*/ 165000 w 240000"/>
                <a:gd name="connsiteY19" fmla="*/ 30000 h 240000"/>
                <a:gd name="connsiteX20" fmla="*/ 150000 w 240000"/>
                <a:gd name="connsiteY20" fmla="*/ 15000 h 240000"/>
                <a:gd name="connsiteX21" fmla="*/ 165000 w 240000"/>
                <a:gd name="connsiteY21" fmla="*/ 0 h 240000"/>
                <a:gd name="connsiteX22" fmla="*/ 240000 w 240000"/>
                <a:gd name="connsiteY22" fmla="*/ 0 h 240000"/>
                <a:gd name="connsiteX23" fmla="*/ 240000 w 240000"/>
                <a:gd name="connsiteY23" fmla="*/ 75000 h 240000"/>
                <a:gd name="connsiteX24" fmla="*/ 225000 w 240000"/>
                <a:gd name="connsiteY24" fmla="*/ 90000 h 240000"/>
                <a:gd name="connsiteX25" fmla="*/ 210000 w 240000"/>
                <a:gd name="connsiteY25" fmla="*/ 75000 h 240000"/>
                <a:gd name="connsiteX26" fmla="*/ 210000 w 240000"/>
                <a:gd name="connsiteY26" fmla="*/ 30000 h 240000"/>
                <a:gd name="connsiteX27" fmla="*/ 30000 w 240000"/>
                <a:gd name="connsiteY27" fmla="*/ 30000 h 240000"/>
                <a:gd name="connsiteX28" fmla="*/ 30000 w 240000"/>
                <a:gd name="connsiteY28" fmla="*/ 75000 h 240000"/>
                <a:gd name="connsiteX29" fmla="*/ 15000 w 240000"/>
                <a:gd name="connsiteY29" fmla="*/ 90000 h 240000"/>
                <a:gd name="connsiteX30" fmla="*/ 0 w 240000"/>
                <a:gd name="connsiteY30" fmla="*/ 75000 h 240000"/>
                <a:gd name="connsiteX31" fmla="*/ 0 w 240000"/>
                <a:gd name="connsiteY31" fmla="*/ 0 h 240000"/>
                <a:gd name="connsiteX32" fmla="*/ 75000 w 240000"/>
                <a:gd name="connsiteY32" fmla="*/ 0 h 240000"/>
                <a:gd name="connsiteX33" fmla="*/ 90000 w 240000"/>
                <a:gd name="connsiteY33" fmla="*/ 15000 h 240000"/>
                <a:gd name="connsiteX34" fmla="*/ 75000 w 240000"/>
                <a:gd name="connsiteY34" fmla="*/ 30000 h 240000"/>
                <a:gd name="connsiteX35" fmla="*/ 30000 w 240000"/>
                <a:gd name="connsiteY35" fmla="*/ 3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40000" h="240000">
                  <a:moveTo>
                    <a:pt x="30000" y="210000"/>
                  </a:moveTo>
                  <a:lnTo>
                    <a:pt x="75000" y="210000"/>
                  </a:lnTo>
                  <a:cubicBezTo>
                    <a:pt x="85000" y="211716"/>
                    <a:pt x="90000" y="216716"/>
                    <a:pt x="90000" y="225000"/>
                  </a:cubicBezTo>
                  <a:cubicBezTo>
                    <a:pt x="90000" y="233285"/>
                    <a:pt x="85000" y="238284"/>
                    <a:pt x="75000" y="240000"/>
                  </a:cubicBezTo>
                  <a:lnTo>
                    <a:pt x="0" y="240000"/>
                  </a:lnTo>
                  <a:lnTo>
                    <a:pt x="0" y="165000"/>
                  </a:lnTo>
                  <a:cubicBezTo>
                    <a:pt x="0" y="155000"/>
                    <a:pt x="5000" y="150000"/>
                    <a:pt x="15000" y="150000"/>
                  </a:cubicBezTo>
                  <a:cubicBezTo>
                    <a:pt x="25000" y="150000"/>
                    <a:pt x="30000" y="155000"/>
                    <a:pt x="30000" y="165000"/>
                  </a:cubicBezTo>
                  <a:lnTo>
                    <a:pt x="30000" y="210000"/>
                  </a:lnTo>
                  <a:close/>
                  <a:moveTo>
                    <a:pt x="210000" y="210000"/>
                  </a:moveTo>
                  <a:lnTo>
                    <a:pt x="210000" y="165000"/>
                  </a:lnTo>
                  <a:cubicBezTo>
                    <a:pt x="211716" y="155000"/>
                    <a:pt x="216716" y="150000"/>
                    <a:pt x="225000" y="150000"/>
                  </a:cubicBezTo>
                  <a:cubicBezTo>
                    <a:pt x="233285" y="150000"/>
                    <a:pt x="238284" y="155000"/>
                    <a:pt x="240000" y="165000"/>
                  </a:cubicBezTo>
                  <a:lnTo>
                    <a:pt x="240000" y="240000"/>
                  </a:lnTo>
                  <a:lnTo>
                    <a:pt x="165000" y="240000"/>
                  </a:lnTo>
                  <a:cubicBezTo>
                    <a:pt x="155000" y="240000"/>
                    <a:pt x="150000" y="235001"/>
                    <a:pt x="150000" y="225000"/>
                  </a:cubicBezTo>
                  <a:cubicBezTo>
                    <a:pt x="150000" y="215000"/>
                    <a:pt x="155000" y="210000"/>
                    <a:pt x="165000" y="210000"/>
                  </a:cubicBezTo>
                  <a:lnTo>
                    <a:pt x="210000" y="210000"/>
                  </a:lnTo>
                  <a:close/>
                  <a:moveTo>
                    <a:pt x="210000" y="30000"/>
                  </a:moveTo>
                  <a:lnTo>
                    <a:pt x="165000" y="30000"/>
                  </a:lnTo>
                  <a:cubicBezTo>
                    <a:pt x="155000" y="28284"/>
                    <a:pt x="150000" y="23284"/>
                    <a:pt x="150000" y="15000"/>
                  </a:cubicBezTo>
                  <a:cubicBezTo>
                    <a:pt x="150000" y="6716"/>
                    <a:pt x="155000" y="1716"/>
                    <a:pt x="165000" y="0"/>
                  </a:cubicBezTo>
                  <a:lnTo>
                    <a:pt x="240000" y="0"/>
                  </a:lnTo>
                  <a:lnTo>
                    <a:pt x="240000" y="75000"/>
                  </a:lnTo>
                  <a:cubicBezTo>
                    <a:pt x="240000" y="85000"/>
                    <a:pt x="235001" y="90000"/>
                    <a:pt x="225000" y="90000"/>
                  </a:cubicBezTo>
                  <a:cubicBezTo>
                    <a:pt x="215000" y="90000"/>
                    <a:pt x="210000" y="85000"/>
                    <a:pt x="210000" y="75000"/>
                  </a:cubicBezTo>
                  <a:lnTo>
                    <a:pt x="210000" y="30000"/>
                  </a:lnTo>
                  <a:close/>
                  <a:moveTo>
                    <a:pt x="30000" y="30000"/>
                  </a:moveTo>
                  <a:lnTo>
                    <a:pt x="30000" y="75000"/>
                  </a:lnTo>
                  <a:cubicBezTo>
                    <a:pt x="28284" y="85000"/>
                    <a:pt x="23284" y="90000"/>
                    <a:pt x="15000" y="90000"/>
                  </a:cubicBezTo>
                  <a:cubicBezTo>
                    <a:pt x="6716" y="90000"/>
                    <a:pt x="1716" y="85000"/>
                    <a:pt x="0" y="75000"/>
                  </a:cubicBezTo>
                  <a:lnTo>
                    <a:pt x="0" y="0"/>
                  </a:lnTo>
                  <a:lnTo>
                    <a:pt x="75000" y="0"/>
                  </a:lnTo>
                  <a:cubicBezTo>
                    <a:pt x="85000" y="0"/>
                    <a:pt x="90000" y="5000"/>
                    <a:pt x="90000" y="15000"/>
                  </a:cubicBezTo>
                  <a:cubicBezTo>
                    <a:pt x="90000" y="25000"/>
                    <a:pt x="85000" y="30000"/>
                    <a:pt x="75000" y="30000"/>
                  </a:cubicBezTo>
                  <a:lnTo>
                    <a:pt x="30000" y="3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94" name="Рисунок 160">
            <a:extLst>
              <a:ext uri="{FF2B5EF4-FFF2-40B4-BE49-F238E27FC236}">
                <a16:creationId xmlns:a16="http://schemas.microsoft.com/office/drawing/2014/main" id="{5415B452-20B2-224C-8B33-9914239C56A0}"/>
              </a:ext>
            </a:extLst>
          </p:cNvPr>
          <p:cNvGrpSpPr/>
          <p:nvPr/>
        </p:nvGrpSpPr>
        <p:grpSpPr>
          <a:xfrm>
            <a:off x="5192669" y="3786135"/>
            <a:ext cx="360000" cy="360000"/>
            <a:chOff x="5226122" y="4105091"/>
            <a:chExt cx="360000" cy="360000"/>
          </a:xfrm>
        </p:grpSpPr>
        <p:sp>
          <p:nvSpPr>
            <p:cNvPr id="695" name="Полилиния 694">
              <a:extLst>
                <a:ext uri="{FF2B5EF4-FFF2-40B4-BE49-F238E27FC236}">
                  <a16:creationId xmlns:a16="http://schemas.microsoft.com/office/drawing/2014/main" id="{BCBAC900-417C-2146-A4EC-70CADD0E1575}"/>
                </a:ext>
              </a:extLst>
            </p:cNvPr>
            <p:cNvSpPr/>
            <p:nvPr/>
          </p:nvSpPr>
          <p:spPr>
            <a:xfrm>
              <a:off x="5226122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6" name="Полилиния 695">
              <a:extLst>
                <a:ext uri="{FF2B5EF4-FFF2-40B4-BE49-F238E27FC236}">
                  <a16:creationId xmlns:a16="http://schemas.microsoft.com/office/drawing/2014/main" id="{A2AFF913-2A24-0C48-9C17-05040C32EA02}"/>
                </a:ext>
              </a:extLst>
            </p:cNvPr>
            <p:cNvSpPr/>
            <p:nvPr/>
          </p:nvSpPr>
          <p:spPr>
            <a:xfrm>
              <a:off x="5313122" y="4135840"/>
              <a:ext cx="183665" cy="269250"/>
            </a:xfrm>
            <a:custGeom>
              <a:avLst/>
              <a:gdLst>
                <a:gd name="connsiteX0" fmla="*/ 30375 w 183665"/>
                <a:gd name="connsiteY0" fmla="*/ 122625 h 269250"/>
                <a:gd name="connsiteX1" fmla="*/ 15750 w 183665"/>
                <a:gd name="connsiteY1" fmla="*/ 79875 h 269250"/>
                <a:gd name="connsiteX2" fmla="*/ 98250 w 183665"/>
                <a:gd name="connsiteY2" fmla="*/ 0 h 269250"/>
                <a:gd name="connsiteX3" fmla="*/ 181125 w 183665"/>
                <a:gd name="connsiteY3" fmla="*/ 80625 h 269250"/>
                <a:gd name="connsiteX4" fmla="*/ 139125 w 183665"/>
                <a:gd name="connsiteY4" fmla="*/ 80625 h 269250"/>
                <a:gd name="connsiteX5" fmla="*/ 98250 w 183665"/>
                <a:gd name="connsiteY5" fmla="*/ 38250 h 269250"/>
                <a:gd name="connsiteX6" fmla="*/ 57000 w 183665"/>
                <a:gd name="connsiteY6" fmla="*/ 79875 h 269250"/>
                <a:gd name="connsiteX7" fmla="*/ 73015 w 183665"/>
                <a:gd name="connsiteY7" fmla="*/ 113009 h 269250"/>
                <a:gd name="connsiteX8" fmla="*/ 73500 w 183665"/>
                <a:gd name="connsiteY8" fmla="*/ 230625 h 269250"/>
                <a:gd name="connsiteX9" fmla="*/ 176166 w 183665"/>
                <a:gd name="connsiteY9" fmla="*/ 230625 h 269250"/>
                <a:gd name="connsiteX10" fmla="*/ 183666 w 183665"/>
                <a:gd name="connsiteY10" fmla="*/ 238125 h 269250"/>
                <a:gd name="connsiteX11" fmla="*/ 183158 w 183665"/>
                <a:gd name="connsiteY11" fmla="*/ 240840 h 269250"/>
                <a:gd name="connsiteX12" fmla="*/ 173983 w 183665"/>
                <a:gd name="connsiteY12" fmla="*/ 264465 h 269250"/>
                <a:gd name="connsiteX13" fmla="*/ 166992 w 183665"/>
                <a:gd name="connsiteY13" fmla="*/ 269250 h 269250"/>
                <a:gd name="connsiteX14" fmla="*/ 7500 w 183665"/>
                <a:gd name="connsiteY14" fmla="*/ 269250 h 269250"/>
                <a:gd name="connsiteX15" fmla="*/ 0 w 183665"/>
                <a:gd name="connsiteY15" fmla="*/ 261750 h 269250"/>
                <a:gd name="connsiteX16" fmla="*/ 0 w 183665"/>
                <a:gd name="connsiteY16" fmla="*/ 238125 h 269250"/>
                <a:gd name="connsiteX17" fmla="*/ 7500 w 183665"/>
                <a:gd name="connsiteY17" fmla="*/ 230625 h 269250"/>
                <a:gd name="connsiteX18" fmla="*/ 31875 w 183665"/>
                <a:gd name="connsiteY18" fmla="*/ 230625 h 269250"/>
                <a:gd name="connsiteX19" fmla="*/ 31875 w 183665"/>
                <a:gd name="connsiteY19" fmla="*/ 156375 h 269250"/>
                <a:gd name="connsiteX20" fmla="*/ 30375 w 183665"/>
                <a:gd name="connsiteY20" fmla="*/ 122625 h 26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3665" h="269250">
                  <a:moveTo>
                    <a:pt x="30375" y="122625"/>
                  </a:moveTo>
                  <a:cubicBezTo>
                    <a:pt x="21000" y="111375"/>
                    <a:pt x="15750" y="95250"/>
                    <a:pt x="15750" y="79875"/>
                  </a:cubicBezTo>
                  <a:cubicBezTo>
                    <a:pt x="15750" y="37500"/>
                    <a:pt x="50250" y="0"/>
                    <a:pt x="98250" y="0"/>
                  </a:cubicBezTo>
                  <a:cubicBezTo>
                    <a:pt x="144750" y="0"/>
                    <a:pt x="180000" y="36000"/>
                    <a:pt x="181125" y="80625"/>
                  </a:cubicBezTo>
                  <a:lnTo>
                    <a:pt x="139125" y="80625"/>
                  </a:lnTo>
                  <a:cubicBezTo>
                    <a:pt x="139125" y="57000"/>
                    <a:pt x="122625" y="38250"/>
                    <a:pt x="98250" y="38250"/>
                  </a:cubicBezTo>
                  <a:cubicBezTo>
                    <a:pt x="74250" y="38250"/>
                    <a:pt x="57000" y="55875"/>
                    <a:pt x="57000" y="79875"/>
                  </a:cubicBezTo>
                  <a:cubicBezTo>
                    <a:pt x="57000" y="93244"/>
                    <a:pt x="63245" y="105172"/>
                    <a:pt x="73015" y="113009"/>
                  </a:cubicBezTo>
                  <a:cubicBezTo>
                    <a:pt x="73697" y="113555"/>
                    <a:pt x="73857" y="152760"/>
                    <a:pt x="73500" y="230625"/>
                  </a:cubicBezTo>
                  <a:lnTo>
                    <a:pt x="176166" y="230625"/>
                  </a:lnTo>
                  <a:cubicBezTo>
                    <a:pt x="180309" y="230625"/>
                    <a:pt x="183666" y="233983"/>
                    <a:pt x="183666" y="238125"/>
                  </a:cubicBezTo>
                  <a:cubicBezTo>
                    <a:pt x="183666" y="239054"/>
                    <a:pt x="183494" y="239975"/>
                    <a:pt x="183158" y="240840"/>
                  </a:cubicBezTo>
                  <a:lnTo>
                    <a:pt x="173983" y="264465"/>
                  </a:lnTo>
                  <a:cubicBezTo>
                    <a:pt x="172863" y="267350"/>
                    <a:pt x="170086" y="269250"/>
                    <a:pt x="166992" y="269250"/>
                  </a:cubicBezTo>
                  <a:lnTo>
                    <a:pt x="7500" y="269250"/>
                  </a:lnTo>
                  <a:cubicBezTo>
                    <a:pt x="3358" y="269250"/>
                    <a:pt x="0" y="265892"/>
                    <a:pt x="0" y="261750"/>
                  </a:cubicBezTo>
                  <a:lnTo>
                    <a:pt x="0" y="238125"/>
                  </a:lnTo>
                  <a:cubicBezTo>
                    <a:pt x="0" y="233983"/>
                    <a:pt x="3358" y="230625"/>
                    <a:pt x="7500" y="230625"/>
                  </a:cubicBezTo>
                  <a:lnTo>
                    <a:pt x="31875" y="230625"/>
                  </a:lnTo>
                  <a:lnTo>
                    <a:pt x="31875" y="156375"/>
                  </a:lnTo>
                  <a:lnTo>
                    <a:pt x="30375" y="122625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7" name="Полилиния 696">
              <a:extLst>
                <a:ext uri="{FF2B5EF4-FFF2-40B4-BE49-F238E27FC236}">
                  <a16:creationId xmlns:a16="http://schemas.microsoft.com/office/drawing/2014/main" id="{7F785134-7899-FC4F-BA29-2DF48E0DCB69}"/>
                </a:ext>
              </a:extLst>
            </p:cNvPr>
            <p:cNvSpPr/>
            <p:nvPr/>
          </p:nvSpPr>
          <p:spPr>
            <a:xfrm>
              <a:off x="5290757" y="4255091"/>
              <a:ext cx="170729" cy="30000"/>
            </a:xfrm>
            <a:custGeom>
              <a:avLst/>
              <a:gdLst>
                <a:gd name="connsiteX0" fmla="*/ 792 w 170729"/>
                <a:gd name="connsiteY0" fmla="*/ 19146 h 30000"/>
                <a:gd name="connsiteX1" fmla="*/ 8292 w 170729"/>
                <a:gd name="connsiteY1" fmla="*/ 4146 h 30000"/>
                <a:gd name="connsiteX2" fmla="*/ 15000 w 170729"/>
                <a:gd name="connsiteY2" fmla="*/ 0 h 30000"/>
                <a:gd name="connsiteX3" fmla="*/ 163230 w 170729"/>
                <a:gd name="connsiteY3" fmla="*/ 0 h 30000"/>
                <a:gd name="connsiteX4" fmla="*/ 170730 w 170729"/>
                <a:gd name="connsiteY4" fmla="*/ 7500 h 30000"/>
                <a:gd name="connsiteX5" fmla="*/ 169938 w 170729"/>
                <a:gd name="connsiteY5" fmla="*/ 10854 h 30000"/>
                <a:gd name="connsiteX6" fmla="*/ 162438 w 170729"/>
                <a:gd name="connsiteY6" fmla="*/ 25854 h 30000"/>
                <a:gd name="connsiteX7" fmla="*/ 155730 w 170729"/>
                <a:gd name="connsiteY7" fmla="*/ 30000 h 30000"/>
                <a:gd name="connsiteX8" fmla="*/ 7500 w 170729"/>
                <a:gd name="connsiteY8" fmla="*/ 30000 h 30000"/>
                <a:gd name="connsiteX9" fmla="*/ 0 w 170729"/>
                <a:gd name="connsiteY9" fmla="*/ 22500 h 30000"/>
                <a:gd name="connsiteX10" fmla="*/ 792 w 170729"/>
                <a:gd name="connsiteY10" fmla="*/ 19146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0729" h="30000">
                  <a:moveTo>
                    <a:pt x="792" y="19146"/>
                  </a:moveTo>
                  <a:lnTo>
                    <a:pt x="8292" y="4146"/>
                  </a:lnTo>
                  <a:cubicBezTo>
                    <a:pt x="9562" y="1605"/>
                    <a:pt x="12159" y="0"/>
                    <a:pt x="15000" y="0"/>
                  </a:cubicBezTo>
                  <a:lnTo>
                    <a:pt x="163230" y="0"/>
                  </a:lnTo>
                  <a:cubicBezTo>
                    <a:pt x="167371" y="0"/>
                    <a:pt x="170730" y="3358"/>
                    <a:pt x="170730" y="7500"/>
                  </a:cubicBezTo>
                  <a:cubicBezTo>
                    <a:pt x="170730" y="8664"/>
                    <a:pt x="170458" y="9813"/>
                    <a:pt x="169938" y="10854"/>
                  </a:cubicBezTo>
                  <a:lnTo>
                    <a:pt x="162438" y="25854"/>
                  </a:lnTo>
                  <a:cubicBezTo>
                    <a:pt x="161167" y="28395"/>
                    <a:pt x="158571" y="30000"/>
                    <a:pt x="155730" y="30000"/>
                  </a:cubicBezTo>
                  <a:lnTo>
                    <a:pt x="7500" y="30000"/>
                  </a:lnTo>
                  <a:cubicBezTo>
                    <a:pt x="3358" y="30000"/>
                    <a:pt x="0" y="26642"/>
                    <a:pt x="0" y="22500"/>
                  </a:cubicBezTo>
                  <a:cubicBezTo>
                    <a:pt x="0" y="21336"/>
                    <a:pt x="271" y="20187"/>
                    <a:pt x="792" y="19146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98" name="Рисунок 161">
            <a:extLst>
              <a:ext uri="{FF2B5EF4-FFF2-40B4-BE49-F238E27FC236}">
                <a16:creationId xmlns:a16="http://schemas.microsoft.com/office/drawing/2014/main" id="{03C6C90A-1C67-3B4A-95B7-33C15A74C7B6}"/>
              </a:ext>
            </a:extLst>
          </p:cNvPr>
          <p:cNvGrpSpPr/>
          <p:nvPr/>
        </p:nvGrpSpPr>
        <p:grpSpPr>
          <a:xfrm>
            <a:off x="4437536" y="3786135"/>
            <a:ext cx="360000" cy="360000"/>
            <a:chOff x="4470989" y="4105091"/>
            <a:chExt cx="360000" cy="360000"/>
          </a:xfrm>
        </p:grpSpPr>
        <p:sp>
          <p:nvSpPr>
            <p:cNvPr id="699" name="Полилиния 698">
              <a:extLst>
                <a:ext uri="{FF2B5EF4-FFF2-40B4-BE49-F238E27FC236}">
                  <a16:creationId xmlns:a16="http://schemas.microsoft.com/office/drawing/2014/main" id="{C13AE88D-2534-064E-8F2F-14CB4D434A08}"/>
                </a:ext>
              </a:extLst>
            </p:cNvPr>
            <p:cNvSpPr/>
            <p:nvPr/>
          </p:nvSpPr>
          <p:spPr>
            <a:xfrm>
              <a:off x="4470989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0" name="Полилиния 699">
              <a:extLst>
                <a:ext uri="{FF2B5EF4-FFF2-40B4-BE49-F238E27FC236}">
                  <a16:creationId xmlns:a16="http://schemas.microsoft.com/office/drawing/2014/main" id="{FE6A7927-F7B6-9F4C-834D-36BC663C6C62}"/>
                </a:ext>
              </a:extLst>
            </p:cNvPr>
            <p:cNvSpPr/>
            <p:nvPr/>
          </p:nvSpPr>
          <p:spPr>
            <a:xfrm>
              <a:off x="4515988" y="4150462"/>
              <a:ext cx="271873" cy="269628"/>
            </a:xfrm>
            <a:custGeom>
              <a:avLst/>
              <a:gdLst>
                <a:gd name="connsiteX0" fmla="*/ 7841 w 271873"/>
                <a:gd name="connsiteY0" fmla="*/ 165059 h 269628"/>
                <a:gd name="connsiteX1" fmla="*/ 7841 w 271873"/>
                <a:gd name="connsiteY1" fmla="*/ 127041 h 269628"/>
                <a:gd name="connsiteX2" fmla="*/ 129192 w 271873"/>
                <a:gd name="connsiteY2" fmla="*/ 7736 h 269628"/>
                <a:gd name="connsiteX3" fmla="*/ 148095 w 271873"/>
                <a:gd name="connsiteY3" fmla="*/ 0 h 269628"/>
                <a:gd name="connsiteX4" fmla="*/ 244911 w 271873"/>
                <a:gd name="connsiteY4" fmla="*/ 0 h 269628"/>
                <a:gd name="connsiteX5" fmla="*/ 271874 w 271873"/>
                <a:gd name="connsiteY5" fmla="*/ 26963 h 269628"/>
                <a:gd name="connsiteX6" fmla="*/ 271874 w 271873"/>
                <a:gd name="connsiteY6" fmla="*/ 123503 h 269628"/>
                <a:gd name="connsiteX7" fmla="*/ 263804 w 271873"/>
                <a:gd name="connsiteY7" fmla="*/ 142740 h 269628"/>
                <a:gd name="connsiteX8" fmla="*/ 142655 w 271873"/>
                <a:gd name="connsiteY8" fmla="*/ 261720 h 269628"/>
                <a:gd name="connsiteX9" fmla="*/ 123579 w 271873"/>
                <a:gd name="connsiteY9" fmla="*/ 269628 h 269628"/>
                <a:gd name="connsiteX10" fmla="*/ 104502 w 271873"/>
                <a:gd name="connsiteY10" fmla="*/ 261720 h 269628"/>
                <a:gd name="connsiteX11" fmla="*/ 7841 w 271873"/>
                <a:gd name="connsiteY11" fmla="*/ 165059 h 269628"/>
                <a:gd name="connsiteX12" fmla="*/ 208961 w 271873"/>
                <a:gd name="connsiteY12" fmla="*/ 89876 h 269628"/>
                <a:gd name="connsiteX13" fmla="*/ 235923 w 271873"/>
                <a:gd name="connsiteY13" fmla="*/ 62913 h 269628"/>
                <a:gd name="connsiteX14" fmla="*/ 208961 w 271873"/>
                <a:gd name="connsiteY14" fmla="*/ 35951 h 269628"/>
                <a:gd name="connsiteX15" fmla="*/ 181998 w 271873"/>
                <a:gd name="connsiteY15" fmla="*/ 62913 h 269628"/>
                <a:gd name="connsiteX16" fmla="*/ 208961 w 271873"/>
                <a:gd name="connsiteY16" fmla="*/ 89876 h 269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1873" h="269628">
                  <a:moveTo>
                    <a:pt x="7841" y="165059"/>
                  </a:moveTo>
                  <a:cubicBezTo>
                    <a:pt x="-2614" y="154542"/>
                    <a:pt x="-2614" y="137558"/>
                    <a:pt x="7841" y="127041"/>
                  </a:cubicBezTo>
                  <a:lnTo>
                    <a:pt x="129192" y="7736"/>
                  </a:lnTo>
                  <a:cubicBezTo>
                    <a:pt x="134234" y="2778"/>
                    <a:pt x="141023" y="0"/>
                    <a:pt x="148095" y="0"/>
                  </a:cubicBezTo>
                  <a:lnTo>
                    <a:pt x="244911" y="0"/>
                  </a:lnTo>
                  <a:cubicBezTo>
                    <a:pt x="259803" y="0"/>
                    <a:pt x="271874" y="12072"/>
                    <a:pt x="271874" y="26963"/>
                  </a:cubicBezTo>
                  <a:lnTo>
                    <a:pt x="271874" y="123503"/>
                  </a:lnTo>
                  <a:cubicBezTo>
                    <a:pt x="271874" y="130739"/>
                    <a:pt x="268967" y="137670"/>
                    <a:pt x="263804" y="142740"/>
                  </a:cubicBezTo>
                  <a:lnTo>
                    <a:pt x="142655" y="261720"/>
                  </a:lnTo>
                  <a:cubicBezTo>
                    <a:pt x="137598" y="266783"/>
                    <a:pt x="130734" y="269628"/>
                    <a:pt x="123579" y="269628"/>
                  </a:cubicBezTo>
                  <a:cubicBezTo>
                    <a:pt x="116423" y="269628"/>
                    <a:pt x="109560" y="266783"/>
                    <a:pt x="104502" y="261720"/>
                  </a:cubicBezTo>
                  <a:lnTo>
                    <a:pt x="7841" y="165059"/>
                  </a:lnTo>
                  <a:close/>
                  <a:moveTo>
                    <a:pt x="208961" y="89876"/>
                  </a:moveTo>
                  <a:cubicBezTo>
                    <a:pt x="223853" y="89876"/>
                    <a:pt x="235923" y="77804"/>
                    <a:pt x="235923" y="62913"/>
                  </a:cubicBezTo>
                  <a:cubicBezTo>
                    <a:pt x="235923" y="48022"/>
                    <a:pt x="223853" y="35951"/>
                    <a:pt x="208961" y="35951"/>
                  </a:cubicBezTo>
                  <a:cubicBezTo>
                    <a:pt x="194070" y="35951"/>
                    <a:pt x="181998" y="48022"/>
                    <a:pt x="181998" y="62913"/>
                  </a:cubicBezTo>
                  <a:cubicBezTo>
                    <a:pt x="181998" y="77804"/>
                    <a:pt x="194070" y="89876"/>
                    <a:pt x="208961" y="89876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01" name="Рисунок 162">
            <a:extLst>
              <a:ext uri="{FF2B5EF4-FFF2-40B4-BE49-F238E27FC236}">
                <a16:creationId xmlns:a16="http://schemas.microsoft.com/office/drawing/2014/main" id="{4304428A-1608-EC41-B4C8-AA5586147817}"/>
              </a:ext>
            </a:extLst>
          </p:cNvPr>
          <p:cNvGrpSpPr/>
          <p:nvPr/>
        </p:nvGrpSpPr>
        <p:grpSpPr>
          <a:xfrm>
            <a:off x="3682403" y="3785822"/>
            <a:ext cx="364706" cy="360312"/>
            <a:chOff x="3715856" y="4104778"/>
            <a:chExt cx="364706" cy="360312"/>
          </a:xfrm>
        </p:grpSpPr>
        <p:sp>
          <p:nvSpPr>
            <p:cNvPr id="702" name="Полилиния 701">
              <a:extLst>
                <a:ext uri="{FF2B5EF4-FFF2-40B4-BE49-F238E27FC236}">
                  <a16:creationId xmlns:a16="http://schemas.microsoft.com/office/drawing/2014/main" id="{0A3D3D4A-EC10-4F44-A103-1DA8F0C1F680}"/>
                </a:ext>
              </a:extLst>
            </p:cNvPr>
            <p:cNvSpPr/>
            <p:nvPr/>
          </p:nvSpPr>
          <p:spPr>
            <a:xfrm>
              <a:off x="3715856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703" name="Рисунок 162">
              <a:extLst>
                <a:ext uri="{FF2B5EF4-FFF2-40B4-BE49-F238E27FC236}">
                  <a16:creationId xmlns:a16="http://schemas.microsoft.com/office/drawing/2014/main" id="{D4F926AE-EFA6-C641-A42E-DB7353461805}"/>
                </a:ext>
              </a:extLst>
            </p:cNvPr>
            <p:cNvGrpSpPr/>
            <p:nvPr/>
          </p:nvGrpSpPr>
          <p:grpSpPr>
            <a:xfrm>
              <a:off x="3730544" y="4104778"/>
              <a:ext cx="350017" cy="350017"/>
              <a:chOff x="3730544" y="4104778"/>
              <a:chExt cx="350017" cy="350017"/>
            </a:xfrm>
            <a:solidFill>
              <a:srgbClr val="000000"/>
            </a:solidFill>
          </p:grpSpPr>
          <p:sp>
            <p:nvSpPr>
              <p:cNvPr id="704" name="Полилиния 703">
                <a:extLst>
                  <a:ext uri="{FF2B5EF4-FFF2-40B4-BE49-F238E27FC236}">
                    <a16:creationId xmlns:a16="http://schemas.microsoft.com/office/drawing/2014/main" id="{98D0015B-8C0D-3449-AF50-6076C8288920}"/>
                  </a:ext>
                </a:extLst>
              </p:cNvPr>
              <p:cNvSpPr/>
              <p:nvPr/>
            </p:nvSpPr>
            <p:spPr>
              <a:xfrm rot="2700000">
                <a:off x="3815553" y="4122288"/>
                <a:ext cx="180000" cy="314999"/>
              </a:xfrm>
              <a:custGeom>
                <a:avLst/>
                <a:gdLst>
                  <a:gd name="connsiteX0" fmla="*/ 6 w 180000"/>
                  <a:gd name="connsiteY0" fmla="*/ 105001 h 314999"/>
                  <a:gd name="connsiteX1" fmla="*/ 45006 w 180000"/>
                  <a:gd name="connsiteY1" fmla="*/ 105001 h 314999"/>
                  <a:gd name="connsiteX2" fmla="*/ 47495 w 180000"/>
                  <a:gd name="connsiteY2" fmla="*/ 104796 h 314999"/>
                  <a:gd name="connsiteX3" fmla="*/ 90006 w 180000"/>
                  <a:gd name="connsiteY3" fmla="*/ 135001 h 314999"/>
                  <a:gd name="connsiteX4" fmla="*/ 135006 w 180000"/>
                  <a:gd name="connsiteY4" fmla="*/ 90001 h 314999"/>
                  <a:gd name="connsiteX5" fmla="*/ 90006 w 180000"/>
                  <a:gd name="connsiteY5" fmla="*/ 45001 h 314999"/>
                  <a:gd name="connsiteX6" fmla="*/ 47495 w 180000"/>
                  <a:gd name="connsiteY6" fmla="*/ 75206 h 314999"/>
                  <a:gd name="connsiteX7" fmla="*/ 45006 w 180000"/>
                  <a:gd name="connsiteY7" fmla="*/ 75001 h 314999"/>
                  <a:gd name="connsiteX8" fmla="*/ 1251 w 180000"/>
                  <a:gd name="connsiteY8" fmla="*/ 75001 h 314999"/>
                  <a:gd name="connsiteX9" fmla="*/ 90006 w 180000"/>
                  <a:gd name="connsiteY9" fmla="*/ 1 h 314999"/>
                  <a:gd name="connsiteX10" fmla="*/ 180007 w 180000"/>
                  <a:gd name="connsiteY10" fmla="*/ 90001 h 314999"/>
                  <a:gd name="connsiteX11" fmla="*/ 180007 w 180000"/>
                  <a:gd name="connsiteY11" fmla="*/ 285000 h 314999"/>
                  <a:gd name="connsiteX12" fmla="*/ 150007 w 180000"/>
                  <a:gd name="connsiteY12" fmla="*/ 315000 h 314999"/>
                  <a:gd name="connsiteX13" fmla="*/ 30006 w 180000"/>
                  <a:gd name="connsiteY13" fmla="*/ 315000 h 314999"/>
                  <a:gd name="connsiteX14" fmla="*/ 6 w 180000"/>
                  <a:gd name="connsiteY14" fmla="*/ 285000 h 314999"/>
                  <a:gd name="connsiteX15" fmla="*/ 6 w 180000"/>
                  <a:gd name="connsiteY15" fmla="*/ 105001 h 314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0000" h="314999">
                    <a:moveTo>
                      <a:pt x="6" y="105001"/>
                    </a:moveTo>
                    <a:lnTo>
                      <a:pt x="45006" y="105001"/>
                    </a:lnTo>
                    <a:cubicBezTo>
                      <a:pt x="45854" y="105001"/>
                      <a:pt x="46685" y="104931"/>
                      <a:pt x="47495" y="104796"/>
                    </a:cubicBezTo>
                    <a:cubicBezTo>
                      <a:pt x="53614" y="122381"/>
                      <a:pt x="70336" y="135001"/>
                      <a:pt x="90006" y="135001"/>
                    </a:cubicBezTo>
                    <a:cubicBezTo>
                      <a:pt x="114859" y="135001"/>
                      <a:pt x="135006" y="114854"/>
                      <a:pt x="135006" y="90001"/>
                    </a:cubicBezTo>
                    <a:cubicBezTo>
                      <a:pt x="135006" y="65148"/>
                      <a:pt x="114859" y="45001"/>
                      <a:pt x="90006" y="45001"/>
                    </a:cubicBezTo>
                    <a:cubicBezTo>
                      <a:pt x="70336" y="45001"/>
                      <a:pt x="53614" y="57621"/>
                      <a:pt x="47495" y="75206"/>
                    </a:cubicBezTo>
                    <a:cubicBezTo>
                      <a:pt x="46685" y="75071"/>
                      <a:pt x="45854" y="75001"/>
                      <a:pt x="45006" y="75001"/>
                    </a:cubicBezTo>
                    <a:lnTo>
                      <a:pt x="1251" y="75001"/>
                    </a:lnTo>
                    <a:cubicBezTo>
                      <a:pt x="8392" y="32435"/>
                      <a:pt x="45411" y="1"/>
                      <a:pt x="90006" y="1"/>
                    </a:cubicBezTo>
                    <a:cubicBezTo>
                      <a:pt x="139712" y="1"/>
                      <a:pt x="180007" y="40295"/>
                      <a:pt x="180007" y="90001"/>
                    </a:cubicBezTo>
                    <a:lnTo>
                      <a:pt x="180007" y="285000"/>
                    </a:lnTo>
                    <a:cubicBezTo>
                      <a:pt x="180007" y="301569"/>
                      <a:pt x="166575" y="315000"/>
                      <a:pt x="150007" y="315000"/>
                    </a:cubicBezTo>
                    <a:lnTo>
                      <a:pt x="30006" y="315000"/>
                    </a:lnTo>
                    <a:cubicBezTo>
                      <a:pt x="13438" y="315000"/>
                      <a:pt x="6" y="301569"/>
                      <a:pt x="6" y="285000"/>
                    </a:cubicBezTo>
                    <a:lnTo>
                      <a:pt x="6" y="105001"/>
                    </a:ln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5" name="Полилиния 704">
                <a:extLst>
                  <a:ext uri="{FF2B5EF4-FFF2-40B4-BE49-F238E27FC236}">
                    <a16:creationId xmlns:a16="http://schemas.microsoft.com/office/drawing/2014/main" id="{06B5EEB0-0848-874C-B23E-C03E4EF59BCF}"/>
                  </a:ext>
                </a:extLst>
              </p:cNvPr>
              <p:cNvSpPr/>
              <p:nvPr/>
            </p:nvSpPr>
            <p:spPr>
              <a:xfrm rot="2700000">
                <a:off x="3808430" y="4301910"/>
                <a:ext cx="120000" cy="30000"/>
              </a:xfrm>
              <a:custGeom>
                <a:avLst/>
                <a:gdLst>
                  <a:gd name="connsiteX0" fmla="*/ 105004 w 120000"/>
                  <a:gd name="connsiteY0" fmla="*/ 0 h 30000"/>
                  <a:gd name="connsiteX1" fmla="*/ 120004 w 120000"/>
                  <a:gd name="connsiteY1" fmla="*/ 0 h 30000"/>
                  <a:gd name="connsiteX2" fmla="*/ 120004 w 120000"/>
                  <a:gd name="connsiteY2" fmla="*/ 30000 h 30000"/>
                  <a:gd name="connsiteX3" fmla="*/ 105004 w 120000"/>
                  <a:gd name="connsiteY3" fmla="*/ 30000 h 30000"/>
                  <a:gd name="connsiteX4" fmla="*/ 15004 w 120000"/>
                  <a:gd name="connsiteY4" fmla="*/ 30000 h 30000"/>
                  <a:gd name="connsiteX5" fmla="*/ 4 w 120000"/>
                  <a:gd name="connsiteY5" fmla="*/ 30000 h 30000"/>
                  <a:gd name="connsiteX6" fmla="*/ 4 w 120000"/>
                  <a:gd name="connsiteY6" fmla="*/ 0 h 30000"/>
                  <a:gd name="connsiteX7" fmla="*/ 15004 w 120000"/>
                  <a:gd name="connsiteY7" fmla="*/ 0 h 3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0000" h="30000">
                    <a:moveTo>
                      <a:pt x="105004" y="0"/>
                    </a:moveTo>
                    <a:cubicBezTo>
                      <a:pt x="113288" y="0"/>
                      <a:pt x="120004" y="0"/>
                      <a:pt x="120004" y="0"/>
                    </a:cubicBezTo>
                    <a:lnTo>
                      <a:pt x="120004" y="30000"/>
                    </a:lnTo>
                    <a:cubicBezTo>
                      <a:pt x="120004" y="30000"/>
                      <a:pt x="113288" y="30000"/>
                      <a:pt x="105004" y="30000"/>
                    </a:cubicBezTo>
                    <a:lnTo>
                      <a:pt x="15004" y="30000"/>
                    </a:lnTo>
                    <a:cubicBezTo>
                      <a:pt x="6720" y="30000"/>
                      <a:pt x="4" y="30000"/>
                      <a:pt x="4" y="30000"/>
                    </a:cubicBezTo>
                    <a:lnTo>
                      <a:pt x="4" y="0"/>
                    </a:lnTo>
                    <a:cubicBezTo>
                      <a:pt x="4" y="0"/>
                      <a:pt x="6720" y="0"/>
                      <a:pt x="1500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6" name="Полилиния 705">
                <a:extLst>
                  <a:ext uri="{FF2B5EF4-FFF2-40B4-BE49-F238E27FC236}">
                    <a16:creationId xmlns:a16="http://schemas.microsoft.com/office/drawing/2014/main" id="{C19B518D-3CD8-F64A-8FF5-EC3C53D717D5}"/>
                  </a:ext>
                </a:extLst>
              </p:cNvPr>
              <p:cNvSpPr/>
              <p:nvPr/>
            </p:nvSpPr>
            <p:spPr>
              <a:xfrm rot="2700000">
                <a:off x="3781003" y="4344336"/>
                <a:ext cx="90000" cy="30000"/>
              </a:xfrm>
              <a:custGeom>
                <a:avLst/>
                <a:gdLst>
                  <a:gd name="connsiteX0" fmla="*/ 75001 w 90000"/>
                  <a:gd name="connsiteY0" fmla="*/ -1 h 30000"/>
                  <a:gd name="connsiteX1" fmla="*/ 90001 w 90000"/>
                  <a:gd name="connsiteY1" fmla="*/ -1 h 30000"/>
                  <a:gd name="connsiteX2" fmla="*/ 90001 w 90000"/>
                  <a:gd name="connsiteY2" fmla="*/ 29999 h 30000"/>
                  <a:gd name="connsiteX3" fmla="*/ 75001 w 90000"/>
                  <a:gd name="connsiteY3" fmla="*/ 29999 h 30000"/>
                  <a:gd name="connsiteX4" fmla="*/ 15001 w 90000"/>
                  <a:gd name="connsiteY4" fmla="*/ 29999 h 30000"/>
                  <a:gd name="connsiteX5" fmla="*/ 1 w 90000"/>
                  <a:gd name="connsiteY5" fmla="*/ 29999 h 30000"/>
                  <a:gd name="connsiteX6" fmla="*/ 1 w 90000"/>
                  <a:gd name="connsiteY6" fmla="*/ -1 h 30000"/>
                  <a:gd name="connsiteX7" fmla="*/ 15001 w 90000"/>
                  <a:gd name="connsiteY7" fmla="*/ -1 h 3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000" h="30000">
                    <a:moveTo>
                      <a:pt x="75001" y="-1"/>
                    </a:moveTo>
                    <a:cubicBezTo>
                      <a:pt x="83285" y="-1"/>
                      <a:pt x="90001" y="-1"/>
                      <a:pt x="90001" y="-1"/>
                    </a:cubicBezTo>
                    <a:lnTo>
                      <a:pt x="90001" y="29999"/>
                    </a:lnTo>
                    <a:cubicBezTo>
                      <a:pt x="90001" y="29999"/>
                      <a:pt x="83285" y="29999"/>
                      <a:pt x="75001" y="29999"/>
                    </a:cubicBezTo>
                    <a:lnTo>
                      <a:pt x="15001" y="29999"/>
                    </a:lnTo>
                    <a:cubicBezTo>
                      <a:pt x="6717" y="29999"/>
                      <a:pt x="1" y="29999"/>
                      <a:pt x="1" y="29999"/>
                    </a:cubicBezTo>
                    <a:lnTo>
                      <a:pt x="1" y="-1"/>
                    </a:lnTo>
                    <a:cubicBezTo>
                      <a:pt x="1" y="-1"/>
                      <a:pt x="6717" y="-1"/>
                      <a:pt x="15001" y="-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46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707" name="Рисунок 163">
            <a:extLst>
              <a:ext uri="{FF2B5EF4-FFF2-40B4-BE49-F238E27FC236}">
                <a16:creationId xmlns:a16="http://schemas.microsoft.com/office/drawing/2014/main" id="{481B5241-C33A-FD47-BA97-1FA89B11C741}"/>
              </a:ext>
            </a:extLst>
          </p:cNvPr>
          <p:cNvGrpSpPr/>
          <p:nvPr/>
        </p:nvGrpSpPr>
        <p:grpSpPr>
          <a:xfrm>
            <a:off x="2927270" y="3786135"/>
            <a:ext cx="360000" cy="360000"/>
            <a:chOff x="2960723" y="4105091"/>
            <a:chExt cx="360000" cy="360000"/>
          </a:xfrm>
        </p:grpSpPr>
        <p:sp>
          <p:nvSpPr>
            <p:cNvPr id="708" name="Полилиния 707">
              <a:extLst>
                <a:ext uri="{FF2B5EF4-FFF2-40B4-BE49-F238E27FC236}">
                  <a16:creationId xmlns:a16="http://schemas.microsoft.com/office/drawing/2014/main" id="{7BCB1295-3F54-B24B-87E5-A9CE7EA1E9C5}"/>
                </a:ext>
              </a:extLst>
            </p:cNvPr>
            <p:cNvSpPr/>
            <p:nvPr/>
          </p:nvSpPr>
          <p:spPr>
            <a:xfrm>
              <a:off x="2960723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9" name="Полилиния 708">
              <a:extLst>
                <a:ext uri="{FF2B5EF4-FFF2-40B4-BE49-F238E27FC236}">
                  <a16:creationId xmlns:a16="http://schemas.microsoft.com/office/drawing/2014/main" id="{684BA465-623F-3D4C-AEF9-079BBF68DEEF}"/>
                </a:ext>
              </a:extLst>
            </p:cNvPr>
            <p:cNvSpPr/>
            <p:nvPr/>
          </p:nvSpPr>
          <p:spPr>
            <a:xfrm>
              <a:off x="3005723" y="4195091"/>
              <a:ext cx="270000" cy="240000"/>
            </a:xfrm>
            <a:custGeom>
              <a:avLst/>
              <a:gdLst>
                <a:gd name="connsiteX0" fmla="*/ 195000 w 270000"/>
                <a:gd name="connsiteY0" fmla="*/ 165000 h 240000"/>
                <a:gd name="connsiteX1" fmla="*/ 195000 w 270000"/>
                <a:gd name="connsiteY1" fmla="*/ 225000 h 240000"/>
                <a:gd name="connsiteX2" fmla="*/ 180000 w 270000"/>
                <a:gd name="connsiteY2" fmla="*/ 240000 h 240000"/>
                <a:gd name="connsiteX3" fmla="*/ 90000 w 270000"/>
                <a:gd name="connsiteY3" fmla="*/ 240000 h 240000"/>
                <a:gd name="connsiteX4" fmla="*/ 75000 w 270000"/>
                <a:gd name="connsiteY4" fmla="*/ 225000 h 240000"/>
                <a:gd name="connsiteX5" fmla="*/ 75000 w 270000"/>
                <a:gd name="connsiteY5" fmla="*/ 165000 h 240000"/>
                <a:gd name="connsiteX6" fmla="*/ 30000 w 270000"/>
                <a:gd name="connsiteY6" fmla="*/ 165000 h 240000"/>
                <a:gd name="connsiteX7" fmla="*/ 0 w 270000"/>
                <a:gd name="connsiteY7" fmla="*/ 135000 h 240000"/>
                <a:gd name="connsiteX8" fmla="*/ 0 w 270000"/>
                <a:gd name="connsiteY8" fmla="*/ 30000 h 240000"/>
                <a:gd name="connsiteX9" fmla="*/ 30000 w 270000"/>
                <a:gd name="connsiteY9" fmla="*/ 0 h 240000"/>
                <a:gd name="connsiteX10" fmla="*/ 240000 w 270000"/>
                <a:gd name="connsiteY10" fmla="*/ 0 h 240000"/>
                <a:gd name="connsiteX11" fmla="*/ 270000 w 270000"/>
                <a:gd name="connsiteY11" fmla="*/ 30000 h 240000"/>
                <a:gd name="connsiteX12" fmla="*/ 270000 w 270000"/>
                <a:gd name="connsiteY12" fmla="*/ 135000 h 240000"/>
                <a:gd name="connsiteX13" fmla="*/ 240000 w 270000"/>
                <a:gd name="connsiteY13" fmla="*/ 165000 h 240000"/>
                <a:gd name="connsiteX14" fmla="*/ 195000 w 270000"/>
                <a:gd name="connsiteY14" fmla="*/ 165000 h 240000"/>
                <a:gd name="connsiteX15" fmla="*/ 217500 w 270000"/>
                <a:gd name="connsiteY15" fmla="*/ 75000 h 240000"/>
                <a:gd name="connsiteX16" fmla="*/ 240000 w 270000"/>
                <a:gd name="connsiteY16" fmla="*/ 52500 h 240000"/>
                <a:gd name="connsiteX17" fmla="*/ 217500 w 270000"/>
                <a:gd name="connsiteY17" fmla="*/ 30000 h 240000"/>
                <a:gd name="connsiteX18" fmla="*/ 195000 w 270000"/>
                <a:gd name="connsiteY18" fmla="*/ 52500 h 240000"/>
                <a:gd name="connsiteX19" fmla="*/ 217500 w 270000"/>
                <a:gd name="connsiteY19" fmla="*/ 75000 h 240000"/>
                <a:gd name="connsiteX20" fmla="*/ 105000 w 270000"/>
                <a:gd name="connsiteY20" fmla="*/ 120000 h 240000"/>
                <a:gd name="connsiteX21" fmla="*/ 105000 w 270000"/>
                <a:gd name="connsiteY21" fmla="*/ 210000 h 240000"/>
                <a:gd name="connsiteX22" fmla="*/ 165000 w 270000"/>
                <a:gd name="connsiteY22" fmla="*/ 210000 h 240000"/>
                <a:gd name="connsiteX23" fmla="*/ 165000 w 270000"/>
                <a:gd name="connsiteY23" fmla="*/ 120000 h 240000"/>
                <a:gd name="connsiteX24" fmla="*/ 105000 w 270000"/>
                <a:gd name="connsiteY24" fmla="*/ 12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0000" h="240000">
                  <a:moveTo>
                    <a:pt x="195000" y="165000"/>
                  </a:moveTo>
                  <a:lnTo>
                    <a:pt x="195000" y="225000"/>
                  </a:lnTo>
                  <a:cubicBezTo>
                    <a:pt x="195000" y="233285"/>
                    <a:pt x="188285" y="240000"/>
                    <a:pt x="180000" y="240000"/>
                  </a:cubicBezTo>
                  <a:lnTo>
                    <a:pt x="90000" y="240000"/>
                  </a:lnTo>
                  <a:cubicBezTo>
                    <a:pt x="81716" y="240000"/>
                    <a:pt x="75000" y="233285"/>
                    <a:pt x="75000" y="225000"/>
                  </a:cubicBezTo>
                  <a:lnTo>
                    <a:pt x="75000" y="165000"/>
                  </a:lnTo>
                  <a:lnTo>
                    <a:pt x="30000" y="165000"/>
                  </a:lnTo>
                  <a:cubicBezTo>
                    <a:pt x="13431" y="165000"/>
                    <a:pt x="0" y="151569"/>
                    <a:pt x="0" y="135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35000"/>
                  </a:lnTo>
                  <a:cubicBezTo>
                    <a:pt x="270000" y="151569"/>
                    <a:pt x="256569" y="165000"/>
                    <a:pt x="240000" y="165000"/>
                  </a:cubicBezTo>
                  <a:lnTo>
                    <a:pt x="195000" y="165000"/>
                  </a:lnTo>
                  <a:close/>
                  <a:moveTo>
                    <a:pt x="217500" y="75000"/>
                  </a:moveTo>
                  <a:cubicBezTo>
                    <a:pt x="229926" y="75000"/>
                    <a:pt x="240000" y="64926"/>
                    <a:pt x="240000" y="52500"/>
                  </a:cubicBezTo>
                  <a:cubicBezTo>
                    <a:pt x="240000" y="40074"/>
                    <a:pt x="229926" y="30000"/>
                    <a:pt x="217500" y="30000"/>
                  </a:cubicBezTo>
                  <a:cubicBezTo>
                    <a:pt x="205074" y="30000"/>
                    <a:pt x="195000" y="40074"/>
                    <a:pt x="195000" y="52500"/>
                  </a:cubicBezTo>
                  <a:cubicBezTo>
                    <a:pt x="195000" y="64926"/>
                    <a:pt x="205074" y="75000"/>
                    <a:pt x="217500" y="75000"/>
                  </a:cubicBezTo>
                  <a:close/>
                  <a:moveTo>
                    <a:pt x="105000" y="120000"/>
                  </a:moveTo>
                  <a:lnTo>
                    <a:pt x="105000" y="210000"/>
                  </a:lnTo>
                  <a:lnTo>
                    <a:pt x="165000" y="210000"/>
                  </a:lnTo>
                  <a:lnTo>
                    <a:pt x="165000" y="120000"/>
                  </a:lnTo>
                  <a:lnTo>
                    <a:pt x="105000" y="12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0" name="Полилиния 709">
              <a:extLst>
                <a:ext uri="{FF2B5EF4-FFF2-40B4-BE49-F238E27FC236}">
                  <a16:creationId xmlns:a16="http://schemas.microsoft.com/office/drawing/2014/main" id="{31A30D1B-0F3A-FB48-9FB8-F3342E0B09D4}"/>
                </a:ext>
              </a:extLst>
            </p:cNvPr>
            <p:cNvSpPr/>
            <p:nvPr/>
          </p:nvSpPr>
          <p:spPr>
            <a:xfrm>
              <a:off x="3080723" y="4135091"/>
              <a:ext cx="120000" cy="30000"/>
            </a:xfrm>
            <a:custGeom>
              <a:avLst/>
              <a:gdLst>
                <a:gd name="connsiteX0" fmla="*/ 105000 w 120000"/>
                <a:gd name="connsiteY0" fmla="*/ 0 h 30000"/>
                <a:gd name="connsiteX1" fmla="*/ 120000 w 120000"/>
                <a:gd name="connsiteY1" fmla="*/ 0 h 30000"/>
                <a:gd name="connsiteX2" fmla="*/ 120000 w 120000"/>
                <a:gd name="connsiteY2" fmla="*/ 30000 h 30000"/>
                <a:gd name="connsiteX3" fmla="*/ 105000 w 120000"/>
                <a:gd name="connsiteY3" fmla="*/ 30000 h 30000"/>
                <a:gd name="connsiteX4" fmla="*/ 15000 w 120000"/>
                <a:gd name="connsiteY4" fmla="*/ 30000 h 30000"/>
                <a:gd name="connsiteX5" fmla="*/ 0 w 120000"/>
                <a:gd name="connsiteY5" fmla="*/ 30000 h 30000"/>
                <a:gd name="connsiteX6" fmla="*/ 0 w 120000"/>
                <a:gd name="connsiteY6" fmla="*/ 0 h 30000"/>
                <a:gd name="connsiteX7" fmla="*/ 15000 w 12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00" h="30000">
                  <a:moveTo>
                    <a:pt x="105000" y="0"/>
                  </a:moveTo>
                  <a:cubicBezTo>
                    <a:pt x="113284" y="0"/>
                    <a:pt x="120000" y="0"/>
                    <a:pt x="120000" y="0"/>
                  </a:cubicBezTo>
                  <a:lnTo>
                    <a:pt x="120000" y="30000"/>
                  </a:lnTo>
                  <a:cubicBezTo>
                    <a:pt x="120000" y="30000"/>
                    <a:pt x="113284" y="30000"/>
                    <a:pt x="105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11" name="Рисунок 164">
            <a:extLst>
              <a:ext uri="{FF2B5EF4-FFF2-40B4-BE49-F238E27FC236}">
                <a16:creationId xmlns:a16="http://schemas.microsoft.com/office/drawing/2014/main" id="{670CD071-4DE5-0C4B-A52D-AF7260687C24}"/>
              </a:ext>
            </a:extLst>
          </p:cNvPr>
          <p:cNvGrpSpPr/>
          <p:nvPr/>
        </p:nvGrpSpPr>
        <p:grpSpPr>
          <a:xfrm>
            <a:off x="2172137" y="3786135"/>
            <a:ext cx="360000" cy="360000"/>
            <a:chOff x="2205590" y="4105091"/>
            <a:chExt cx="360000" cy="360000"/>
          </a:xfrm>
        </p:grpSpPr>
        <p:sp>
          <p:nvSpPr>
            <p:cNvPr id="712" name="Полилиния 711">
              <a:extLst>
                <a:ext uri="{FF2B5EF4-FFF2-40B4-BE49-F238E27FC236}">
                  <a16:creationId xmlns:a16="http://schemas.microsoft.com/office/drawing/2014/main" id="{D049F56E-8DBE-EA47-BEEA-1F91398AA6E9}"/>
                </a:ext>
              </a:extLst>
            </p:cNvPr>
            <p:cNvSpPr/>
            <p:nvPr/>
          </p:nvSpPr>
          <p:spPr>
            <a:xfrm>
              <a:off x="2205590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3" name="Полилиния 712">
              <a:extLst>
                <a:ext uri="{FF2B5EF4-FFF2-40B4-BE49-F238E27FC236}">
                  <a16:creationId xmlns:a16="http://schemas.microsoft.com/office/drawing/2014/main" id="{89EFB917-ACBF-BD49-B489-947B5272F18B}"/>
                </a:ext>
              </a:extLst>
            </p:cNvPr>
            <p:cNvSpPr/>
            <p:nvPr/>
          </p:nvSpPr>
          <p:spPr>
            <a:xfrm>
              <a:off x="2265590" y="4135091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4" name="Полилиния 713">
              <a:extLst>
                <a:ext uri="{FF2B5EF4-FFF2-40B4-BE49-F238E27FC236}">
                  <a16:creationId xmlns:a16="http://schemas.microsoft.com/office/drawing/2014/main" id="{87C2A920-B65D-1940-9616-284983DF2159}"/>
                </a:ext>
              </a:extLst>
            </p:cNvPr>
            <p:cNvSpPr/>
            <p:nvPr/>
          </p:nvSpPr>
          <p:spPr>
            <a:xfrm>
              <a:off x="2333090" y="4240091"/>
              <a:ext cx="105000" cy="120000"/>
            </a:xfrm>
            <a:custGeom>
              <a:avLst/>
              <a:gdLst>
                <a:gd name="connsiteX0" fmla="*/ 90000 w 105000"/>
                <a:gd name="connsiteY0" fmla="*/ 45000 h 120000"/>
                <a:gd name="connsiteX1" fmla="*/ 105000 w 105000"/>
                <a:gd name="connsiteY1" fmla="*/ 60000 h 120000"/>
                <a:gd name="connsiteX2" fmla="*/ 105000 w 105000"/>
                <a:gd name="connsiteY2" fmla="*/ 105000 h 120000"/>
                <a:gd name="connsiteX3" fmla="*/ 90000 w 105000"/>
                <a:gd name="connsiteY3" fmla="*/ 120000 h 120000"/>
                <a:gd name="connsiteX4" fmla="*/ 15000 w 105000"/>
                <a:gd name="connsiteY4" fmla="*/ 120000 h 120000"/>
                <a:gd name="connsiteX5" fmla="*/ 0 w 105000"/>
                <a:gd name="connsiteY5" fmla="*/ 105000 h 120000"/>
                <a:gd name="connsiteX6" fmla="*/ 0 w 105000"/>
                <a:gd name="connsiteY6" fmla="*/ 60000 h 120000"/>
                <a:gd name="connsiteX7" fmla="*/ 15000 w 105000"/>
                <a:gd name="connsiteY7" fmla="*/ 45000 h 120000"/>
                <a:gd name="connsiteX8" fmla="*/ 15000 w 105000"/>
                <a:gd name="connsiteY8" fmla="*/ 37500 h 120000"/>
                <a:gd name="connsiteX9" fmla="*/ 52500 w 105000"/>
                <a:gd name="connsiteY9" fmla="*/ 0 h 120000"/>
                <a:gd name="connsiteX10" fmla="*/ 90000 w 105000"/>
                <a:gd name="connsiteY10" fmla="*/ 37500 h 120000"/>
                <a:gd name="connsiteX11" fmla="*/ 90000 w 105000"/>
                <a:gd name="connsiteY11" fmla="*/ 45000 h 120000"/>
                <a:gd name="connsiteX12" fmla="*/ 52500 w 105000"/>
                <a:gd name="connsiteY12" fmla="*/ 15000 h 120000"/>
                <a:gd name="connsiteX13" fmla="*/ 30000 w 105000"/>
                <a:gd name="connsiteY13" fmla="*/ 37500 h 120000"/>
                <a:gd name="connsiteX14" fmla="*/ 30000 w 105000"/>
                <a:gd name="connsiteY14" fmla="*/ 45000 h 120000"/>
                <a:gd name="connsiteX15" fmla="*/ 75000 w 105000"/>
                <a:gd name="connsiteY15" fmla="*/ 45000 h 120000"/>
                <a:gd name="connsiteX16" fmla="*/ 75000 w 105000"/>
                <a:gd name="connsiteY16" fmla="*/ 37500 h 120000"/>
                <a:gd name="connsiteX17" fmla="*/ 52500 w 105000"/>
                <a:gd name="connsiteY17" fmla="*/ 1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000" h="120000">
                  <a:moveTo>
                    <a:pt x="90000" y="45000"/>
                  </a:moveTo>
                  <a:cubicBezTo>
                    <a:pt x="98285" y="45000"/>
                    <a:pt x="105000" y="51715"/>
                    <a:pt x="105000" y="60000"/>
                  </a:cubicBezTo>
                  <a:lnTo>
                    <a:pt x="105000" y="105000"/>
                  </a:lnTo>
                  <a:cubicBezTo>
                    <a:pt x="105000" y="113284"/>
                    <a:pt x="98285" y="120000"/>
                    <a:pt x="90000" y="120000"/>
                  </a:cubicBezTo>
                  <a:lnTo>
                    <a:pt x="15000" y="120000"/>
                  </a:lnTo>
                  <a:cubicBezTo>
                    <a:pt x="6716" y="120000"/>
                    <a:pt x="0" y="113284"/>
                    <a:pt x="0" y="105000"/>
                  </a:cubicBezTo>
                  <a:lnTo>
                    <a:pt x="0" y="60000"/>
                  </a:lnTo>
                  <a:cubicBezTo>
                    <a:pt x="0" y="51715"/>
                    <a:pt x="6716" y="45000"/>
                    <a:pt x="15000" y="45000"/>
                  </a:cubicBezTo>
                  <a:lnTo>
                    <a:pt x="15000" y="37500"/>
                  </a:lnTo>
                  <a:cubicBezTo>
                    <a:pt x="15000" y="16789"/>
                    <a:pt x="31789" y="0"/>
                    <a:pt x="52500" y="0"/>
                  </a:cubicBezTo>
                  <a:cubicBezTo>
                    <a:pt x="73211" y="0"/>
                    <a:pt x="90000" y="16789"/>
                    <a:pt x="90000" y="37500"/>
                  </a:cubicBezTo>
                  <a:lnTo>
                    <a:pt x="90000" y="45000"/>
                  </a:lnTo>
                  <a:close/>
                  <a:moveTo>
                    <a:pt x="52500" y="15000"/>
                  </a:moveTo>
                  <a:cubicBezTo>
                    <a:pt x="40074" y="15000"/>
                    <a:pt x="30000" y="25074"/>
                    <a:pt x="30000" y="37500"/>
                  </a:cubicBezTo>
                  <a:lnTo>
                    <a:pt x="30000" y="45000"/>
                  </a:lnTo>
                  <a:lnTo>
                    <a:pt x="75000" y="45000"/>
                  </a:lnTo>
                  <a:lnTo>
                    <a:pt x="75000" y="37500"/>
                  </a:lnTo>
                  <a:cubicBezTo>
                    <a:pt x="75000" y="25074"/>
                    <a:pt x="64926" y="15000"/>
                    <a:pt x="52500" y="1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15" name="Рисунок 165">
            <a:extLst>
              <a:ext uri="{FF2B5EF4-FFF2-40B4-BE49-F238E27FC236}">
                <a16:creationId xmlns:a16="http://schemas.microsoft.com/office/drawing/2014/main" id="{536C4DD3-1B8C-DC4B-A79D-DB3399702C33}"/>
              </a:ext>
            </a:extLst>
          </p:cNvPr>
          <p:cNvGrpSpPr/>
          <p:nvPr/>
        </p:nvGrpSpPr>
        <p:grpSpPr>
          <a:xfrm>
            <a:off x="1417004" y="3786135"/>
            <a:ext cx="360000" cy="360000"/>
            <a:chOff x="1450457" y="4105091"/>
            <a:chExt cx="360000" cy="360000"/>
          </a:xfrm>
        </p:grpSpPr>
        <p:sp>
          <p:nvSpPr>
            <p:cNvPr id="716" name="Полилиния 715">
              <a:extLst>
                <a:ext uri="{FF2B5EF4-FFF2-40B4-BE49-F238E27FC236}">
                  <a16:creationId xmlns:a16="http://schemas.microsoft.com/office/drawing/2014/main" id="{569E7FE6-A4EB-9B4B-8955-0E084B69AD06}"/>
                </a:ext>
              </a:extLst>
            </p:cNvPr>
            <p:cNvSpPr/>
            <p:nvPr/>
          </p:nvSpPr>
          <p:spPr>
            <a:xfrm>
              <a:off x="1450457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7" name="Полилиния 716">
              <a:extLst>
                <a:ext uri="{FF2B5EF4-FFF2-40B4-BE49-F238E27FC236}">
                  <a16:creationId xmlns:a16="http://schemas.microsoft.com/office/drawing/2014/main" id="{6A5A2407-D2E6-3045-9DFE-5029FD6832EF}"/>
                </a:ext>
              </a:extLst>
            </p:cNvPr>
            <p:cNvSpPr/>
            <p:nvPr/>
          </p:nvSpPr>
          <p:spPr>
            <a:xfrm>
              <a:off x="1495457" y="4135091"/>
              <a:ext cx="300000" cy="300000"/>
            </a:xfrm>
            <a:custGeom>
              <a:avLst/>
              <a:gdLst>
                <a:gd name="connsiteX0" fmla="*/ 240000 w 300000"/>
                <a:gd name="connsiteY0" fmla="*/ 135000 h 300000"/>
                <a:gd name="connsiteX1" fmla="*/ 255000 w 300000"/>
                <a:gd name="connsiteY1" fmla="*/ 135000 h 300000"/>
                <a:gd name="connsiteX2" fmla="*/ 300000 w 300000"/>
                <a:gd name="connsiteY2" fmla="*/ 180000 h 300000"/>
                <a:gd name="connsiteX3" fmla="*/ 255000 w 300000"/>
                <a:gd name="connsiteY3" fmla="*/ 225000 h 300000"/>
                <a:gd name="connsiteX4" fmla="*/ 240000 w 300000"/>
                <a:gd name="connsiteY4" fmla="*/ 225000 h 300000"/>
                <a:gd name="connsiteX5" fmla="*/ 240000 w 300000"/>
                <a:gd name="connsiteY5" fmla="*/ 270000 h 300000"/>
                <a:gd name="connsiteX6" fmla="*/ 210000 w 300000"/>
                <a:gd name="connsiteY6" fmla="*/ 300000 h 300000"/>
                <a:gd name="connsiteX7" fmla="*/ 30000 w 300000"/>
                <a:gd name="connsiteY7" fmla="*/ 300000 h 300000"/>
                <a:gd name="connsiteX8" fmla="*/ 0 w 300000"/>
                <a:gd name="connsiteY8" fmla="*/ 270000 h 300000"/>
                <a:gd name="connsiteX9" fmla="*/ 0 w 300000"/>
                <a:gd name="connsiteY9" fmla="*/ 225000 h 300000"/>
                <a:gd name="connsiteX10" fmla="*/ 30000 w 300000"/>
                <a:gd name="connsiteY10" fmla="*/ 225000 h 300000"/>
                <a:gd name="connsiteX11" fmla="*/ 75000 w 300000"/>
                <a:gd name="connsiteY11" fmla="*/ 180000 h 300000"/>
                <a:gd name="connsiteX12" fmla="*/ 30000 w 300000"/>
                <a:gd name="connsiteY12" fmla="*/ 135000 h 300000"/>
                <a:gd name="connsiteX13" fmla="*/ 0 w 300000"/>
                <a:gd name="connsiteY13" fmla="*/ 135000 h 300000"/>
                <a:gd name="connsiteX14" fmla="*/ 0 w 300000"/>
                <a:gd name="connsiteY14" fmla="*/ 90000 h 300000"/>
                <a:gd name="connsiteX15" fmla="*/ 30000 w 300000"/>
                <a:gd name="connsiteY15" fmla="*/ 60000 h 300000"/>
                <a:gd name="connsiteX16" fmla="*/ 75000 w 300000"/>
                <a:gd name="connsiteY16" fmla="*/ 60000 h 300000"/>
                <a:gd name="connsiteX17" fmla="*/ 75000 w 300000"/>
                <a:gd name="connsiteY17" fmla="*/ 45000 h 300000"/>
                <a:gd name="connsiteX18" fmla="*/ 120000 w 300000"/>
                <a:gd name="connsiteY18" fmla="*/ 0 h 300000"/>
                <a:gd name="connsiteX19" fmla="*/ 165000 w 300000"/>
                <a:gd name="connsiteY19" fmla="*/ 45000 h 300000"/>
                <a:gd name="connsiteX20" fmla="*/ 165000 w 300000"/>
                <a:gd name="connsiteY20" fmla="*/ 60000 h 300000"/>
                <a:gd name="connsiteX21" fmla="*/ 210000 w 300000"/>
                <a:gd name="connsiteY21" fmla="*/ 60000 h 300000"/>
                <a:gd name="connsiteX22" fmla="*/ 240000 w 300000"/>
                <a:gd name="connsiteY22" fmla="*/ 90000 h 300000"/>
                <a:gd name="connsiteX23" fmla="*/ 240000 w 300000"/>
                <a:gd name="connsiteY23" fmla="*/ 135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0000" h="300000">
                  <a:moveTo>
                    <a:pt x="240000" y="135000"/>
                  </a:moveTo>
                  <a:lnTo>
                    <a:pt x="255000" y="135000"/>
                  </a:lnTo>
                  <a:cubicBezTo>
                    <a:pt x="279854" y="135000"/>
                    <a:pt x="300000" y="155147"/>
                    <a:pt x="300000" y="180000"/>
                  </a:cubicBezTo>
                  <a:cubicBezTo>
                    <a:pt x="300000" y="204854"/>
                    <a:pt x="279854" y="225000"/>
                    <a:pt x="255000" y="225000"/>
                  </a:cubicBezTo>
                  <a:lnTo>
                    <a:pt x="240000" y="225000"/>
                  </a:lnTo>
                  <a:lnTo>
                    <a:pt x="240000" y="270000"/>
                  </a:lnTo>
                  <a:cubicBezTo>
                    <a:pt x="240000" y="286569"/>
                    <a:pt x="226569" y="300000"/>
                    <a:pt x="210000" y="300000"/>
                  </a:cubicBezTo>
                  <a:lnTo>
                    <a:pt x="30000" y="300000"/>
                  </a:lnTo>
                  <a:cubicBezTo>
                    <a:pt x="13431" y="300000"/>
                    <a:pt x="0" y="286569"/>
                    <a:pt x="0" y="270000"/>
                  </a:cubicBezTo>
                  <a:lnTo>
                    <a:pt x="0" y="225000"/>
                  </a:lnTo>
                  <a:lnTo>
                    <a:pt x="30000" y="225000"/>
                  </a:lnTo>
                  <a:cubicBezTo>
                    <a:pt x="54853" y="225000"/>
                    <a:pt x="75000" y="204854"/>
                    <a:pt x="75000" y="180000"/>
                  </a:cubicBezTo>
                  <a:cubicBezTo>
                    <a:pt x="75000" y="155147"/>
                    <a:pt x="54853" y="135000"/>
                    <a:pt x="30000" y="135000"/>
                  </a:cubicBezTo>
                  <a:lnTo>
                    <a:pt x="0" y="135000"/>
                  </a:lnTo>
                  <a:lnTo>
                    <a:pt x="0" y="90000"/>
                  </a:lnTo>
                  <a:cubicBezTo>
                    <a:pt x="0" y="73431"/>
                    <a:pt x="13431" y="60000"/>
                    <a:pt x="30000" y="60000"/>
                  </a:cubicBezTo>
                  <a:lnTo>
                    <a:pt x="75000" y="60000"/>
                  </a:lnTo>
                  <a:lnTo>
                    <a:pt x="75000" y="45000"/>
                  </a:lnTo>
                  <a:cubicBezTo>
                    <a:pt x="75000" y="20147"/>
                    <a:pt x="95147" y="0"/>
                    <a:pt x="120000" y="0"/>
                  </a:cubicBezTo>
                  <a:cubicBezTo>
                    <a:pt x="144854" y="0"/>
                    <a:pt x="165000" y="20147"/>
                    <a:pt x="165000" y="45000"/>
                  </a:cubicBezTo>
                  <a:lnTo>
                    <a:pt x="165000" y="60000"/>
                  </a:lnTo>
                  <a:lnTo>
                    <a:pt x="210000" y="60000"/>
                  </a:lnTo>
                  <a:cubicBezTo>
                    <a:pt x="226569" y="60000"/>
                    <a:pt x="240000" y="73431"/>
                    <a:pt x="240000" y="90000"/>
                  </a:cubicBezTo>
                  <a:lnTo>
                    <a:pt x="240000" y="13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718" name="Рисунок 166">
            <a:extLst>
              <a:ext uri="{FF2B5EF4-FFF2-40B4-BE49-F238E27FC236}">
                <a16:creationId xmlns:a16="http://schemas.microsoft.com/office/drawing/2014/main" id="{6B08F9C9-0100-AD42-AB3A-8D03D1F50B8F}"/>
              </a:ext>
            </a:extLst>
          </p:cNvPr>
          <p:cNvGrpSpPr/>
          <p:nvPr/>
        </p:nvGrpSpPr>
        <p:grpSpPr>
          <a:xfrm>
            <a:off x="661871" y="3786135"/>
            <a:ext cx="360000" cy="360000"/>
            <a:chOff x="695324" y="4105091"/>
            <a:chExt cx="360000" cy="360000"/>
          </a:xfrm>
        </p:grpSpPr>
        <p:sp>
          <p:nvSpPr>
            <p:cNvPr id="719" name="Полилиния 718">
              <a:extLst>
                <a:ext uri="{FF2B5EF4-FFF2-40B4-BE49-F238E27FC236}">
                  <a16:creationId xmlns:a16="http://schemas.microsoft.com/office/drawing/2014/main" id="{065584EE-72EE-2048-911A-30D21F369CB4}"/>
                </a:ext>
              </a:extLst>
            </p:cNvPr>
            <p:cNvSpPr/>
            <p:nvPr/>
          </p:nvSpPr>
          <p:spPr>
            <a:xfrm>
              <a:off x="695324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0" name="Полилиния 719">
              <a:extLst>
                <a:ext uri="{FF2B5EF4-FFF2-40B4-BE49-F238E27FC236}">
                  <a16:creationId xmlns:a16="http://schemas.microsoft.com/office/drawing/2014/main" id="{CF1F8D7C-4520-1546-A308-8BB96543DD36}"/>
                </a:ext>
              </a:extLst>
            </p:cNvPr>
            <p:cNvSpPr/>
            <p:nvPr/>
          </p:nvSpPr>
          <p:spPr>
            <a:xfrm>
              <a:off x="725324" y="4135091"/>
              <a:ext cx="300000" cy="300000"/>
            </a:xfrm>
            <a:custGeom>
              <a:avLst/>
              <a:gdLst>
                <a:gd name="connsiteX0" fmla="*/ 300000 w 300000"/>
                <a:gd name="connsiteY0" fmla="*/ 150000 h 300000"/>
                <a:gd name="connsiteX1" fmla="*/ 150000 w 300000"/>
                <a:gd name="connsiteY1" fmla="*/ 300000 h 300000"/>
                <a:gd name="connsiteX2" fmla="*/ 0 w 300000"/>
                <a:gd name="connsiteY2" fmla="*/ 150000 h 300000"/>
                <a:gd name="connsiteX3" fmla="*/ 150000 w 300000"/>
                <a:gd name="connsiteY3" fmla="*/ 0 h 300000"/>
                <a:gd name="connsiteX4" fmla="*/ 300000 w 300000"/>
                <a:gd name="connsiteY4" fmla="*/ 15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0" h="300000">
                  <a:moveTo>
                    <a:pt x="300000" y="150000"/>
                  </a:moveTo>
                  <a:cubicBezTo>
                    <a:pt x="300000" y="232843"/>
                    <a:pt x="232843" y="300000"/>
                    <a:pt x="150000" y="300000"/>
                  </a:cubicBezTo>
                  <a:cubicBezTo>
                    <a:pt x="67157" y="300000"/>
                    <a:pt x="0" y="232843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3" y="0"/>
                    <a:pt x="300000" y="67157"/>
                    <a:pt x="300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1" name="Полилиния 720">
              <a:extLst>
                <a:ext uri="{FF2B5EF4-FFF2-40B4-BE49-F238E27FC236}">
                  <a16:creationId xmlns:a16="http://schemas.microsoft.com/office/drawing/2014/main" id="{85011820-21DE-A14C-B6A1-FB8867CEFCBE}"/>
                </a:ext>
              </a:extLst>
            </p:cNvPr>
            <p:cNvSpPr/>
            <p:nvPr/>
          </p:nvSpPr>
          <p:spPr>
            <a:xfrm>
              <a:off x="805363" y="4193920"/>
              <a:ext cx="135764" cy="181170"/>
            </a:xfrm>
            <a:custGeom>
              <a:avLst/>
              <a:gdLst>
                <a:gd name="connsiteX0" fmla="*/ 69960 w 135764"/>
                <a:gd name="connsiteY0" fmla="*/ 151170 h 181170"/>
                <a:gd name="connsiteX1" fmla="*/ 84960 w 135764"/>
                <a:gd name="connsiteY1" fmla="*/ 166170 h 181170"/>
                <a:gd name="connsiteX2" fmla="*/ 69960 w 135764"/>
                <a:gd name="connsiteY2" fmla="*/ 181170 h 181170"/>
                <a:gd name="connsiteX3" fmla="*/ 54960 w 135764"/>
                <a:gd name="connsiteY3" fmla="*/ 166170 h 181170"/>
                <a:gd name="connsiteX4" fmla="*/ 69960 w 135764"/>
                <a:gd name="connsiteY4" fmla="*/ 151170 h 181170"/>
                <a:gd name="connsiteX5" fmla="*/ 48825 w 135764"/>
                <a:gd name="connsiteY5" fmla="*/ 134190 h 181170"/>
                <a:gd name="connsiteX6" fmla="*/ 48825 w 135764"/>
                <a:gd name="connsiteY6" fmla="*/ 109305 h 181170"/>
                <a:gd name="connsiteX7" fmla="*/ 67725 w 135764"/>
                <a:gd name="connsiteY7" fmla="*/ 109305 h 181170"/>
                <a:gd name="connsiteX8" fmla="*/ 108990 w 135764"/>
                <a:gd name="connsiteY8" fmla="*/ 67095 h 181170"/>
                <a:gd name="connsiteX9" fmla="*/ 67725 w 135764"/>
                <a:gd name="connsiteY9" fmla="*/ 24885 h 181170"/>
                <a:gd name="connsiteX10" fmla="*/ 26775 w 135764"/>
                <a:gd name="connsiteY10" fmla="*/ 67095 h 181170"/>
                <a:gd name="connsiteX11" fmla="*/ 0 w 135764"/>
                <a:gd name="connsiteY11" fmla="*/ 67095 h 181170"/>
                <a:gd name="connsiteX12" fmla="*/ 67725 w 135764"/>
                <a:gd name="connsiteY12" fmla="*/ 0 h 181170"/>
                <a:gd name="connsiteX13" fmla="*/ 135765 w 135764"/>
                <a:gd name="connsiteY13" fmla="*/ 67095 h 181170"/>
                <a:gd name="connsiteX14" fmla="*/ 67725 w 135764"/>
                <a:gd name="connsiteY14" fmla="*/ 134190 h 181170"/>
                <a:gd name="connsiteX15" fmla="*/ 48825 w 135764"/>
                <a:gd name="connsiteY15" fmla="*/ 134190 h 181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5764" h="181170">
                  <a:moveTo>
                    <a:pt x="69960" y="151170"/>
                  </a:moveTo>
                  <a:cubicBezTo>
                    <a:pt x="78245" y="151170"/>
                    <a:pt x="84960" y="157886"/>
                    <a:pt x="84960" y="166170"/>
                  </a:cubicBezTo>
                  <a:cubicBezTo>
                    <a:pt x="84960" y="174455"/>
                    <a:pt x="78245" y="181170"/>
                    <a:pt x="69960" y="181170"/>
                  </a:cubicBezTo>
                  <a:cubicBezTo>
                    <a:pt x="61675" y="181170"/>
                    <a:pt x="54960" y="174455"/>
                    <a:pt x="54960" y="166170"/>
                  </a:cubicBezTo>
                  <a:cubicBezTo>
                    <a:pt x="54960" y="157886"/>
                    <a:pt x="61675" y="151170"/>
                    <a:pt x="69960" y="151170"/>
                  </a:cubicBezTo>
                  <a:close/>
                  <a:moveTo>
                    <a:pt x="48825" y="134190"/>
                  </a:moveTo>
                  <a:lnTo>
                    <a:pt x="48825" y="109305"/>
                  </a:lnTo>
                  <a:lnTo>
                    <a:pt x="67725" y="109305"/>
                  </a:lnTo>
                  <a:cubicBezTo>
                    <a:pt x="91665" y="109305"/>
                    <a:pt x="108990" y="91035"/>
                    <a:pt x="108990" y="67095"/>
                  </a:cubicBezTo>
                  <a:cubicBezTo>
                    <a:pt x="108990" y="43155"/>
                    <a:pt x="91665" y="24885"/>
                    <a:pt x="67725" y="24885"/>
                  </a:cubicBezTo>
                  <a:cubicBezTo>
                    <a:pt x="43470" y="24885"/>
                    <a:pt x="26775" y="43155"/>
                    <a:pt x="26775" y="67095"/>
                  </a:cubicBezTo>
                  <a:lnTo>
                    <a:pt x="0" y="67095"/>
                  </a:lnTo>
                  <a:cubicBezTo>
                    <a:pt x="0" y="29295"/>
                    <a:pt x="29610" y="0"/>
                    <a:pt x="67725" y="0"/>
                  </a:cubicBezTo>
                  <a:cubicBezTo>
                    <a:pt x="105840" y="0"/>
                    <a:pt x="135765" y="29295"/>
                    <a:pt x="135765" y="67095"/>
                  </a:cubicBezTo>
                  <a:cubicBezTo>
                    <a:pt x="135765" y="104895"/>
                    <a:pt x="105840" y="134190"/>
                    <a:pt x="67725" y="134190"/>
                  </a:cubicBezTo>
                  <a:lnTo>
                    <a:pt x="48825" y="13419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22" name="Рисунок 167">
            <a:extLst>
              <a:ext uri="{FF2B5EF4-FFF2-40B4-BE49-F238E27FC236}">
                <a16:creationId xmlns:a16="http://schemas.microsoft.com/office/drawing/2014/main" id="{CEE27BFD-0E7E-6743-A77C-DAE37E980E59}"/>
              </a:ext>
            </a:extLst>
          </p:cNvPr>
          <p:cNvGrpSpPr/>
          <p:nvPr/>
        </p:nvGrpSpPr>
        <p:grpSpPr>
          <a:xfrm>
            <a:off x="11233735" y="3113081"/>
            <a:ext cx="360000" cy="360000"/>
            <a:chOff x="11267188" y="3432037"/>
            <a:chExt cx="360000" cy="360000"/>
          </a:xfrm>
        </p:grpSpPr>
        <p:sp>
          <p:nvSpPr>
            <p:cNvPr id="723" name="Полилиния 722">
              <a:extLst>
                <a:ext uri="{FF2B5EF4-FFF2-40B4-BE49-F238E27FC236}">
                  <a16:creationId xmlns:a16="http://schemas.microsoft.com/office/drawing/2014/main" id="{AD96A6ED-DBE2-3941-9FBF-1F512664A1DE}"/>
                </a:ext>
              </a:extLst>
            </p:cNvPr>
            <p:cNvSpPr/>
            <p:nvPr/>
          </p:nvSpPr>
          <p:spPr>
            <a:xfrm>
              <a:off x="11267188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4" name="Полилиния 723">
              <a:extLst>
                <a:ext uri="{FF2B5EF4-FFF2-40B4-BE49-F238E27FC236}">
                  <a16:creationId xmlns:a16="http://schemas.microsoft.com/office/drawing/2014/main" id="{26DADCBF-F934-6142-AAC6-21EB739699C0}"/>
                </a:ext>
              </a:extLst>
            </p:cNvPr>
            <p:cNvSpPr/>
            <p:nvPr/>
          </p:nvSpPr>
          <p:spPr>
            <a:xfrm>
              <a:off x="11357188" y="3537037"/>
              <a:ext cx="75000" cy="165000"/>
            </a:xfrm>
            <a:custGeom>
              <a:avLst/>
              <a:gdLst>
                <a:gd name="connsiteX0" fmla="*/ 75000 w 75000"/>
                <a:gd name="connsiteY0" fmla="*/ 0 h 165000"/>
                <a:gd name="connsiteX1" fmla="*/ 45000 w 75000"/>
                <a:gd name="connsiteY1" fmla="*/ 90000 h 165000"/>
                <a:gd name="connsiteX2" fmla="*/ 75000 w 75000"/>
                <a:gd name="connsiteY2" fmla="*/ 90000 h 165000"/>
                <a:gd name="connsiteX3" fmla="*/ 75000 w 75000"/>
                <a:gd name="connsiteY3" fmla="*/ 165000 h 165000"/>
                <a:gd name="connsiteX4" fmla="*/ 0 w 75000"/>
                <a:gd name="connsiteY4" fmla="*/ 165000 h 165000"/>
                <a:gd name="connsiteX5" fmla="*/ 0 w 75000"/>
                <a:gd name="connsiteY5" fmla="*/ 90000 h 165000"/>
                <a:gd name="connsiteX6" fmla="*/ 30000 w 75000"/>
                <a:gd name="connsiteY6" fmla="*/ 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000" h="165000">
                  <a:moveTo>
                    <a:pt x="75000" y="0"/>
                  </a:moveTo>
                  <a:lnTo>
                    <a:pt x="45000" y="90000"/>
                  </a:lnTo>
                  <a:lnTo>
                    <a:pt x="75000" y="90000"/>
                  </a:lnTo>
                  <a:lnTo>
                    <a:pt x="75000" y="165000"/>
                  </a:lnTo>
                  <a:lnTo>
                    <a:pt x="0" y="165000"/>
                  </a:lnTo>
                  <a:lnTo>
                    <a:pt x="0" y="90000"/>
                  </a:lnTo>
                  <a:lnTo>
                    <a:pt x="30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5" name="Полилиния 724">
              <a:extLst>
                <a:ext uri="{FF2B5EF4-FFF2-40B4-BE49-F238E27FC236}">
                  <a16:creationId xmlns:a16="http://schemas.microsoft.com/office/drawing/2014/main" id="{A5348BCE-6860-DB4E-9DF3-337C184EBD3B}"/>
                </a:ext>
              </a:extLst>
            </p:cNvPr>
            <p:cNvSpPr/>
            <p:nvPr/>
          </p:nvSpPr>
          <p:spPr>
            <a:xfrm>
              <a:off x="11477188" y="3537037"/>
              <a:ext cx="75000" cy="165000"/>
            </a:xfrm>
            <a:custGeom>
              <a:avLst/>
              <a:gdLst>
                <a:gd name="connsiteX0" fmla="*/ 75000 w 75000"/>
                <a:gd name="connsiteY0" fmla="*/ 0 h 165000"/>
                <a:gd name="connsiteX1" fmla="*/ 45000 w 75000"/>
                <a:gd name="connsiteY1" fmla="*/ 90000 h 165000"/>
                <a:gd name="connsiteX2" fmla="*/ 75000 w 75000"/>
                <a:gd name="connsiteY2" fmla="*/ 90000 h 165000"/>
                <a:gd name="connsiteX3" fmla="*/ 75000 w 75000"/>
                <a:gd name="connsiteY3" fmla="*/ 165000 h 165000"/>
                <a:gd name="connsiteX4" fmla="*/ 0 w 75000"/>
                <a:gd name="connsiteY4" fmla="*/ 165000 h 165000"/>
                <a:gd name="connsiteX5" fmla="*/ 0 w 75000"/>
                <a:gd name="connsiteY5" fmla="*/ 90000 h 165000"/>
                <a:gd name="connsiteX6" fmla="*/ 30000 w 75000"/>
                <a:gd name="connsiteY6" fmla="*/ 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000" h="165000">
                  <a:moveTo>
                    <a:pt x="75000" y="0"/>
                  </a:moveTo>
                  <a:lnTo>
                    <a:pt x="45000" y="90000"/>
                  </a:lnTo>
                  <a:lnTo>
                    <a:pt x="75000" y="90000"/>
                  </a:lnTo>
                  <a:lnTo>
                    <a:pt x="75000" y="165000"/>
                  </a:lnTo>
                  <a:lnTo>
                    <a:pt x="0" y="165000"/>
                  </a:lnTo>
                  <a:lnTo>
                    <a:pt x="0" y="90000"/>
                  </a:lnTo>
                  <a:lnTo>
                    <a:pt x="3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26" name="Рисунок 168">
            <a:extLst>
              <a:ext uri="{FF2B5EF4-FFF2-40B4-BE49-F238E27FC236}">
                <a16:creationId xmlns:a16="http://schemas.microsoft.com/office/drawing/2014/main" id="{3452633C-8CC7-6C4D-83EB-938D0E677700}"/>
              </a:ext>
            </a:extLst>
          </p:cNvPr>
          <p:cNvGrpSpPr/>
          <p:nvPr/>
        </p:nvGrpSpPr>
        <p:grpSpPr>
          <a:xfrm>
            <a:off x="9723467" y="3113081"/>
            <a:ext cx="360000" cy="360000"/>
            <a:chOff x="9756920" y="3432037"/>
            <a:chExt cx="360000" cy="360000"/>
          </a:xfrm>
        </p:grpSpPr>
        <p:sp>
          <p:nvSpPr>
            <p:cNvPr id="727" name="Полилиния 726">
              <a:extLst>
                <a:ext uri="{FF2B5EF4-FFF2-40B4-BE49-F238E27FC236}">
                  <a16:creationId xmlns:a16="http://schemas.microsoft.com/office/drawing/2014/main" id="{64A54D2C-8AE6-7443-A423-3C353C8346DE}"/>
                </a:ext>
              </a:extLst>
            </p:cNvPr>
            <p:cNvSpPr/>
            <p:nvPr/>
          </p:nvSpPr>
          <p:spPr>
            <a:xfrm>
              <a:off x="9756920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8" name="Полилиния 727">
              <a:extLst>
                <a:ext uri="{FF2B5EF4-FFF2-40B4-BE49-F238E27FC236}">
                  <a16:creationId xmlns:a16="http://schemas.microsoft.com/office/drawing/2014/main" id="{90725238-081C-7E45-8BA2-B371027C6656}"/>
                </a:ext>
              </a:extLst>
            </p:cNvPr>
            <p:cNvSpPr/>
            <p:nvPr/>
          </p:nvSpPr>
          <p:spPr>
            <a:xfrm rot="-10800000">
              <a:off x="9966920" y="3537037"/>
              <a:ext cx="75000" cy="165000"/>
            </a:xfrm>
            <a:custGeom>
              <a:avLst/>
              <a:gdLst>
                <a:gd name="connsiteX0" fmla="*/ 75000 w 75000"/>
                <a:gd name="connsiteY0" fmla="*/ 0 h 165000"/>
                <a:gd name="connsiteX1" fmla="*/ 45000 w 75000"/>
                <a:gd name="connsiteY1" fmla="*/ 90000 h 165000"/>
                <a:gd name="connsiteX2" fmla="*/ 75000 w 75000"/>
                <a:gd name="connsiteY2" fmla="*/ 90000 h 165000"/>
                <a:gd name="connsiteX3" fmla="*/ 75000 w 75000"/>
                <a:gd name="connsiteY3" fmla="*/ 165000 h 165000"/>
                <a:gd name="connsiteX4" fmla="*/ 0 w 75000"/>
                <a:gd name="connsiteY4" fmla="*/ 165000 h 165000"/>
                <a:gd name="connsiteX5" fmla="*/ 0 w 75000"/>
                <a:gd name="connsiteY5" fmla="*/ 90000 h 165000"/>
                <a:gd name="connsiteX6" fmla="*/ 30000 w 75000"/>
                <a:gd name="connsiteY6" fmla="*/ 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000" h="165000">
                  <a:moveTo>
                    <a:pt x="75000" y="0"/>
                  </a:moveTo>
                  <a:lnTo>
                    <a:pt x="45000" y="90000"/>
                  </a:lnTo>
                  <a:lnTo>
                    <a:pt x="75000" y="90000"/>
                  </a:lnTo>
                  <a:lnTo>
                    <a:pt x="75000" y="165000"/>
                  </a:lnTo>
                  <a:lnTo>
                    <a:pt x="0" y="165000"/>
                  </a:lnTo>
                  <a:lnTo>
                    <a:pt x="0" y="90000"/>
                  </a:lnTo>
                  <a:lnTo>
                    <a:pt x="30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9" name="Полилиния 728">
              <a:extLst>
                <a:ext uri="{FF2B5EF4-FFF2-40B4-BE49-F238E27FC236}">
                  <a16:creationId xmlns:a16="http://schemas.microsoft.com/office/drawing/2014/main" id="{06B43CD9-2CE4-A044-8FF1-8A109B88E7E7}"/>
                </a:ext>
              </a:extLst>
            </p:cNvPr>
            <p:cNvSpPr/>
            <p:nvPr/>
          </p:nvSpPr>
          <p:spPr>
            <a:xfrm rot="-10800000">
              <a:off x="9846920" y="3537037"/>
              <a:ext cx="75000" cy="165000"/>
            </a:xfrm>
            <a:custGeom>
              <a:avLst/>
              <a:gdLst>
                <a:gd name="connsiteX0" fmla="*/ 75000 w 75000"/>
                <a:gd name="connsiteY0" fmla="*/ 0 h 165000"/>
                <a:gd name="connsiteX1" fmla="*/ 45000 w 75000"/>
                <a:gd name="connsiteY1" fmla="*/ 90000 h 165000"/>
                <a:gd name="connsiteX2" fmla="*/ 75000 w 75000"/>
                <a:gd name="connsiteY2" fmla="*/ 90000 h 165000"/>
                <a:gd name="connsiteX3" fmla="*/ 75000 w 75000"/>
                <a:gd name="connsiteY3" fmla="*/ 165000 h 165000"/>
                <a:gd name="connsiteX4" fmla="*/ 0 w 75000"/>
                <a:gd name="connsiteY4" fmla="*/ 165000 h 165000"/>
                <a:gd name="connsiteX5" fmla="*/ 0 w 75000"/>
                <a:gd name="connsiteY5" fmla="*/ 90000 h 165000"/>
                <a:gd name="connsiteX6" fmla="*/ 30000 w 75000"/>
                <a:gd name="connsiteY6" fmla="*/ 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000" h="165000">
                  <a:moveTo>
                    <a:pt x="75000" y="0"/>
                  </a:moveTo>
                  <a:lnTo>
                    <a:pt x="45000" y="90000"/>
                  </a:lnTo>
                  <a:lnTo>
                    <a:pt x="75000" y="90000"/>
                  </a:lnTo>
                  <a:lnTo>
                    <a:pt x="75000" y="165000"/>
                  </a:lnTo>
                  <a:lnTo>
                    <a:pt x="0" y="165000"/>
                  </a:lnTo>
                  <a:lnTo>
                    <a:pt x="0" y="90000"/>
                  </a:lnTo>
                  <a:lnTo>
                    <a:pt x="3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30" name="Рисунок 169">
            <a:extLst>
              <a:ext uri="{FF2B5EF4-FFF2-40B4-BE49-F238E27FC236}">
                <a16:creationId xmlns:a16="http://schemas.microsoft.com/office/drawing/2014/main" id="{CB599034-05B4-2F4E-8607-D501174B1368}"/>
              </a:ext>
            </a:extLst>
          </p:cNvPr>
          <p:cNvGrpSpPr/>
          <p:nvPr/>
        </p:nvGrpSpPr>
        <p:grpSpPr>
          <a:xfrm>
            <a:off x="8213201" y="3113078"/>
            <a:ext cx="360000" cy="360002"/>
            <a:chOff x="8246654" y="3432034"/>
            <a:chExt cx="360000" cy="360002"/>
          </a:xfrm>
        </p:grpSpPr>
        <p:sp>
          <p:nvSpPr>
            <p:cNvPr id="731" name="Полилиния 730">
              <a:extLst>
                <a:ext uri="{FF2B5EF4-FFF2-40B4-BE49-F238E27FC236}">
                  <a16:creationId xmlns:a16="http://schemas.microsoft.com/office/drawing/2014/main" id="{00A23C6A-23A9-9F4D-9809-79B2DCE521C9}"/>
                </a:ext>
              </a:extLst>
            </p:cNvPr>
            <p:cNvSpPr/>
            <p:nvPr/>
          </p:nvSpPr>
          <p:spPr>
            <a:xfrm>
              <a:off x="8246654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2" name="Полилиния 731">
              <a:extLst>
                <a:ext uri="{FF2B5EF4-FFF2-40B4-BE49-F238E27FC236}">
                  <a16:creationId xmlns:a16="http://schemas.microsoft.com/office/drawing/2014/main" id="{7E7CC90E-2C66-7249-95ED-24308DC6EBCB}"/>
                </a:ext>
              </a:extLst>
            </p:cNvPr>
            <p:cNvSpPr/>
            <p:nvPr/>
          </p:nvSpPr>
          <p:spPr>
            <a:xfrm>
              <a:off x="8276654" y="3537037"/>
              <a:ext cx="300000" cy="210000"/>
            </a:xfrm>
            <a:custGeom>
              <a:avLst/>
              <a:gdLst>
                <a:gd name="connsiteX0" fmla="*/ 30000 w 300000"/>
                <a:gd name="connsiteY0" fmla="*/ 0 h 210000"/>
                <a:gd name="connsiteX1" fmla="*/ 270000 w 300000"/>
                <a:gd name="connsiteY1" fmla="*/ 0 h 210000"/>
                <a:gd name="connsiteX2" fmla="*/ 300000 w 300000"/>
                <a:gd name="connsiteY2" fmla="*/ 30000 h 210000"/>
                <a:gd name="connsiteX3" fmla="*/ 300000 w 300000"/>
                <a:gd name="connsiteY3" fmla="*/ 180000 h 210000"/>
                <a:gd name="connsiteX4" fmla="*/ 270000 w 300000"/>
                <a:gd name="connsiteY4" fmla="*/ 210000 h 210000"/>
                <a:gd name="connsiteX5" fmla="*/ 30000 w 300000"/>
                <a:gd name="connsiteY5" fmla="*/ 210000 h 210000"/>
                <a:gd name="connsiteX6" fmla="*/ 0 w 300000"/>
                <a:gd name="connsiteY6" fmla="*/ 180000 h 210000"/>
                <a:gd name="connsiteX7" fmla="*/ 0 w 300000"/>
                <a:gd name="connsiteY7" fmla="*/ 30000 h 210000"/>
                <a:gd name="connsiteX8" fmla="*/ 30000 w 300000"/>
                <a:gd name="connsiteY8" fmla="*/ 0 h 210000"/>
                <a:gd name="connsiteX9" fmla="*/ 210000 w 300000"/>
                <a:gd name="connsiteY9" fmla="*/ 165000 h 210000"/>
                <a:gd name="connsiteX10" fmla="*/ 270000 w 300000"/>
                <a:gd name="connsiteY10" fmla="*/ 105000 h 210000"/>
                <a:gd name="connsiteX11" fmla="*/ 210000 w 300000"/>
                <a:gd name="connsiteY11" fmla="*/ 45000 h 210000"/>
                <a:gd name="connsiteX12" fmla="*/ 150000 w 300000"/>
                <a:gd name="connsiteY12" fmla="*/ 105000 h 210000"/>
                <a:gd name="connsiteX13" fmla="*/ 210000 w 300000"/>
                <a:gd name="connsiteY13" fmla="*/ 165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000" h="210000">
                  <a:moveTo>
                    <a:pt x="30000" y="0"/>
                  </a:moveTo>
                  <a:lnTo>
                    <a:pt x="270000" y="0"/>
                  </a:lnTo>
                  <a:cubicBezTo>
                    <a:pt x="286569" y="0"/>
                    <a:pt x="300000" y="13431"/>
                    <a:pt x="300000" y="30000"/>
                  </a:cubicBezTo>
                  <a:lnTo>
                    <a:pt x="300000" y="180000"/>
                  </a:lnTo>
                  <a:cubicBezTo>
                    <a:pt x="300000" y="196569"/>
                    <a:pt x="286569" y="210000"/>
                    <a:pt x="270000" y="210000"/>
                  </a:cubicBezTo>
                  <a:lnTo>
                    <a:pt x="30000" y="210000"/>
                  </a:lnTo>
                  <a:cubicBezTo>
                    <a:pt x="13431" y="210000"/>
                    <a:pt x="0" y="196569"/>
                    <a:pt x="0" y="18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210000" y="165000"/>
                  </a:moveTo>
                  <a:cubicBezTo>
                    <a:pt x="243137" y="165000"/>
                    <a:pt x="270000" y="138137"/>
                    <a:pt x="270000" y="105000"/>
                  </a:cubicBezTo>
                  <a:cubicBezTo>
                    <a:pt x="270000" y="71864"/>
                    <a:pt x="243137" y="45000"/>
                    <a:pt x="210000" y="45000"/>
                  </a:cubicBezTo>
                  <a:cubicBezTo>
                    <a:pt x="176864" y="45000"/>
                    <a:pt x="150000" y="71864"/>
                    <a:pt x="150000" y="105000"/>
                  </a:cubicBezTo>
                  <a:cubicBezTo>
                    <a:pt x="150000" y="138137"/>
                    <a:pt x="176864" y="165000"/>
                    <a:pt x="210000" y="16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3" name="Полилиния 732">
              <a:extLst>
                <a:ext uri="{FF2B5EF4-FFF2-40B4-BE49-F238E27FC236}">
                  <a16:creationId xmlns:a16="http://schemas.microsoft.com/office/drawing/2014/main" id="{8B9F0541-F55F-3842-87D5-45342C1351E9}"/>
                </a:ext>
              </a:extLst>
            </p:cNvPr>
            <p:cNvSpPr/>
            <p:nvPr/>
          </p:nvSpPr>
          <p:spPr>
            <a:xfrm>
              <a:off x="8359151" y="3432034"/>
              <a:ext cx="196781" cy="106465"/>
            </a:xfrm>
            <a:custGeom>
              <a:avLst/>
              <a:gdLst>
                <a:gd name="connsiteX0" fmla="*/ 196782 w 196781"/>
                <a:gd name="connsiteY0" fmla="*/ 106465 h 106465"/>
                <a:gd name="connsiteX1" fmla="*/ 187503 w 196781"/>
                <a:gd name="connsiteY1" fmla="*/ 105003 h 106465"/>
                <a:gd name="connsiteX2" fmla="*/ 145524 w 196781"/>
                <a:gd name="connsiteY2" fmla="*/ 105003 h 106465"/>
                <a:gd name="connsiteX3" fmla="*/ 7694 w 196781"/>
                <a:gd name="connsiteY3" fmla="*/ 28102 h 106465"/>
                <a:gd name="connsiteX4" fmla="*/ 1904 w 196781"/>
                <a:gd name="connsiteY4" fmla="*/ 7694 h 106465"/>
                <a:gd name="connsiteX5" fmla="*/ 22311 w 196781"/>
                <a:gd name="connsiteY5" fmla="*/ 1904 h 106465"/>
                <a:gd name="connsiteX6" fmla="*/ 189178 w 196781"/>
                <a:gd name="connsiteY6" fmla="*/ 95006 h 106465"/>
                <a:gd name="connsiteX7" fmla="*/ 196782 w 196781"/>
                <a:gd name="connsiteY7" fmla="*/ 106465 h 106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781" h="106465">
                  <a:moveTo>
                    <a:pt x="196782" y="106465"/>
                  </a:moveTo>
                  <a:cubicBezTo>
                    <a:pt x="193860" y="105516"/>
                    <a:pt x="190741" y="105003"/>
                    <a:pt x="187503" y="105003"/>
                  </a:cubicBezTo>
                  <a:lnTo>
                    <a:pt x="145524" y="105003"/>
                  </a:lnTo>
                  <a:lnTo>
                    <a:pt x="7694" y="28102"/>
                  </a:lnTo>
                  <a:cubicBezTo>
                    <a:pt x="460" y="24065"/>
                    <a:pt x="-2133" y="14929"/>
                    <a:pt x="1904" y="7694"/>
                  </a:cubicBezTo>
                  <a:cubicBezTo>
                    <a:pt x="5940" y="460"/>
                    <a:pt x="15077" y="-2133"/>
                    <a:pt x="22311" y="1904"/>
                  </a:cubicBezTo>
                  <a:lnTo>
                    <a:pt x="189178" y="95006"/>
                  </a:lnTo>
                  <a:cubicBezTo>
                    <a:pt x="193582" y="97463"/>
                    <a:pt x="196266" y="101809"/>
                    <a:pt x="196782" y="10646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4" name="Полилиния 733">
              <a:extLst>
                <a:ext uri="{FF2B5EF4-FFF2-40B4-BE49-F238E27FC236}">
                  <a16:creationId xmlns:a16="http://schemas.microsoft.com/office/drawing/2014/main" id="{B7149496-DA53-554B-9AA8-C8F069EFA37B}"/>
                </a:ext>
              </a:extLst>
            </p:cNvPr>
            <p:cNvSpPr/>
            <p:nvPr/>
          </p:nvSpPr>
          <p:spPr>
            <a:xfrm>
              <a:off x="8456654" y="3612037"/>
              <a:ext cx="60000" cy="60000"/>
            </a:xfrm>
            <a:custGeom>
              <a:avLst/>
              <a:gdLst>
                <a:gd name="connsiteX0" fmla="*/ 30000 w 60000"/>
                <a:gd name="connsiteY0" fmla="*/ 60000 h 60000"/>
                <a:gd name="connsiteX1" fmla="*/ 60000 w 60000"/>
                <a:gd name="connsiteY1" fmla="*/ 30000 h 60000"/>
                <a:gd name="connsiteX2" fmla="*/ 30000 w 60000"/>
                <a:gd name="connsiteY2" fmla="*/ 0 h 60000"/>
                <a:gd name="connsiteX3" fmla="*/ 0 w 60000"/>
                <a:gd name="connsiteY3" fmla="*/ 30000 h 60000"/>
                <a:gd name="connsiteX4" fmla="*/ 30000 w 60000"/>
                <a:gd name="connsiteY4" fmla="*/ 6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30000" y="60000"/>
                  </a:moveTo>
                  <a:cubicBezTo>
                    <a:pt x="46569" y="60000"/>
                    <a:pt x="60000" y="46569"/>
                    <a:pt x="60000" y="30000"/>
                  </a:cubicBezTo>
                  <a:cubicBezTo>
                    <a:pt x="60000" y="13431"/>
                    <a:pt x="46569" y="0"/>
                    <a:pt x="30000" y="0"/>
                  </a:cubicBezTo>
                  <a:cubicBezTo>
                    <a:pt x="13431" y="0"/>
                    <a:pt x="0" y="13431"/>
                    <a:pt x="0" y="30000"/>
                  </a:cubicBezTo>
                  <a:cubicBezTo>
                    <a:pt x="0" y="46569"/>
                    <a:pt x="13431" y="60000"/>
                    <a:pt x="30000" y="6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5" name="Полилиния 734">
              <a:extLst>
                <a:ext uri="{FF2B5EF4-FFF2-40B4-BE49-F238E27FC236}">
                  <a16:creationId xmlns:a16="http://schemas.microsoft.com/office/drawing/2014/main" id="{763433FF-EB57-F144-8E0D-7E7C54DD430D}"/>
                </a:ext>
              </a:extLst>
            </p:cNvPr>
            <p:cNvSpPr/>
            <p:nvPr/>
          </p:nvSpPr>
          <p:spPr>
            <a:xfrm>
              <a:off x="8306654" y="3597037"/>
              <a:ext cx="75000" cy="30000"/>
            </a:xfrm>
            <a:custGeom>
              <a:avLst/>
              <a:gdLst>
                <a:gd name="connsiteX0" fmla="*/ 60000 w 75000"/>
                <a:gd name="connsiteY0" fmla="*/ 0 h 30000"/>
                <a:gd name="connsiteX1" fmla="*/ 75000 w 75000"/>
                <a:gd name="connsiteY1" fmla="*/ 0 h 30000"/>
                <a:gd name="connsiteX2" fmla="*/ 75000 w 75000"/>
                <a:gd name="connsiteY2" fmla="*/ 30000 h 30000"/>
                <a:gd name="connsiteX3" fmla="*/ 60000 w 75000"/>
                <a:gd name="connsiteY3" fmla="*/ 30000 h 30000"/>
                <a:gd name="connsiteX4" fmla="*/ 15000 w 75000"/>
                <a:gd name="connsiteY4" fmla="*/ 30000 h 30000"/>
                <a:gd name="connsiteX5" fmla="*/ 0 w 75000"/>
                <a:gd name="connsiteY5" fmla="*/ 30000 h 30000"/>
                <a:gd name="connsiteX6" fmla="*/ 0 w 75000"/>
                <a:gd name="connsiteY6" fmla="*/ 0 h 30000"/>
                <a:gd name="connsiteX7" fmla="*/ 15000 w 75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000" h="30000">
                  <a:moveTo>
                    <a:pt x="60000" y="0"/>
                  </a:moveTo>
                  <a:cubicBezTo>
                    <a:pt x="68284" y="0"/>
                    <a:pt x="75000" y="0"/>
                    <a:pt x="75000" y="0"/>
                  </a:cubicBezTo>
                  <a:lnTo>
                    <a:pt x="75000" y="30000"/>
                  </a:lnTo>
                  <a:cubicBezTo>
                    <a:pt x="75000" y="30000"/>
                    <a:pt x="68284" y="30000"/>
                    <a:pt x="60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6" name="Полилиния 735">
              <a:extLst>
                <a:ext uri="{FF2B5EF4-FFF2-40B4-BE49-F238E27FC236}">
                  <a16:creationId xmlns:a16="http://schemas.microsoft.com/office/drawing/2014/main" id="{21EC2F45-4743-8643-AD41-1E24B8324D5C}"/>
                </a:ext>
              </a:extLst>
            </p:cNvPr>
            <p:cNvSpPr/>
            <p:nvPr/>
          </p:nvSpPr>
          <p:spPr>
            <a:xfrm>
              <a:off x="8306654" y="3657037"/>
              <a:ext cx="75000" cy="30000"/>
            </a:xfrm>
            <a:custGeom>
              <a:avLst/>
              <a:gdLst>
                <a:gd name="connsiteX0" fmla="*/ 60000 w 75000"/>
                <a:gd name="connsiteY0" fmla="*/ 0 h 30000"/>
                <a:gd name="connsiteX1" fmla="*/ 75000 w 75000"/>
                <a:gd name="connsiteY1" fmla="*/ 0 h 30000"/>
                <a:gd name="connsiteX2" fmla="*/ 75000 w 75000"/>
                <a:gd name="connsiteY2" fmla="*/ 30000 h 30000"/>
                <a:gd name="connsiteX3" fmla="*/ 60000 w 75000"/>
                <a:gd name="connsiteY3" fmla="*/ 30000 h 30000"/>
                <a:gd name="connsiteX4" fmla="*/ 15000 w 75000"/>
                <a:gd name="connsiteY4" fmla="*/ 30000 h 30000"/>
                <a:gd name="connsiteX5" fmla="*/ 0 w 75000"/>
                <a:gd name="connsiteY5" fmla="*/ 30000 h 30000"/>
                <a:gd name="connsiteX6" fmla="*/ 0 w 75000"/>
                <a:gd name="connsiteY6" fmla="*/ 0 h 30000"/>
                <a:gd name="connsiteX7" fmla="*/ 15000 w 75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000" h="30000">
                  <a:moveTo>
                    <a:pt x="60000" y="0"/>
                  </a:moveTo>
                  <a:cubicBezTo>
                    <a:pt x="68284" y="0"/>
                    <a:pt x="75000" y="0"/>
                    <a:pt x="75000" y="0"/>
                  </a:cubicBezTo>
                  <a:lnTo>
                    <a:pt x="75000" y="30000"/>
                  </a:lnTo>
                  <a:cubicBezTo>
                    <a:pt x="75000" y="30000"/>
                    <a:pt x="68284" y="30000"/>
                    <a:pt x="60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37" name="Рисунок 170">
            <a:extLst>
              <a:ext uri="{FF2B5EF4-FFF2-40B4-BE49-F238E27FC236}">
                <a16:creationId xmlns:a16="http://schemas.microsoft.com/office/drawing/2014/main" id="{0AD7E522-8FE6-444F-A118-90AE01F7844F}"/>
              </a:ext>
            </a:extLst>
          </p:cNvPr>
          <p:cNvGrpSpPr/>
          <p:nvPr/>
        </p:nvGrpSpPr>
        <p:grpSpPr>
          <a:xfrm>
            <a:off x="7458068" y="3113081"/>
            <a:ext cx="360000" cy="360000"/>
            <a:chOff x="7491521" y="3432037"/>
            <a:chExt cx="360000" cy="360000"/>
          </a:xfrm>
        </p:grpSpPr>
        <p:sp>
          <p:nvSpPr>
            <p:cNvPr id="738" name="Полилиния 737">
              <a:extLst>
                <a:ext uri="{FF2B5EF4-FFF2-40B4-BE49-F238E27FC236}">
                  <a16:creationId xmlns:a16="http://schemas.microsoft.com/office/drawing/2014/main" id="{7622373C-6EA7-1E41-8B11-42E0434BB3E4}"/>
                </a:ext>
              </a:extLst>
            </p:cNvPr>
            <p:cNvSpPr/>
            <p:nvPr/>
          </p:nvSpPr>
          <p:spPr>
            <a:xfrm>
              <a:off x="7491521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9" name="Полилиния 738">
              <a:extLst>
                <a:ext uri="{FF2B5EF4-FFF2-40B4-BE49-F238E27FC236}">
                  <a16:creationId xmlns:a16="http://schemas.microsoft.com/office/drawing/2014/main" id="{48ECD459-AEBA-0947-96CD-1FEDA53F40F3}"/>
                </a:ext>
              </a:extLst>
            </p:cNvPr>
            <p:cNvSpPr/>
            <p:nvPr/>
          </p:nvSpPr>
          <p:spPr>
            <a:xfrm>
              <a:off x="7536521" y="3477037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9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0" name="Полилиния 739">
              <a:extLst>
                <a:ext uri="{FF2B5EF4-FFF2-40B4-BE49-F238E27FC236}">
                  <a16:creationId xmlns:a16="http://schemas.microsoft.com/office/drawing/2014/main" id="{755162DF-90D8-8C4C-BAFA-A1E6C99630D2}"/>
                </a:ext>
              </a:extLst>
            </p:cNvPr>
            <p:cNvSpPr/>
            <p:nvPr/>
          </p:nvSpPr>
          <p:spPr>
            <a:xfrm>
              <a:off x="7590693" y="3673311"/>
              <a:ext cx="165536" cy="87962"/>
            </a:xfrm>
            <a:custGeom>
              <a:avLst/>
              <a:gdLst>
                <a:gd name="connsiteX0" fmla="*/ 34415 w 165536"/>
                <a:gd name="connsiteY0" fmla="*/ 515 h 87962"/>
                <a:gd name="connsiteX1" fmla="*/ 45022 w 165536"/>
                <a:gd name="connsiteY1" fmla="*/ 18886 h 87962"/>
                <a:gd name="connsiteX2" fmla="*/ 29493 w 165536"/>
                <a:gd name="connsiteY2" fmla="*/ 76841 h 87962"/>
                <a:gd name="connsiteX3" fmla="*/ 11121 w 165536"/>
                <a:gd name="connsiteY3" fmla="*/ 87448 h 87962"/>
                <a:gd name="connsiteX4" fmla="*/ 515 w 165536"/>
                <a:gd name="connsiteY4" fmla="*/ 69077 h 87962"/>
                <a:gd name="connsiteX5" fmla="*/ 16044 w 165536"/>
                <a:gd name="connsiteY5" fmla="*/ 11122 h 87962"/>
                <a:gd name="connsiteX6" fmla="*/ 34415 w 165536"/>
                <a:gd name="connsiteY6" fmla="*/ 515 h 87962"/>
                <a:gd name="connsiteX7" fmla="*/ 154416 w 165536"/>
                <a:gd name="connsiteY7" fmla="*/ 515 h 87962"/>
                <a:gd name="connsiteX8" fmla="*/ 165022 w 165536"/>
                <a:gd name="connsiteY8" fmla="*/ 18886 h 87962"/>
                <a:gd name="connsiteX9" fmla="*/ 149493 w 165536"/>
                <a:gd name="connsiteY9" fmla="*/ 76841 h 87962"/>
                <a:gd name="connsiteX10" fmla="*/ 131122 w 165536"/>
                <a:gd name="connsiteY10" fmla="*/ 87448 h 87962"/>
                <a:gd name="connsiteX11" fmla="*/ 120514 w 165536"/>
                <a:gd name="connsiteY11" fmla="*/ 69077 h 87962"/>
                <a:gd name="connsiteX12" fmla="*/ 136044 w 165536"/>
                <a:gd name="connsiteY12" fmla="*/ 11122 h 87962"/>
                <a:gd name="connsiteX13" fmla="*/ 154416 w 165536"/>
                <a:gd name="connsiteY13" fmla="*/ 515 h 87962"/>
                <a:gd name="connsiteX14" fmla="*/ 94416 w 165536"/>
                <a:gd name="connsiteY14" fmla="*/ 515 h 87962"/>
                <a:gd name="connsiteX15" fmla="*/ 105022 w 165536"/>
                <a:gd name="connsiteY15" fmla="*/ 18886 h 87962"/>
                <a:gd name="connsiteX16" fmla="*/ 89493 w 165536"/>
                <a:gd name="connsiteY16" fmla="*/ 76841 h 87962"/>
                <a:gd name="connsiteX17" fmla="*/ 71122 w 165536"/>
                <a:gd name="connsiteY17" fmla="*/ 87448 h 87962"/>
                <a:gd name="connsiteX18" fmla="*/ 60514 w 165536"/>
                <a:gd name="connsiteY18" fmla="*/ 69077 h 87962"/>
                <a:gd name="connsiteX19" fmla="*/ 76044 w 165536"/>
                <a:gd name="connsiteY19" fmla="*/ 11122 h 87962"/>
                <a:gd name="connsiteX20" fmla="*/ 94416 w 165536"/>
                <a:gd name="connsiteY20" fmla="*/ 515 h 8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5536" h="87962">
                  <a:moveTo>
                    <a:pt x="34415" y="515"/>
                  </a:moveTo>
                  <a:cubicBezTo>
                    <a:pt x="42417" y="2659"/>
                    <a:pt x="47166" y="10883"/>
                    <a:pt x="45022" y="18886"/>
                  </a:cubicBezTo>
                  <a:lnTo>
                    <a:pt x="29493" y="76841"/>
                  </a:lnTo>
                  <a:cubicBezTo>
                    <a:pt x="27349" y="84844"/>
                    <a:pt x="19123" y="89593"/>
                    <a:pt x="11121" y="87448"/>
                  </a:cubicBezTo>
                  <a:cubicBezTo>
                    <a:pt x="3119" y="85304"/>
                    <a:pt x="-1629" y="77078"/>
                    <a:pt x="515" y="69077"/>
                  </a:cubicBezTo>
                  <a:lnTo>
                    <a:pt x="16044" y="11122"/>
                  </a:lnTo>
                  <a:cubicBezTo>
                    <a:pt x="18188" y="3119"/>
                    <a:pt x="26413" y="-1630"/>
                    <a:pt x="34415" y="515"/>
                  </a:cubicBezTo>
                  <a:close/>
                  <a:moveTo>
                    <a:pt x="154416" y="515"/>
                  </a:moveTo>
                  <a:cubicBezTo>
                    <a:pt x="162417" y="2659"/>
                    <a:pt x="167166" y="10883"/>
                    <a:pt x="165022" y="18886"/>
                  </a:cubicBezTo>
                  <a:lnTo>
                    <a:pt x="149493" y="76841"/>
                  </a:lnTo>
                  <a:cubicBezTo>
                    <a:pt x="147349" y="84844"/>
                    <a:pt x="139123" y="89593"/>
                    <a:pt x="131122" y="87448"/>
                  </a:cubicBezTo>
                  <a:cubicBezTo>
                    <a:pt x="123120" y="85304"/>
                    <a:pt x="118371" y="77078"/>
                    <a:pt x="120514" y="69077"/>
                  </a:cubicBezTo>
                  <a:lnTo>
                    <a:pt x="136044" y="11122"/>
                  </a:lnTo>
                  <a:cubicBezTo>
                    <a:pt x="138189" y="3119"/>
                    <a:pt x="146413" y="-1630"/>
                    <a:pt x="154416" y="515"/>
                  </a:cubicBezTo>
                  <a:close/>
                  <a:moveTo>
                    <a:pt x="94416" y="515"/>
                  </a:moveTo>
                  <a:cubicBezTo>
                    <a:pt x="102417" y="2659"/>
                    <a:pt x="107166" y="10883"/>
                    <a:pt x="105022" y="18886"/>
                  </a:cubicBezTo>
                  <a:lnTo>
                    <a:pt x="89493" y="76841"/>
                  </a:lnTo>
                  <a:cubicBezTo>
                    <a:pt x="87349" y="84844"/>
                    <a:pt x="79123" y="89593"/>
                    <a:pt x="71122" y="87448"/>
                  </a:cubicBezTo>
                  <a:cubicBezTo>
                    <a:pt x="63120" y="85304"/>
                    <a:pt x="58371" y="77078"/>
                    <a:pt x="60514" y="69077"/>
                  </a:cubicBezTo>
                  <a:lnTo>
                    <a:pt x="76044" y="11122"/>
                  </a:lnTo>
                  <a:cubicBezTo>
                    <a:pt x="78189" y="3119"/>
                    <a:pt x="86413" y="-1630"/>
                    <a:pt x="94416" y="515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741" name="Рисунок 171">
            <a:extLst>
              <a:ext uri="{FF2B5EF4-FFF2-40B4-BE49-F238E27FC236}">
                <a16:creationId xmlns:a16="http://schemas.microsoft.com/office/drawing/2014/main" id="{993485F4-EFAC-4C4A-8176-CCFEB36E244F}"/>
              </a:ext>
            </a:extLst>
          </p:cNvPr>
          <p:cNvGrpSpPr/>
          <p:nvPr/>
        </p:nvGrpSpPr>
        <p:grpSpPr>
          <a:xfrm>
            <a:off x="8968334" y="3113081"/>
            <a:ext cx="360000" cy="360000"/>
            <a:chOff x="9001787" y="3432037"/>
            <a:chExt cx="360000" cy="360000"/>
          </a:xfrm>
        </p:grpSpPr>
        <p:sp>
          <p:nvSpPr>
            <p:cNvPr id="742" name="Полилиния 741">
              <a:extLst>
                <a:ext uri="{FF2B5EF4-FFF2-40B4-BE49-F238E27FC236}">
                  <a16:creationId xmlns:a16="http://schemas.microsoft.com/office/drawing/2014/main" id="{E78BC9F9-6E1D-A24C-BBBA-4DBBEEC8F08D}"/>
                </a:ext>
              </a:extLst>
            </p:cNvPr>
            <p:cNvSpPr/>
            <p:nvPr/>
          </p:nvSpPr>
          <p:spPr>
            <a:xfrm>
              <a:off x="9001787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3" name="Полилиния 742">
              <a:extLst>
                <a:ext uri="{FF2B5EF4-FFF2-40B4-BE49-F238E27FC236}">
                  <a16:creationId xmlns:a16="http://schemas.microsoft.com/office/drawing/2014/main" id="{B990489A-17AA-4D4F-AB51-5679D0F1EEF8}"/>
                </a:ext>
              </a:extLst>
            </p:cNvPr>
            <p:cNvSpPr/>
            <p:nvPr/>
          </p:nvSpPr>
          <p:spPr>
            <a:xfrm>
              <a:off x="9046787" y="3477037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9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4" name="Полилиния 743">
              <a:extLst>
                <a:ext uri="{FF2B5EF4-FFF2-40B4-BE49-F238E27FC236}">
                  <a16:creationId xmlns:a16="http://schemas.microsoft.com/office/drawing/2014/main" id="{6701281F-92D0-434E-B002-121F619DBA23}"/>
                </a:ext>
              </a:extLst>
            </p:cNvPr>
            <p:cNvSpPr/>
            <p:nvPr/>
          </p:nvSpPr>
          <p:spPr>
            <a:xfrm>
              <a:off x="9076787" y="3687037"/>
              <a:ext cx="195000" cy="60000"/>
            </a:xfrm>
            <a:custGeom>
              <a:avLst/>
              <a:gdLst>
                <a:gd name="connsiteX0" fmla="*/ 22500 w 195000"/>
                <a:gd name="connsiteY0" fmla="*/ 60000 h 60000"/>
                <a:gd name="connsiteX1" fmla="*/ 0 w 195000"/>
                <a:gd name="connsiteY1" fmla="*/ 37500 h 60000"/>
                <a:gd name="connsiteX2" fmla="*/ 22500 w 195000"/>
                <a:gd name="connsiteY2" fmla="*/ 0 h 60000"/>
                <a:gd name="connsiteX3" fmla="*/ 45000 w 195000"/>
                <a:gd name="connsiteY3" fmla="*/ 37500 h 60000"/>
                <a:gd name="connsiteX4" fmla="*/ 22500 w 195000"/>
                <a:gd name="connsiteY4" fmla="*/ 60000 h 60000"/>
                <a:gd name="connsiteX5" fmla="*/ 97500 w 195000"/>
                <a:gd name="connsiteY5" fmla="*/ 60000 h 60000"/>
                <a:gd name="connsiteX6" fmla="*/ 75000 w 195000"/>
                <a:gd name="connsiteY6" fmla="*/ 37500 h 60000"/>
                <a:gd name="connsiteX7" fmla="*/ 97500 w 195000"/>
                <a:gd name="connsiteY7" fmla="*/ 0 h 60000"/>
                <a:gd name="connsiteX8" fmla="*/ 120000 w 195000"/>
                <a:gd name="connsiteY8" fmla="*/ 37500 h 60000"/>
                <a:gd name="connsiteX9" fmla="*/ 97500 w 195000"/>
                <a:gd name="connsiteY9" fmla="*/ 60000 h 60000"/>
                <a:gd name="connsiteX10" fmla="*/ 172500 w 195000"/>
                <a:gd name="connsiteY10" fmla="*/ 60000 h 60000"/>
                <a:gd name="connsiteX11" fmla="*/ 150000 w 195000"/>
                <a:gd name="connsiteY11" fmla="*/ 37500 h 60000"/>
                <a:gd name="connsiteX12" fmla="*/ 172500 w 195000"/>
                <a:gd name="connsiteY12" fmla="*/ 0 h 60000"/>
                <a:gd name="connsiteX13" fmla="*/ 195000 w 195000"/>
                <a:gd name="connsiteY13" fmla="*/ 37500 h 60000"/>
                <a:gd name="connsiteX14" fmla="*/ 172500 w 195000"/>
                <a:gd name="connsiteY14" fmla="*/ 6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5000" h="60000">
                  <a:moveTo>
                    <a:pt x="22500" y="60000"/>
                  </a:moveTo>
                  <a:cubicBezTo>
                    <a:pt x="10074" y="60000"/>
                    <a:pt x="0" y="49926"/>
                    <a:pt x="0" y="37500"/>
                  </a:cubicBezTo>
                  <a:cubicBezTo>
                    <a:pt x="0" y="29216"/>
                    <a:pt x="7500" y="16716"/>
                    <a:pt x="22500" y="0"/>
                  </a:cubicBezTo>
                  <a:cubicBezTo>
                    <a:pt x="37500" y="16716"/>
                    <a:pt x="45000" y="29216"/>
                    <a:pt x="45000" y="37500"/>
                  </a:cubicBezTo>
                  <a:cubicBezTo>
                    <a:pt x="45000" y="49926"/>
                    <a:pt x="34926" y="60000"/>
                    <a:pt x="22500" y="60000"/>
                  </a:cubicBezTo>
                  <a:close/>
                  <a:moveTo>
                    <a:pt x="97500" y="60000"/>
                  </a:moveTo>
                  <a:cubicBezTo>
                    <a:pt x="85074" y="60000"/>
                    <a:pt x="75000" y="49926"/>
                    <a:pt x="75000" y="37500"/>
                  </a:cubicBezTo>
                  <a:cubicBezTo>
                    <a:pt x="75000" y="29216"/>
                    <a:pt x="82500" y="16716"/>
                    <a:pt x="97500" y="0"/>
                  </a:cubicBezTo>
                  <a:cubicBezTo>
                    <a:pt x="112500" y="16716"/>
                    <a:pt x="120000" y="29216"/>
                    <a:pt x="120000" y="37500"/>
                  </a:cubicBezTo>
                  <a:cubicBezTo>
                    <a:pt x="120000" y="49926"/>
                    <a:pt x="109926" y="60000"/>
                    <a:pt x="97500" y="60000"/>
                  </a:cubicBezTo>
                  <a:close/>
                  <a:moveTo>
                    <a:pt x="172500" y="60000"/>
                  </a:moveTo>
                  <a:cubicBezTo>
                    <a:pt x="160074" y="60000"/>
                    <a:pt x="150000" y="49926"/>
                    <a:pt x="150000" y="37500"/>
                  </a:cubicBezTo>
                  <a:cubicBezTo>
                    <a:pt x="150000" y="29216"/>
                    <a:pt x="157500" y="16716"/>
                    <a:pt x="172500" y="0"/>
                  </a:cubicBezTo>
                  <a:cubicBezTo>
                    <a:pt x="187500" y="16716"/>
                    <a:pt x="195000" y="29216"/>
                    <a:pt x="195000" y="37500"/>
                  </a:cubicBezTo>
                  <a:cubicBezTo>
                    <a:pt x="195000" y="49926"/>
                    <a:pt x="184926" y="60000"/>
                    <a:pt x="172500" y="6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45" name="Рисунок 172">
            <a:extLst>
              <a:ext uri="{FF2B5EF4-FFF2-40B4-BE49-F238E27FC236}">
                <a16:creationId xmlns:a16="http://schemas.microsoft.com/office/drawing/2014/main" id="{4A829842-ECA9-DF43-B93E-8E72FD18DE12}"/>
              </a:ext>
            </a:extLst>
          </p:cNvPr>
          <p:cNvGrpSpPr/>
          <p:nvPr/>
        </p:nvGrpSpPr>
        <p:grpSpPr>
          <a:xfrm>
            <a:off x="10478600" y="3113081"/>
            <a:ext cx="360000" cy="360000"/>
            <a:chOff x="10512053" y="3432037"/>
            <a:chExt cx="360000" cy="360000"/>
          </a:xfrm>
        </p:grpSpPr>
        <p:sp>
          <p:nvSpPr>
            <p:cNvPr id="746" name="Полилиния 745">
              <a:extLst>
                <a:ext uri="{FF2B5EF4-FFF2-40B4-BE49-F238E27FC236}">
                  <a16:creationId xmlns:a16="http://schemas.microsoft.com/office/drawing/2014/main" id="{C3DAEC9E-CC93-5F48-A399-7BD105F45D2B}"/>
                </a:ext>
              </a:extLst>
            </p:cNvPr>
            <p:cNvSpPr/>
            <p:nvPr/>
          </p:nvSpPr>
          <p:spPr>
            <a:xfrm>
              <a:off x="10512053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7" name="Полилиния 746">
              <a:extLst>
                <a:ext uri="{FF2B5EF4-FFF2-40B4-BE49-F238E27FC236}">
                  <a16:creationId xmlns:a16="http://schemas.microsoft.com/office/drawing/2014/main" id="{77E91226-7C18-DB48-A6D1-CB1CB0704F61}"/>
                </a:ext>
              </a:extLst>
            </p:cNvPr>
            <p:cNvSpPr/>
            <p:nvPr/>
          </p:nvSpPr>
          <p:spPr>
            <a:xfrm>
              <a:off x="10542053" y="3537037"/>
              <a:ext cx="300000" cy="195000"/>
            </a:xfrm>
            <a:custGeom>
              <a:avLst/>
              <a:gdLst>
                <a:gd name="connsiteX0" fmla="*/ 34615 w 300000"/>
                <a:gd name="connsiteY0" fmla="*/ 90000 h 195000"/>
                <a:gd name="connsiteX1" fmla="*/ 0 w 300000"/>
                <a:gd name="connsiteY1" fmla="*/ 56250 h 195000"/>
                <a:gd name="connsiteX2" fmla="*/ 34615 w 300000"/>
                <a:gd name="connsiteY2" fmla="*/ 0 h 195000"/>
                <a:gd name="connsiteX3" fmla="*/ 69231 w 300000"/>
                <a:gd name="connsiteY3" fmla="*/ 56250 h 195000"/>
                <a:gd name="connsiteX4" fmla="*/ 34615 w 300000"/>
                <a:gd name="connsiteY4" fmla="*/ 90000 h 195000"/>
                <a:gd name="connsiteX5" fmla="*/ 265385 w 300000"/>
                <a:gd name="connsiteY5" fmla="*/ 90000 h 195000"/>
                <a:gd name="connsiteX6" fmla="*/ 230769 w 300000"/>
                <a:gd name="connsiteY6" fmla="*/ 56250 h 195000"/>
                <a:gd name="connsiteX7" fmla="*/ 265385 w 300000"/>
                <a:gd name="connsiteY7" fmla="*/ 0 h 195000"/>
                <a:gd name="connsiteX8" fmla="*/ 300000 w 300000"/>
                <a:gd name="connsiteY8" fmla="*/ 56250 h 195000"/>
                <a:gd name="connsiteX9" fmla="*/ 265385 w 300000"/>
                <a:gd name="connsiteY9" fmla="*/ 90000 h 195000"/>
                <a:gd name="connsiteX10" fmla="*/ 94615 w 300000"/>
                <a:gd name="connsiteY10" fmla="*/ 195000 h 195000"/>
                <a:gd name="connsiteX11" fmla="*/ 60000 w 300000"/>
                <a:gd name="connsiteY11" fmla="*/ 161250 h 195000"/>
                <a:gd name="connsiteX12" fmla="*/ 94615 w 300000"/>
                <a:gd name="connsiteY12" fmla="*/ 105000 h 195000"/>
                <a:gd name="connsiteX13" fmla="*/ 129231 w 300000"/>
                <a:gd name="connsiteY13" fmla="*/ 161250 h 195000"/>
                <a:gd name="connsiteX14" fmla="*/ 94615 w 300000"/>
                <a:gd name="connsiteY14" fmla="*/ 195000 h 195000"/>
                <a:gd name="connsiteX15" fmla="*/ 210000 w 300000"/>
                <a:gd name="connsiteY15" fmla="*/ 195000 h 195000"/>
                <a:gd name="connsiteX16" fmla="*/ 175385 w 300000"/>
                <a:gd name="connsiteY16" fmla="*/ 161250 h 195000"/>
                <a:gd name="connsiteX17" fmla="*/ 210000 w 300000"/>
                <a:gd name="connsiteY17" fmla="*/ 105000 h 195000"/>
                <a:gd name="connsiteX18" fmla="*/ 244615 w 300000"/>
                <a:gd name="connsiteY18" fmla="*/ 161250 h 195000"/>
                <a:gd name="connsiteX19" fmla="*/ 210000 w 300000"/>
                <a:gd name="connsiteY19" fmla="*/ 1950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0000" h="195000">
                  <a:moveTo>
                    <a:pt x="34615" y="90000"/>
                  </a:moveTo>
                  <a:cubicBezTo>
                    <a:pt x="15498" y="90000"/>
                    <a:pt x="0" y="74889"/>
                    <a:pt x="0" y="56250"/>
                  </a:cubicBezTo>
                  <a:cubicBezTo>
                    <a:pt x="0" y="43824"/>
                    <a:pt x="11538" y="25074"/>
                    <a:pt x="34615" y="0"/>
                  </a:cubicBezTo>
                  <a:cubicBezTo>
                    <a:pt x="57692" y="25074"/>
                    <a:pt x="69231" y="43824"/>
                    <a:pt x="69231" y="56250"/>
                  </a:cubicBezTo>
                  <a:cubicBezTo>
                    <a:pt x="69231" y="74889"/>
                    <a:pt x="53733" y="90000"/>
                    <a:pt x="34615" y="90000"/>
                  </a:cubicBezTo>
                  <a:close/>
                  <a:moveTo>
                    <a:pt x="265385" y="90000"/>
                  </a:moveTo>
                  <a:cubicBezTo>
                    <a:pt x="246267" y="90000"/>
                    <a:pt x="230769" y="74889"/>
                    <a:pt x="230769" y="56250"/>
                  </a:cubicBezTo>
                  <a:cubicBezTo>
                    <a:pt x="230769" y="43824"/>
                    <a:pt x="242307" y="25074"/>
                    <a:pt x="265385" y="0"/>
                  </a:cubicBezTo>
                  <a:cubicBezTo>
                    <a:pt x="288462" y="25074"/>
                    <a:pt x="300000" y="43824"/>
                    <a:pt x="300000" y="56250"/>
                  </a:cubicBezTo>
                  <a:cubicBezTo>
                    <a:pt x="300000" y="74889"/>
                    <a:pt x="284502" y="90000"/>
                    <a:pt x="265385" y="90000"/>
                  </a:cubicBezTo>
                  <a:close/>
                  <a:moveTo>
                    <a:pt x="94615" y="195000"/>
                  </a:moveTo>
                  <a:cubicBezTo>
                    <a:pt x="75498" y="195000"/>
                    <a:pt x="60000" y="179889"/>
                    <a:pt x="60000" y="161250"/>
                  </a:cubicBezTo>
                  <a:cubicBezTo>
                    <a:pt x="60000" y="148824"/>
                    <a:pt x="71538" y="130074"/>
                    <a:pt x="94615" y="105000"/>
                  </a:cubicBezTo>
                  <a:cubicBezTo>
                    <a:pt x="117692" y="130074"/>
                    <a:pt x="129231" y="148824"/>
                    <a:pt x="129231" y="161250"/>
                  </a:cubicBezTo>
                  <a:cubicBezTo>
                    <a:pt x="129231" y="179889"/>
                    <a:pt x="113733" y="195000"/>
                    <a:pt x="94615" y="195000"/>
                  </a:cubicBezTo>
                  <a:close/>
                  <a:moveTo>
                    <a:pt x="210000" y="195000"/>
                  </a:moveTo>
                  <a:cubicBezTo>
                    <a:pt x="190883" y="195000"/>
                    <a:pt x="175385" y="179889"/>
                    <a:pt x="175385" y="161250"/>
                  </a:cubicBezTo>
                  <a:cubicBezTo>
                    <a:pt x="175385" y="148824"/>
                    <a:pt x="186923" y="130074"/>
                    <a:pt x="210000" y="105000"/>
                  </a:cubicBezTo>
                  <a:cubicBezTo>
                    <a:pt x="233078" y="130074"/>
                    <a:pt x="244615" y="148824"/>
                    <a:pt x="244615" y="161250"/>
                  </a:cubicBezTo>
                  <a:cubicBezTo>
                    <a:pt x="244615" y="179889"/>
                    <a:pt x="229118" y="195000"/>
                    <a:pt x="210000" y="19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8" name="Полилиния 747">
              <a:extLst>
                <a:ext uri="{FF2B5EF4-FFF2-40B4-BE49-F238E27FC236}">
                  <a16:creationId xmlns:a16="http://schemas.microsoft.com/office/drawing/2014/main" id="{F217D577-4490-844D-85A1-D5AB5E3D5F40}"/>
                </a:ext>
              </a:extLst>
            </p:cNvPr>
            <p:cNvSpPr/>
            <p:nvPr/>
          </p:nvSpPr>
          <p:spPr>
            <a:xfrm>
              <a:off x="10657437" y="3537037"/>
              <a:ext cx="69230" cy="90000"/>
            </a:xfrm>
            <a:custGeom>
              <a:avLst/>
              <a:gdLst>
                <a:gd name="connsiteX0" fmla="*/ 34615 w 69230"/>
                <a:gd name="connsiteY0" fmla="*/ 90000 h 90000"/>
                <a:gd name="connsiteX1" fmla="*/ 69231 w 69230"/>
                <a:gd name="connsiteY1" fmla="*/ 56250 h 90000"/>
                <a:gd name="connsiteX2" fmla="*/ 34615 w 69230"/>
                <a:gd name="connsiteY2" fmla="*/ 0 h 90000"/>
                <a:gd name="connsiteX3" fmla="*/ 0 w 69230"/>
                <a:gd name="connsiteY3" fmla="*/ 56250 h 90000"/>
                <a:gd name="connsiteX4" fmla="*/ 34615 w 69230"/>
                <a:gd name="connsiteY4" fmla="*/ 9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30" h="90000">
                  <a:moveTo>
                    <a:pt x="34615" y="90000"/>
                  </a:moveTo>
                  <a:cubicBezTo>
                    <a:pt x="53733" y="90000"/>
                    <a:pt x="69231" y="74889"/>
                    <a:pt x="69231" y="56250"/>
                  </a:cubicBezTo>
                  <a:cubicBezTo>
                    <a:pt x="69231" y="43824"/>
                    <a:pt x="57693" y="25074"/>
                    <a:pt x="34615" y="0"/>
                  </a:cubicBezTo>
                  <a:cubicBezTo>
                    <a:pt x="11538" y="25074"/>
                    <a:pt x="0" y="43824"/>
                    <a:pt x="0" y="56250"/>
                  </a:cubicBezTo>
                  <a:cubicBezTo>
                    <a:pt x="0" y="74889"/>
                    <a:pt x="15498" y="90000"/>
                    <a:pt x="34615" y="9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49" name="Рисунок 173">
            <a:extLst>
              <a:ext uri="{FF2B5EF4-FFF2-40B4-BE49-F238E27FC236}">
                <a16:creationId xmlns:a16="http://schemas.microsoft.com/office/drawing/2014/main" id="{7D18A52A-824A-5442-8B74-4012D5E0B3B1}"/>
              </a:ext>
            </a:extLst>
          </p:cNvPr>
          <p:cNvGrpSpPr/>
          <p:nvPr/>
        </p:nvGrpSpPr>
        <p:grpSpPr>
          <a:xfrm>
            <a:off x="6702935" y="3113081"/>
            <a:ext cx="360000" cy="360000"/>
            <a:chOff x="6736388" y="3432037"/>
            <a:chExt cx="360000" cy="360000"/>
          </a:xfrm>
        </p:grpSpPr>
        <p:sp>
          <p:nvSpPr>
            <p:cNvPr id="750" name="Полилиния 749">
              <a:extLst>
                <a:ext uri="{FF2B5EF4-FFF2-40B4-BE49-F238E27FC236}">
                  <a16:creationId xmlns:a16="http://schemas.microsoft.com/office/drawing/2014/main" id="{07CC8061-6DB0-0F40-B2CE-CF21B8AA35C5}"/>
                </a:ext>
              </a:extLst>
            </p:cNvPr>
            <p:cNvSpPr/>
            <p:nvPr/>
          </p:nvSpPr>
          <p:spPr>
            <a:xfrm>
              <a:off x="6736388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1" name="Полилиния 750">
              <a:extLst>
                <a:ext uri="{FF2B5EF4-FFF2-40B4-BE49-F238E27FC236}">
                  <a16:creationId xmlns:a16="http://schemas.microsoft.com/office/drawing/2014/main" id="{0E1BCB53-0EF2-EB4D-B9B5-BC759C95FEA8}"/>
                </a:ext>
              </a:extLst>
            </p:cNvPr>
            <p:cNvSpPr/>
            <p:nvPr/>
          </p:nvSpPr>
          <p:spPr>
            <a:xfrm>
              <a:off x="6812447" y="3582037"/>
              <a:ext cx="207881" cy="90000"/>
            </a:xfrm>
            <a:custGeom>
              <a:avLst/>
              <a:gdLst>
                <a:gd name="connsiteX0" fmla="*/ 0 w 207881"/>
                <a:gd name="connsiteY0" fmla="*/ 90000 h 90000"/>
                <a:gd name="connsiteX1" fmla="*/ 103941 w 207881"/>
                <a:gd name="connsiteY1" fmla="*/ 0 h 90000"/>
                <a:gd name="connsiteX2" fmla="*/ 207882 w 207881"/>
                <a:gd name="connsiteY2" fmla="*/ 90000 h 90000"/>
                <a:gd name="connsiteX3" fmla="*/ 177441 w 207881"/>
                <a:gd name="connsiteY3" fmla="*/ 90000 h 90000"/>
                <a:gd name="connsiteX4" fmla="*/ 103941 w 207881"/>
                <a:gd name="connsiteY4" fmla="*/ 30000 h 90000"/>
                <a:gd name="connsiteX5" fmla="*/ 30441 w 207881"/>
                <a:gd name="connsiteY5" fmla="*/ 90000 h 90000"/>
                <a:gd name="connsiteX6" fmla="*/ 0 w 207881"/>
                <a:gd name="connsiteY6" fmla="*/ 90000 h 90000"/>
                <a:gd name="connsiteX7" fmla="*/ 61490 w 207881"/>
                <a:gd name="connsiteY7" fmla="*/ 90000 h 90000"/>
                <a:gd name="connsiteX8" fmla="*/ 103941 w 207881"/>
                <a:gd name="connsiteY8" fmla="*/ 60000 h 90000"/>
                <a:gd name="connsiteX9" fmla="*/ 146391 w 207881"/>
                <a:gd name="connsiteY9" fmla="*/ 90000 h 90000"/>
                <a:gd name="connsiteX10" fmla="*/ 61490 w 207881"/>
                <a:gd name="connsiteY10" fmla="*/ 9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7881" h="90000">
                  <a:moveTo>
                    <a:pt x="0" y="90000"/>
                  </a:moveTo>
                  <a:cubicBezTo>
                    <a:pt x="7322" y="38672"/>
                    <a:pt x="51512" y="0"/>
                    <a:pt x="103941" y="0"/>
                  </a:cubicBezTo>
                  <a:cubicBezTo>
                    <a:pt x="156373" y="0"/>
                    <a:pt x="200560" y="38676"/>
                    <a:pt x="207882" y="90000"/>
                  </a:cubicBezTo>
                  <a:lnTo>
                    <a:pt x="177441" y="90000"/>
                  </a:lnTo>
                  <a:cubicBezTo>
                    <a:pt x="170491" y="55767"/>
                    <a:pt x="140226" y="30000"/>
                    <a:pt x="103941" y="30000"/>
                  </a:cubicBezTo>
                  <a:cubicBezTo>
                    <a:pt x="67656" y="30000"/>
                    <a:pt x="37390" y="55767"/>
                    <a:pt x="30441" y="90000"/>
                  </a:cubicBezTo>
                  <a:lnTo>
                    <a:pt x="0" y="90000"/>
                  </a:lnTo>
                  <a:close/>
                  <a:moveTo>
                    <a:pt x="61490" y="90000"/>
                  </a:moveTo>
                  <a:cubicBezTo>
                    <a:pt x="67692" y="72417"/>
                    <a:pt x="84498" y="60000"/>
                    <a:pt x="103941" y="60000"/>
                  </a:cubicBezTo>
                  <a:cubicBezTo>
                    <a:pt x="123385" y="60000"/>
                    <a:pt x="140190" y="72419"/>
                    <a:pt x="146391" y="90000"/>
                  </a:cubicBezTo>
                  <a:lnTo>
                    <a:pt x="61490" y="9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2" name="Полилиния 751">
              <a:extLst>
                <a:ext uri="{FF2B5EF4-FFF2-40B4-BE49-F238E27FC236}">
                  <a16:creationId xmlns:a16="http://schemas.microsoft.com/office/drawing/2014/main" id="{73B40DC2-AD14-8047-A88A-7FCA7A445107}"/>
                </a:ext>
              </a:extLst>
            </p:cNvPr>
            <p:cNvSpPr/>
            <p:nvPr/>
          </p:nvSpPr>
          <p:spPr>
            <a:xfrm>
              <a:off x="6752060" y="3522037"/>
              <a:ext cx="328655" cy="150000"/>
            </a:xfrm>
            <a:custGeom>
              <a:avLst/>
              <a:gdLst>
                <a:gd name="connsiteX0" fmla="*/ 164328 w 328655"/>
                <a:gd name="connsiteY0" fmla="*/ 0 h 150000"/>
                <a:gd name="connsiteX1" fmla="*/ 328656 w 328655"/>
                <a:gd name="connsiteY1" fmla="*/ 150000 h 150000"/>
                <a:gd name="connsiteX2" fmla="*/ 298504 w 328655"/>
                <a:gd name="connsiteY2" fmla="*/ 150000 h 150000"/>
                <a:gd name="connsiteX3" fmla="*/ 298075 w 328655"/>
                <a:gd name="connsiteY3" fmla="*/ 146532 h 150000"/>
                <a:gd name="connsiteX4" fmla="*/ 164328 w 328655"/>
                <a:gd name="connsiteY4" fmla="*/ 30000 h 150000"/>
                <a:gd name="connsiteX5" fmla="*/ 30601 w 328655"/>
                <a:gd name="connsiteY5" fmla="*/ 146385 h 150000"/>
                <a:gd name="connsiteX6" fmla="*/ 30152 w 328655"/>
                <a:gd name="connsiteY6" fmla="*/ 150000 h 150000"/>
                <a:gd name="connsiteX7" fmla="*/ 0 w 328655"/>
                <a:gd name="connsiteY7" fmla="*/ 150000 h 150000"/>
                <a:gd name="connsiteX8" fmla="*/ 164328 w 328655"/>
                <a:gd name="connsiteY8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655" h="150000">
                  <a:moveTo>
                    <a:pt x="164328" y="0"/>
                  </a:moveTo>
                  <a:cubicBezTo>
                    <a:pt x="250398" y="0"/>
                    <a:pt x="321076" y="65903"/>
                    <a:pt x="328656" y="150000"/>
                  </a:cubicBezTo>
                  <a:lnTo>
                    <a:pt x="298504" y="150000"/>
                  </a:lnTo>
                  <a:cubicBezTo>
                    <a:pt x="298375" y="148839"/>
                    <a:pt x="298233" y="147684"/>
                    <a:pt x="298075" y="146532"/>
                  </a:cubicBezTo>
                  <a:cubicBezTo>
                    <a:pt x="289071" y="80711"/>
                    <a:pt x="232621" y="30000"/>
                    <a:pt x="164328" y="30000"/>
                  </a:cubicBezTo>
                  <a:cubicBezTo>
                    <a:pt x="96085" y="30000"/>
                    <a:pt x="39669" y="80636"/>
                    <a:pt x="30601" y="146385"/>
                  </a:cubicBezTo>
                  <a:cubicBezTo>
                    <a:pt x="30435" y="147585"/>
                    <a:pt x="30285" y="148790"/>
                    <a:pt x="30152" y="150000"/>
                  </a:cubicBezTo>
                  <a:lnTo>
                    <a:pt x="0" y="150000"/>
                  </a:lnTo>
                  <a:cubicBezTo>
                    <a:pt x="7579" y="65903"/>
                    <a:pt x="78257" y="0"/>
                    <a:pt x="164328" y="0"/>
                  </a:cubicBezTo>
                  <a:close/>
                </a:path>
              </a:pathLst>
            </a:custGeom>
            <a:solidFill>
              <a:srgbClr val="000000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3" name="Полилиния 752">
              <a:extLst>
                <a:ext uri="{FF2B5EF4-FFF2-40B4-BE49-F238E27FC236}">
                  <a16:creationId xmlns:a16="http://schemas.microsoft.com/office/drawing/2014/main" id="{54BC3A73-7246-1A40-9E17-E6BE7CA0B590}"/>
                </a:ext>
              </a:extLst>
            </p:cNvPr>
            <p:cNvSpPr/>
            <p:nvPr/>
          </p:nvSpPr>
          <p:spPr>
            <a:xfrm>
              <a:off x="6752060" y="3522037"/>
              <a:ext cx="328655" cy="150000"/>
            </a:xfrm>
            <a:custGeom>
              <a:avLst/>
              <a:gdLst>
                <a:gd name="connsiteX0" fmla="*/ 164328 w 328655"/>
                <a:gd name="connsiteY0" fmla="*/ 0 h 150000"/>
                <a:gd name="connsiteX1" fmla="*/ 328656 w 328655"/>
                <a:gd name="connsiteY1" fmla="*/ 150000 h 150000"/>
                <a:gd name="connsiteX2" fmla="*/ 298504 w 328655"/>
                <a:gd name="connsiteY2" fmla="*/ 150000 h 150000"/>
                <a:gd name="connsiteX3" fmla="*/ 298075 w 328655"/>
                <a:gd name="connsiteY3" fmla="*/ 146532 h 150000"/>
                <a:gd name="connsiteX4" fmla="*/ 164328 w 328655"/>
                <a:gd name="connsiteY4" fmla="*/ 30000 h 150000"/>
                <a:gd name="connsiteX5" fmla="*/ 30601 w 328655"/>
                <a:gd name="connsiteY5" fmla="*/ 146385 h 150000"/>
                <a:gd name="connsiteX6" fmla="*/ 30152 w 328655"/>
                <a:gd name="connsiteY6" fmla="*/ 150000 h 150000"/>
                <a:gd name="connsiteX7" fmla="*/ 0 w 328655"/>
                <a:gd name="connsiteY7" fmla="*/ 150000 h 150000"/>
                <a:gd name="connsiteX8" fmla="*/ 164328 w 328655"/>
                <a:gd name="connsiteY8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655" h="150000">
                  <a:moveTo>
                    <a:pt x="164328" y="0"/>
                  </a:moveTo>
                  <a:cubicBezTo>
                    <a:pt x="250398" y="0"/>
                    <a:pt x="321076" y="65903"/>
                    <a:pt x="328656" y="150000"/>
                  </a:cubicBezTo>
                  <a:lnTo>
                    <a:pt x="298504" y="150000"/>
                  </a:lnTo>
                  <a:cubicBezTo>
                    <a:pt x="298375" y="148839"/>
                    <a:pt x="298233" y="147684"/>
                    <a:pt x="298075" y="146532"/>
                  </a:cubicBezTo>
                  <a:cubicBezTo>
                    <a:pt x="289071" y="80711"/>
                    <a:pt x="232621" y="30000"/>
                    <a:pt x="164328" y="30000"/>
                  </a:cubicBezTo>
                  <a:cubicBezTo>
                    <a:pt x="96085" y="30000"/>
                    <a:pt x="39669" y="80636"/>
                    <a:pt x="30601" y="146385"/>
                  </a:cubicBezTo>
                  <a:cubicBezTo>
                    <a:pt x="30435" y="147585"/>
                    <a:pt x="30285" y="148790"/>
                    <a:pt x="30152" y="150000"/>
                  </a:cubicBezTo>
                  <a:lnTo>
                    <a:pt x="0" y="150000"/>
                  </a:lnTo>
                  <a:cubicBezTo>
                    <a:pt x="7579" y="65903"/>
                    <a:pt x="78257" y="0"/>
                    <a:pt x="164328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4" name="Рисунок 174">
            <a:extLst>
              <a:ext uri="{FF2B5EF4-FFF2-40B4-BE49-F238E27FC236}">
                <a16:creationId xmlns:a16="http://schemas.microsoft.com/office/drawing/2014/main" id="{81AF0554-40F6-4C49-A6E5-209F6B81CC46}"/>
              </a:ext>
            </a:extLst>
          </p:cNvPr>
          <p:cNvGrpSpPr/>
          <p:nvPr/>
        </p:nvGrpSpPr>
        <p:grpSpPr>
          <a:xfrm>
            <a:off x="5947802" y="3113081"/>
            <a:ext cx="360000" cy="360000"/>
            <a:chOff x="5981255" y="3432037"/>
            <a:chExt cx="360000" cy="360000"/>
          </a:xfrm>
        </p:grpSpPr>
        <p:sp>
          <p:nvSpPr>
            <p:cNvPr id="755" name="Полилиния 754">
              <a:extLst>
                <a:ext uri="{FF2B5EF4-FFF2-40B4-BE49-F238E27FC236}">
                  <a16:creationId xmlns:a16="http://schemas.microsoft.com/office/drawing/2014/main" id="{414B1610-439D-0E46-B5F8-CD2AAEDB9235}"/>
                </a:ext>
              </a:extLst>
            </p:cNvPr>
            <p:cNvSpPr/>
            <p:nvPr/>
          </p:nvSpPr>
          <p:spPr>
            <a:xfrm>
              <a:off x="5981255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6" name="Полилиния 755">
              <a:extLst>
                <a:ext uri="{FF2B5EF4-FFF2-40B4-BE49-F238E27FC236}">
                  <a16:creationId xmlns:a16="http://schemas.microsoft.com/office/drawing/2014/main" id="{14B4AD9E-1CE9-6341-BC5C-AD84A0F03586}"/>
                </a:ext>
              </a:extLst>
            </p:cNvPr>
            <p:cNvSpPr/>
            <p:nvPr/>
          </p:nvSpPr>
          <p:spPr>
            <a:xfrm>
              <a:off x="6026255" y="3462037"/>
              <a:ext cx="270000" cy="285000"/>
            </a:xfrm>
            <a:custGeom>
              <a:avLst/>
              <a:gdLst>
                <a:gd name="connsiteX0" fmla="*/ 90000 w 270000"/>
                <a:gd name="connsiteY0" fmla="*/ 165000 h 285000"/>
                <a:gd name="connsiteX1" fmla="*/ 180000 w 270000"/>
                <a:gd name="connsiteY1" fmla="*/ 165000 h 285000"/>
                <a:gd name="connsiteX2" fmla="*/ 261708 w 270000"/>
                <a:gd name="connsiteY2" fmla="*/ 205854 h 285000"/>
                <a:gd name="connsiteX3" fmla="*/ 270000 w 270000"/>
                <a:gd name="connsiteY3" fmla="*/ 219270 h 285000"/>
                <a:gd name="connsiteX4" fmla="*/ 270000 w 270000"/>
                <a:gd name="connsiteY4" fmla="*/ 270000 h 285000"/>
                <a:gd name="connsiteX5" fmla="*/ 255000 w 270000"/>
                <a:gd name="connsiteY5" fmla="*/ 285000 h 285000"/>
                <a:gd name="connsiteX6" fmla="*/ 15000 w 270000"/>
                <a:gd name="connsiteY6" fmla="*/ 285000 h 285000"/>
                <a:gd name="connsiteX7" fmla="*/ 0 w 270000"/>
                <a:gd name="connsiteY7" fmla="*/ 270000 h 285000"/>
                <a:gd name="connsiteX8" fmla="*/ 0 w 270000"/>
                <a:gd name="connsiteY8" fmla="*/ 219270 h 285000"/>
                <a:gd name="connsiteX9" fmla="*/ 8292 w 270000"/>
                <a:gd name="connsiteY9" fmla="*/ 205854 h 285000"/>
                <a:gd name="connsiteX10" fmla="*/ 90000 w 270000"/>
                <a:gd name="connsiteY10" fmla="*/ 165000 h 285000"/>
                <a:gd name="connsiteX11" fmla="*/ 105000 w 270000"/>
                <a:gd name="connsiteY11" fmla="*/ 0 h 285000"/>
                <a:gd name="connsiteX12" fmla="*/ 165000 w 270000"/>
                <a:gd name="connsiteY12" fmla="*/ 0 h 285000"/>
                <a:gd name="connsiteX13" fmla="*/ 105000 w 270000"/>
                <a:gd name="connsiteY13" fmla="*/ 0 h 285000"/>
                <a:gd name="connsiteX14" fmla="*/ 225000 w 270000"/>
                <a:gd name="connsiteY14" fmla="*/ 255000 h 285000"/>
                <a:gd name="connsiteX15" fmla="*/ 240000 w 270000"/>
                <a:gd name="connsiteY15" fmla="*/ 240000 h 285000"/>
                <a:gd name="connsiteX16" fmla="*/ 225000 w 270000"/>
                <a:gd name="connsiteY16" fmla="*/ 225000 h 285000"/>
                <a:gd name="connsiteX17" fmla="*/ 210000 w 270000"/>
                <a:gd name="connsiteY17" fmla="*/ 240000 h 285000"/>
                <a:gd name="connsiteX18" fmla="*/ 225000 w 270000"/>
                <a:gd name="connsiteY18" fmla="*/ 255000 h 285000"/>
                <a:gd name="connsiteX19" fmla="*/ 180000 w 270000"/>
                <a:gd name="connsiteY19" fmla="*/ 255000 h 285000"/>
                <a:gd name="connsiteX20" fmla="*/ 195000 w 270000"/>
                <a:gd name="connsiteY20" fmla="*/ 240000 h 285000"/>
                <a:gd name="connsiteX21" fmla="*/ 180000 w 270000"/>
                <a:gd name="connsiteY21" fmla="*/ 225000 h 285000"/>
                <a:gd name="connsiteX22" fmla="*/ 165000 w 270000"/>
                <a:gd name="connsiteY22" fmla="*/ 240000 h 285000"/>
                <a:gd name="connsiteX23" fmla="*/ 180000 w 270000"/>
                <a:gd name="connsiteY23" fmla="*/ 255000 h 285000"/>
                <a:gd name="connsiteX24" fmla="*/ 135000 w 270000"/>
                <a:gd name="connsiteY24" fmla="*/ 255000 h 285000"/>
                <a:gd name="connsiteX25" fmla="*/ 150000 w 270000"/>
                <a:gd name="connsiteY25" fmla="*/ 240000 h 285000"/>
                <a:gd name="connsiteX26" fmla="*/ 135000 w 270000"/>
                <a:gd name="connsiteY26" fmla="*/ 225000 h 285000"/>
                <a:gd name="connsiteX27" fmla="*/ 120000 w 270000"/>
                <a:gd name="connsiteY27" fmla="*/ 240000 h 285000"/>
                <a:gd name="connsiteX28" fmla="*/ 135000 w 270000"/>
                <a:gd name="connsiteY28" fmla="*/ 255000 h 28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70000" h="285000">
                  <a:moveTo>
                    <a:pt x="90000" y="165000"/>
                  </a:moveTo>
                  <a:lnTo>
                    <a:pt x="180000" y="165000"/>
                  </a:lnTo>
                  <a:lnTo>
                    <a:pt x="261708" y="205854"/>
                  </a:lnTo>
                  <a:cubicBezTo>
                    <a:pt x="266790" y="208395"/>
                    <a:pt x="270000" y="213590"/>
                    <a:pt x="270000" y="219270"/>
                  </a:cubicBezTo>
                  <a:lnTo>
                    <a:pt x="270000" y="270000"/>
                  </a:lnTo>
                  <a:cubicBezTo>
                    <a:pt x="270000" y="278285"/>
                    <a:pt x="263285" y="285000"/>
                    <a:pt x="255000" y="285000"/>
                  </a:cubicBezTo>
                  <a:lnTo>
                    <a:pt x="15000" y="285000"/>
                  </a:lnTo>
                  <a:cubicBezTo>
                    <a:pt x="6716" y="285000"/>
                    <a:pt x="0" y="278285"/>
                    <a:pt x="0" y="270000"/>
                  </a:cubicBezTo>
                  <a:lnTo>
                    <a:pt x="0" y="219270"/>
                  </a:lnTo>
                  <a:cubicBezTo>
                    <a:pt x="0" y="213590"/>
                    <a:pt x="3210" y="208395"/>
                    <a:pt x="8292" y="205854"/>
                  </a:cubicBezTo>
                  <a:lnTo>
                    <a:pt x="90000" y="165000"/>
                  </a:lnTo>
                  <a:close/>
                  <a:moveTo>
                    <a:pt x="105000" y="0"/>
                  </a:moveTo>
                  <a:lnTo>
                    <a:pt x="165000" y="0"/>
                  </a:lnTo>
                  <a:lnTo>
                    <a:pt x="105000" y="0"/>
                  </a:lnTo>
                  <a:close/>
                  <a:moveTo>
                    <a:pt x="225000" y="255000"/>
                  </a:moveTo>
                  <a:cubicBezTo>
                    <a:pt x="233285" y="255000"/>
                    <a:pt x="240000" y="248285"/>
                    <a:pt x="240000" y="240000"/>
                  </a:cubicBezTo>
                  <a:cubicBezTo>
                    <a:pt x="240000" y="231716"/>
                    <a:pt x="233285" y="225000"/>
                    <a:pt x="225000" y="225000"/>
                  </a:cubicBezTo>
                  <a:cubicBezTo>
                    <a:pt x="216716" y="225000"/>
                    <a:pt x="210000" y="231716"/>
                    <a:pt x="210000" y="240000"/>
                  </a:cubicBezTo>
                  <a:cubicBezTo>
                    <a:pt x="210000" y="248285"/>
                    <a:pt x="216716" y="255000"/>
                    <a:pt x="225000" y="255000"/>
                  </a:cubicBezTo>
                  <a:close/>
                  <a:moveTo>
                    <a:pt x="180000" y="255000"/>
                  </a:moveTo>
                  <a:cubicBezTo>
                    <a:pt x="188285" y="255000"/>
                    <a:pt x="195000" y="248285"/>
                    <a:pt x="195000" y="240000"/>
                  </a:cubicBezTo>
                  <a:cubicBezTo>
                    <a:pt x="195000" y="231716"/>
                    <a:pt x="188285" y="225000"/>
                    <a:pt x="180000" y="225000"/>
                  </a:cubicBezTo>
                  <a:cubicBezTo>
                    <a:pt x="171716" y="225000"/>
                    <a:pt x="165000" y="231716"/>
                    <a:pt x="165000" y="240000"/>
                  </a:cubicBezTo>
                  <a:cubicBezTo>
                    <a:pt x="165000" y="248285"/>
                    <a:pt x="171716" y="255000"/>
                    <a:pt x="180000" y="255000"/>
                  </a:cubicBezTo>
                  <a:close/>
                  <a:moveTo>
                    <a:pt x="135000" y="255000"/>
                  </a:moveTo>
                  <a:cubicBezTo>
                    <a:pt x="143285" y="255000"/>
                    <a:pt x="150000" y="248285"/>
                    <a:pt x="150000" y="240000"/>
                  </a:cubicBezTo>
                  <a:cubicBezTo>
                    <a:pt x="150000" y="231716"/>
                    <a:pt x="143285" y="225000"/>
                    <a:pt x="135000" y="225000"/>
                  </a:cubicBezTo>
                  <a:cubicBezTo>
                    <a:pt x="126715" y="225000"/>
                    <a:pt x="120000" y="231716"/>
                    <a:pt x="120000" y="240000"/>
                  </a:cubicBezTo>
                  <a:cubicBezTo>
                    <a:pt x="120000" y="248285"/>
                    <a:pt x="126715" y="255000"/>
                    <a:pt x="135000" y="25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7" name="Полилиния 756">
              <a:extLst>
                <a:ext uri="{FF2B5EF4-FFF2-40B4-BE49-F238E27FC236}">
                  <a16:creationId xmlns:a16="http://schemas.microsoft.com/office/drawing/2014/main" id="{483B5114-13A2-6A4A-8606-8B89902B95B0}"/>
                </a:ext>
              </a:extLst>
            </p:cNvPr>
            <p:cNvSpPr/>
            <p:nvPr/>
          </p:nvSpPr>
          <p:spPr>
            <a:xfrm>
              <a:off x="6116255" y="3462037"/>
              <a:ext cx="90000" cy="165000"/>
            </a:xfrm>
            <a:custGeom>
              <a:avLst/>
              <a:gdLst>
                <a:gd name="connsiteX0" fmla="*/ 0 w 90000"/>
                <a:gd name="connsiteY0" fmla="*/ 165000 h 165000"/>
                <a:gd name="connsiteX1" fmla="*/ 0 w 90000"/>
                <a:gd name="connsiteY1" fmla="*/ 15000 h 165000"/>
                <a:gd name="connsiteX2" fmla="*/ 15000 w 90000"/>
                <a:gd name="connsiteY2" fmla="*/ 0 h 165000"/>
                <a:gd name="connsiteX3" fmla="*/ 75000 w 90000"/>
                <a:gd name="connsiteY3" fmla="*/ 0 h 165000"/>
                <a:gd name="connsiteX4" fmla="*/ 90000 w 90000"/>
                <a:gd name="connsiteY4" fmla="*/ 15000 h 165000"/>
                <a:gd name="connsiteX5" fmla="*/ 90000 w 90000"/>
                <a:gd name="connsiteY5" fmla="*/ 165000 h 165000"/>
                <a:gd name="connsiteX6" fmla="*/ 0 w 90000"/>
                <a:gd name="connsiteY6" fmla="*/ 165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000" h="165000">
                  <a:moveTo>
                    <a:pt x="0" y="165000"/>
                  </a:move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75000" y="0"/>
                  </a:lnTo>
                  <a:cubicBezTo>
                    <a:pt x="83285" y="0"/>
                    <a:pt x="90000" y="6716"/>
                    <a:pt x="90000" y="15000"/>
                  </a:cubicBezTo>
                  <a:lnTo>
                    <a:pt x="90000" y="165000"/>
                  </a:lnTo>
                  <a:lnTo>
                    <a:pt x="0" y="16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8" name="Рисунок 175">
            <a:extLst>
              <a:ext uri="{FF2B5EF4-FFF2-40B4-BE49-F238E27FC236}">
                <a16:creationId xmlns:a16="http://schemas.microsoft.com/office/drawing/2014/main" id="{8BE89351-4B2C-294F-8F8F-1B903768C8A2}"/>
              </a:ext>
            </a:extLst>
          </p:cNvPr>
          <p:cNvGrpSpPr/>
          <p:nvPr/>
        </p:nvGrpSpPr>
        <p:grpSpPr>
          <a:xfrm>
            <a:off x="5192669" y="3113081"/>
            <a:ext cx="360000" cy="360000"/>
            <a:chOff x="5226122" y="3432037"/>
            <a:chExt cx="360000" cy="360000"/>
          </a:xfrm>
        </p:grpSpPr>
        <p:sp>
          <p:nvSpPr>
            <p:cNvPr id="759" name="Полилиния 758">
              <a:extLst>
                <a:ext uri="{FF2B5EF4-FFF2-40B4-BE49-F238E27FC236}">
                  <a16:creationId xmlns:a16="http://schemas.microsoft.com/office/drawing/2014/main" id="{E4A8AC67-D6DC-2D45-A796-A9A77FDE04B4}"/>
                </a:ext>
              </a:extLst>
            </p:cNvPr>
            <p:cNvSpPr/>
            <p:nvPr/>
          </p:nvSpPr>
          <p:spPr>
            <a:xfrm>
              <a:off x="5226122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0" name="Полилиния 759">
              <a:extLst>
                <a:ext uri="{FF2B5EF4-FFF2-40B4-BE49-F238E27FC236}">
                  <a16:creationId xmlns:a16="http://schemas.microsoft.com/office/drawing/2014/main" id="{C800D43A-ED35-4044-AF4A-FBD2921A1944}"/>
                </a:ext>
              </a:extLst>
            </p:cNvPr>
            <p:cNvSpPr/>
            <p:nvPr/>
          </p:nvSpPr>
          <p:spPr>
            <a:xfrm>
              <a:off x="5256122" y="3657037"/>
              <a:ext cx="114999" cy="86249"/>
            </a:xfrm>
            <a:custGeom>
              <a:avLst/>
              <a:gdLst>
                <a:gd name="connsiteX0" fmla="*/ 43125 w 114999"/>
                <a:gd name="connsiteY0" fmla="*/ 86250 h 86249"/>
                <a:gd name="connsiteX1" fmla="*/ 33063 w 114999"/>
                <a:gd name="connsiteY1" fmla="*/ 81937 h 86249"/>
                <a:gd name="connsiteX2" fmla="*/ 4312 w 114999"/>
                <a:gd name="connsiteY2" fmla="*/ 53187 h 86249"/>
                <a:gd name="connsiteX3" fmla="*/ 4312 w 114999"/>
                <a:gd name="connsiteY3" fmla="*/ 33063 h 86249"/>
                <a:gd name="connsiteX4" fmla="*/ 24438 w 114999"/>
                <a:gd name="connsiteY4" fmla="*/ 33063 h 86249"/>
                <a:gd name="connsiteX5" fmla="*/ 43125 w 114999"/>
                <a:gd name="connsiteY5" fmla="*/ 51750 h 86249"/>
                <a:gd name="connsiteX6" fmla="*/ 90562 w 114999"/>
                <a:gd name="connsiteY6" fmla="*/ 4312 h 86249"/>
                <a:gd name="connsiteX7" fmla="*/ 110688 w 114999"/>
                <a:gd name="connsiteY7" fmla="*/ 4312 h 86249"/>
                <a:gd name="connsiteX8" fmla="*/ 110688 w 114999"/>
                <a:gd name="connsiteY8" fmla="*/ 24438 h 86249"/>
                <a:gd name="connsiteX9" fmla="*/ 53187 w 114999"/>
                <a:gd name="connsiteY9" fmla="*/ 81937 h 86249"/>
                <a:gd name="connsiteX10" fmla="*/ 43125 w 114999"/>
                <a:gd name="connsiteY10" fmla="*/ 86250 h 86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4999" h="86249">
                  <a:moveTo>
                    <a:pt x="43125" y="86250"/>
                  </a:moveTo>
                  <a:cubicBezTo>
                    <a:pt x="39531" y="86250"/>
                    <a:pt x="35937" y="84813"/>
                    <a:pt x="33063" y="81937"/>
                  </a:cubicBezTo>
                  <a:lnTo>
                    <a:pt x="4312" y="53187"/>
                  </a:lnTo>
                  <a:cubicBezTo>
                    <a:pt x="-1437" y="47437"/>
                    <a:pt x="-1437" y="38812"/>
                    <a:pt x="4312" y="33063"/>
                  </a:cubicBezTo>
                  <a:cubicBezTo>
                    <a:pt x="10062" y="27312"/>
                    <a:pt x="19406" y="27312"/>
                    <a:pt x="24438" y="33063"/>
                  </a:cubicBezTo>
                  <a:lnTo>
                    <a:pt x="43125" y="51750"/>
                  </a:lnTo>
                  <a:lnTo>
                    <a:pt x="90562" y="4312"/>
                  </a:lnTo>
                  <a:cubicBezTo>
                    <a:pt x="96312" y="-1437"/>
                    <a:pt x="104937" y="-1437"/>
                    <a:pt x="110688" y="4312"/>
                  </a:cubicBezTo>
                  <a:cubicBezTo>
                    <a:pt x="116437" y="10062"/>
                    <a:pt x="116437" y="18687"/>
                    <a:pt x="110688" y="24438"/>
                  </a:cubicBezTo>
                  <a:lnTo>
                    <a:pt x="53187" y="81937"/>
                  </a:lnTo>
                  <a:cubicBezTo>
                    <a:pt x="50313" y="84813"/>
                    <a:pt x="46719" y="86250"/>
                    <a:pt x="43125" y="8625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1" name="Полилиния 760">
              <a:extLst>
                <a:ext uri="{FF2B5EF4-FFF2-40B4-BE49-F238E27FC236}">
                  <a16:creationId xmlns:a16="http://schemas.microsoft.com/office/drawing/2014/main" id="{C3B39F6C-45B2-894E-B0D7-B0C634A3F57E}"/>
                </a:ext>
              </a:extLst>
            </p:cNvPr>
            <p:cNvSpPr/>
            <p:nvPr/>
          </p:nvSpPr>
          <p:spPr>
            <a:xfrm>
              <a:off x="5286122" y="3507037"/>
              <a:ext cx="270000" cy="195000"/>
            </a:xfrm>
            <a:custGeom>
              <a:avLst/>
              <a:gdLst>
                <a:gd name="connsiteX0" fmla="*/ 134754 w 270000"/>
                <a:gd name="connsiteY0" fmla="*/ 195000 h 195000"/>
                <a:gd name="connsiteX1" fmla="*/ 22500 w 270000"/>
                <a:gd name="connsiteY1" fmla="*/ 90000 h 195000"/>
                <a:gd name="connsiteX2" fmla="*/ 0 w 270000"/>
                <a:gd name="connsiteY2" fmla="*/ 92250 h 195000"/>
                <a:gd name="connsiteX3" fmla="*/ 0 w 270000"/>
                <a:gd name="connsiteY3" fmla="*/ 30000 h 195000"/>
                <a:gd name="connsiteX4" fmla="*/ 30000 w 270000"/>
                <a:gd name="connsiteY4" fmla="*/ 0 h 195000"/>
                <a:gd name="connsiteX5" fmla="*/ 240000 w 270000"/>
                <a:gd name="connsiteY5" fmla="*/ 0 h 195000"/>
                <a:gd name="connsiteX6" fmla="*/ 270000 w 270000"/>
                <a:gd name="connsiteY6" fmla="*/ 30000 h 195000"/>
                <a:gd name="connsiteX7" fmla="*/ 270000 w 270000"/>
                <a:gd name="connsiteY7" fmla="*/ 165000 h 195000"/>
                <a:gd name="connsiteX8" fmla="*/ 240000 w 270000"/>
                <a:gd name="connsiteY8" fmla="*/ 195000 h 195000"/>
                <a:gd name="connsiteX9" fmla="*/ 134754 w 270000"/>
                <a:gd name="connsiteY9" fmla="*/ 195000 h 195000"/>
                <a:gd name="connsiteX10" fmla="*/ 227166 w 270000"/>
                <a:gd name="connsiteY10" fmla="*/ 27595 h 195000"/>
                <a:gd name="connsiteX11" fmla="*/ 135000 w 270000"/>
                <a:gd name="connsiteY11" fmla="*/ 77223 h 195000"/>
                <a:gd name="connsiteX12" fmla="*/ 42834 w 270000"/>
                <a:gd name="connsiteY12" fmla="*/ 27595 h 195000"/>
                <a:gd name="connsiteX13" fmla="*/ 27595 w 270000"/>
                <a:gd name="connsiteY13" fmla="*/ 32166 h 195000"/>
                <a:gd name="connsiteX14" fmla="*/ 32166 w 270000"/>
                <a:gd name="connsiteY14" fmla="*/ 47405 h 195000"/>
                <a:gd name="connsiteX15" fmla="*/ 129666 w 270000"/>
                <a:gd name="connsiteY15" fmla="*/ 99906 h 195000"/>
                <a:gd name="connsiteX16" fmla="*/ 140334 w 270000"/>
                <a:gd name="connsiteY16" fmla="*/ 99906 h 195000"/>
                <a:gd name="connsiteX17" fmla="*/ 237834 w 270000"/>
                <a:gd name="connsiteY17" fmla="*/ 47405 h 195000"/>
                <a:gd name="connsiteX18" fmla="*/ 242406 w 270000"/>
                <a:gd name="connsiteY18" fmla="*/ 32166 h 195000"/>
                <a:gd name="connsiteX19" fmla="*/ 227166 w 270000"/>
                <a:gd name="connsiteY19" fmla="*/ 27595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0000" h="195000">
                  <a:moveTo>
                    <a:pt x="134754" y="195000"/>
                  </a:moveTo>
                  <a:cubicBezTo>
                    <a:pt x="130895" y="136365"/>
                    <a:pt x="82112" y="90000"/>
                    <a:pt x="22500" y="90000"/>
                  </a:cubicBezTo>
                  <a:cubicBezTo>
                    <a:pt x="14795" y="90000"/>
                    <a:pt x="7270" y="90774"/>
                    <a:pt x="0" y="9225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65000"/>
                  </a:lnTo>
                  <a:cubicBezTo>
                    <a:pt x="270000" y="181569"/>
                    <a:pt x="256569" y="195000"/>
                    <a:pt x="240000" y="195000"/>
                  </a:cubicBezTo>
                  <a:lnTo>
                    <a:pt x="134754" y="195000"/>
                  </a:lnTo>
                  <a:close/>
                  <a:moveTo>
                    <a:pt x="227166" y="27595"/>
                  </a:moveTo>
                  <a:lnTo>
                    <a:pt x="135000" y="77223"/>
                  </a:lnTo>
                  <a:lnTo>
                    <a:pt x="42834" y="27595"/>
                  </a:lnTo>
                  <a:cubicBezTo>
                    <a:pt x="37363" y="24649"/>
                    <a:pt x="30540" y="26696"/>
                    <a:pt x="27595" y="32166"/>
                  </a:cubicBezTo>
                  <a:cubicBezTo>
                    <a:pt x="24649" y="37637"/>
                    <a:pt x="26696" y="44460"/>
                    <a:pt x="32166" y="47405"/>
                  </a:cubicBezTo>
                  <a:lnTo>
                    <a:pt x="129666" y="99906"/>
                  </a:lnTo>
                  <a:cubicBezTo>
                    <a:pt x="132996" y="101698"/>
                    <a:pt x="137004" y="101698"/>
                    <a:pt x="140334" y="99906"/>
                  </a:cubicBezTo>
                  <a:lnTo>
                    <a:pt x="237834" y="47405"/>
                  </a:lnTo>
                  <a:cubicBezTo>
                    <a:pt x="243305" y="44460"/>
                    <a:pt x="245351" y="37637"/>
                    <a:pt x="242406" y="32166"/>
                  </a:cubicBezTo>
                  <a:cubicBezTo>
                    <a:pt x="239460" y="26696"/>
                    <a:pt x="232637" y="24649"/>
                    <a:pt x="227166" y="2759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62" name="Рисунок 176">
            <a:extLst>
              <a:ext uri="{FF2B5EF4-FFF2-40B4-BE49-F238E27FC236}">
                <a16:creationId xmlns:a16="http://schemas.microsoft.com/office/drawing/2014/main" id="{CF0DBEB0-CB26-E740-A152-FA6542C483A3}"/>
              </a:ext>
            </a:extLst>
          </p:cNvPr>
          <p:cNvGrpSpPr/>
          <p:nvPr/>
        </p:nvGrpSpPr>
        <p:grpSpPr>
          <a:xfrm>
            <a:off x="4437536" y="3113081"/>
            <a:ext cx="360000" cy="360000"/>
            <a:chOff x="4470989" y="3432037"/>
            <a:chExt cx="360000" cy="360000"/>
          </a:xfrm>
        </p:grpSpPr>
        <p:sp>
          <p:nvSpPr>
            <p:cNvPr id="763" name="Полилиния 762">
              <a:extLst>
                <a:ext uri="{FF2B5EF4-FFF2-40B4-BE49-F238E27FC236}">
                  <a16:creationId xmlns:a16="http://schemas.microsoft.com/office/drawing/2014/main" id="{C13F8661-A961-B042-9D24-F6B2EDF764A8}"/>
                </a:ext>
              </a:extLst>
            </p:cNvPr>
            <p:cNvSpPr/>
            <p:nvPr/>
          </p:nvSpPr>
          <p:spPr>
            <a:xfrm>
              <a:off x="4470989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4" name="Полилиния 763">
              <a:extLst>
                <a:ext uri="{FF2B5EF4-FFF2-40B4-BE49-F238E27FC236}">
                  <a16:creationId xmlns:a16="http://schemas.microsoft.com/office/drawing/2014/main" id="{74C6428A-3E65-6C43-A6F9-F7AB5FC86FCA}"/>
                </a:ext>
              </a:extLst>
            </p:cNvPr>
            <p:cNvSpPr/>
            <p:nvPr/>
          </p:nvSpPr>
          <p:spPr>
            <a:xfrm>
              <a:off x="4530989" y="3492037"/>
              <a:ext cx="240000" cy="240000"/>
            </a:xfrm>
            <a:custGeom>
              <a:avLst/>
              <a:gdLst>
                <a:gd name="connsiteX0" fmla="*/ 120000 w 240000"/>
                <a:gd name="connsiteY0" fmla="*/ 180000 h 240000"/>
                <a:gd name="connsiteX1" fmla="*/ 180000 w 240000"/>
                <a:gd name="connsiteY1" fmla="*/ 120000 h 240000"/>
                <a:gd name="connsiteX2" fmla="*/ 120000 w 240000"/>
                <a:gd name="connsiteY2" fmla="*/ 60000 h 240000"/>
                <a:gd name="connsiteX3" fmla="*/ 60000 w 240000"/>
                <a:gd name="connsiteY3" fmla="*/ 120000 h 240000"/>
                <a:gd name="connsiteX4" fmla="*/ 120000 w 240000"/>
                <a:gd name="connsiteY4" fmla="*/ 180000 h 240000"/>
                <a:gd name="connsiteX5" fmla="*/ 120000 w 240000"/>
                <a:gd name="connsiteY5" fmla="*/ 240000 h 240000"/>
                <a:gd name="connsiteX6" fmla="*/ 0 w 240000"/>
                <a:gd name="connsiteY6" fmla="*/ 120000 h 240000"/>
                <a:gd name="connsiteX7" fmla="*/ 120000 w 240000"/>
                <a:gd name="connsiteY7" fmla="*/ 0 h 240000"/>
                <a:gd name="connsiteX8" fmla="*/ 240000 w 240000"/>
                <a:gd name="connsiteY8" fmla="*/ 120000 h 240000"/>
                <a:gd name="connsiteX9" fmla="*/ 120000 w 240000"/>
                <a:gd name="connsiteY9" fmla="*/ 24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0000" h="240000">
                  <a:moveTo>
                    <a:pt x="120000" y="180000"/>
                  </a:moveTo>
                  <a:cubicBezTo>
                    <a:pt x="153137" y="180000"/>
                    <a:pt x="180000" y="153137"/>
                    <a:pt x="180000" y="120000"/>
                  </a:cubicBezTo>
                  <a:cubicBezTo>
                    <a:pt x="180000" y="86863"/>
                    <a:pt x="153137" y="60000"/>
                    <a:pt x="120000" y="60000"/>
                  </a:cubicBezTo>
                  <a:cubicBezTo>
                    <a:pt x="86863" y="60000"/>
                    <a:pt x="60000" y="86863"/>
                    <a:pt x="60000" y="120000"/>
                  </a:cubicBezTo>
                  <a:cubicBezTo>
                    <a:pt x="60000" y="153137"/>
                    <a:pt x="86863" y="180000"/>
                    <a:pt x="120000" y="180000"/>
                  </a:cubicBezTo>
                  <a:close/>
                  <a:moveTo>
                    <a:pt x="120000" y="240000"/>
                  </a:moveTo>
                  <a:cubicBezTo>
                    <a:pt x="53726" y="240000"/>
                    <a:pt x="0" y="186275"/>
                    <a:pt x="0" y="120000"/>
                  </a:cubicBezTo>
                  <a:cubicBezTo>
                    <a:pt x="0" y="53726"/>
                    <a:pt x="53726" y="0"/>
                    <a:pt x="120000" y="0"/>
                  </a:cubicBezTo>
                  <a:cubicBezTo>
                    <a:pt x="186275" y="0"/>
                    <a:pt x="240000" y="53726"/>
                    <a:pt x="240000" y="120000"/>
                  </a:cubicBezTo>
                  <a:cubicBezTo>
                    <a:pt x="240000" y="186275"/>
                    <a:pt x="186275" y="240000"/>
                    <a:pt x="120000" y="24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65" name="Рисунок 177">
            <a:extLst>
              <a:ext uri="{FF2B5EF4-FFF2-40B4-BE49-F238E27FC236}">
                <a16:creationId xmlns:a16="http://schemas.microsoft.com/office/drawing/2014/main" id="{60F0171F-C1E0-1A45-ABB6-52BB89C41EEB}"/>
              </a:ext>
            </a:extLst>
          </p:cNvPr>
          <p:cNvGrpSpPr/>
          <p:nvPr/>
        </p:nvGrpSpPr>
        <p:grpSpPr>
          <a:xfrm>
            <a:off x="2927270" y="3113081"/>
            <a:ext cx="360000" cy="360000"/>
            <a:chOff x="2960723" y="3432037"/>
            <a:chExt cx="360000" cy="360000"/>
          </a:xfrm>
        </p:grpSpPr>
        <p:sp>
          <p:nvSpPr>
            <p:cNvPr id="766" name="Полилиния 765">
              <a:extLst>
                <a:ext uri="{FF2B5EF4-FFF2-40B4-BE49-F238E27FC236}">
                  <a16:creationId xmlns:a16="http://schemas.microsoft.com/office/drawing/2014/main" id="{CF0854D5-4BBA-0B4E-A7AD-005DE99D94DE}"/>
                </a:ext>
              </a:extLst>
            </p:cNvPr>
            <p:cNvSpPr/>
            <p:nvPr/>
          </p:nvSpPr>
          <p:spPr>
            <a:xfrm>
              <a:off x="2960723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7" name="Скругленный прямоугольник 766">
              <a:extLst>
                <a:ext uri="{FF2B5EF4-FFF2-40B4-BE49-F238E27FC236}">
                  <a16:creationId xmlns:a16="http://schemas.microsoft.com/office/drawing/2014/main" id="{1E5245A2-6C86-CA40-861A-550AFCE45DDD}"/>
                </a:ext>
              </a:extLst>
            </p:cNvPr>
            <p:cNvSpPr/>
            <p:nvPr/>
          </p:nvSpPr>
          <p:spPr>
            <a:xfrm>
              <a:off x="3020723" y="3492037"/>
              <a:ext cx="240000" cy="24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68" name="Рисунок 178">
            <a:extLst>
              <a:ext uri="{FF2B5EF4-FFF2-40B4-BE49-F238E27FC236}">
                <a16:creationId xmlns:a16="http://schemas.microsoft.com/office/drawing/2014/main" id="{6920C98D-02B5-6241-831C-B3FD3A0BF960}"/>
              </a:ext>
            </a:extLst>
          </p:cNvPr>
          <p:cNvGrpSpPr/>
          <p:nvPr/>
        </p:nvGrpSpPr>
        <p:grpSpPr>
          <a:xfrm>
            <a:off x="3682403" y="3113081"/>
            <a:ext cx="360000" cy="360000"/>
            <a:chOff x="3715856" y="3432037"/>
            <a:chExt cx="360000" cy="360000"/>
          </a:xfrm>
        </p:grpSpPr>
        <p:sp>
          <p:nvSpPr>
            <p:cNvPr id="769" name="Полилиния 768">
              <a:extLst>
                <a:ext uri="{FF2B5EF4-FFF2-40B4-BE49-F238E27FC236}">
                  <a16:creationId xmlns:a16="http://schemas.microsoft.com/office/drawing/2014/main" id="{E322E22C-C5C6-674E-85CE-AEDCCB016F30}"/>
                </a:ext>
              </a:extLst>
            </p:cNvPr>
            <p:cNvSpPr/>
            <p:nvPr/>
          </p:nvSpPr>
          <p:spPr>
            <a:xfrm>
              <a:off x="3715856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0" name="Полилиния 769">
              <a:extLst>
                <a:ext uri="{FF2B5EF4-FFF2-40B4-BE49-F238E27FC236}">
                  <a16:creationId xmlns:a16="http://schemas.microsoft.com/office/drawing/2014/main" id="{DB8A6C55-4440-F04C-87BE-E0E2092F41E7}"/>
                </a:ext>
              </a:extLst>
            </p:cNvPr>
            <p:cNvSpPr/>
            <p:nvPr/>
          </p:nvSpPr>
          <p:spPr>
            <a:xfrm rot="10800000" flipV="1">
              <a:off x="3761754" y="3491183"/>
              <a:ext cx="275851" cy="233353"/>
            </a:xfrm>
            <a:custGeom>
              <a:avLst/>
              <a:gdLst>
                <a:gd name="connsiteX0" fmla="*/ 275778 w 275851"/>
                <a:gd name="connsiteY0" fmla="*/ 207719 h 233353"/>
                <a:gd name="connsiteX1" fmla="*/ 240109 w 275851"/>
                <a:gd name="connsiteY1" fmla="*/ 108329 h 233353"/>
                <a:gd name="connsiteX2" fmla="*/ 129601 w 275851"/>
                <a:gd name="connsiteY2" fmla="*/ 75854 h 233353"/>
                <a:gd name="connsiteX3" fmla="*/ 129601 w 275851"/>
                <a:gd name="connsiteY3" fmla="*/ 11250 h 233353"/>
                <a:gd name="connsiteX4" fmla="*/ 118351 w 275851"/>
                <a:gd name="connsiteY4" fmla="*/ 0 h 233353"/>
                <a:gd name="connsiteX5" fmla="*/ 110793 w 275851"/>
                <a:gd name="connsiteY5" fmla="*/ 2918 h 233353"/>
                <a:gd name="connsiteX6" fmla="*/ 3691 w 275851"/>
                <a:gd name="connsiteY6" fmla="*/ 100083 h 233353"/>
                <a:gd name="connsiteX7" fmla="*/ 2918 w 275851"/>
                <a:gd name="connsiteY7" fmla="*/ 115974 h 233353"/>
                <a:gd name="connsiteX8" fmla="*/ 3606 w 275851"/>
                <a:gd name="connsiteY8" fmla="*/ 116669 h 233353"/>
                <a:gd name="connsiteX9" fmla="*/ 110707 w 275851"/>
                <a:gd name="connsiteY9" fmla="*/ 215856 h 233353"/>
                <a:gd name="connsiteX10" fmla="*/ 126606 w 275851"/>
                <a:gd name="connsiteY10" fmla="*/ 215246 h 233353"/>
                <a:gd name="connsiteX11" fmla="*/ 129601 w 275851"/>
                <a:gd name="connsiteY11" fmla="*/ 207602 h 233353"/>
                <a:gd name="connsiteX12" fmla="*/ 129601 w 275851"/>
                <a:gd name="connsiteY12" fmla="*/ 143354 h 233353"/>
                <a:gd name="connsiteX13" fmla="*/ 198727 w 275851"/>
                <a:gd name="connsiteY13" fmla="*/ 152055 h 233353"/>
                <a:gd name="connsiteX14" fmla="*/ 262021 w 275851"/>
                <a:gd name="connsiteY14" fmla="*/ 225978 h 233353"/>
                <a:gd name="connsiteX15" fmla="*/ 262021 w 275851"/>
                <a:gd name="connsiteY15" fmla="*/ 225978 h 233353"/>
                <a:gd name="connsiteX16" fmla="*/ 272583 w 275851"/>
                <a:gd name="connsiteY16" fmla="*/ 233354 h 233353"/>
                <a:gd name="connsiteX17" fmla="*/ 275851 w 275851"/>
                <a:gd name="connsiteY17" fmla="*/ 233354 h 233353"/>
                <a:gd name="connsiteX18" fmla="*/ 275778 w 275851"/>
                <a:gd name="connsiteY18" fmla="*/ 207719 h 233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851" h="233353">
                  <a:moveTo>
                    <a:pt x="275778" y="207719"/>
                  </a:moveTo>
                  <a:cubicBezTo>
                    <a:pt x="275778" y="195414"/>
                    <a:pt x="278415" y="146855"/>
                    <a:pt x="240109" y="108329"/>
                  </a:cubicBezTo>
                  <a:cubicBezTo>
                    <a:pt x="214327" y="82402"/>
                    <a:pt x="175744" y="77905"/>
                    <a:pt x="129601" y="75854"/>
                  </a:cubicBezTo>
                  <a:lnTo>
                    <a:pt x="129601" y="11250"/>
                  </a:lnTo>
                  <a:cubicBezTo>
                    <a:pt x="129601" y="5037"/>
                    <a:pt x="124564" y="0"/>
                    <a:pt x="118351" y="0"/>
                  </a:cubicBezTo>
                  <a:cubicBezTo>
                    <a:pt x="115557" y="0"/>
                    <a:pt x="112861" y="1040"/>
                    <a:pt x="110793" y="2918"/>
                  </a:cubicBezTo>
                  <a:lnTo>
                    <a:pt x="3691" y="100083"/>
                  </a:lnTo>
                  <a:cubicBezTo>
                    <a:pt x="-911" y="104258"/>
                    <a:pt x="-1257" y="111372"/>
                    <a:pt x="2918" y="115974"/>
                  </a:cubicBezTo>
                  <a:cubicBezTo>
                    <a:pt x="3137" y="116216"/>
                    <a:pt x="3367" y="116447"/>
                    <a:pt x="3606" y="116669"/>
                  </a:cubicBezTo>
                  <a:lnTo>
                    <a:pt x="110707" y="215856"/>
                  </a:lnTo>
                  <a:cubicBezTo>
                    <a:pt x="115266" y="220077"/>
                    <a:pt x="122383" y="219804"/>
                    <a:pt x="126606" y="215246"/>
                  </a:cubicBezTo>
                  <a:cubicBezTo>
                    <a:pt x="128532" y="213167"/>
                    <a:pt x="129601" y="210437"/>
                    <a:pt x="129601" y="207602"/>
                  </a:cubicBezTo>
                  <a:lnTo>
                    <a:pt x="129601" y="143354"/>
                  </a:lnTo>
                  <a:cubicBezTo>
                    <a:pt x="158898" y="144159"/>
                    <a:pt x="179767" y="146022"/>
                    <a:pt x="198727" y="152055"/>
                  </a:cubicBezTo>
                  <a:cubicBezTo>
                    <a:pt x="226027" y="160740"/>
                    <a:pt x="247126" y="185381"/>
                    <a:pt x="262021" y="225978"/>
                  </a:cubicBezTo>
                  <a:lnTo>
                    <a:pt x="262021" y="225978"/>
                  </a:lnTo>
                  <a:cubicBezTo>
                    <a:pt x="263647" y="230409"/>
                    <a:pt x="267864" y="233354"/>
                    <a:pt x="272583" y="233354"/>
                  </a:cubicBezTo>
                  <a:lnTo>
                    <a:pt x="275851" y="233354"/>
                  </a:lnTo>
                  <a:cubicBezTo>
                    <a:pt x="275851" y="225956"/>
                    <a:pt x="275778" y="214238"/>
                    <a:pt x="275778" y="20771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71" name="Рисунок 179">
            <a:extLst>
              <a:ext uri="{FF2B5EF4-FFF2-40B4-BE49-F238E27FC236}">
                <a16:creationId xmlns:a16="http://schemas.microsoft.com/office/drawing/2014/main" id="{4301DA26-4C71-124A-AFF9-71F05F11C256}"/>
              </a:ext>
            </a:extLst>
          </p:cNvPr>
          <p:cNvGrpSpPr/>
          <p:nvPr/>
        </p:nvGrpSpPr>
        <p:grpSpPr>
          <a:xfrm>
            <a:off x="2172137" y="3113081"/>
            <a:ext cx="360000" cy="360000"/>
            <a:chOff x="2205590" y="3432037"/>
            <a:chExt cx="360000" cy="360000"/>
          </a:xfrm>
        </p:grpSpPr>
        <p:sp>
          <p:nvSpPr>
            <p:cNvPr id="772" name="Полилиния 771">
              <a:extLst>
                <a:ext uri="{FF2B5EF4-FFF2-40B4-BE49-F238E27FC236}">
                  <a16:creationId xmlns:a16="http://schemas.microsoft.com/office/drawing/2014/main" id="{6CEDC882-19E6-5743-AA56-782DCEBC041E}"/>
                </a:ext>
              </a:extLst>
            </p:cNvPr>
            <p:cNvSpPr/>
            <p:nvPr/>
          </p:nvSpPr>
          <p:spPr>
            <a:xfrm>
              <a:off x="2205590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3" name="Полилиния 772">
              <a:extLst>
                <a:ext uri="{FF2B5EF4-FFF2-40B4-BE49-F238E27FC236}">
                  <a16:creationId xmlns:a16="http://schemas.microsoft.com/office/drawing/2014/main" id="{B214FD50-F0AC-C647-B9A6-B1D7AD2F4B38}"/>
                </a:ext>
              </a:extLst>
            </p:cNvPr>
            <p:cNvSpPr/>
            <p:nvPr/>
          </p:nvSpPr>
          <p:spPr>
            <a:xfrm>
              <a:off x="2235590" y="3495456"/>
              <a:ext cx="207855" cy="206580"/>
            </a:xfrm>
            <a:custGeom>
              <a:avLst/>
              <a:gdLst>
                <a:gd name="connsiteX0" fmla="*/ 150000 w 207855"/>
                <a:gd name="connsiteY0" fmla="*/ 56580 h 206580"/>
                <a:gd name="connsiteX1" fmla="*/ 90000 w 207855"/>
                <a:gd name="connsiteY1" fmla="*/ 56580 h 206580"/>
                <a:gd name="connsiteX2" fmla="*/ 30000 w 207855"/>
                <a:gd name="connsiteY2" fmla="*/ 116580 h 206580"/>
                <a:gd name="connsiteX3" fmla="*/ 30000 w 207855"/>
                <a:gd name="connsiteY3" fmla="*/ 131580 h 206580"/>
                <a:gd name="connsiteX4" fmla="*/ 75000 w 207855"/>
                <a:gd name="connsiteY4" fmla="*/ 176580 h 206580"/>
                <a:gd name="connsiteX5" fmla="*/ 75000 w 207855"/>
                <a:gd name="connsiteY5" fmla="*/ 206580 h 206580"/>
                <a:gd name="connsiteX6" fmla="*/ 0 w 207855"/>
                <a:gd name="connsiteY6" fmla="*/ 131580 h 206580"/>
                <a:gd name="connsiteX7" fmla="*/ 0 w 207855"/>
                <a:gd name="connsiteY7" fmla="*/ 116580 h 206580"/>
                <a:gd name="connsiteX8" fmla="*/ 90000 w 207855"/>
                <a:gd name="connsiteY8" fmla="*/ 26580 h 206580"/>
                <a:gd name="connsiteX9" fmla="*/ 150000 w 207855"/>
                <a:gd name="connsiteY9" fmla="*/ 26580 h 206580"/>
                <a:gd name="connsiteX10" fmla="*/ 150000 w 207855"/>
                <a:gd name="connsiteY10" fmla="*/ 7500 h 206580"/>
                <a:gd name="connsiteX11" fmla="*/ 151491 w 207855"/>
                <a:gd name="connsiteY11" fmla="*/ 3012 h 206580"/>
                <a:gd name="connsiteX12" fmla="*/ 161988 w 207855"/>
                <a:gd name="connsiteY12" fmla="*/ 1491 h 206580"/>
                <a:gd name="connsiteX13" fmla="*/ 204843 w 207855"/>
                <a:gd name="connsiteY13" fmla="*/ 33501 h 206580"/>
                <a:gd name="connsiteX14" fmla="*/ 206378 w 207855"/>
                <a:gd name="connsiteY14" fmla="*/ 35040 h 206580"/>
                <a:gd name="connsiteX15" fmla="*/ 204825 w 207855"/>
                <a:gd name="connsiteY15" fmla="*/ 45532 h 206580"/>
                <a:gd name="connsiteX16" fmla="*/ 161970 w 207855"/>
                <a:gd name="connsiteY16" fmla="*/ 77341 h 206580"/>
                <a:gd name="connsiteX17" fmla="*/ 157500 w 207855"/>
                <a:gd name="connsiteY17" fmla="*/ 78819 h 206580"/>
                <a:gd name="connsiteX18" fmla="*/ 150000 w 207855"/>
                <a:gd name="connsiteY18" fmla="*/ 71319 h 206580"/>
                <a:gd name="connsiteX19" fmla="*/ 150000 w 207855"/>
                <a:gd name="connsiteY19" fmla="*/ 56580 h 206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7855" h="206580">
                  <a:moveTo>
                    <a:pt x="150000" y="56580"/>
                  </a:moveTo>
                  <a:lnTo>
                    <a:pt x="90000" y="56580"/>
                  </a:lnTo>
                  <a:cubicBezTo>
                    <a:pt x="56863" y="56580"/>
                    <a:pt x="30000" y="83443"/>
                    <a:pt x="30000" y="116580"/>
                  </a:cubicBezTo>
                  <a:lnTo>
                    <a:pt x="30000" y="131580"/>
                  </a:lnTo>
                  <a:cubicBezTo>
                    <a:pt x="30000" y="156434"/>
                    <a:pt x="50147" y="176580"/>
                    <a:pt x="75000" y="176580"/>
                  </a:cubicBezTo>
                  <a:lnTo>
                    <a:pt x="75000" y="206580"/>
                  </a:lnTo>
                  <a:cubicBezTo>
                    <a:pt x="33579" y="206580"/>
                    <a:pt x="0" y="173001"/>
                    <a:pt x="0" y="131580"/>
                  </a:cubicBezTo>
                  <a:lnTo>
                    <a:pt x="0" y="116580"/>
                  </a:lnTo>
                  <a:cubicBezTo>
                    <a:pt x="0" y="66875"/>
                    <a:pt x="40294" y="26580"/>
                    <a:pt x="90000" y="26580"/>
                  </a:cubicBezTo>
                  <a:lnTo>
                    <a:pt x="150000" y="26580"/>
                  </a:lnTo>
                  <a:lnTo>
                    <a:pt x="150000" y="7500"/>
                  </a:lnTo>
                  <a:cubicBezTo>
                    <a:pt x="150000" y="5883"/>
                    <a:pt x="150524" y="4308"/>
                    <a:pt x="151491" y="3012"/>
                  </a:cubicBezTo>
                  <a:cubicBezTo>
                    <a:pt x="153971" y="-306"/>
                    <a:pt x="158670" y="-987"/>
                    <a:pt x="161988" y="1491"/>
                  </a:cubicBezTo>
                  <a:lnTo>
                    <a:pt x="204843" y="33501"/>
                  </a:lnTo>
                  <a:cubicBezTo>
                    <a:pt x="205427" y="33937"/>
                    <a:pt x="205944" y="34455"/>
                    <a:pt x="206378" y="35040"/>
                  </a:cubicBezTo>
                  <a:cubicBezTo>
                    <a:pt x="208847" y="38366"/>
                    <a:pt x="208152" y="43064"/>
                    <a:pt x="204825" y="45532"/>
                  </a:cubicBezTo>
                  <a:lnTo>
                    <a:pt x="161970" y="77341"/>
                  </a:lnTo>
                  <a:cubicBezTo>
                    <a:pt x="160677" y="78301"/>
                    <a:pt x="159110" y="78819"/>
                    <a:pt x="157500" y="78819"/>
                  </a:cubicBezTo>
                  <a:cubicBezTo>
                    <a:pt x="153359" y="78819"/>
                    <a:pt x="150000" y="75461"/>
                    <a:pt x="150000" y="71319"/>
                  </a:cubicBezTo>
                  <a:lnTo>
                    <a:pt x="150000" y="5658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4" name="Полилиния 773">
              <a:extLst>
                <a:ext uri="{FF2B5EF4-FFF2-40B4-BE49-F238E27FC236}">
                  <a16:creationId xmlns:a16="http://schemas.microsoft.com/office/drawing/2014/main" id="{37F7CE85-739F-7644-B787-E959D19B2B44}"/>
                </a:ext>
              </a:extLst>
            </p:cNvPr>
            <p:cNvSpPr/>
            <p:nvPr/>
          </p:nvSpPr>
          <p:spPr>
            <a:xfrm>
              <a:off x="2328608" y="3522037"/>
              <a:ext cx="206981" cy="202237"/>
            </a:xfrm>
            <a:custGeom>
              <a:avLst/>
              <a:gdLst>
                <a:gd name="connsiteX0" fmla="*/ 57856 w 206981"/>
                <a:gd name="connsiteY0" fmla="*/ 150000 h 202237"/>
                <a:gd name="connsiteX1" fmla="*/ 116981 w 206981"/>
                <a:gd name="connsiteY1" fmla="*/ 150000 h 202237"/>
                <a:gd name="connsiteX2" fmla="*/ 176981 w 206981"/>
                <a:gd name="connsiteY2" fmla="*/ 90000 h 202237"/>
                <a:gd name="connsiteX3" fmla="*/ 176981 w 206981"/>
                <a:gd name="connsiteY3" fmla="*/ 75000 h 202237"/>
                <a:gd name="connsiteX4" fmla="*/ 131981 w 206981"/>
                <a:gd name="connsiteY4" fmla="*/ 30000 h 202237"/>
                <a:gd name="connsiteX5" fmla="*/ 131981 w 206981"/>
                <a:gd name="connsiteY5" fmla="*/ 0 h 202237"/>
                <a:gd name="connsiteX6" fmla="*/ 206981 w 206981"/>
                <a:gd name="connsiteY6" fmla="*/ 75000 h 202237"/>
                <a:gd name="connsiteX7" fmla="*/ 206981 w 206981"/>
                <a:gd name="connsiteY7" fmla="*/ 90000 h 202237"/>
                <a:gd name="connsiteX8" fmla="*/ 116981 w 206981"/>
                <a:gd name="connsiteY8" fmla="*/ 180000 h 202237"/>
                <a:gd name="connsiteX9" fmla="*/ 57856 w 206981"/>
                <a:gd name="connsiteY9" fmla="*/ 180000 h 202237"/>
                <a:gd name="connsiteX10" fmla="*/ 57856 w 206981"/>
                <a:gd name="connsiteY10" fmla="*/ 194738 h 202237"/>
                <a:gd name="connsiteX11" fmla="*/ 50356 w 206981"/>
                <a:gd name="connsiteY11" fmla="*/ 202238 h 202237"/>
                <a:gd name="connsiteX12" fmla="*/ 45886 w 206981"/>
                <a:gd name="connsiteY12" fmla="*/ 200760 h 202237"/>
                <a:gd name="connsiteX13" fmla="*/ 3030 w 206981"/>
                <a:gd name="connsiteY13" fmla="*/ 168953 h 202237"/>
                <a:gd name="connsiteX14" fmla="*/ 1478 w 206981"/>
                <a:gd name="connsiteY14" fmla="*/ 158460 h 202237"/>
                <a:gd name="connsiteX15" fmla="*/ 3012 w 206981"/>
                <a:gd name="connsiteY15" fmla="*/ 156921 h 202237"/>
                <a:gd name="connsiteX16" fmla="*/ 45868 w 206981"/>
                <a:gd name="connsiteY16" fmla="*/ 124911 h 202237"/>
                <a:gd name="connsiteX17" fmla="*/ 56365 w 206981"/>
                <a:gd name="connsiteY17" fmla="*/ 126432 h 202237"/>
                <a:gd name="connsiteX18" fmla="*/ 57856 w 206981"/>
                <a:gd name="connsiteY18" fmla="*/ 130920 h 202237"/>
                <a:gd name="connsiteX19" fmla="*/ 57856 w 206981"/>
                <a:gd name="connsiteY19" fmla="*/ 150000 h 20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6981" h="202237">
                  <a:moveTo>
                    <a:pt x="57856" y="150000"/>
                  </a:moveTo>
                  <a:lnTo>
                    <a:pt x="116981" y="150000"/>
                  </a:lnTo>
                  <a:cubicBezTo>
                    <a:pt x="150118" y="150000"/>
                    <a:pt x="176981" y="123137"/>
                    <a:pt x="176981" y="90000"/>
                  </a:cubicBezTo>
                  <a:lnTo>
                    <a:pt x="176981" y="75000"/>
                  </a:lnTo>
                  <a:cubicBezTo>
                    <a:pt x="176981" y="50147"/>
                    <a:pt x="156835" y="30000"/>
                    <a:pt x="131981" y="30000"/>
                  </a:cubicBezTo>
                  <a:lnTo>
                    <a:pt x="131981" y="0"/>
                  </a:lnTo>
                  <a:cubicBezTo>
                    <a:pt x="173402" y="0"/>
                    <a:pt x="206981" y="33579"/>
                    <a:pt x="206981" y="75000"/>
                  </a:cubicBezTo>
                  <a:lnTo>
                    <a:pt x="206981" y="90000"/>
                  </a:lnTo>
                  <a:cubicBezTo>
                    <a:pt x="206981" y="139706"/>
                    <a:pt x="166687" y="180000"/>
                    <a:pt x="116981" y="180000"/>
                  </a:cubicBezTo>
                  <a:lnTo>
                    <a:pt x="57856" y="180000"/>
                  </a:lnTo>
                  <a:lnTo>
                    <a:pt x="57856" y="194738"/>
                  </a:lnTo>
                  <a:cubicBezTo>
                    <a:pt x="57856" y="198880"/>
                    <a:pt x="54499" y="202238"/>
                    <a:pt x="50356" y="202238"/>
                  </a:cubicBezTo>
                  <a:cubicBezTo>
                    <a:pt x="48746" y="202238"/>
                    <a:pt x="47179" y="201720"/>
                    <a:pt x="45886" y="200760"/>
                  </a:cubicBezTo>
                  <a:lnTo>
                    <a:pt x="3030" y="168953"/>
                  </a:lnTo>
                  <a:cubicBezTo>
                    <a:pt x="-296" y="166484"/>
                    <a:pt x="-991" y="161786"/>
                    <a:pt x="1478" y="158460"/>
                  </a:cubicBezTo>
                  <a:cubicBezTo>
                    <a:pt x="1912" y="157875"/>
                    <a:pt x="2429" y="157356"/>
                    <a:pt x="3012" y="156921"/>
                  </a:cubicBezTo>
                  <a:lnTo>
                    <a:pt x="45868" y="124911"/>
                  </a:lnTo>
                  <a:cubicBezTo>
                    <a:pt x="49186" y="122433"/>
                    <a:pt x="53887" y="123113"/>
                    <a:pt x="56365" y="126432"/>
                  </a:cubicBezTo>
                  <a:cubicBezTo>
                    <a:pt x="57332" y="127728"/>
                    <a:pt x="57856" y="129303"/>
                    <a:pt x="57856" y="130920"/>
                  </a:cubicBezTo>
                  <a:lnTo>
                    <a:pt x="57856" y="15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75" name="Рисунок 180">
            <a:extLst>
              <a:ext uri="{FF2B5EF4-FFF2-40B4-BE49-F238E27FC236}">
                <a16:creationId xmlns:a16="http://schemas.microsoft.com/office/drawing/2014/main" id="{001030C8-FE93-D54A-BB3D-242DA71C1F9C}"/>
              </a:ext>
            </a:extLst>
          </p:cNvPr>
          <p:cNvGrpSpPr/>
          <p:nvPr/>
        </p:nvGrpSpPr>
        <p:grpSpPr>
          <a:xfrm>
            <a:off x="1417004" y="3113081"/>
            <a:ext cx="360000" cy="360000"/>
            <a:chOff x="1450457" y="3432037"/>
            <a:chExt cx="360000" cy="360000"/>
          </a:xfrm>
        </p:grpSpPr>
        <p:sp>
          <p:nvSpPr>
            <p:cNvPr id="776" name="Полилиния 775">
              <a:extLst>
                <a:ext uri="{FF2B5EF4-FFF2-40B4-BE49-F238E27FC236}">
                  <a16:creationId xmlns:a16="http://schemas.microsoft.com/office/drawing/2014/main" id="{B1BCC4B5-B4E9-F74C-8426-FC851CF1EF17}"/>
                </a:ext>
              </a:extLst>
            </p:cNvPr>
            <p:cNvSpPr/>
            <p:nvPr/>
          </p:nvSpPr>
          <p:spPr>
            <a:xfrm>
              <a:off x="1450457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7" name="Полилиния 776">
              <a:extLst>
                <a:ext uri="{FF2B5EF4-FFF2-40B4-BE49-F238E27FC236}">
                  <a16:creationId xmlns:a16="http://schemas.microsoft.com/office/drawing/2014/main" id="{8AF8DE60-DAD1-8043-9FC9-C367119069DA}"/>
                </a:ext>
              </a:extLst>
            </p:cNvPr>
            <p:cNvSpPr/>
            <p:nvPr/>
          </p:nvSpPr>
          <p:spPr>
            <a:xfrm>
              <a:off x="1573475" y="3614938"/>
              <a:ext cx="206934" cy="109336"/>
            </a:xfrm>
            <a:custGeom>
              <a:avLst/>
              <a:gdLst>
                <a:gd name="connsiteX0" fmla="*/ 206935 w 206934"/>
                <a:gd name="connsiteY0" fmla="*/ 0 h 109336"/>
                <a:gd name="connsiteX1" fmla="*/ 116981 w 206934"/>
                <a:gd name="connsiteY1" fmla="*/ 87099 h 109336"/>
                <a:gd name="connsiteX2" fmla="*/ 57856 w 206934"/>
                <a:gd name="connsiteY2" fmla="*/ 87099 h 109336"/>
                <a:gd name="connsiteX3" fmla="*/ 57856 w 206934"/>
                <a:gd name="connsiteY3" fmla="*/ 101836 h 109336"/>
                <a:gd name="connsiteX4" fmla="*/ 50356 w 206934"/>
                <a:gd name="connsiteY4" fmla="*/ 109336 h 109336"/>
                <a:gd name="connsiteX5" fmla="*/ 45886 w 206934"/>
                <a:gd name="connsiteY5" fmla="*/ 107859 h 109336"/>
                <a:gd name="connsiteX6" fmla="*/ 3030 w 206934"/>
                <a:gd name="connsiteY6" fmla="*/ 76052 h 109336"/>
                <a:gd name="connsiteX7" fmla="*/ 1478 w 206934"/>
                <a:gd name="connsiteY7" fmla="*/ 65559 h 109336"/>
                <a:gd name="connsiteX8" fmla="*/ 3012 w 206934"/>
                <a:gd name="connsiteY8" fmla="*/ 64020 h 109336"/>
                <a:gd name="connsiteX9" fmla="*/ 45868 w 206934"/>
                <a:gd name="connsiteY9" fmla="*/ 32010 h 109336"/>
                <a:gd name="connsiteX10" fmla="*/ 56365 w 206934"/>
                <a:gd name="connsiteY10" fmla="*/ 33531 h 109336"/>
                <a:gd name="connsiteX11" fmla="*/ 57856 w 206934"/>
                <a:gd name="connsiteY11" fmla="*/ 38019 h 109336"/>
                <a:gd name="connsiteX12" fmla="*/ 57856 w 206934"/>
                <a:gd name="connsiteY12" fmla="*/ 57099 h 109336"/>
                <a:gd name="connsiteX13" fmla="*/ 116981 w 206934"/>
                <a:gd name="connsiteY13" fmla="*/ 57099 h 109336"/>
                <a:gd name="connsiteX14" fmla="*/ 171752 w 206934"/>
                <a:gd name="connsiteY14" fmla="*/ 21631 h 109336"/>
                <a:gd name="connsiteX15" fmla="*/ 206935 w 206934"/>
                <a:gd name="connsiteY15" fmla="*/ 0 h 109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6934" h="109336">
                  <a:moveTo>
                    <a:pt x="206935" y="0"/>
                  </a:moveTo>
                  <a:cubicBezTo>
                    <a:pt x="205405" y="48363"/>
                    <a:pt x="165716" y="87099"/>
                    <a:pt x="116981" y="87099"/>
                  </a:cubicBezTo>
                  <a:lnTo>
                    <a:pt x="57856" y="87099"/>
                  </a:lnTo>
                  <a:lnTo>
                    <a:pt x="57856" y="101836"/>
                  </a:lnTo>
                  <a:cubicBezTo>
                    <a:pt x="57856" y="105979"/>
                    <a:pt x="54499" y="109336"/>
                    <a:pt x="50356" y="109336"/>
                  </a:cubicBezTo>
                  <a:cubicBezTo>
                    <a:pt x="48746" y="109336"/>
                    <a:pt x="47179" y="108819"/>
                    <a:pt x="45886" y="107859"/>
                  </a:cubicBezTo>
                  <a:lnTo>
                    <a:pt x="3030" y="76052"/>
                  </a:lnTo>
                  <a:cubicBezTo>
                    <a:pt x="-296" y="73582"/>
                    <a:pt x="-991" y="68884"/>
                    <a:pt x="1478" y="65559"/>
                  </a:cubicBezTo>
                  <a:cubicBezTo>
                    <a:pt x="1912" y="64974"/>
                    <a:pt x="2429" y="64455"/>
                    <a:pt x="3012" y="64020"/>
                  </a:cubicBezTo>
                  <a:lnTo>
                    <a:pt x="45868" y="32010"/>
                  </a:lnTo>
                  <a:cubicBezTo>
                    <a:pt x="49186" y="29532"/>
                    <a:pt x="53887" y="30212"/>
                    <a:pt x="56365" y="33531"/>
                  </a:cubicBezTo>
                  <a:cubicBezTo>
                    <a:pt x="57332" y="34827"/>
                    <a:pt x="57856" y="36402"/>
                    <a:pt x="57856" y="38019"/>
                  </a:cubicBezTo>
                  <a:lnTo>
                    <a:pt x="57856" y="57099"/>
                  </a:lnTo>
                  <a:lnTo>
                    <a:pt x="116981" y="57099"/>
                  </a:lnTo>
                  <a:cubicBezTo>
                    <a:pt x="141379" y="57099"/>
                    <a:pt x="162374" y="42537"/>
                    <a:pt x="171752" y="21631"/>
                  </a:cubicBezTo>
                  <a:cubicBezTo>
                    <a:pt x="185027" y="16977"/>
                    <a:pt x="196990" y="9531"/>
                    <a:pt x="206935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8" name="Полилиния 777">
              <a:extLst>
                <a:ext uri="{FF2B5EF4-FFF2-40B4-BE49-F238E27FC236}">
                  <a16:creationId xmlns:a16="http://schemas.microsoft.com/office/drawing/2014/main" id="{D5365559-2E32-C842-9682-D7BA9C8268C9}"/>
                </a:ext>
              </a:extLst>
            </p:cNvPr>
            <p:cNvSpPr/>
            <p:nvPr/>
          </p:nvSpPr>
          <p:spPr>
            <a:xfrm>
              <a:off x="1480457" y="3462037"/>
              <a:ext cx="300000" cy="240000"/>
            </a:xfrm>
            <a:custGeom>
              <a:avLst/>
              <a:gdLst>
                <a:gd name="connsiteX0" fmla="*/ 151500 w 300000"/>
                <a:gd name="connsiteY0" fmla="*/ 60000 h 240000"/>
                <a:gd name="connsiteX1" fmla="*/ 225000 w 300000"/>
                <a:gd name="connsiteY1" fmla="*/ 0 h 240000"/>
                <a:gd name="connsiteX2" fmla="*/ 300000 w 300000"/>
                <a:gd name="connsiteY2" fmla="*/ 75000 h 240000"/>
                <a:gd name="connsiteX3" fmla="*/ 225000 w 300000"/>
                <a:gd name="connsiteY3" fmla="*/ 150000 h 240000"/>
                <a:gd name="connsiteX4" fmla="*/ 151500 w 300000"/>
                <a:gd name="connsiteY4" fmla="*/ 90000 h 240000"/>
                <a:gd name="connsiteX5" fmla="*/ 90000 w 300000"/>
                <a:gd name="connsiteY5" fmla="*/ 90000 h 240000"/>
                <a:gd name="connsiteX6" fmla="*/ 30000 w 300000"/>
                <a:gd name="connsiteY6" fmla="*/ 150000 h 240000"/>
                <a:gd name="connsiteX7" fmla="*/ 30000 w 300000"/>
                <a:gd name="connsiteY7" fmla="*/ 165000 h 240000"/>
                <a:gd name="connsiteX8" fmla="*/ 75000 w 300000"/>
                <a:gd name="connsiteY8" fmla="*/ 210000 h 240000"/>
                <a:gd name="connsiteX9" fmla="*/ 75000 w 300000"/>
                <a:gd name="connsiteY9" fmla="*/ 240000 h 240000"/>
                <a:gd name="connsiteX10" fmla="*/ 0 w 300000"/>
                <a:gd name="connsiteY10" fmla="*/ 165000 h 240000"/>
                <a:gd name="connsiteX11" fmla="*/ 0 w 300000"/>
                <a:gd name="connsiteY11" fmla="*/ 150000 h 240000"/>
                <a:gd name="connsiteX12" fmla="*/ 90000 w 300000"/>
                <a:gd name="connsiteY12" fmla="*/ 60000 h 240000"/>
                <a:gd name="connsiteX13" fmla="*/ 151500 w 300000"/>
                <a:gd name="connsiteY13" fmla="*/ 60000 h 240000"/>
                <a:gd name="connsiteX14" fmla="*/ 220950 w 300000"/>
                <a:gd name="connsiteY14" fmla="*/ 55020 h 240000"/>
                <a:gd name="connsiteX15" fmla="*/ 220950 w 300000"/>
                <a:gd name="connsiteY15" fmla="*/ 112500 h 240000"/>
                <a:gd name="connsiteX16" fmla="*/ 235350 w 300000"/>
                <a:gd name="connsiteY16" fmla="*/ 112500 h 240000"/>
                <a:gd name="connsiteX17" fmla="*/ 235350 w 300000"/>
                <a:gd name="connsiteY17" fmla="*/ 37500 h 240000"/>
                <a:gd name="connsiteX18" fmla="*/ 222270 w 300000"/>
                <a:gd name="connsiteY18" fmla="*/ 37500 h 240000"/>
                <a:gd name="connsiteX19" fmla="*/ 195750 w 300000"/>
                <a:gd name="connsiteY19" fmla="*/ 58860 h 240000"/>
                <a:gd name="connsiteX20" fmla="*/ 204150 w 300000"/>
                <a:gd name="connsiteY20" fmla="*/ 68820 h 240000"/>
                <a:gd name="connsiteX21" fmla="*/ 220950 w 300000"/>
                <a:gd name="connsiteY21" fmla="*/ 5502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00000" h="240000">
                  <a:moveTo>
                    <a:pt x="151500" y="60000"/>
                  </a:moveTo>
                  <a:cubicBezTo>
                    <a:pt x="158450" y="25766"/>
                    <a:pt x="188715" y="0"/>
                    <a:pt x="225000" y="0"/>
                  </a:cubicBezTo>
                  <a:cubicBezTo>
                    <a:pt x="266421" y="0"/>
                    <a:pt x="300000" y="33579"/>
                    <a:pt x="300000" y="75000"/>
                  </a:cubicBezTo>
                  <a:cubicBezTo>
                    <a:pt x="300000" y="116421"/>
                    <a:pt x="266421" y="150000"/>
                    <a:pt x="225000" y="150000"/>
                  </a:cubicBezTo>
                  <a:cubicBezTo>
                    <a:pt x="188715" y="150000"/>
                    <a:pt x="158450" y="124233"/>
                    <a:pt x="151500" y="90000"/>
                  </a:cubicBezTo>
                  <a:lnTo>
                    <a:pt x="90000" y="90000"/>
                  </a:lnTo>
                  <a:cubicBezTo>
                    <a:pt x="56863" y="90000"/>
                    <a:pt x="30000" y="116863"/>
                    <a:pt x="30000" y="150000"/>
                  </a:cubicBezTo>
                  <a:lnTo>
                    <a:pt x="30000" y="165000"/>
                  </a:lnTo>
                  <a:cubicBezTo>
                    <a:pt x="30000" y="189854"/>
                    <a:pt x="50147" y="210000"/>
                    <a:pt x="75000" y="210000"/>
                  </a:cubicBezTo>
                  <a:lnTo>
                    <a:pt x="75000" y="240000"/>
                  </a:lnTo>
                  <a:cubicBezTo>
                    <a:pt x="33579" y="240000"/>
                    <a:pt x="0" y="206421"/>
                    <a:pt x="0" y="165000"/>
                  </a:cubicBezTo>
                  <a:lnTo>
                    <a:pt x="0" y="150000"/>
                  </a:lnTo>
                  <a:cubicBezTo>
                    <a:pt x="0" y="100294"/>
                    <a:pt x="40294" y="60000"/>
                    <a:pt x="90000" y="60000"/>
                  </a:cubicBezTo>
                  <a:lnTo>
                    <a:pt x="151500" y="60000"/>
                  </a:lnTo>
                  <a:close/>
                  <a:moveTo>
                    <a:pt x="220950" y="55020"/>
                  </a:moveTo>
                  <a:lnTo>
                    <a:pt x="220950" y="112500"/>
                  </a:lnTo>
                  <a:lnTo>
                    <a:pt x="235350" y="112500"/>
                  </a:lnTo>
                  <a:lnTo>
                    <a:pt x="235350" y="37500"/>
                  </a:lnTo>
                  <a:lnTo>
                    <a:pt x="222270" y="37500"/>
                  </a:lnTo>
                  <a:lnTo>
                    <a:pt x="195750" y="58860"/>
                  </a:lnTo>
                  <a:lnTo>
                    <a:pt x="204150" y="68820"/>
                  </a:lnTo>
                  <a:lnTo>
                    <a:pt x="220950" y="5502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779" name="Рисунок 181">
            <a:extLst>
              <a:ext uri="{FF2B5EF4-FFF2-40B4-BE49-F238E27FC236}">
                <a16:creationId xmlns:a16="http://schemas.microsoft.com/office/drawing/2014/main" id="{B12B6BA6-455A-B247-B34A-79980E759D8B}"/>
              </a:ext>
            </a:extLst>
          </p:cNvPr>
          <p:cNvGrpSpPr/>
          <p:nvPr/>
        </p:nvGrpSpPr>
        <p:grpSpPr>
          <a:xfrm>
            <a:off x="661871" y="3113081"/>
            <a:ext cx="360000" cy="360000"/>
            <a:chOff x="695324" y="3432037"/>
            <a:chExt cx="360000" cy="360000"/>
          </a:xfrm>
        </p:grpSpPr>
        <p:sp>
          <p:nvSpPr>
            <p:cNvPr id="780" name="Полилиния 779">
              <a:extLst>
                <a:ext uri="{FF2B5EF4-FFF2-40B4-BE49-F238E27FC236}">
                  <a16:creationId xmlns:a16="http://schemas.microsoft.com/office/drawing/2014/main" id="{FD0E5A3A-4162-2E40-B6C2-E8E61215CFEA}"/>
                </a:ext>
              </a:extLst>
            </p:cNvPr>
            <p:cNvSpPr/>
            <p:nvPr/>
          </p:nvSpPr>
          <p:spPr>
            <a:xfrm>
              <a:off x="695324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1" name="Полилиния 780">
              <a:extLst>
                <a:ext uri="{FF2B5EF4-FFF2-40B4-BE49-F238E27FC236}">
                  <a16:creationId xmlns:a16="http://schemas.microsoft.com/office/drawing/2014/main" id="{86E4C0BD-CE00-2146-ABBE-1AD485D93589}"/>
                </a:ext>
              </a:extLst>
            </p:cNvPr>
            <p:cNvSpPr/>
            <p:nvPr/>
          </p:nvSpPr>
          <p:spPr>
            <a:xfrm>
              <a:off x="741222" y="3491183"/>
              <a:ext cx="275851" cy="233353"/>
            </a:xfrm>
            <a:custGeom>
              <a:avLst/>
              <a:gdLst>
                <a:gd name="connsiteX0" fmla="*/ 275778 w 275851"/>
                <a:gd name="connsiteY0" fmla="*/ 207719 h 233353"/>
                <a:gd name="connsiteX1" fmla="*/ 240109 w 275851"/>
                <a:gd name="connsiteY1" fmla="*/ 108329 h 233353"/>
                <a:gd name="connsiteX2" fmla="*/ 129601 w 275851"/>
                <a:gd name="connsiteY2" fmla="*/ 75854 h 233353"/>
                <a:gd name="connsiteX3" fmla="*/ 129601 w 275851"/>
                <a:gd name="connsiteY3" fmla="*/ 11250 h 233353"/>
                <a:gd name="connsiteX4" fmla="*/ 118351 w 275851"/>
                <a:gd name="connsiteY4" fmla="*/ 0 h 233353"/>
                <a:gd name="connsiteX5" fmla="*/ 110793 w 275851"/>
                <a:gd name="connsiteY5" fmla="*/ 2918 h 233353"/>
                <a:gd name="connsiteX6" fmla="*/ 3691 w 275851"/>
                <a:gd name="connsiteY6" fmla="*/ 100083 h 233353"/>
                <a:gd name="connsiteX7" fmla="*/ 2918 w 275851"/>
                <a:gd name="connsiteY7" fmla="*/ 115974 h 233353"/>
                <a:gd name="connsiteX8" fmla="*/ 3606 w 275851"/>
                <a:gd name="connsiteY8" fmla="*/ 116669 h 233353"/>
                <a:gd name="connsiteX9" fmla="*/ 110707 w 275851"/>
                <a:gd name="connsiteY9" fmla="*/ 215856 h 233353"/>
                <a:gd name="connsiteX10" fmla="*/ 126606 w 275851"/>
                <a:gd name="connsiteY10" fmla="*/ 215246 h 233353"/>
                <a:gd name="connsiteX11" fmla="*/ 129601 w 275851"/>
                <a:gd name="connsiteY11" fmla="*/ 207602 h 233353"/>
                <a:gd name="connsiteX12" fmla="*/ 129601 w 275851"/>
                <a:gd name="connsiteY12" fmla="*/ 143354 h 233353"/>
                <a:gd name="connsiteX13" fmla="*/ 198727 w 275851"/>
                <a:gd name="connsiteY13" fmla="*/ 152055 h 233353"/>
                <a:gd name="connsiteX14" fmla="*/ 262021 w 275851"/>
                <a:gd name="connsiteY14" fmla="*/ 225978 h 233353"/>
                <a:gd name="connsiteX15" fmla="*/ 262021 w 275851"/>
                <a:gd name="connsiteY15" fmla="*/ 225978 h 233353"/>
                <a:gd name="connsiteX16" fmla="*/ 272583 w 275851"/>
                <a:gd name="connsiteY16" fmla="*/ 233354 h 233353"/>
                <a:gd name="connsiteX17" fmla="*/ 275851 w 275851"/>
                <a:gd name="connsiteY17" fmla="*/ 233354 h 233353"/>
                <a:gd name="connsiteX18" fmla="*/ 275778 w 275851"/>
                <a:gd name="connsiteY18" fmla="*/ 207719 h 233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851" h="233353">
                  <a:moveTo>
                    <a:pt x="275778" y="207719"/>
                  </a:moveTo>
                  <a:cubicBezTo>
                    <a:pt x="275778" y="195414"/>
                    <a:pt x="278415" y="146855"/>
                    <a:pt x="240109" y="108329"/>
                  </a:cubicBezTo>
                  <a:cubicBezTo>
                    <a:pt x="214327" y="82402"/>
                    <a:pt x="175744" y="77905"/>
                    <a:pt x="129601" y="75854"/>
                  </a:cubicBezTo>
                  <a:lnTo>
                    <a:pt x="129601" y="11250"/>
                  </a:lnTo>
                  <a:cubicBezTo>
                    <a:pt x="129601" y="5037"/>
                    <a:pt x="124564" y="0"/>
                    <a:pt x="118351" y="0"/>
                  </a:cubicBezTo>
                  <a:cubicBezTo>
                    <a:pt x="115557" y="0"/>
                    <a:pt x="112861" y="1040"/>
                    <a:pt x="110793" y="2918"/>
                  </a:cubicBezTo>
                  <a:lnTo>
                    <a:pt x="3691" y="100083"/>
                  </a:lnTo>
                  <a:cubicBezTo>
                    <a:pt x="-911" y="104258"/>
                    <a:pt x="-1257" y="111372"/>
                    <a:pt x="2918" y="115974"/>
                  </a:cubicBezTo>
                  <a:cubicBezTo>
                    <a:pt x="3137" y="116216"/>
                    <a:pt x="3367" y="116447"/>
                    <a:pt x="3606" y="116669"/>
                  </a:cubicBezTo>
                  <a:lnTo>
                    <a:pt x="110707" y="215856"/>
                  </a:lnTo>
                  <a:cubicBezTo>
                    <a:pt x="115266" y="220077"/>
                    <a:pt x="122383" y="219804"/>
                    <a:pt x="126606" y="215246"/>
                  </a:cubicBezTo>
                  <a:cubicBezTo>
                    <a:pt x="128532" y="213167"/>
                    <a:pt x="129601" y="210437"/>
                    <a:pt x="129601" y="207602"/>
                  </a:cubicBezTo>
                  <a:lnTo>
                    <a:pt x="129601" y="143354"/>
                  </a:lnTo>
                  <a:cubicBezTo>
                    <a:pt x="158898" y="144159"/>
                    <a:pt x="179767" y="146022"/>
                    <a:pt x="198727" y="152055"/>
                  </a:cubicBezTo>
                  <a:cubicBezTo>
                    <a:pt x="226027" y="160740"/>
                    <a:pt x="247126" y="185381"/>
                    <a:pt x="262021" y="225978"/>
                  </a:cubicBezTo>
                  <a:lnTo>
                    <a:pt x="262021" y="225978"/>
                  </a:lnTo>
                  <a:cubicBezTo>
                    <a:pt x="263647" y="230409"/>
                    <a:pt x="267864" y="233354"/>
                    <a:pt x="272583" y="233354"/>
                  </a:cubicBezTo>
                  <a:lnTo>
                    <a:pt x="275851" y="233354"/>
                  </a:lnTo>
                  <a:cubicBezTo>
                    <a:pt x="275851" y="225956"/>
                    <a:pt x="275778" y="214238"/>
                    <a:pt x="275778" y="20771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82" name="Рисунок 182">
            <a:extLst>
              <a:ext uri="{FF2B5EF4-FFF2-40B4-BE49-F238E27FC236}">
                <a16:creationId xmlns:a16="http://schemas.microsoft.com/office/drawing/2014/main" id="{A2892732-F876-E445-9D38-6A3E6F077B86}"/>
              </a:ext>
            </a:extLst>
          </p:cNvPr>
          <p:cNvGrpSpPr/>
          <p:nvPr/>
        </p:nvGrpSpPr>
        <p:grpSpPr>
          <a:xfrm>
            <a:off x="11233735" y="2440027"/>
            <a:ext cx="360000" cy="360000"/>
            <a:chOff x="11267188" y="2758983"/>
            <a:chExt cx="360000" cy="360000"/>
          </a:xfrm>
        </p:grpSpPr>
        <p:sp>
          <p:nvSpPr>
            <p:cNvPr id="783" name="Полилиния 782">
              <a:extLst>
                <a:ext uri="{FF2B5EF4-FFF2-40B4-BE49-F238E27FC236}">
                  <a16:creationId xmlns:a16="http://schemas.microsoft.com/office/drawing/2014/main" id="{F2DEAAB1-A5A2-4547-95E0-625C648A32A0}"/>
                </a:ext>
              </a:extLst>
            </p:cNvPr>
            <p:cNvSpPr/>
            <p:nvPr/>
          </p:nvSpPr>
          <p:spPr>
            <a:xfrm>
              <a:off x="11267188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4" name="Полилиния 783">
              <a:extLst>
                <a:ext uri="{FF2B5EF4-FFF2-40B4-BE49-F238E27FC236}">
                  <a16:creationId xmlns:a16="http://schemas.microsoft.com/office/drawing/2014/main" id="{06895BDD-C507-1443-B121-4809FC2DCDC3}"/>
                </a:ext>
              </a:extLst>
            </p:cNvPr>
            <p:cNvSpPr/>
            <p:nvPr/>
          </p:nvSpPr>
          <p:spPr>
            <a:xfrm>
              <a:off x="11280836" y="2818129"/>
              <a:ext cx="129601" cy="218851"/>
            </a:xfrm>
            <a:custGeom>
              <a:avLst/>
              <a:gdLst>
                <a:gd name="connsiteX0" fmla="*/ 110792 w 129601"/>
                <a:gd name="connsiteY0" fmla="*/ 2918 h 218851"/>
                <a:gd name="connsiteX1" fmla="*/ 3691 w 129601"/>
                <a:gd name="connsiteY1" fmla="*/ 100083 h 218851"/>
                <a:gd name="connsiteX2" fmla="*/ 2918 w 129601"/>
                <a:gd name="connsiteY2" fmla="*/ 115974 h 218851"/>
                <a:gd name="connsiteX3" fmla="*/ 3606 w 129601"/>
                <a:gd name="connsiteY3" fmla="*/ 116669 h 218851"/>
                <a:gd name="connsiteX4" fmla="*/ 110707 w 129601"/>
                <a:gd name="connsiteY4" fmla="*/ 215856 h 218851"/>
                <a:gd name="connsiteX5" fmla="*/ 126605 w 129601"/>
                <a:gd name="connsiteY5" fmla="*/ 215246 h 218851"/>
                <a:gd name="connsiteX6" fmla="*/ 129601 w 129601"/>
                <a:gd name="connsiteY6" fmla="*/ 207602 h 218851"/>
                <a:gd name="connsiteX7" fmla="*/ 129601 w 129601"/>
                <a:gd name="connsiteY7" fmla="*/ 11250 h 218851"/>
                <a:gd name="connsiteX8" fmla="*/ 118351 w 129601"/>
                <a:gd name="connsiteY8" fmla="*/ 0 h 218851"/>
                <a:gd name="connsiteX9" fmla="*/ 110792 w 129601"/>
                <a:gd name="connsiteY9" fmla="*/ 2918 h 218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601" h="218851">
                  <a:moveTo>
                    <a:pt x="110792" y="2918"/>
                  </a:moveTo>
                  <a:lnTo>
                    <a:pt x="3691" y="100083"/>
                  </a:lnTo>
                  <a:cubicBezTo>
                    <a:pt x="-911" y="104258"/>
                    <a:pt x="-1257" y="111372"/>
                    <a:pt x="2918" y="115974"/>
                  </a:cubicBezTo>
                  <a:cubicBezTo>
                    <a:pt x="3137" y="116216"/>
                    <a:pt x="3367" y="116447"/>
                    <a:pt x="3606" y="116669"/>
                  </a:cubicBezTo>
                  <a:lnTo>
                    <a:pt x="110707" y="215856"/>
                  </a:lnTo>
                  <a:cubicBezTo>
                    <a:pt x="115266" y="220077"/>
                    <a:pt x="122383" y="219804"/>
                    <a:pt x="126605" y="215246"/>
                  </a:cubicBezTo>
                  <a:cubicBezTo>
                    <a:pt x="128531" y="213167"/>
                    <a:pt x="129601" y="210437"/>
                    <a:pt x="129601" y="207602"/>
                  </a:cubicBezTo>
                  <a:lnTo>
                    <a:pt x="129601" y="11250"/>
                  </a:lnTo>
                  <a:cubicBezTo>
                    <a:pt x="129601" y="5037"/>
                    <a:pt x="124564" y="0"/>
                    <a:pt x="118351" y="0"/>
                  </a:cubicBezTo>
                  <a:cubicBezTo>
                    <a:pt x="115556" y="0"/>
                    <a:pt x="112862" y="1040"/>
                    <a:pt x="110792" y="2918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5" name="Полилиния 784">
              <a:extLst>
                <a:ext uri="{FF2B5EF4-FFF2-40B4-BE49-F238E27FC236}">
                  <a16:creationId xmlns:a16="http://schemas.microsoft.com/office/drawing/2014/main" id="{921E5DD0-42B0-A349-9186-05C7C7E5873B}"/>
                </a:ext>
              </a:extLst>
            </p:cNvPr>
            <p:cNvSpPr/>
            <p:nvPr/>
          </p:nvSpPr>
          <p:spPr>
            <a:xfrm>
              <a:off x="11340836" y="2818129"/>
              <a:ext cx="275851" cy="233353"/>
            </a:xfrm>
            <a:custGeom>
              <a:avLst/>
              <a:gdLst>
                <a:gd name="connsiteX0" fmla="*/ 275778 w 275851"/>
                <a:gd name="connsiteY0" fmla="*/ 207719 h 233353"/>
                <a:gd name="connsiteX1" fmla="*/ 240109 w 275851"/>
                <a:gd name="connsiteY1" fmla="*/ 108329 h 233353"/>
                <a:gd name="connsiteX2" fmla="*/ 129601 w 275851"/>
                <a:gd name="connsiteY2" fmla="*/ 75854 h 233353"/>
                <a:gd name="connsiteX3" fmla="*/ 129601 w 275851"/>
                <a:gd name="connsiteY3" fmla="*/ 11250 h 233353"/>
                <a:gd name="connsiteX4" fmla="*/ 118351 w 275851"/>
                <a:gd name="connsiteY4" fmla="*/ 0 h 233353"/>
                <a:gd name="connsiteX5" fmla="*/ 110793 w 275851"/>
                <a:gd name="connsiteY5" fmla="*/ 2918 h 233353"/>
                <a:gd name="connsiteX6" fmla="*/ 3691 w 275851"/>
                <a:gd name="connsiteY6" fmla="*/ 100083 h 233353"/>
                <a:gd name="connsiteX7" fmla="*/ 2918 w 275851"/>
                <a:gd name="connsiteY7" fmla="*/ 115974 h 233353"/>
                <a:gd name="connsiteX8" fmla="*/ 3606 w 275851"/>
                <a:gd name="connsiteY8" fmla="*/ 116669 h 233353"/>
                <a:gd name="connsiteX9" fmla="*/ 110707 w 275851"/>
                <a:gd name="connsiteY9" fmla="*/ 215856 h 233353"/>
                <a:gd name="connsiteX10" fmla="*/ 126606 w 275851"/>
                <a:gd name="connsiteY10" fmla="*/ 215246 h 233353"/>
                <a:gd name="connsiteX11" fmla="*/ 129601 w 275851"/>
                <a:gd name="connsiteY11" fmla="*/ 207602 h 233353"/>
                <a:gd name="connsiteX12" fmla="*/ 129601 w 275851"/>
                <a:gd name="connsiteY12" fmla="*/ 143354 h 233353"/>
                <a:gd name="connsiteX13" fmla="*/ 198727 w 275851"/>
                <a:gd name="connsiteY13" fmla="*/ 152055 h 233353"/>
                <a:gd name="connsiteX14" fmla="*/ 262021 w 275851"/>
                <a:gd name="connsiteY14" fmla="*/ 225978 h 233353"/>
                <a:gd name="connsiteX15" fmla="*/ 262021 w 275851"/>
                <a:gd name="connsiteY15" fmla="*/ 225978 h 233353"/>
                <a:gd name="connsiteX16" fmla="*/ 272583 w 275851"/>
                <a:gd name="connsiteY16" fmla="*/ 233354 h 233353"/>
                <a:gd name="connsiteX17" fmla="*/ 275851 w 275851"/>
                <a:gd name="connsiteY17" fmla="*/ 233354 h 233353"/>
                <a:gd name="connsiteX18" fmla="*/ 275778 w 275851"/>
                <a:gd name="connsiteY18" fmla="*/ 207719 h 233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851" h="233353">
                  <a:moveTo>
                    <a:pt x="275778" y="207719"/>
                  </a:moveTo>
                  <a:cubicBezTo>
                    <a:pt x="275778" y="195414"/>
                    <a:pt x="278415" y="146855"/>
                    <a:pt x="240109" y="108329"/>
                  </a:cubicBezTo>
                  <a:cubicBezTo>
                    <a:pt x="214327" y="82402"/>
                    <a:pt x="175744" y="77905"/>
                    <a:pt x="129601" y="75854"/>
                  </a:cubicBezTo>
                  <a:lnTo>
                    <a:pt x="129601" y="11250"/>
                  </a:lnTo>
                  <a:cubicBezTo>
                    <a:pt x="129601" y="5037"/>
                    <a:pt x="124564" y="0"/>
                    <a:pt x="118351" y="0"/>
                  </a:cubicBezTo>
                  <a:cubicBezTo>
                    <a:pt x="115557" y="0"/>
                    <a:pt x="112861" y="1040"/>
                    <a:pt x="110793" y="2918"/>
                  </a:cubicBezTo>
                  <a:lnTo>
                    <a:pt x="3691" y="100083"/>
                  </a:lnTo>
                  <a:cubicBezTo>
                    <a:pt x="-911" y="104258"/>
                    <a:pt x="-1257" y="111372"/>
                    <a:pt x="2918" y="115974"/>
                  </a:cubicBezTo>
                  <a:cubicBezTo>
                    <a:pt x="3137" y="116216"/>
                    <a:pt x="3367" y="116447"/>
                    <a:pt x="3606" y="116669"/>
                  </a:cubicBezTo>
                  <a:lnTo>
                    <a:pt x="110707" y="215856"/>
                  </a:lnTo>
                  <a:cubicBezTo>
                    <a:pt x="115266" y="220077"/>
                    <a:pt x="122383" y="219804"/>
                    <a:pt x="126606" y="215246"/>
                  </a:cubicBezTo>
                  <a:cubicBezTo>
                    <a:pt x="128532" y="213167"/>
                    <a:pt x="129601" y="210437"/>
                    <a:pt x="129601" y="207602"/>
                  </a:cubicBezTo>
                  <a:lnTo>
                    <a:pt x="129601" y="143354"/>
                  </a:lnTo>
                  <a:cubicBezTo>
                    <a:pt x="158898" y="144159"/>
                    <a:pt x="179767" y="146022"/>
                    <a:pt x="198727" y="152055"/>
                  </a:cubicBezTo>
                  <a:cubicBezTo>
                    <a:pt x="226027" y="160740"/>
                    <a:pt x="247126" y="185381"/>
                    <a:pt x="262021" y="225978"/>
                  </a:cubicBezTo>
                  <a:lnTo>
                    <a:pt x="262021" y="225978"/>
                  </a:lnTo>
                  <a:cubicBezTo>
                    <a:pt x="263647" y="230409"/>
                    <a:pt x="267864" y="233354"/>
                    <a:pt x="272583" y="233354"/>
                  </a:cubicBezTo>
                  <a:lnTo>
                    <a:pt x="275851" y="233354"/>
                  </a:lnTo>
                  <a:cubicBezTo>
                    <a:pt x="275851" y="225956"/>
                    <a:pt x="275778" y="214238"/>
                    <a:pt x="275778" y="20771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86" name="Рисунок 183">
            <a:extLst>
              <a:ext uri="{FF2B5EF4-FFF2-40B4-BE49-F238E27FC236}">
                <a16:creationId xmlns:a16="http://schemas.microsoft.com/office/drawing/2014/main" id="{0BFA2415-C186-3B45-AC79-0EF6F933EFE1}"/>
              </a:ext>
            </a:extLst>
          </p:cNvPr>
          <p:cNvGrpSpPr/>
          <p:nvPr/>
        </p:nvGrpSpPr>
        <p:grpSpPr>
          <a:xfrm>
            <a:off x="10478600" y="2440027"/>
            <a:ext cx="360000" cy="360000"/>
            <a:chOff x="10512053" y="2758983"/>
            <a:chExt cx="360000" cy="360000"/>
          </a:xfrm>
        </p:grpSpPr>
        <p:sp>
          <p:nvSpPr>
            <p:cNvPr id="787" name="Полилиния 786">
              <a:extLst>
                <a:ext uri="{FF2B5EF4-FFF2-40B4-BE49-F238E27FC236}">
                  <a16:creationId xmlns:a16="http://schemas.microsoft.com/office/drawing/2014/main" id="{74EE3C2C-4D57-2C45-B089-BEFE15DB0102}"/>
                </a:ext>
              </a:extLst>
            </p:cNvPr>
            <p:cNvSpPr/>
            <p:nvPr/>
          </p:nvSpPr>
          <p:spPr>
            <a:xfrm>
              <a:off x="10512053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8" name="Полилиния 787">
              <a:extLst>
                <a:ext uri="{FF2B5EF4-FFF2-40B4-BE49-F238E27FC236}">
                  <a16:creationId xmlns:a16="http://schemas.microsoft.com/office/drawing/2014/main" id="{FF048304-25DF-3647-AFAA-CB990F6DFBD8}"/>
                </a:ext>
              </a:extLst>
            </p:cNvPr>
            <p:cNvSpPr/>
            <p:nvPr/>
          </p:nvSpPr>
          <p:spPr>
            <a:xfrm rot="-5400000" flipV="1">
              <a:off x="10662053" y="2833983"/>
              <a:ext cx="209999" cy="119999"/>
            </a:xfrm>
            <a:custGeom>
              <a:avLst/>
              <a:gdLst>
                <a:gd name="connsiteX0" fmla="*/ 25606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3 w 209999"/>
                <a:gd name="connsiteY3" fmla="*/ 4393 h 119999"/>
                <a:gd name="connsiteX4" fmla="*/ 115135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4 w 209999"/>
                <a:gd name="connsiteY7" fmla="*/ 108558 h 119999"/>
                <a:gd name="connsiteX8" fmla="*/ 105451 w 209999"/>
                <a:gd name="connsiteY8" fmla="*/ 35762 h 119999"/>
                <a:gd name="connsiteX9" fmla="*/ 25606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6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3" y="4393"/>
                  </a:lnTo>
                  <a:cubicBezTo>
                    <a:pt x="100072" y="-1285"/>
                    <a:pt x="109216" y="-1484"/>
                    <a:pt x="115135" y="3943"/>
                  </a:cubicBezTo>
                  <a:lnTo>
                    <a:pt x="205135" y="86442"/>
                  </a:lnTo>
                  <a:cubicBezTo>
                    <a:pt x="211242" y="92040"/>
                    <a:pt x="211654" y="101529"/>
                    <a:pt x="206058" y="107636"/>
                  </a:cubicBezTo>
                  <a:cubicBezTo>
                    <a:pt x="200460" y="113742"/>
                    <a:pt x="190971" y="114155"/>
                    <a:pt x="184864" y="108558"/>
                  </a:cubicBezTo>
                  <a:lnTo>
                    <a:pt x="105451" y="35762"/>
                  </a:lnTo>
                  <a:lnTo>
                    <a:pt x="25606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9" name="Полилиния 788">
              <a:extLst>
                <a:ext uri="{FF2B5EF4-FFF2-40B4-BE49-F238E27FC236}">
                  <a16:creationId xmlns:a16="http://schemas.microsoft.com/office/drawing/2014/main" id="{6813EAB9-845F-3D4F-AAC1-C23001B8F31B}"/>
                </a:ext>
              </a:extLst>
            </p:cNvPr>
            <p:cNvSpPr/>
            <p:nvPr/>
          </p:nvSpPr>
          <p:spPr>
            <a:xfrm>
              <a:off x="10602053" y="2878983"/>
              <a:ext cx="157500" cy="210623"/>
            </a:xfrm>
            <a:custGeom>
              <a:avLst/>
              <a:gdLst>
                <a:gd name="connsiteX0" fmla="*/ 142500 w 157500"/>
                <a:gd name="connsiteY0" fmla="*/ 0 h 210623"/>
                <a:gd name="connsiteX1" fmla="*/ 157500 w 157500"/>
                <a:gd name="connsiteY1" fmla="*/ 15000 h 210623"/>
                <a:gd name="connsiteX2" fmla="*/ 142500 w 157500"/>
                <a:gd name="connsiteY2" fmla="*/ 30000 h 210623"/>
                <a:gd name="connsiteX3" fmla="*/ 45000 w 157500"/>
                <a:gd name="connsiteY3" fmla="*/ 30000 h 210623"/>
                <a:gd name="connsiteX4" fmla="*/ 30000 w 157500"/>
                <a:gd name="connsiteY4" fmla="*/ 45000 h 210623"/>
                <a:gd name="connsiteX5" fmla="*/ 30000 w 157500"/>
                <a:gd name="connsiteY5" fmla="*/ 195624 h 210623"/>
                <a:gd name="connsiteX6" fmla="*/ 15000 w 157500"/>
                <a:gd name="connsiteY6" fmla="*/ 210624 h 210623"/>
                <a:gd name="connsiteX7" fmla="*/ 0 w 157500"/>
                <a:gd name="connsiteY7" fmla="*/ 195624 h 210623"/>
                <a:gd name="connsiteX8" fmla="*/ 0 w 157500"/>
                <a:gd name="connsiteY8" fmla="*/ 45000 h 210623"/>
                <a:gd name="connsiteX9" fmla="*/ 45000 w 157500"/>
                <a:gd name="connsiteY9" fmla="*/ 0 h 210623"/>
                <a:gd name="connsiteX10" fmla="*/ 142500 w 157500"/>
                <a:gd name="connsiteY10" fmla="*/ 0 h 21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500" h="210623">
                  <a:moveTo>
                    <a:pt x="142500" y="0"/>
                  </a:moveTo>
                  <a:cubicBezTo>
                    <a:pt x="150785" y="0"/>
                    <a:pt x="157500" y="6716"/>
                    <a:pt x="157500" y="15000"/>
                  </a:cubicBezTo>
                  <a:cubicBezTo>
                    <a:pt x="157500" y="23284"/>
                    <a:pt x="150785" y="30000"/>
                    <a:pt x="142500" y="30000"/>
                  </a:cubicBezTo>
                  <a:lnTo>
                    <a:pt x="45000" y="30000"/>
                  </a:lnTo>
                  <a:cubicBezTo>
                    <a:pt x="36716" y="30000"/>
                    <a:pt x="30000" y="36715"/>
                    <a:pt x="30000" y="45000"/>
                  </a:cubicBezTo>
                  <a:lnTo>
                    <a:pt x="30000" y="195624"/>
                  </a:lnTo>
                  <a:cubicBezTo>
                    <a:pt x="30000" y="203909"/>
                    <a:pt x="23284" y="210624"/>
                    <a:pt x="15000" y="210624"/>
                  </a:cubicBezTo>
                  <a:cubicBezTo>
                    <a:pt x="6716" y="210624"/>
                    <a:pt x="0" y="203909"/>
                    <a:pt x="0" y="195624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lnTo>
                    <a:pt x="1425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90" name="Рисунок 184">
            <a:extLst>
              <a:ext uri="{FF2B5EF4-FFF2-40B4-BE49-F238E27FC236}">
                <a16:creationId xmlns:a16="http://schemas.microsoft.com/office/drawing/2014/main" id="{98FFD8E9-9CF7-2F49-89B2-5E0B260D2957}"/>
              </a:ext>
            </a:extLst>
          </p:cNvPr>
          <p:cNvGrpSpPr/>
          <p:nvPr/>
        </p:nvGrpSpPr>
        <p:grpSpPr>
          <a:xfrm>
            <a:off x="6702935" y="2440027"/>
            <a:ext cx="360000" cy="360000"/>
            <a:chOff x="6736388" y="2758983"/>
            <a:chExt cx="360000" cy="360000"/>
          </a:xfrm>
        </p:grpSpPr>
        <p:sp>
          <p:nvSpPr>
            <p:cNvPr id="791" name="Полилиния 790">
              <a:extLst>
                <a:ext uri="{FF2B5EF4-FFF2-40B4-BE49-F238E27FC236}">
                  <a16:creationId xmlns:a16="http://schemas.microsoft.com/office/drawing/2014/main" id="{E4C99C5C-2F33-E54A-BB09-75A01E4E2928}"/>
                </a:ext>
              </a:extLst>
            </p:cNvPr>
            <p:cNvSpPr/>
            <p:nvPr/>
          </p:nvSpPr>
          <p:spPr>
            <a:xfrm>
              <a:off x="6736388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2" name="Полилиния 791">
              <a:extLst>
                <a:ext uri="{FF2B5EF4-FFF2-40B4-BE49-F238E27FC236}">
                  <a16:creationId xmlns:a16="http://schemas.microsoft.com/office/drawing/2014/main" id="{C4E34F80-6475-D54F-A56A-3D7BBFCDE5E8}"/>
                </a:ext>
              </a:extLst>
            </p:cNvPr>
            <p:cNvSpPr/>
            <p:nvPr/>
          </p:nvSpPr>
          <p:spPr>
            <a:xfrm>
              <a:off x="6796387" y="2832784"/>
              <a:ext cx="264859" cy="225288"/>
            </a:xfrm>
            <a:custGeom>
              <a:avLst/>
              <a:gdLst>
                <a:gd name="connsiteX0" fmla="*/ 129858 w 264859"/>
                <a:gd name="connsiteY0" fmla="*/ 76198 h 225288"/>
                <a:gd name="connsiteX1" fmla="*/ 129858 w 264859"/>
                <a:gd name="connsiteY1" fmla="*/ 11250 h 225288"/>
                <a:gd name="connsiteX2" fmla="*/ 118608 w 264859"/>
                <a:gd name="connsiteY2" fmla="*/ 0 h 225288"/>
                <a:gd name="connsiteX3" fmla="*/ 111135 w 264859"/>
                <a:gd name="connsiteY3" fmla="*/ 2842 h 225288"/>
                <a:gd name="connsiteX4" fmla="*/ 3776 w 264859"/>
                <a:gd name="connsiteY4" fmla="*/ 98272 h 225288"/>
                <a:gd name="connsiteX5" fmla="*/ 2842 w 264859"/>
                <a:gd name="connsiteY5" fmla="*/ 114154 h 225288"/>
                <a:gd name="connsiteX6" fmla="*/ 3295 w 264859"/>
                <a:gd name="connsiteY6" fmla="*/ 114634 h 225288"/>
                <a:gd name="connsiteX7" fmla="*/ 110654 w 264859"/>
                <a:gd name="connsiteY7" fmla="*/ 221994 h 225288"/>
                <a:gd name="connsiteX8" fmla="*/ 126564 w 264859"/>
                <a:gd name="connsiteY8" fmla="*/ 221994 h 225288"/>
                <a:gd name="connsiteX9" fmla="*/ 129858 w 264859"/>
                <a:gd name="connsiteY9" fmla="*/ 214038 h 225288"/>
                <a:gd name="connsiteX10" fmla="*/ 129858 w 264859"/>
                <a:gd name="connsiteY10" fmla="*/ 151198 h 225288"/>
                <a:gd name="connsiteX11" fmla="*/ 257229 w 264859"/>
                <a:gd name="connsiteY11" fmla="*/ 151062 h 225288"/>
                <a:gd name="connsiteX12" fmla="*/ 257229 w 264859"/>
                <a:gd name="connsiteY12" fmla="*/ 151062 h 225288"/>
                <a:gd name="connsiteX13" fmla="*/ 264858 w 264859"/>
                <a:gd name="connsiteY13" fmla="*/ 143694 h 225288"/>
                <a:gd name="connsiteX14" fmla="*/ 264858 w 264859"/>
                <a:gd name="connsiteY14" fmla="*/ 143563 h 225288"/>
                <a:gd name="connsiteX15" fmla="*/ 264860 w 264859"/>
                <a:gd name="connsiteY15" fmla="*/ 83773 h 225288"/>
                <a:gd name="connsiteX16" fmla="*/ 257358 w 264859"/>
                <a:gd name="connsiteY16" fmla="*/ 76273 h 225288"/>
                <a:gd name="connsiteX17" fmla="*/ 257286 w 264859"/>
                <a:gd name="connsiteY17" fmla="*/ 76273 h 225288"/>
                <a:gd name="connsiteX18" fmla="*/ 129858 w 264859"/>
                <a:gd name="connsiteY18" fmla="*/ 76198 h 225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4859" h="225288">
                  <a:moveTo>
                    <a:pt x="129858" y="76198"/>
                  </a:moveTo>
                  <a:lnTo>
                    <a:pt x="129858" y="11250"/>
                  </a:lnTo>
                  <a:cubicBezTo>
                    <a:pt x="129858" y="5037"/>
                    <a:pt x="124821" y="0"/>
                    <a:pt x="118608" y="0"/>
                  </a:cubicBezTo>
                  <a:cubicBezTo>
                    <a:pt x="115853" y="0"/>
                    <a:pt x="113195" y="1011"/>
                    <a:pt x="111135" y="2842"/>
                  </a:cubicBezTo>
                  <a:lnTo>
                    <a:pt x="3776" y="98272"/>
                  </a:lnTo>
                  <a:cubicBezTo>
                    <a:pt x="-868" y="102399"/>
                    <a:pt x="-1286" y="109510"/>
                    <a:pt x="2842" y="114154"/>
                  </a:cubicBezTo>
                  <a:cubicBezTo>
                    <a:pt x="2988" y="114319"/>
                    <a:pt x="3139" y="114480"/>
                    <a:pt x="3295" y="114634"/>
                  </a:cubicBezTo>
                  <a:lnTo>
                    <a:pt x="110654" y="221994"/>
                  </a:lnTo>
                  <a:cubicBezTo>
                    <a:pt x="115047" y="226387"/>
                    <a:pt x="122171" y="226387"/>
                    <a:pt x="126564" y="221994"/>
                  </a:cubicBezTo>
                  <a:cubicBezTo>
                    <a:pt x="128673" y="219883"/>
                    <a:pt x="129858" y="217023"/>
                    <a:pt x="129858" y="214038"/>
                  </a:cubicBezTo>
                  <a:lnTo>
                    <a:pt x="129858" y="151198"/>
                  </a:lnTo>
                  <a:cubicBezTo>
                    <a:pt x="150066" y="149980"/>
                    <a:pt x="192524" y="149935"/>
                    <a:pt x="257229" y="151062"/>
                  </a:cubicBezTo>
                  <a:lnTo>
                    <a:pt x="257229" y="151062"/>
                  </a:lnTo>
                  <a:cubicBezTo>
                    <a:pt x="261369" y="151134"/>
                    <a:pt x="264786" y="147835"/>
                    <a:pt x="264858" y="143694"/>
                  </a:cubicBezTo>
                  <a:cubicBezTo>
                    <a:pt x="264858" y="143650"/>
                    <a:pt x="264858" y="143607"/>
                    <a:pt x="264858" y="143563"/>
                  </a:cubicBezTo>
                  <a:lnTo>
                    <a:pt x="264860" y="83773"/>
                  </a:lnTo>
                  <a:cubicBezTo>
                    <a:pt x="264860" y="79630"/>
                    <a:pt x="261501" y="76273"/>
                    <a:pt x="257358" y="76273"/>
                  </a:cubicBezTo>
                  <a:cubicBezTo>
                    <a:pt x="257334" y="76273"/>
                    <a:pt x="257310" y="76273"/>
                    <a:pt x="257286" y="76273"/>
                  </a:cubicBezTo>
                  <a:cubicBezTo>
                    <a:pt x="180324" y="77020"/>
                    <a:pt x="137849" y="76995"/>
                    <a:pt x="129858" y="76198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93" name="Рисунок 185">
            <a:extLst>
              <a:ext uri="{FF2B5EF4-FFF2-40B4-BE49-F238E27FC236}">
                <a16:creationId xmlns:a16="http://schemas.microsoft.com/office/drawing/2014/main" id="{5D0B16B3-D8A3-EC4A-A9EB-6727AF392F83}"/>
              </a:ext>
            </a:extLst>
          </p:cNvPr>
          <p:cNvGrpSpPr/>
          <p:nvPr/>
        </p:nvGrpSpPr>
        <p:grpSpPr>
          <a:xfrm>
            <a:off x="7458068" y="2440027"/>
            <a:ext cx="360000" cy="360000"/>
            <a:chOff x="7491521" y="2758983"/>
            <a:chExt cx="360000" cy="360000"/>
          </a:xfrm>
        </p:grpSpPr>
        <p:sp>
          <p:nvSpPr>
            <p:cNvPr id="794" name="Полилиния 793">
              <a:extLst>
                <a:ext uri="{FF2B5EF4-FFF2-40B4-BE49-F238E27FC236}">
                  <a16:creationId xmlns:a16="http://schemas.microsoft.com/office/drawing/2014/main" id="{D858BF37-3347-0F45-BF05-C859FACA94BD}"/>
                </a:ext>
              </a:extLst>
            </p:cNvPr>
            <p:cNvSpPr/>
            <p:nvPr/>
          </p:nvSpPr>
          <p:spPr>
            <a:xfrm>
              <a:off x="7491521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5" name="Скругленный прямоугольник 794">
              <a:extLst>
                <a:ext uri="{FF2B5EF4-FFF2-40B4-BE49-F238E27FC236}">
                  <a16:creationId xmlns:a16="http://schemas.microsoft.com/office/drawing/2014/main" id="{9D4D74D1-8E1C-0E49-A295-3D0F3031540C}"/>
                </a:ext>
              </a:extLst>
            </p:cNvPr>
            <p:cNvSpPr/>
            <p:nvPr/>
          </p:nvSpPr>
          <p:spPr>
            <a:xfrm rot="-5400000">
              <a:off x="7604021" y="2871483"/>
              <a:ext cx="30000" cy="135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6" name="Полилиния 795">
              <a:extLst>
                <a:ext uri="{FF2B5EF4-FFF2-40B4-BE49-F238E27FC236}">
                  <a16:creationId xmlns:a16="http://schemas.microsoft.com/office/drawing/2014/main" id="{AE7B4550-D2FC-E546-9121-6FFC832B150A}"/>
                </a:ext>
              </a:extLst>
            </p:cNvPr>
            <p:cNvSpPr/>
            <p:nvPr/>
          </p:nvSpPr>
          <p:spPr>
            <a:xfrm rot="-5400000" flipV="1">
              <a:off x="7611521" y="2878983"/>
              <a:ext cx="209999" cy="119999"/>
            </a:xfrm>
            <a:custGeom>
              <a:avLst/>
              <a:gdLst>
                <a:gd name="connsiteX0" fmla="*/ 25607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7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7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97" name="Рисунок 186">
            <a:extLst>
              <a:ext uri="{FF2B5EF4-FFF2-40B4-BE49-F238E27FC236}">
                <a16:creationId xmlns:a16="http://schemas.microsoft.com/office/drawing/2014/main" id="{C02B9381-004B-CD45-BD8F-8A7570553B7D}"/>
              </a:ext>
            </a:extLst>
          </p:cNvPr>
          <p:cNvGrpSpPr/>
          <p:nvPr/>
        </p:nvGrpSpPr>
        <p:grpSpPr>
          <a:xfrm>
            <a:off x="3682403" y="2440027"/>
            <a:ext cx="360000" cy="360000"/>
            <a:chOff x="3715856" y="2758983"/>
            <a:chExt cx="360000" cy="360000"/>
          </a:xfrm>
        </p:grpSpPr>
        <p:sp>
          <p:nvSpPr>
            <p:cNvPr id="798" name="Полилиния 797">
              <a:extLst>
                <a:ext uri="{FF2B5EF4-FFF2-40B4-BE49-F238E27FC236}">
                  <a16:creationId xmlns:a16="http://schemas.microsoft.com/office/drawing/2014/main" id="{47635650-418A-504E-A1A7-B16A6F9885B1}"/>
                </a:ext>
              </a:extLst>
            </p:cNvPr>
            <p:cNvSpPr/>
            <p:nvPr/>
          </p:nvSpPr>
          <p:spPr>
            <a:xfrm>
              <a:off x="3715856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9" name="Полилиния 798">
              <a:extLst>
                <a:ext uri="{FF2B5EF4-FFF2-40B4-BE49-F238E27FC236}">
                  <a16:creationId xmlns:a16="http://schemas.microsoft.com/office/drawing/2014/main" id="{C7CB9085-3472-ED47-A737-592339F10258}"/>
                </a:ext>
              </a:extLst>
            </p:cNvPr>
            <p:cNvSpPr/>
            <p:nvPr/>
          </p:nvSpPr>
          <p:spPr>
            <a:xfrm>
              <a:off x="3745856" y="2788983"/>
              <a:ext cx="300000" cy="300000"/>
            </a:xfrm>
            <a:custGeom>
              <a:avLst/>
              <a:gdLst>
                <a:gd name="connsiteX0" fmla="*/ 300000 w 300000"/>
                <a:gd name="connsiteY0" fmla="*/ 150000 h 300000"/>
                <a:gd name="connsiteX1" fmla="*/ 150000 w 300000"/>
                <a:gd name="connsiteY1" fmla="*/ 300000 h 300000"/>
                <a:gd name="connsiteX2" fmla="*/ 0 w 300000"/>
                <a:gd name="connsiteY2" fmla="*/ 150000 h 300000"/>
                <a:gd name="connsiteX3" fmla="*/ 150000 w 300000"/>
                <a:gd name="connsiteY3" fmla="*/ 0 h 300000"/>
                <a:gd name="connsiteX4" fmla="*/ 300000 w 300000"/>
                <a:gd name="connsiteY4" fmla="*/ 15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0" h="300000">
                  <a:moveTo>
                    <a:pt x="300000" y="150000"/>
                  </a:moveTo>
                  <a:cubicBezTo>
                    <a:pt x="300000" y="232843"/>
                    <a:pt x="232843" y="300000"/>
                    <a:pt x="150000" y="300000"/>
                  </a:cubicBezTo>
                  <a:cubicBezTo>
                    <a:pt x="67157" y="300000"/>
                    <a:pt x="0" y="232843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3" y="0"/>
                    <a:pt x="300000" y="67157"/>
                    <a:pt x="300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0" name="Полилиния 799">
              <a:extLst>
                <a:ext uri="{FF2B5EF4-FFF2-40B4-BE49-F238E27FC236}">
                  <a16:creationId xmlns:a16="http://schemas.microsoft.com/office/drawing/2014/main" id="{18A52E4A-880F-894C-BB05-38B9F350929C}"/>
                </a:ext>
              </a:extLst>
            </p:cNvPr>
            <p:cNvSpPr/>
            <p:nvPr/>
          </p:nvSpPr>
          <p:spPr>
            <a:xfrm rot="5400000">
              <a:off x="3813355" y="2887554"/>
              <a:ext cx="180000" cy="102857"/>
            </a:xfrm>
            <a:custGeom>
              <a:avLst/>
              <a:gdLst>
                <a:gd name="connsiteX0" fmla="*/ 21948 w 180000"/>
                <a:gd name="connsiteY0" fmla="*/ 99091 h 102857"/>
                <a:gd name="connsiteX1" fmla="*/ 3766 w 180000"/>
                <a:gd name="connsiteY1" fmla="*/ 99091 h 102857"/>
                <a:gd name="connsiteX2" fmla="*/ 3766 w 180000"/>
                <a:gd name="connsiteY2" fmla="*/ 80908 h 102857"/>
                <a:gd name="connsiteX3" fmla="*/ 80908 w 180000"/>
                <a:gd name="connsiteY3" fmla="*/ 3766 h 102857"/>
                <a:gd name="connsiteX4" fmla="*/ 98688 w 180000"/>
                <a:gd name="connsiteY4" fmla="*/ 3379 h 102857"/>
                <a:gd name="connsiteX5" fmla="*/ 175830 w 180000"/>
                <a:gd name="connsiteY5" fmla="*/ 74094 h 102857"/>
                <a:gd name="connsiteX6" fmla="*/ 176620 w 180000"/>
                <a:gd name="connsiteY6" fmla="*/ 92260 h 102857"/>
                <a:gd name="connsiteX7" fmla="*/ 158455 w 180000"/>
                <a:gd name="connsiteY7" fmla="*/ 93049 h 102857"/>
                <a:gd name="connsiteX8" fmla="*/ 90387 w 180000"/>
                <a:gd name="connsiteY8" fmla="*/ 30654 h 102857"/>
                <a:gd name="connsiteX9" fmla="*/ 21948 w 180000"/>
                <a:gd name="connsiteY9" fmla="*/ 99091 h 10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000" h="102857">
                  <a:moveTo>
                    <a:pt x="21948" y="99091"/>
                  </a:moveTo>
                  <a:cubicBezTo>
                    <a:pt x="16927" y="104113"/>
                    <a:pt x="8787" y="104113"/>
                    <a:pt x="3766" y="99091"/>
                  </a:cubicBezTo>
                  <a:cubicBezTo>
                    <a:pt x="-1255" y="94071"/>
                    <a:pt x="-1255" y="85930"/>
                    <a:pt x="3766" y="80908"/>
                  </a:cubicBezTo>
                  <a:lnTo>
                    <a:pt x="80908" y="3766"/>
                  </a:lnTo>
                  <a:cubicBezTo>
                    <a:pt x="85776" y="-1102"/>
                    <a:pt x="93613" y="-1272"/>
                    <a:pt x="98688" y="3379"/>
                  </a:cubicBezTo>
                  <a:lnTo>
                    <a:pt x="175830" y="74094"/>
                  </a:lnTo>
                  <a:cubicBezTo>
                    <a:pt x="181065" y="78892"/>
                    <a:pt x="181419" y="87025"/>
                    <a:pt x="176620" y="92260"/>
                  </a:cubicBezTo>
                  <a:cubicBezTo>
                    <a:pt x="171822" y="97494"/>
                    <a:pt x="163689" y="97848"/>
                    <a:pt x="158455" y="93049"/>
                  </a:cubicBezTo>
                  <a:lnTo>
                    <a:pt x="90387" y="30654"/>
                  </a:lnTo>
                  <a:lnTo>
                    <a:pt x="21948" y="99091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01" name="Рисунок 187">
            <a:extLst>
              <a:ext uri="{FF2B5EF4-FFF2-40B4-BE49-F238E27FC236}">
                <a16:creationId xmlns:a16="http://schemas.microsoft.com/office/drawing/2014/main" id="{3636AFE0-14D0-814D-91BD-5288C1640B70}"/>
              </a:ext>
            </a:extLst>
          </p:cNvPr>
          <p:cNvGrpSpPr/>
          <p:nvPr/>
        </p:nvGrpSpPr>
        <p:grpSpPr>
          <a:xfrm>
            <a:off x="5947802" y="2440027"/>
            <a:ext cx="360000" cy="360000"/>
            <a:chOff x="5981255" y="2758983"/>
            <a:chExt cx="360000" cy="360000"/>
          </a:xfrm>
        </p:grpSpPr>
        <p:sp>
          <p:nvSpPr>
            <p:cNvPr id="802" name="Полилиния 801">
              <a:extLst>
                <a:ext uri="{FF2B5EF4-FFF2-40B4-BE49-F238E27FC236}">
                  <a16:creationId xmlns:a16="http://schemas.microsoft.com/office/drawing/2014/main" id="{A3A2CA42-A8F9-4045-820E-AE7F8FA19EEE}"/>
                </a:ext>
              </a:extLst>
            </p:cNvPr>
            <p:cNvSpPr/>
            <p:nvPr/>
          </p:nvSpPr>
          <p:spPr>
            <a:xfrm>
              <a:off x="5981255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3" name="Полилиния 802">
              <a:extLst>
                <a:ext uri="{FF2B5EF4-FFF2-40B4-BE49-F238E27FC236}">
                  <a16:creationId xmlns:a16="http://schemas.microsoft.com/office/drawing/2014/main" id="{404E5C60-8113-EB4F-80A9-C5D0000C605C}"/>
                </a:ext>
              </a:extLst>
            </p:cNvPr>
            <p:cNvSpPr/>
            <p:nvPr/>
          </p:nvSpPr>
          <p:spPr>
            <a:xfrm>
              <a:off x="6072174" y="2803983"/>
              <a:ext cx="178162" cy="240000"/>
            </a:xfrm>
            <a:custGeom>
              <a:avLst/>
              <a:gdLst>
                <a:gd name="connsiteX0" fmla="*/ 131861 w 178162"/>
                <a:gd name="connsiteY0" fmla="*/ 90000 h 240000"/>
                <a:gd name="connsiteX1" fmla="*/ 145752 w 178162"/>
                <a:gd name="connsiteY1" fmla="*/ 135000 h 240000"/>
                <a:gd name="connsiteX2" fmla="*/ 32410 w 178162"/>
                <a:gd name="connsiteY2" fmla="*/ 135000 h 240000"/>
                <a:gd name="connsiteX3" fmla="*/ 46301 w 178162"/>
                <a:gd name="connsiteY3" fmla="*/ 90000 h 240000"/>
                <a:gd name="connsiteX4" fmla="*/ 131861 w 178162"/>
                <a:gd name="connsiteY4" fmla="*/ 90000 h 240000"/>
                <a:gd name="connsiteX5" fmla="*/ 117971 w 178162"/>
                <a:gd name="connsiteY5" fmla="*/ 45000 h 240000"/>
                <a:gd name="connsiteX6" fmla="*/ 60191 w 178162"/>
                <a:gd name="connsiteY6" fmla="*/ 45000 h 240000"/>
                <a:gd name="connsiteX7" fmla="*/ 69657 w 178162"/>
                <a:gd name="connsiteY7" fmla="*/ 14333 h 240000"/>
                <a:gd name="connsiteX8" fmla="*/ 89081 w 178162"/>
                <a:gd name="connsiteY8" fmla="*/ 0 h 240000"/>
                <a:gd name="connsiteX9" fmla="*/ 108504 w 178162"/>
                <a:gd name="connsiteY9" fmla="*/ 14333 h 240000"/>
                <a:gd name="connsiteX10" fmla="*/ 117971 w 178162"/>
                <a:gd name="connsiteY10" fmla="*/ 45000 h 240000"/>
                <a:gd name="connsiteX11" fmla="*/ 159642 w 178162"/>
                <a:gd name="connsiteY11" fmla="*/ 180000 h 240000"/>
                <a:gd name="connsiteX12" fmla="*/ 178163 w 178162"/>
                <a:gd name="connsiteY12" fmla="*/ 240000 h 240000"/>
                <a:gd name="connsiteX13" fmla="*/ 0 w 178162"/>
                <a:gd name="connsiteY13" fmla="*/ 240000 h 240000"/>
                <a:gd name="connsiteX14" fmla="*/ 18520 w 178162"/>
                <a:gd name="connsiteY14" fmla="*/ 180000 h 240000"/>
                <a:gd name="connsiteX15" fmla="*/ 159642 w 178162"/>
                <a:gd name="connsiteY15" fmla="*/ 18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8162" h="240000">
                  <a:moveTo>
                    <a:pt x="131861" y="90000"/>
                  </a:moveTo>
                  <a:lnTo>
                    <a:pt x="145752" y="135000"/>
                  </a:lnTo>
                  <a:lnTo>
                    <a:pt x="32410" y="135000"/>
                  </a:lnTo>
                  <a:lnTo>
                    <a:pt x="46301" y="90000"/>
                  </a:lnTo>
                  <a:lnTo>
                    <a:pt x="131861" y="90000"/>
                  </a:lnTo>
                  <a:close/>
                  <a:moveTo>
                    <a:pt x="117971" y="45000"/>
                  </a:moveTo>
                  <a:lnTo>
                    <a:pt x="60191" y="45000"/>
                  </a:lnTo>
                  <a:lnTo>
                    <a:pt x="69657" y="14333"/>
                  </a:lnTo>
                  <a:cubicBezTo>
                    <a:pt x="72287" y="5812"/>
                    <a:pt x="80163" y="0"/>
                    <a:pt x="89081" y="0"/>
                  </a:cubicBezTo>
                  <a:cubicBezTo>
                    <a:pt x="97998" y="0"/>
                    <a:pt x="105875" y="5812"/>
                    <a:pt x="108504" y="14333"/>
                  </a:cubicBezTo>
                  <a:lnTo>
                    <a:pt x="117971" y="45000"/>
                  </a:lnTo>
                  <a:close/>
                  <a:moveTo>
                    <a:pt x="159642" y="180000"/>
                  </a:moveTo>
                  <a:lnTo>
                    <a:pt x="178163" y="240000"/>
                  </a:lnTo>
                  <a:lnTo>
                    <a:pt x="0" y="240000"/>
                  </a:lnTo>
                  <a:lnTo>
                    <a:pt x="18520" y="180000"/>
                  </a:lnTo>
                  <a:lnTo>
                    <a:pt x="159642" y="18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4" name="Полилиния 803">
              <a:extLst>
                <a:ext uri="{FF2B5EF4-FFF2-40B4-BE49-F238E27FC236}">
                  <a16:creationId xmlns:a16="http://schemas.microsoft.com/office/drawing/2014/main" id="{27416BF3-997E-BE41-AC85-5A21A9C4D2F1}"/>
                </a:ext>
              </a:extLst>
            </p:cNvPr>
            <p:cNvSpPr/>
            <p:nvPr/>
          </p:nvSpPr>
          <p:spPr>
            <a:xfrm>
              <a:off x="6026255" y="3058983"/>
              <a:ext cx="270000" cy="30000"/>
            </a:xfrm>
            <a:custGeom>
              <a:avLst/>
              <a:gdLst>
                <a:gd name="connsiteX0" fmla="*/ 255000 w 270000"/>
                <a:gd name="connsiteY0" fmla="*/ 0 h 30000"/>
                <a:gd name="connsiteX1" fmla="*/ 270000 w 270000"/>
                <a:gd name="connsiteY1" fmla="*/ 0 h 30000"/>
                <a:gd name="connsiteX2" fmla="*/ 270000 w 270000"/>
                <a:gd name="connsiteY2" fmla="*/ 30000 h 30000"/>
                <a:gd name="connsiteX3" fmla="*/ 255000 w 270000"/>
                <a:gd name="connsiteY3" fmla="*/ 30000 h 30000"/>
                <a:gd name="connsiteX4" fmla="*/ 15000 w 270000"/>
                <a:gd name="connsiteY4" fmla="*/ 30000 h 30000"/>
                <a:gd name="connsiteX5" fmla="*/ 0 w 270000"/>
                <a:gd name="connsiteY5" fmla="*/ 30000 h 30000"/>
                <a:gd name="connsiteX6" fmla="*/ 0 w 270000"/>
                <a:gd name="connsiteY6" fmla="*/ 0 h 30000"/>
                <a:gd name="connsiteX7" fmla="*/ 15000 w 27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0000" h="30000">
                  <a:moveTo>
                    <a:pt x="255000" y="0"/>
                  </a:moveTo>
                  <a:cubicBezTo>
                    <a:pt x="263284" y="0"/>
                    <a:pt x="270000" y="0"/>
                    <a:pt x="270000" y="0"/>
                  </a:cubicBezTo>
                  <a:lnTo>
                    <a:pt x="270000" y="30000"/>
                  </a:lnTo>
                  <a:cubicBezTo>
                    <a:pt x="270000" y="30000"/>
                    <a:pt x="263284" y="30000"/>
                    <a:pt x="255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05" name="Рисунок 188">
            <a:extLst>
              <a:ext uri="{FF2B5EF4-FFF2-40B4-BE49-F238E27FC236}">
                <a16:creationId xmlns:a16="http://schemas.microsoft.com/office/drawing/2014/main" id="{5E065616-766D-DE45-81B4-33A884A7172B}"/>
              </a:ext>
            </a:extLst>
          </p:cNvPr>
          <p:cNvGrpSpPr/>
          <p:nvPr/>
        </p:nvGrpSpPr>
        <p:grpSpPr>
          <a:xfrm>
            <a:off x="8213201" y="2440027"/>
            <a:ext cx="360000" cy="360000"/>
            <a:chOff x="8246654" y="2758983"/>
            <a:chExt cx="360000" cy="360000"/>
          </a:xfrm>
        </p:grpSpPr>
        <p:sp>
          <p:nvSpPr>
            <p:cNvPr id="806" name="Полилиния 805">
              <a:extLst>
                <a:ext uri="{FF2B5EF4-FFF2-40B4-BE49-F238E27FC236}">
                  <a16:creationId xmlns:a16="http://schemas.microsoft.com/office/drawing/2014/main" id="{C961F2EE-7541-9740-9E4A-CDC39408C183}"/>
                </a:ext>
              </a:extLst>
            </p:cNvPr>
            <p:cNvSpPr/>
            <p:nvPr/>
          </p:nvSpPr>
          <p:spPr>
            <a:xfrm>
              <a:off x="8246654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7" name="Скругленный прямоугольник 806">
              <a:extLst>
                <a:ext uri="{FF2B5EF4-FFF2-40B4-BE49-F238E27FC236}">
                  <a16:creationId xmlns:a16="http://schemas.microsoft.com/office/drawing/2014/main" id="{3AB1B508-D7F0-1C43-AD83-74BD309A7891}"/>
                </a:ext>
              </a:extLst>
            </p:cNvPr>
            <p:cNvSpPr/>
            <p:nvPr/>
          </p:nvSpPr>
          <p:spPr>
            <a:xfrm>
              <a:off x="8291654" y="2788983"/>
              <a:ext cx="225000" cy="75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8" name="Скругленный прямоугольник 807">
              <a:extLst>
                <a:ext uri="{FF2B5EF4-FFF2-40B4-BE49-F238E27FC236}">
                  <a16:creationId xmlns:a16="http://schemas.microsoft.com/office/drawing/2014/main" id="{6B51BE39-F3BC-F249-992F-78E7668D9260}"/>
                </a:ext>
              </a:extLst>
            </p:cNvPr>
            <p:cNvSpPr/>
            <p:nvPr/>
          </p:nvSpPr>
          <p:spPr>
            <a:xfrm>
              <a:off x="8381654" y="2938983"/>
              <a:ext cx="60000" cy="15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9" name="Полилиния 808">
              <a:extLst>
                <a:ext uri="{FF2B5EF4-FFF2-40B4-BE49-F238E27FC236}">
                  <a16:creationId xmlns:a16="http://schemas.microsoft.com/office/drawing/2014/main" id="{6B65742A-AB35-DE4B-9F49-19E09FABC526}"/>
                </a:ext>
              </a:extLst>
            </p:cNvPr>
            <p:cNvSpPr/>
            <p:nvPr/>
          </p:nvSpPr>
          <p:spPr>
            <a:xfrm>
              <a:off x="8396654" y="2811483"/>
              <a:ext cx="165000" cy="127500"/>
            </a:xfrm>
            <a:custGeom>
              <a:avLst/>
              <a:gdLst>
                <a:gd name="connsiteX0" fmla="*/ 30000 w 165000"/>
                <a:gd name="connsiteY0" fmla="*/ 127500 h 127500"/>
                <a:gd name="connsiteX1" fmla="*/ 0 w 165000"/>
                <a:gd name="connsiteY1" fmla="*/ 127500 h 127500"/>
                <a:gd name="connsiteX2" fmla="*/ 0 w 165000"/>
                <a:gd name="connsiteY2" fmla="*/ 112500 h 127500"/>
                <a:gd name="connsiteX3" fmla="*/ 30000 w 165000"/>
                <a:gd name="connsiteY3" fmla="*/ 82500 h 127500"/>
                <a:gd name="connsiteX4" fmla="*/ 135000 w 165000"/>
                <a:gd name="connsiteY4" fmla="*/ 82500 h 127500"/>
                <a:gd name="connsiteX5" fmla="*/ 135000 w 165000"/>
                <a:gd name="connsiteY5" fmla="*/ 30000 h 127500"/>
                <a:gd name="connsiteX6" fmla="*/ 120000 w 165000"/>
                <a:gd name="connsiteY6" fmla="*/ 30000 h 127500"/>
                <a:gd name="connsiteX7" fmla="*/ 120000 w 165000"/>
                <a:gd name="connsiteY7" fmla="*/ 0 h 127500"/>
                <a:gd name="connsiteX8" fmla="*/ 135000 w 165000"/>
                <a:gd name="connsiteY8" fmla="*/ 0 h 127500"/>
                <a:gd name="connsiteX9" fmla="*/ 165000 w 165000"/>
                <a:gd name="connsiteY9" fmla="*/ 30000 h 127500"/>
                <a:gd name="connsiteX10" fmla="*/ 165000 w 165000"/>
                <a:gd name="connsiteY10" fmla="*/ 82500 h 127500"/>
                <a:gd name="connsiteX11" fmla="*/ 135000 w 165000"/>
                <a:gd name="connsiteY11" fmla="*/ 112500 h 127500"/>
                <a:gd name="connsiteX12" fmla="*/ 30000 w 165000"/>
                <a:gd name="connsiteY12" fmla="*/ 112500 h 127500"/>
                <a:gd name="connsiteX13" fmla="*/ 30000 w 165000"/>
                <a:gd name="connsiteY13" fmla="*/ 127500 h 12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5000" h="127500">
                  <a:moveTo>
                    <a:pt x="30000" y="127500"/>
                  </a:moveTo>
                  <a:lnTo>
                    <a:pt x="0" y="127500"/>
                  </a:lnTo>
                  <a:lnTo>
                    <a:pt x="0" y="112500"/>
                  </a:lnTo>
                  <a:cubicBezTo>
                    <a:pt x="0" y="95931"/>
                    <a:pt x="13431" y="82500"/>
                    <a:pt x="30000" y="82500"/>
                  </a:cubicBezTo>
                  <a:lnTo>
                    <a:pt x="135000" y="82500"/>
                  </a:lnTo>
                  <a:lnTo>
                    <a:pt x="135000" y="30000"/>
                  </a:lnTo>
                  <a:lnTo>
                    <a:pt x="120000" y="30000"/>
                  </a:lnTo>
                  <a:lnTo>
                    <a:pt x="120000" y="0"/>
                  </a:lnTo>
                  <a:lnTo>
                    <a:pt x="135000" y="0"/>
                  </a:lnTo>
                  <a:cubicBezTo>
                    <a:pt x="151569" y="0"/>
                    <a:pt x="165000" y="13431"/>
                    <a:pt x="165000" y="30000"/>
                  </a:cubicBezTo>
                  <a:lnTo>
                    <a:pt x="165000" y="82500"/>
                  </a:lnTo>
                  <a:cubicBezTo>
                    <a:pt x="165000" y="99069"/>
                    <a:pt x="151569" y="112500"/>
                    <a:pt x="135000" y="112500"/>
                  </a:cubicBezTo>
                  <a:lnTo>
                    <a:pt x="30000" y="112500"/>
                  </a:lnTo>
                  <a:lnTo>
                    <a:pt x="30000" y="1275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10" name="Рисунок 189">
            <a:extLst>
              <a:ext uri="{FF2B5EF4-FFF2-40B4-BE49-F238E27FC236}">
                <a16:creationId xmlns:a16="http://schemas.microsoft.com/office/drawing/2014/main" id="{AD6326FB-4EDE-904E-A331-8C36867A768F}"/>
              </a:ext>
            </a:extLst>
          </p:cNvPr>
          <p:cNvGrpSpPr/>
          <p:nvPr/>
        </p:nvGrpSpPr>
        <p:grpSpPr>
          <a:xfrm>
            <a:off x="4437536" y="2440027"/>
            <a:ext cx="360000" cy="360000"/>
            <a:chOff x="4470989" y="2758983"/>
            <a:chExt cx="360000" cy="360000"/>
          </a:xfrm>
        </p:grpSpPr>
        <p:sp>
          <p:nvSpPr>
            <p:cNvPr id="811" name="Полилиния 810">
              <a:extLst>
                <a:ext uri="{FF2B5EF4-FFF2-40B4-BE49-F238E27FC236}">
                  <a16:creationId xmlns:a16="http://schemas.microsoft.com/office/drawing/2014/main" id="{1F4F6581-BB85-6A45-BFAA-656D2DEDC995}"/>
                </a:ext>
              </a:extLst>
            </p:cNvPr>
            <p:cNvSpPr/>
            <p:nvPr/>
          </p:nvSpPr>
          <p:spPr>
            <a:xfrm>
              <a:off x="4470989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2" name="Полилиния 811">
              <a:extLst>
                <a:ext uri="{FF2B5EF4-FFF2-40B4-BE49-F238E27FC236}">
                  <a16:creationId xmlns:a16="http://schemas.microsoft.com/office/drawing/2014/main" id="{7B05F311-591D-774F-8B15-547F4C19FA06}"/>
                </a:ext>
              </a:extLst>
            </p:cNvPr>
            <p:cNvSpPr/>
            <p:nvPr/>
          </p:nvSpPr>
          <p:spPr>
            <a:xfrm>
              <a:off x="4543636" y="2831630"/>
              <a:ext cx="214705" cy="214705"/>
            </a:xfrm>
            <a:custGeom>
              <a:avLst/>
              <a:gdLst>
                <a:gd name="connsiteX0" fmla="*/ 6590 w 214705"/>
                <a:gd name="connsiteY0" fmla="*/ 144476 h 214705"/>
                <a:gd name="connsiteX1" fmla="*/ 144476 w 214705"/>
                <a:gd name="connsiteY1" fmla="*/ 6590 h 214705"/>
                <a:gd name="connsiteX2" fmla="*/ 176296 w 214705"/>
                <a:gd name="connsiteY2" fmla="*/ 6590 h 214705"/>
                <a:gd name="connsiteX3" fmla="*/ 208115 w 214705"/>
                <a:gd name="connsiteY3" fmla="*/ 38410 h 214705"/>
                <a:gd name="connsiteX4" fmla="*/ 208115 w 214705"/>
                <a:gd name="connsiteY4" fmla="*/ 70230 h 214705"/>
                <a:gd name="connsiteX5" fmla="*/ 70230 w 214705"/>
                <a:gd name="connsiteY5" fmla="*/ 208115 h 214705"/>
                <a:gd name="connsiteX6" fmla="*/ 38410 w 214705"/>
                <a:gd name="connsiteY6" fmla="*/ 208115 h 214705"/>
                <a:gd name="connsiteX7" fmla="*/ 6590 w 214705"/>
                <a:gd name="connsiteY7" fmla="*/ 176296 h 214705"/>
                <a:gd name="connsiteX8" fmla="*/ 6590 w 214705"/>
                <a:gd name="connsiteY8" fmla="*/ 144476 h 21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705" h="214705">
                  <a:moveTo>
                    <a:pt x="6590" y="144476"/>
                  </a:moveTo>
                  <a:lnTo>
                    <a:pt x="144476" y="6590"/>
                  </a:lnTo>
                  <a:cubicBezTo>
                    <a:pt x="153263" y="-2197"/>
                    <a:pt x="167509" y="-2197"/>
                    <a:pt x="176296" y="6590"/>
                  </a:cubicBezTo>
                  <a:lnTo>
                    <a:pt x="208115" y="38410"/>
                  </a:lnTo>
                  <a:cubicBezTo>
                    <a:pt x="216902" y="47197"/>
                    <a:pt x="216902" y="61443"/>
                    <a:pt x="208115" y="70230"/>
                  </a:cubicBezTo>
                  <a:lnTo>
                    <a:pt x="70230" y="208115"/>
                  </a:lnTo>
                  <a:cubicBezTo>
                    <a:pt x="61443" y="216902"/>
                    <a:pt x="47197" y="216902"/>
                    <a:pt x="38410" y="208115"/>
                  </a:cubicBezTo>
                  <a:lnTo>
                    <a:pt x="6590" y="176296"/>
                  </a:lnTo>
                  <a:cubicBezTo>
                    <a:pt x="-2197" y="167509"/>
                    <a:pt x="-2197" y="153263"/>
                    <a:pt x="6590" y="144476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3" name="Полилиния 812">
              <a:extLst>
                <a:ext uri="{FF2B5EF4-FFF2-40B4-BE49-F238E27FC236}">
                  <a16:creationId xmlns:a16="http://schemas.microsoft.com/office/drawing/2014/main" id="{283EAFA9-82BA-0F4C-87CE-DA21E874BE57}"/>
                </a:ext>
              </a:extLst>
            </p:cNvPr>
            <p:cNvSpPr/>
            <p:nvPr/>
          </p:nvSpPr>
          <p:spPr>
            <a:xfrm>
              <a:off x="4517119" y="2805113"/>
              <a:ext cx="267739" cy="267739"/>
            </a:xfrm>
            <a:custGeom>
              <a:avLst/>
              <a:gdLst>
                <a:gd name="connsiteX0" fmla="*/ 6590 w 267739"/>
                <a:gd name="connsiteY0" fmla="*/ 229329 h 267739"/>
                <a:gd name="connsiteX1" fmla="*/ 17197 w 267739"/>
                <a:gd name="connsiteY1" fmla="*/ 218723 h 267739"/>
                <a:gd name="connsiteX2" fmla="*/ 27803 w 267739"/>
                <a:gd name="connsiteY2" fmla="*/ 218723 h 267739"/>
                <a:gd name="connsiteX3" fmla="*/ 49017 w 267739"/>
                <a:gd name="connsiteY3" fmla="*/ 239936 h 267739"/>
                <a:gd name="connsiteX4" fmla="*/ 49017 w 267739"/>
                <a:gd name="connsiteY4" fmla="*/ 250542 h 267739"/>
                <a:gd name="connsiteX5" fmla="*/ 38410 w 267739"/>
                <a:gd name="connsiteY5" fmla="*/ 261149 h 267739"/>
                <a:gd name="connsiteX6" fmla="*/ 6590 w 267739"/>
                <a:gd name="connsiteY6" fmla="*/ 261149 h 267739"/>
                <a:gd name="connsiteX7" fmla="*/ 6590 w 267739"/>
                <a:gd name="connsiteY7" fmla="*/ 229329 h 267739"/>
                <a:gd name="connsiteX8" fmla="*/ 229329 w 267739"/>
                <a:gd name="connsiteY8" fmla="*/ 6590 h 267739"/>
                <a:gd name="connsiteX9" fmla="*/ 261149 w 267739"/>
                <a:gd name="connsiteY9" fmla="*/ 6590 h 267739"/>
                <a:gd name="connsiteX10" fmla="*/ 261149 w 267739"/>
                <a:gd name="connsiteY10" fmla="*/ 38410 h 267739"/>
                <a:gd name="connsiteX11" fmla="*/ 250542 w 267739"/>
                <a:gd name="connsiteY11" fmla="*/ 49017 h 267739"/>
                <a:gd name="connsiteX12" fmla="*/ 239936 w 267739"/>
                <a:gd name="connsiteY12" fmla="*/ 49017 h 267739"/>
                <a:gd name="connsiteX13" fmla="*/ 218723 w 267739"/>
                <a:gd name="connsiteY13" fmla="*/ 27803 h 267739"/>
                <a:gd name="connsiteX14" fmla="*/ 218723 w 267739"/>
                <a:gd name="connsiteY14" fmla="*/ 17197 h 267739"/>
                <a:gd name="connsiteX15" fmla="*/ 229329 w 267739"/>
                <a:gd name="connsiteY15" fmla="*/ 6590 h 26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7739" h="267739">
                  <a:moveTo>
                    <a:pt x="6590" y="229329"/>
                  </a:moveTo>
                  <a:lnTo>
                    <a:pt x="17197" y="218723"/>
                  </a:lnTo>
                  <a:cubicBezTo>
                    <a:pt x="20126" y="215793"/>
                    <a:pt x="24874" y="215793"/>
                    <a:pt x="27803" y="218723"/>
                  </a:cubicBezTo>
                  <a:lnTo>
                    <a:pt x="49017" y="239936"/>
                  </a:lnTo>
                  <a:cubicBezTo>
                    <a:pt x="51945" y="242864"/>
                    <a:pt x="51945" y="247613"/>
                    <a:pt x="49017" y="250542"/>
                  </a:cubicBezTo>
                  <a:lnTo>
                    <a:pt x="38410" y="261149"/>
                  </a:lnTo>
                  <a:cubicBezTo>
                    <a:pt x="29623" y="269936"/>
                    <a:pt x="15377" y="269936"/>
                    <a:pt x="6590" y="261149"/>
                  </a:cubicBezTo>
                  <a:cubicBezTo>
                    <a:pt x="-2197" y="252362"/>
                    <a:pt x="-2197" y="238115"/>
                    <a:pt x="6590" y="229329"/>
                  </a:cubicBezTo>
                  <a:close/>
                  <a:moveTo>
                    <a:pt x="229329" y="6590"/>
                  </a:moveTo>
                  <a:cubicBezTo>
                    <a:pt x="238115" y="-2197"/>
                    <a:pt x="252362" y="-2197"/>
                    <a:pt x="261149" y="6590"/>
                  </a:cubicBezTo>
                  <a:cubicBezTo>
                    <a:pt x="269936" y="15377"/>
                    <a:pt x="269936" y="29623"/>
                    <a:pt x="261149" y="38410"/>
                  </a:cubicBezTo>
                  <a:lnTo>
                    <a:pt x="250542" y="49017"/>
                  </a:lnTo>
                  <a:cubicBezTo>
                    <a:pt x="247613" y="51945"/>
                    <a:pt x="242864" y="51945"/>
                    <a:pt x="239936" y="49017"/>
                  </a:cubicBezTo>
                  <a:lnTo>
                    <a:pt x="218723" y="27803"/>
                  </a:lnTo>
                  <a:cubicBezTo>
                    <a:pt x="215793" y="24874"/>
                    <a:pt x="215793" y="20126"/>
                    <a:pt x="218723" y="17197"/>
                  </a:cubicBezTo>
                  <a:lnTo>
                    <a:pt x="229329" y="659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814" name="Рисунок 190">
            <a:extLst>
              <a:ext uri="{FF2B5EF4-FFF2-40B4-BE49-F238E27FC236}">
                <a16:creationId xmlns:a16="http://schemas.microsoft.com/office/drawing/2014/main" id="{CDCC32DB-AB2E-754D-A5C8-CDE20DFB54F2}"/>
              </a:ext>
            </a:extLst>
          </p:cNvPr>
          <p:cNvGrpSpPr/>
          <p:nvPr/>
        </p:nvGrpSpPr>
        <p:grpSpPr>
          <a:xfrm>
            <a:off x="5192669" y="2440027"/>
            <a:ext cx="360000" cy="360000"/>
            <a:chOff x="5226122" y="2758983"/>
            <a:chExt cx="360000" cy="360000"/>
          </a:xfrm>
        </p:grpSpPr>
        <p:sp>
          <p:nvSpPr>
            <p:cNvPr id="815" name="Полилиния 814">
              <a:extLst>
                <a:ext uri="{FF2B5EF4-FFF2-40B4-BE49-F238E27FC236}">
                  <a16:creationId xmlns:a16="http://schemas.microsoft.com/office/drawing/2014/main" id="{E54788AA-AF84-C04B-9858-E8734C6DCEDC}"/>
                </a:ext>
              </a:extLst>
            </p:cNvPr>
            <p:cNvSpPr/>
            <p:nvPr/>
          </p:nvSpPr>
          <p:spPr>
            <a:xfrm>
              <a:off x="5226122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6" name="Полилиния 815">
              <a:extLst>
                <a:ext uri="{FF2B5EF4-FFF2-40B4-BE49-F238E27FC236}">
                  <a16:creationId xmlns:a16="http://schemas.microsoft.com/office/drawing/2014/main" id="{078E3271-C933-F24F-B523-FDF31058DC87}"/>
                </a:ext>
              </a:extLst>
            </p:cNvPr>
            <p:cNvSpPr/>
            <p:nvPr/>
          </p:nvSpPr>
          <p:spPr>
            <a:xfrm>
              <a:off x="5305757" y="2983983"/>
              <a:ext cx="170729" cy="30000"/>
            </a:xfrm>
            <a:custGeom>
              <a:avLst/>
              <a:gdLst>
                <a:gd name="connsiteX0" fmla="*/ 792 w 170729"/>
                <a:gd name="connsiteY0" fmla="*/ 19146 h 30000"/>
                <a:gd name="connsiteX1" fmla="*/ 8292 w 170729"/>
                <a:gd name="connsiteY1" fmla="*/ 4146 h 30000"/>
                <a:gd name="connsiteX2" fmla="*/ 15000 w 170729"/>
                <a:gd name="connsiteY2" fmla="*/ 0 h 30000"/>
                <a:gd name="connsiteX3" fmla="*/ 163230 w 170729"/>
                <a:gd name="connsiteY3" fmla="*/ 0 h 30000"/>
                <a:gd name="connsiteX4" fmla="*/ 170730 w 170729"/>
                <a:gd name="connsiteY4" fmla="*/ 7500 h 30000"/>
                <a:gd name="connsiteX5" fmla="*/ 169938 w 170729"/>
                <a:gd name="connsiteY5" fmla="*/ 10854 h 30000"/>
                <a:gd name="connsiteX6" fmla="*/ 162438 w 170729"/>
                <a:gd name="connsiteY6" fmla="*/ 25854 h 30000"/>
                <a:gd name="connsiteX7" fmla="*/ 155730 w 170729"/>
                <a:gd name="connsiteY7" fmla="*/ 30000 h 30000"/>
                <a:gd name="connsiteX8" fmla="*/ 7500 w 170729"/>
                <a:gd name="connsiteY8" fmla="*/ 30000 h 30000"/>
                <a:gd name="connsiteX9" fmla="*/ 0 w 170729"/>
                <a:gd name="connsiteY9" fmla="*/ 22500 h 30000"/>
                <a:gd name="connsiteX10" fmla="*/ 792 w 170729"/>
                <a:gd name="connsiteY10" fmla="*/ 19146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0729" h="30000">
                  <a:moveTo>
                    <a:pt x="792" y="19146"/>
                  </a:moveTo>
                  <a:lnTo>
                    <a:pt x="8292" y="4146"/>
                  </a:lnTo>
                  <a:cubicBezTo>
                    <a:pt x="9562" y="1605"/>
                    <a:pt x="12159" y="0"/>
                    <a:pt x="15000" y="0"/>
                  </a:cubicBezTo>
                  <a:lnTo>
                    <a:pt x="163230" y="0"/>
                  </a:lnTo>
                  <a:cubicBezTo>
                    <a:pt x="167371" y="0"/>
                    <a:pt x="170730" y="3358"/>
                    <a:pt x="170730" y="7500"/>
                  </a:cubicBezTo>
                  <a:cubicBezTo>
                    <a:pt x="170730" y="8664"/>
                    <a:pt x="170458" y="9813"/>
                    <a:pt x="169938" y="10854"/>
                  </a:cubicBezTo>
                  <a:lnTo>
                    <a:pt x="162438" y="25854"/>
                  </a:lnTo>
                  <a:cubicBezTo>
                    <a:pt x="161167" y="28395"/>
                    <a:pt x="158571" y="30000"/>
                    <a:pt x="155730" y="30000"/>
                  </a:cubicBezTo>
                  <a:lnTo>
                    <a:pt x="7500" y="30000"/>
                  </a:lnTo>
                  <a:cubicBezTo>
                    <a:pt x="3358" y="30000"/>
                    <a:pt x="0" y="26642"/>
                    <a:pt x="0" y="22500"/>
                  </a:cubicBezTo>
                  <a:cubicBezTo>
                    <a:pt x="0" y="21336"/>
                    <a:pt x="271" y="20187"/>
                    <a:pt x="792" y="19146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7" name="Полилиния 816">
              <a:extLst>
                <a:ext uri="{FF2B5EF4-FFF2-40B4-BE49-F238E27FC236}">
                  <a16:creationId xmlns:a16="http://schemas.microsoft.com/office/drawing/2014/main" id="{4AABB983-8F8B-0642-B4A3-4F7097C54C3F}"/>
                </a:ext>
              </a:extLst>
            </p:cNvPr>
            <p:cNvSpPr/>
            <p:nvPr/>
          </p:nvSpPr>
          <p:spPr>
            <a:xfrm>
              <a:off x="5346122" y="2814723"/>
              <a:ext cx="168719" cy="244259"/>
            </a:xfrm>
            <a:custGeom>
              <a:avLst/>
              <a:gdLst>
                <a:gd name="connsiteX0" fmla="*/ 0 w 168719"/>
                <a:gd name="connsiteY0" fmla="*/ 0 h 244259"/>
                <a:gd name="connsiteX1" fmla="*/ 76605 w 168719"/>
                <a:gd name="connsiteY1" fmla="*/ 0 h 244259"/>
                <a:gd name="connsiteX2" fmla="*/ 114555 w 168719"/>
                <a:gd name="connsiteY2" fmla="*/ 3795 h 244259"/>
                <a:gd name="connsiteX3" fmla="*/ 143535 w 168719"/>
                <a:gd name="connsiteY3" fmla="*/ 16215 h 244259"/>
                <a:gd name="connsiteX4" fmla="*/ 162165 w 168719"/>
                <a:gd name="connsiteY4" fmla="*/ 38295 h 244259"/>
                <a:gd name="connsiteX5" fmla="*/ 168720 w 168719"/>
                <a:gd name="connsiteY5" fmla="*/ 70725 h 244259"/>
                <a:gd name="connsiteX6" fmla="*/ 161130 w 168719"/>
                <a:gd name="connsiteY6" fmla="*/ 104880 h 244259"/>
                <a:gd name="connsiteX7" fmla="*/ 140603 w 168719"/>
                <a:gd name="connsiteY7" fmla="*/ 127132 h 244259"/>
                <a:gd name="connsiteX8" fmla="*/ 110415 w 168719"/>
                <a:gd name="connsiteY8" fmla="*/ 139380 h 244259"/>
                <a:gd name="connsiteX9" fmla="*/ 73845 w 168719"/>
                <a:gd name="connsiteY9" fmla="*/ 143175 h 244259"/>
                <a:gd name="connsiteX10" fmla="*/ 40380 w 168719"/>
                <a:gd name="connsiteY10" fmla="*/ 143175 h 244259"/>
                <a:gd name="connsiteX11" fmla="*/ 40380 w 168719"/>
                <a:gd name="connsiteY11" fmla="*/ 244260 h 244259"/>
                <a:gd name="connsiteX12" fmla="*/ 0 w 168719"/>
                <a:gd name="connsiteY12" fmla="*/ 244260 h 244259"/>
                <a:gd name="connsiteX13" fmla="*/ 0 w 168719"/>
                <a:gd name="connsiteY13" fmla="*/ 0 h 244259"/>
                <a:gd name="connsiteX14" fmla="*/ 70740 w 168719"/>
                <a:gd name="connsiteY14" fmla="*/ 106605 h 244259"/>
                <a:gd name="connsiteX15" fmla="*/ 91095 w 168719"/>
                <a:gd name="connsiteY15" fmla="*/ 105052 h 244259"/>
                <a:gd name="connsiteX16" fmla="*/ 108345 w 168719"/>
                <a:gd name="connsiteY16" fmla="*/ 99532 h 244259"/>
                <a:gd name="connsiteX17" fmla="*/ 120420 w 168719"/>
                <a:gd name="connsiteY17" fmla="*/ 88665 h 244259"/>
                <a:gd name="connsiteX18" fmla="*/ 124905 w 168719"/>
                <a:gd name="connsiteY18" fmla="*/ 70725 h 244259"/>
                <a:gd name="connsiteX19" fmla="*/ 120420 w 168719"/>
                <a:gd name="connsiteY19" fmla="*/ 53302 h 244259"/>
                <a:gd name="connsiteX20" fmla="*/ 108518 w 168719"/>
                <a:gd name="connsiteY20" fmla="*/ 42780 h 244259"/>
                <a:gd name="connsiteX21" fmla="*/ 91613 w 168719"/>
                <a:gd name="connsiteY21" fmla="*/ 37777 h 244259"/>
                <a:gd name="connsiteX22" fmla="*/ 72120 w 168719"/>
                <a:gd name="connsiteY22" fmla="*/ 36570 h 244259"/>
                <a:gd name="connsiteX23" fmla="*/ 40380 w 168719"/>
                <a:gd name="connsiteY23" fmla="*/ 36570 h 244259"/>
                <a:gd name="connsiteX24" fmla="*/ 40380 w 168719"/>
                <a:gd name="connsiteY24" fmla="*/ 106605 h 244259"/>
                <a:gd name="connsiteX25" fmla="*/ 70740 w 168719"/>
                <a:gd name="connsiteY25" fmla="*/ 106605 h 244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68719" h="244259">
                  <a:moveTo>
                    <a:pt x="0" y="0"/>
                  </a:moveTo>
                  <a:lnTo>
                    <a:pt x="76605" y="0"/>
                  </a:lnTo>
                  <a:cubicBezTo>
                    <a:pt x="90635" y="0"/>
                    <a:pt x="103286" y="1265"/>
                    <a:pt x="114555" y="3795"/>
                  </a:cubicBezTo>
                  <a:cubicBezTo>
                    <a:pt x="125825" y="6325"/>
                    <a:pt x="135485" y="10465"/>
                    <a:pt x="143535" y="16215"/>
                  </a:cubicBezTo>
                  <a:cubicBezTo>
                    <a:pt x="151586" y="21965"/>
                    <a:pt x="157795" y="29325"/>
                    <a:pt x="162165" y="38295"/>
                  </a:cubicBezTo>
                  <a:cubicBezTo>
                    <a:pt x="166535" y="47265"/>
                    <a:pt x="168720" y="58075"/>
                    <a:pt x="168720" y="70725"/>
                  </a:cubicBezTo>
                  <a:cubicBezTo>
                    <a:pt x="168720" y="84295"/>
                    <a:pt x="166190" y="95681"/>
                    <a:pt x="161130" y="104880"/>
                  </a:cubicBezTo>
                  <a:cubicBezTo>
                    <a:pt x="156070" y="114079"/>
                    <a:pt x="149228" y="121497"/>
                    <a:pt x="140603" y="127132"/>
                  </a:cubicBezTo>
                  <a:cubicBezTo>
                    <a:pt x="131978" y="132768"/>
                    <a:pt x="121916" y="136850"/>
                    <a:pt x="110415" y="139380"/>
                  </a:cubicBezTo>
                  <a:cubicBezTo>
                    <a:pt x="98915" y="141911"/>
                    <a:pt x="86726" y="143175"/>
                    <a:pt x="73845" y="143175"/>
                  </a:cubicBezTo>
                  <a:lnTo>
                    <a:pt x="40380" y="143175"/>
                  </a:lnTo>
                  <a:lnTo>
                    <a:pt x="40380" y="244260"/>
                  </a:lnTo>
                  <a:lnTo>
                    <a:pt x="0" y="244260"/>
                  </a:lnTo>
                  <a:lnTo>
                    <a:pt x="0" y="0"/>
                  </a:lnTo>
                  <a:close/>
                  <a:moveTo>
                    <a:pt x="70740" y="106605"/>
                  </a:moveTo>
                  <a:cubicBezTo>
                    <a:pt x="77870" y="106605"/>
                    <a:pt x="84655" y="106088"/>
                    <a:pt x="91095" y="105052"/>
                  </a:cubicBezTo>
                  <a:cubicBezTo>
                    <a:pt x="97535" y="104018"/>
                    <a:pt x="103286" y="102177"/>
                    <a:pt x="108345" y="99532"/>
                  </a:cubicBezTo>
                  <a:cubicBezTo>
                    <a:pt x="113405" y="96888"/>
                    <a:pt x="117431" y="93265"/>
                    <a:pt x="120420" y="88665"/>
                  </a:cubicBezTo>
                  <a:cubicBezTo>
                    <a:pt x="123410" y="84065"/>
                    <a:pt x="124905" y="78085"/>
                    <a:pt x="124905" y="70725"/>
                  </a:cubicBezTo>
                  <a:cubicBezTo>
                    <a:pt x="124905" y="63595"/>
                    <a:pt x="123410" y="57788"/>
                    <a:pt x="120420" y="53302"/>
                  </a:cubicBezTo>
                  <a:cubicBezTo>
                    <a:pt x="117431" y="48818"/>
                    <a:pt x="113463" y="45310"/>
                    <a:pt x="108518" y="42780"/>
                  </a:cubicBezTo>
                  <a:cubicBezTo>
                    <a:pt x="103572" y="40250"/>
                    <a:pt x="97938" y="38583"/>
                    <a:pt x="91613" y="37777"/>
                  </a:cubicBezTo>
                  <a:cubicBezTo>
                    <a:pt x="85287" y="36972"/>
                    <a:pt x="78791" y="36570"/>
                    <a:pt x="72120" y="36570"/>
                  </a:cubicBezTo>
                  <a:lnTo>
                    <a:pt x="40380" y="36570"/>
                  </a:lnTo>
                  <a:lnTo>
                    <a:pt x="40380" y="106605"/>
                  </a:lnTo>
                  <a:lnTo>
                    <a:pt x="70740" y="106605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18" name="Рисунок 191">
            <a:extLst>
              <a:ext uri="{FF2B5EF4-FFF2-40B4-BE49-F238E27FC236}">
                <a16:creationId xmlns:a16="http://schemas.microsoft.com/office/drawing/2014/main" id="{B2E74795-1354-844C-BD5B-B77199BA5E67}"/>
              </a:ext>
            </a:extLst>
          </p:cNvPr>
          <p:cNvGrpSpPr/>
          <p:nvPr/>
        </p:nvGrpSpPr>
        <p:grpSpPr>
          <a:xfrm>
            <a:off x="2927270" y="2440027"/>
            <a:ext cx="360000" cy="360000"/>
            <a:chOff x="2960723" y="2758983"/>
            <a:chExt cx="360000" cy="360000"/>
          </a:xfrm>
        </p:grpSpPr>
        <p:sp>
          <p:nvSpPr>
            <p:cNvPr id="819" name="Полилиния 818">
              <a:extLst>
                <a:ext uri="{FF2B5EF4-FFF2-40B4-BE49-F238E27FC236}">
                  <a16:creationId xmlns:a16="http://schemas.microsoft.com/office/drawing/2014/main" id="{7E8CFBD3-3A6A-BA4A-8E0B-40D4D4502A23}"/>
                </a:ext>
              </a:extLst>
            </p:cNvPr>
            <p:cNvSpPr/>
            <p:nvPr/>
          </p:nvSpPr>
          <p:spPr>
            <a:xfrm>
              <a:off x="2960723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0" name="Полилиния 819">
              <a:extLst>
                <a:ext uri="{FF2B5EF4-FFF2-40B4-BE49-F238E27FC236}">
                  <a16:creationId xmlns:a16="http://schemas.microsoft.com/office/drawing/2014/main" id="{061E86A0-0CE4-CD41-B1A1-8BB3C1ABC46A}"/>
                </a:ext>
              </a:extLst>
            </p:cNvPr>
            <p:cNvSpPr/>
            <p:nvPr/>
          </p:nvSpPr>
          <p:spPr>
            <a:xfrm>
              <a:off x="3005723" y="2833983"/>
              <a:ext cx="285000" cy="240000"/>
            </a:xfrm>
            <a:custGeom>
              <a:avLst/>
              <a:gdLst>
                <a:gd name="connsiteX0" fmla="*/ 285000 w 285000"/>
                <a:gd name="connsiteY0" fmla="*/ 45000 h 240000"/>
                <a:gd name="connsiteX1" fmla="*/ 270000 w 285000"/>
                <a:gd name="connsiteY1" fmla="*/ 60000 h 240000"/>
                <a:gd name="connsiteX2" fmla="*/ 240000 w 285000"/>
                <a:gd name="connsiteY2" fmla="*/ 60000 h 240000"/>
                <a:gd name="connsiteX3" fmla="*/ 240000 w 285000"/>
                <a:gd name="connsiteY3" fmla="*/ 150000 h 240000"/>
                <a:gd name="connsiteX4" fmla="*/ 150000 w 285000"/>
                <a:gd name="connsiteY4" fmla="*/ 240000 h 240000"/>
                <a:gd name="connsiteX5" fmla="*/ 30000 w 285000"/>
                <a:gd name="connsiteY5" fmla="*/ 240000 h 240000"/>
                <a:gd name="connsiteX6" fmla="*/ 0 w 285000"/>
                <a:gd name="connsiteY6" fmla="*/ 210000 h 240000"/>
                <a:gd name="connsiteX7" fmla="*/ 0 w 285000"/>
                <a:gd name="connsiteY7" fmla="*/ 90000 h 240000"/>
                <a:gd name="connsiteX8" fmla="*/ 90000 w 285000"/>
                <a:gd name="connsiteY8" fmla="*/ 0 h 240000"/>
                <a:gd name="connsiteX9" fmla="*/ 210000 w 285000"/>
                <a:gd name="connsiteY9" fmla="*/ 0 h 240000"/>
                <a:gd name="connsiteX10" fmla="*/ 240000 w 285000"/>
                <a:gd name="connsiteY10" fmla="*/ 30000 h 240000"/>
                <a:gd name="connsiteX11" fmla="*/ 270000 w 285000"/>
                <a:gd name="connsiteY11" fmla="*/ 30000 h 240000"/>
                <a:gd name="connsiteX12" fmla="*/ 270000 w 285000"/>
                <a:gd name="connsiteY12" fmla="*/ 15000 h 240000"/>
                <a:gd name="connsiteX13" fmla="*/ 285000 w 285000"/>
                <a:gd name="connsiteY13" fmla="*/ 15000 h 240000"/>
                <a:gd name="connsiteX14" fmla="*/ 285000 w 285000"/>
                <a:gd name="connsiteY14" fmla="*/ 45000 h 240000"/>
                <a:gd name="connsiteX15" fmla="*/ 120000 w 285000"/>
                <a:gd name="connsiteY15" fmla="*/ 180000 h 240000"/>
                <a:gd name="connsiteX16" fmla="*/ 180000 w 285000"/>
                <a:gd name="connsiteY16" fmla="*/ 120000 h 240000"/>
                <a:gd name="connsiteX17" fmla="*/ 120000 w 285000"/>
                <a:gd name="connsiteY17" fmla="*/ 60000 h 240000"/>
                <a:gd name="connsiteX18" fmla="*/ 60000 w 285000"/>
                <a:gd name="connsiteY18" fmla="*/ 120000 h 240000"/>
                <a:gd name="connsiteX19" fmla="*/ 120000 w 285000"/>
                <a:gd name="connsiteY19" fmla="*/ 18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5000" h="240000">
                  <a:moveTo>
                    <a:pt x="285000" y="45000"/>
                  </a:moveTo>
                  <a:cubicBezTo>
                    <a:pt x="285000" y="53284"/>
                    <a:pt x="278285" y="60000"/>
                    <a:pt x="270000" y="60000"/>
                  </a:cubicBezTo>
                  <a:lnTo>
                    <a:pt x="240000" y="60000"/>
                  </a:lnTo>
                  <a:lnTo>
                    <a:pt x="240000" y="150000"/>
                  </a:lnTo>
                  <a:cubicBezTo>
                    <a:pt x="240000" y="199706"/>
                    <a:pt x="199706" y="240000"/>
                    <a:pt x="150000" y="240000"/>
                  </a:cubicBezTo>
                  <a:lnTo>
                    <a:pt x="30000" y="240000"/>
                  </a:lnTo>
                  <a:cubicBezTo>
                    <a:pt x="13431" y="240000"/>
                    <a:pt x="0" y="226569"/>
                    <a:pt x="0" y="210000"/>
                  </a:cubicBezTo>
                  <a:lnTo>
                    <a:pt x="0" y="90000"/>
                  </a:lnTo>
                  <a:cubicBezTo>
                    <a:pt x="0" y="40294"/>
                    <a:pt x="40294" y="0"/>
                    <a:pt x="90000" y="0"/>
                  </a:cubicBezTo>
                  <a:lnTo>
                    <a:pt x="210000" y="0"/>
                  </a:lnTo>
                  <a:cubicBezTo>
                    <a:pt x="226569" y="0"/>
                    <a:pt x="240000" y="13431"/>
                    <a:pt x="240000" y="30000"/>
                  </a:cubicBezTo>
                  <a:lnTo>
                    <a:pt x="270000" y="30000"/>
                  </a:lnTo>
                  <a:lnTo>
                    <a:pt x="270000" y="15000"/>
                  </a:lnTo>
                  <a:lnTo>
                    <a:pt x="285000" y="15000"/>
                  </a:lnTo>
                  <a:lnTo>
                    <a:pt x="285000" y="45000"/>
                  </a:lnTo>
                  <a:close/>
                  <a:moveTo>
                    <a:pt x="120000" y="180000"/>
                  </a:moveTo>
                  <a:cubicBezTo>
                    <a:pt x="153137" y="180000"/>
                    <a:pt x="180000" y="153137"/>
                    <a:pt x="180000" y="120000"/>
                  </a:cubicBezTo>
                  <a:cubicBezTo>
                    <a:pt x="180000" y="86864"/>
                    <a:pt x="153137" y="60000"/>
                    <a:pt x="120000" y="60000"/>
                  </a:cubicBezTo>
                  <a:cubicBezTo>
                    <a:pt x="86863" y="60000"/>
                    <a:pt x="60000" y="86864"/>
                    <a:pt x="60000" y="120000"/>
                  </a:cubicBezTo>
                  <a:cubicBezTo>
                    <a:pt x="60000" y="153137"/>
                    <a:pt x="86863" y="180000"/>
                    <a:pt x="120000" y="18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1" name="Полилиния 820">
              <a:extLst>
                <a:ext uri="{FF2B5EF4-FFF2-40B4-BE49-F238E27FC236}">
                  <a16:creationId xmlns:a16="http://schemas.microsoft.com/office/drawing/2014/main" id="{1047BFF8-1ED1-4D4A-AF19-3A55668A283C}"/>
                </a:ext>
              </a:extLst>
            </p:cNvPr>
            <p:cNvSpPr/>
            <p:nvPr/>
          </p:nvSpPr>
          <p:spPr>
            <a:xfrm>
              <a:off x="3125723" y="2803983"/>
              <a:ext cx="75000" cy="30000"/>
            </a:xfrm>
            <a:custGeom>
              <a:avLst/>
              <a:gdLst>
                <a:gd name="connsiteX0" fmla="*/ 15000 w 75000"/>
                <a:gd name="connsiteY0" fmla="*/ 0 h 30000"/>
                <a:gd name="connsiteX1" fmla="*/ 60000 w 75000"/>
                <a:gd name="connsiteY1" fmla="*/ 0 h 30000"/>
                <a:gd name="connsiteX2" fmla="*/ 75000 w 75000"/>
                <a:gd name="connsiteY2" fmla="*/ 15000 h 30000"/>
                <a:gd name="connsiteX3" fmla="*/ 75000 w 75000"/>
                <a:gd name="connsiteY3" fmla="*/ 30000 h 30000"/>
                <a:gd name="connsiteX4" fmla="*/ 0 w 75000"/>
                <a:gd name="connsiteY4" fmla="*/ 30000 h 30000"/>
                <a:gd name="connsiteX5" fmla="*/ 0 w 75000"/>
                <a:gd name="connsiteY5" fmla="*/ 15000 h 30000"/>
                <a:gd name="connsiteX6" fmla="*/ 15000 w 75000"/>
                <a:gd name="connsiteY6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000" h="30000">
                  <a:moveTo>
                    <a:pt x="15000" y="0"/>
                  </a:moveTo>
                  <a:lnTo>
                    <a:pt x="60000" y="0"/>
                  </a:lnTo>
                  <a:cubicBezTo>
                    <a:pt x="68285" y="0"/>
                    <a:pt x="75000" y="6716"/>
                    <a:pt x="75000" y="15000"/>
                  </a:cubicBezTo>
                  <a:lnTo>
                    <a:pt x="75000" y="30000"/>
                  </a:lnTo>
                  <a:lnTo>
                    <a:pt x="0" y="30000"/>
                  </a:lnTo>
                  <a:lnTo>
                    <a:pt x="0" y="15000"/>
                  </a:lnTo>
                  <a:cubicBezTo>
                    <a:pt x="0" y="6716"/>
                    <a:pt x="6715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22" name="Рисунок 192">
            <a:extLst>
              <a:ext uri="{FF2B5EF4-FFF2-40B4-BE49-F238E27FC236}">
                <a16:creationId xmlns:a16="http://schemas.microsoft.com/office/drawing/2014/main" id="{7B71650B-3C18-FA4D-AEC3-14F2E15387F9}"/>
              </a:ext>
            </a:extLst>
          </p:cNvPr>
          <p:cNvGrpSpPr/>
          <p:nvPr/>
        </p:nvGrpSpPr>
        <p:grpSpPr>
          <a:xfrm>
            <a:off x="8968334" y="2440027"/>
            <a:ext cx="360000" cy="360000"/>
            <a:chOff x="9001787" y="2758983"/>
            <a:chExt cx="360000" cy="360000"/>
          </a:xfrm>
        </p:grpSpPr>
        <p:sp>
          <p:nvSpPr>
            <p:cNvPr id="823" name="Полилиния 822">
              <a:extLst>
                <a:ext uri="{FF2B5EF4-FFF2-40B4-BE49-F238E27FC236}">
                  <a16:creationId xmlns:a16="http://schemas.microsoft.com/office/drawing/2014/main" id="{D922C4DA-A556-ED44-8193-0C0DDF484E99}"/>
                </a:ext>
              </a:extLst>
            </p:cNvPr>
            <p:cNvSpPr/>
            <p:nvPr/>
          </p:nvSpPr>
          <p:spPr>
            <a:xfrm>
              <a:off x="9001787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4" name="Полилиния 823">
              <a:extLst>
                <a:ext uri="{FF2B5EF4-FFF2-40B4-BE49-F238E27FC236}">
                  <a16:creationId xmlns:a16="http://schemas.microsoft.com/office/drawing/2014/main" id="{E8F54B57-8F55-9C48-A678-D327F2A06680}"/>
                </a:ext>
              </a:extLst>
            </p:cNvPr>
            <p:cNvSpPr/>
            <p:nvPr/>
          </p:nvSpPr>
          <p:spPr>
            <a:xfrm>
              <a:off x="9061787" y="2833983"/>
              <a:ext cx="240000" cy="210000"/>
            </a:xfrm>
            <a:custGeom>
              <a:avLst/>
              <a:gdLst>
                <a:gd name="connsiteX0" fmla="*/ 60000 w 240000"/>
                <a:gd name="connsiteY0" fmla="*/ 30000 h 210000"/>
                <a:gd name="connsiteX1" fmla="*/ 45000 w 240000"/>
                <a:gd name="connsiteY1" fmla="*/ 15000 h 210000"/>
                <a:gd name="connsiteX2" fmla="*/ 60000 w 240000"/>
                <a:gd name="connsiteY2" fmla="*/ 0 h 210000"/>
                <a:gd name="connsiteX3" fmla="*/ 180000 w 240000"/>
                <a:gd name="connsiteY3" fmla="*/ 0 h 210000"/>
                <a:gd name="connsiteX4" fmla="*/ 240000 w 240000"/>
                <a:gd name="connsiteY4" fmla="*/ 60000 h 210000"/>
                <a:gd name="connsiteX5" fmla="*/ 180000 w 240000"/>
                <a:gd name="connsiteY5" fmla="*/ 120000 h 210000"/>
                <a:gd name="connsiteX6" fmla="*/ 60000 w 240000"/>
                <a:gd name="connsiteY6" fmla="*/ 120000 h 210000"/>
                <a:gd name="connsiteX7" fmla="*/ 30000 w 240000"/>
                <a:gd name="connsiteY7" fmla="*/ 150000 h 210000"/>
                <a:gd name="connsiteX8" fmla="*/ 60000 w 240000"/>
                <a:gd name="connsiteY8" fmla="*/ 180000 h 210000"/>
                <a:gd name="connsiteX9" fmla="*/ 195000 w 240000"/>
                <a:gd name="connsiteY9" fmla="*/ 180000 h 210000"/>
                <a:gd name="connsiteX10" fmla="*/ 210000 w 240000"/>
                <a:gd name="connsiteY10" fmla="*/ 195000 h 210000"/>
                <a:gd name="connsiteX11" fmla="*/ 195000 w 240000"/>
                <a:gd name="connsiteY11" fmla="*/ 210000 h 210000"/>
                <a:gd name="connsiteX12" fmla="*/ 60000 w 240000"/>
                <a:gd name="connsiteY12" fmla="*/ 210000 h 210000"/>
                <a:gd name="connsiteX13" fmla="*/ 0 w 240000"/>
                <a:gd name="connsiteY13" fmla="*/ 150000 h 210000"/>
                <a:gd name="connsiteX14" fmla="*/ 60000 w 240000"/>
                <a:gd name="connsiteY14" fmla="*/ 90000 h 210000"/>
                <a:gd name="connsiteX15" fmla="*/ 180000 w 240000"/>
                <a:gd name="connsiteY15" fmla="*/ 90000 h 210000"/>
                <a:gd name="connsiteX16" fmla="*/ 210000 w 240000"/>
                <a:gd name="connsiteY16" fmla="*/ 60000 h 210000"/>
                <a:gd name="connsiteX17" fmla="*/ 180000 w 240000"/>
                <a:gd name="connsiteY17" fmla="*/ 30000 h 210000"/>
                <a:gd name="connsiteX18" fmla="*/ 60000 w 240000"/>
                <a:gd name="connsiteY18" fmla="*/ 3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0000" h="210000">
                  <a:moveTo>
                    <a:pt x="60000" y="30000"/>
                  </a:moveTo>
                  <a:cubicBezTo>
                    <a:pt x="51716" y="30000"/>
                    <a:pt x="45000" y="23284"/>
                    <a:pt x="45000" y="15000"/>
                  </a:cubicBezTo>
                  <a:cubicBezTo>
                    <a:pt x="45000" y="6716"/>
                    <a:pt x="51716" y="0"/>
                    <a:pt x="60000" y="0"/>
                  </a:cubicBezTo>
                  <a:lnTo>
                    <a:pt x="180000" y="0"/>
                  </a:lnTo>
                  <a:cubicBezTo>
                    <a:pt x="213137" y="0"/>
                    <a:pt x="240000" y="26863"/>
                    <a:pt x="240000" y="60000"/>
                  </a:cubicBezTo>
                  <a:cubicBezTo>
                    <a:pt x="240000" y="93137"/>
                    <a:pt x="213137" y="120000"/>
                    <a:pt x="180000" y="120000"/>
                  </a:cubicBezTo>
                  <a:lnTo>
                    <a:pt x="60000" y="120000"/>
                  </a:lnTo>
                  <a:cubicBezTo>
                    <a:pt x="43431" y="120000"/>
                    <a:pt x="30000" y="133431"/>
                    <a:pt x="30000" y="150000"/>
                  </a:cubicBezTo>
                  <a:cubicBezTo>
                    <a:pt x="30000" y="166569"/>
                    <a:pt x="43431" y="180000"/>
                    <a:pt x="60000" y="180000"/>
                  </a:cubicBezTo>
                  <a:lnTo>
                    <a:pt x="195000" y="180000"/>
                  </a:lnTo>
                  <a:cubicBezTo>
                    <a:pt x="203285" y="180000"/>
                    <a:pt x="210000" y="186716"/>
                    <a:pt x="210000" y="195000"/>
                  </a:cubicBezTo>
                  <a:cubicBezTo>
                    <a:pt x="210000" y="203285"/>
                    <a:pt x="203285" y="210000"/>
                    <a:pt x="195000" y="210000"/>
                  </a:cubicBezTo>
                  <a:lnTo>
                    <a:pt x="60000" y="210000"/>
                  </a:lnTo>
                  <a:cubicBezTo>
                    <a:pt x="26863" y="210000"/>
                    <a:pt x="0" y="183137"/>
                    <a:pt x="0" y="150000"/>
                  </a:cubicBezTo>
                  <a:cubicBezTo>
                    <a:pt x="0" y="116864"/>
                    <a:pt x="26863" y="90000"/>
                    <a:pt x="60000" y="90000"/>
                  </a:cubicBezTo>
                  <a:lnTo>
                    <a:pt x="180000" y="90000"/>
                  </a:lnTo>
                  <a:cubicBezTo>
                    <a:pt x="196569" y="90000"/>
                    <a:pt x="210000" y="76569"/>
                    <a:pt x="210000" y="60000"/>
                  </a:cubicBezTo>
                  <a:cubicBezTo>
                    <a:pt x="210000" y="43431"/>
                    <a:pt x="196569" y="30000"/>
                    <a:pt x="180000" y="30000"/>
                  </a:cubicBezTo>
                  <a:lnTo>
                    <a:pt x="60000" y="3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5" name="Полилиния 824">
              <a:extLst>
                <a:ext uri="{FF2B5EF4-FFF2-40B4-BE49-F238E27FC236}">
                  <a16:creationId xmlns:a16="http://schemas.microsoft.com/office/drawing/2014/main" id="{411FCECF-65FC-FE4B-9DB0-D7FD279D9BF8}"/>
                </a:ext>
              </a:extLst>
            </p:cNvPr>
            <p:cNvSpPr/>
            <p:nvPr/>
          </p:nvSpPr>
          <p:spPr>
            <a:xfrm rot="5400000">
              <a:off x="9054287" y="2811482"/>
              <a:ext cx="119999" cy="74999"/>
            </a:xfrm>
            <a:custGeom>
              <a:avLst/>
              <a:gdLst>
                <a:gd name="connsiteX0" fmla="*/ 94393 w 119999"/>
                <a:gd name="connsiteY0" fmla="*/ 4393 h 74999"/>
                <a:gd name="connsiteX1" fmla="*/ 115607 w 119999"/>
                <a:gd name="connsiteY1" fmla="*/ 4393 h 74999"/>
                <a:gd name="connsiteX2" fmla="*/ 115607 w 119999"/>
                <a:gd name="connsiteY2" fmla="*/ 25607 h 74999"/>
                <a:gd name="connsiteX3" fmla="*/ 70607 w 119999"/>
                <a:gd name="connsiteY3" fmla="*/ 70607 h 74999"/>
                <a:gd name="connsiteX4" fmla="*/ 49393 w 119999"/>
                <a:gd name="connsiteY4" fmla="*/ 70607 h 74999"/>
                <a:gd name="connsiteX5" fmla="*/ 4393 w 119999"/>
                <a:gd name="connsiteY5" fmla="*/ 25607 h 74999"/>
                <a:gd name="connsiteX6" fmla="*/ 4393 w 119999"/>
                <a:gd name="connsiteY6" fmla="*/ 4393 h 74999"/>
                <a:gd name="connsiteX7" fmla="*/ 25607 w 119999"/>
                <a:gd name="connsiteY7" fmla="*/ 4393 h 74999"/>
                <a:gd name="connsiteX8" fmla="*/ 60000 w 119999"/>
                <a:gd name="connsiteY8" fmla="*/ 38787 h 74999"/>
                <a:gd name="connsiteX9" fmla="*/ 94393 w 119999"/>
                <a:gd name="connsiteY9" fmla="*/ 4393 h 7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74999">
                  <a:moveTo>
                    <a:pt x="94393" y="4393"/>
                  </a:moveTo>
                  <a:cubicBezTo>
                    <a:pt x="100251" y="-1464"/>
                    <a:pt x="109749" y="-1464"/>
                    <a:pt x="115607" y="4393"/>
                  </a:cubicBezTo>
                  <a:cubicBezTo>
                    <a:pt x="121464" y="10251"/>
                    <a:pt x="121464" y="19749"/>
                    <a:pt x="115607" y="25607"/>
                  </a:cubicBezTo>
                  <a:lnTo>
                    <a:pt x="70607" y="70607"/>
                  </a:lnTo>
                  <a:cubicBezTo>
                    <a:pt x="64749" y="76464"/>
                    <a:pt x="55251" y="76464"/>
                    <a:pt x="49393" y="70607"/>
                  </a:cubicBezTo>
                  <a:lnTo>
                    <a:pt x="4393" y="25607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7" y="4393"/>
                  </a:cubicBezTo>
                  <a:lnTo>
                    <a:pt x="60000" y="38787"/>
                  </a:lnTo>
                  <a:lnTo>
                    <a:pt x="94393" y="439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6" name="Полилиния 825">
              <a:extLst>
                <a:ext uri="{FF2B5EF4-FFF2-40B4-BE49-F238E27FC236}">
                  <a16:creationId xmlns:a16="http://schemas.microsoft.com/office/drawing/2014/main" id="{7B4A9256-C977-714E-AD0E-5791212BC124}"/>
                </a:ext>
              </a:extLst>
            </p:cNvPr>
            <p:cNvSpPr/>
            <p:nvPr/>
          </p:nvSpPr>
          <p:spPr>
            <a:xfrm rot="5400000" flipV="1">
              <a:off x="9189287" y="2991483"/>
              <a:ext cx="119999" cy="74999"/>
            </a:xfrm>
            <a:custGeom>
              <a:avLst/>
              <a:gdLst>
                <a:gd name="connsiteX0" fmla="*/ 94393 w 119999"/>
                <a:gd name="connsiteY0" fmla="*/ 4393 h 74999"/>
                <a:gd name="connsiteX1" fmla="*/ 115606 w 119999"/>
                <a:gd name="connsiteY1" fmla="*/ 4393 h 74999"/>
                <a:gd name="connsiteX2" fmla="*/ 115606 w 119999"/>
                <a:gd name="connsiteY2" fmla="*/ 25606 h 74999"/>
                <a:gd name="connsiteX3" fmla="*/ 70606 w 119999"/>
                <a:gd name="connsiteY3" fmla="*/ 70606 h 74999"/>
                <a:gd name="connsiteX4" fmla="*/ 49393 w 119999"/>
                <a:gd name="connsiteY4" fmla="*/ 70606 h 74999"/>
                <a:gd name="connsiteX5" fmla="*/ 4393 w 119999"/>
                <a:gd name="connsiteY5" fmla="*/ 25606 h 74999"/>
                <a:gd name="connsiteX6" fmla="*/ 4393 w 119999"/>
                <a:gd name="connsiteY6" fmla="*/ 4393 h 74999"/>
                <a:gd name="connsiteX7" fmla="*/ 25606 w 119999"/>
                <a:gd name="connsiteY7" fmla="*/ 4393 h 74999"/>
                <a:gd name="connsiteX8" fmla="*/ 60000 w 119999"/>
                <a:gd name="connsiteY8" fmla="*/ 38787 h 74999"/>
                <a:gd name="connsiteX9" fmla="*/ 94393 w 119999"/>
                <a:gd name="connsiteY9" fmla="*/ 4393 h 7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74999">
                  <a:moveTo>
                    <a:pt x="94393" y="4393"/>
                  </a:moveTo>
                  <a:cubicBezTo>
                    <a:pt x="100251" y="-1464"/>
                    <a:pt x="109749" y="-1464"/>
                    <a:pt x="115606" y="4393"/>
                  </a:cubicBezTo>
                  <a:cubicBezTo>
                    <a:pt x="121464" y="10251"/>
                    <a:pt x="121464" y="19749"/>
                    <a:pt x="115606" y="25606"/>
                  </a:cubicBezTo>
                  <a:lnTo>
                    <a:pt x="70606" y="70606"/>
                  </a:lnTo>
                  <a:cubicBezTo>
                    <a:pt x="64749" y="76464"/>
                    <a:pt x="55251" y="76464"/>
                    <a:pt x="49393" y="70606"/>
                  </a:cubicBezTo>
                  <a:lnTo>
                    <a:pt x="4393" y="25606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6" y="4393"/>
                  </a:cubicBezTo>
                  <a:lnTo>
                    <a:pt x="60000" y="38787"/>
                  </a:lnTo>
                  <a:lnTo>
                    <a:pt x="94393" y="439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27" name="Рисунок 193">
            <a:extLst>
              <a:ext uri="{FF2B5EF4-FFF2-40B4-BE49-F238E27FC236}">
                <a16:creationId xmlns:a16="http://schemas.microsoft.com/office/drawing/2014/main" id="{C774E4E1-6EC3-BD4D-85DC-003CEFC2AEC1}"/>
              </a:ext>
            </a:extLst>
          </p:cNvPr>
          <p:cNvGrpSpPr/>
          <p:nvPr/>
        </p:nvGrpSpPr>
        <p:grpSpPr>
          <a:xfrm>
            <a:off x="1417004" y="2440027"/>
            <a:ext cx="360000" cy="360000"/>
            <a:chOff x="1450457" y="2758983"/>
            <a:chExt cx="360000" cy="360000"/>
          </a:xfrm>
        </p:grpSpPr>
        <p:sp>
          <p:nvSpPr>
            <p:cNvPr id="828" name="Полилиния 827">
              <a:extLst>
                <a:ext uri="{FF2B5EF4-FFF2-40B4-BE49-F238E27FC236}">
                  <a16:creationId xmlns:a16="http://schemas.microsoft.com/office/drawing/2014/main" id="{A61C39B5-C9D0-C44B-A72C-B433DCDF33B1}"/>
                </a:ext>
              </a:extLst>
            </p:cNvPr>
            <p:cNvSpPr/>
            <p:nvPr/>
          </p:nvSpPr>
          <p:spPr>
            <a:xfrm>
              <a:off x="1450457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9" name="Полилиния 828">
              <a:extLst>
                <a:ext uri="{FF2B5EF4-FFF2-40B4-BE49-F238E27FC236}">
                  <a16:creationId xmlns:a16="http://schemas.microsoft.com/office/drawing/2014/main" id="{0A25E1BA-36AB-A04A-8AC7-3B0CC473FA39}"/>
                </a:ext>
              </a:extLst>
            </p:cNvPr>
            <p:cNvSpPr/>
            <p:nvPr/>
          </p:nvSpPr>
          <p:spPr>
            <a:xfrm>
              <a:off x="1480457" y="2893983"/>
              <a:ext cx="300000" cy="180000"/>
            </a:xfrm>
            <a:custGeom>
              <a:avLst/>
              <a:gdLst>
                <a:gd name="connsiteX0" fmla="*/ 195000 w 300000"/>
                <a:gd name="connsiteY0" fmla="*/ 90000 h 180000"/>
                <a:gd name="connsiteX1" fmla="*/ 195000 w 300000"/>
                <a:gd name="connsiteY1" fmla="*/ 15000 h 180000"/>
                <a:gd name="connsiteX2" fmla="*/ 210000 w 300000"/>
                <a:gd name="connsiteY2" fmla="*/ 0 h 180000"/>
                <a:gd name="connsiteX3" fmla="*/ 225000 w 300000"/>
                <a:gd name="connsiteY3" fmla="*/ 15000 h 180000"/>
                <a:gd name="connsiteX4" fmla="*/ 225000 w 300000"/>
                <a:gd name="connsiteY4" fmla="*/ 90000 h 180000"/>
                <a:gd name="connsiteX5" fmla="*/ 270000 w 300000"/>
                <a:gd name="connsiteY5" fmla="*/ 90000 h 180000"/>
                <a:gd name="connsiteX6" fmla="*/ 300000 w 300000"/>
                <a:gd name="connsiteY6" fmla="*/ 120000 h 180000"/>
                <a:gd name="connsiteX7" fmla="*/ 300000 w 300000"/>
                <a:gd name="connsiteY7" fmla="*/ 150000 h 180000"/>
                <a:gd name="connsiteX8" fmla="*/ 270000 w 300000"/>
                <a:gd name="connsiteY8" fmla="*/ 180000 h 180000"/>
                <a:gd name="connsiteX9" fmla="*/ 30000 w 300000"/>
                <a:gd name="connsiteY9" fmla="*/ 180000 h 180000"/>
                <a:gd name="connsiteX10" fmla="*/ 0 w 300000"/>
                <a:gd name="connsiteY10" fmla="*/ 150000 h 180000"/>
                <a:gd name="connsiteX11" fmla="*/ 0 w 300000"/>
                <a:gd name="connsiteY11" fmla="*/ 120000 h 180000"/>
                <a:gd name="connsiteX12" fmla="*/ 30000 w 300000"/>
                <a:gd name="connsiteY12" fmla="*/ 90000 h 180000"/>
                <a:gd name="connsiteX13" fmla="*/ 195000 w 300000"/>
                <a:gd name="connsiteY13" fmla="*/ 90000 h 180000"/>
                <a:gd name="connsiteX14" fmla="*/ 45000 w 300000"/>
                <a:gd name="connsiteY14" fmla="*/ 120000 h 180000"/>
                <a:gd name="connsiteX15" fmla="*/ 30000 w 300000"/>
                <a:gd name="connsiteY15" fmla="*/ 135000 h 180000"/>
                <a:gd name="connsiteX16" fmla="*/ 45000 w 300000"/>
                <a:gd name="connsiteY16" fmla="*/ 150000 h 180000"/>
                <a:gd name="connsiteX17" fmla="*/ 120000 w 300000"/>
                <a:gd name="connsiteY17" fmla="*/ 150000 h 180000"/>
                <a:gd name="connsiteX18" fmla="*/ 135000 w 300000"/>
                <a:gd name="connsiteY18" fmla="*/ 135000 h 180000"/>
                <a:gd name="connsiteX19" fmla="*/ 120000 w 300000"/>
                <a:gd name="connsiteY19" fmla="*/ 120000 h 180000"/>
                <a:gd name="connsiteX20" fmla="*/ 45000 w 300000"/>
                <a:gd name="connsiteY20" fmla="*/ 12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00000" h="180000">
                  <a:moveTo>
                    <a:pt x="195000" y="90000"/>
                  </a:moveTo>
                  <a:lnTo>
                    <a:pt x="195000" y="15000"/>
                  </a:lnTo>
                  <a:cubicBezTo>
                    <a:pt x="195000" y="6716"/>
                    <a:pt x="201716" y="0"/>
                    <a:pt x="210000" y="0"/>
                  </a:cubicBezTo>
                  <a:cubicBezTo>
                    <a:pt x="218285" y="0"/>
                    <a:pt x="225000" y="6716"/>
                    <a:pt x="225000" y="15000"/>
                  </a:cubicBezTo>
                  <a:lnTo>
                    <a:pt x="225000" y="90000"/>
                  </a:lnTo>
                  <a:lnTo>
                    <a:pt x="270000" y="90000"/>
                  </a:lnTo>
                  <a:cubicBezTo>
                    <a:pt x="286569" y="90000"/>
                    <a:pt x="300000" y="103431"/>
                    <a:pt x="300000" y="120000"/>
                  </a:cubicBezTo>
                  <a:lnTo>
                    <a:pt x="300000" y="150000"/>
                  </a:lnTo>
                  <a:cubicBezTo>
                    <a:pt x="300000" y="166569"/>
                    <a:pt x="286569" y="180000"/>
                    <a:pt x="270000" y="180000"/>
                  </a:cubicBezTo>
                  <a:lnTo>
                    <a:pt x="30000" y="180000"/>
                  </a:lnTo>
                  <a:cubicBezTo>
                    <a:pt x="13431" y="180000"/>
                    <a:pt x="0" y="166569"/>
                    <a:pt x="0" y="150000"/>
                  </a:cubicBezTo>
                  <a:lnTo>
                    <a:pt x="0" y="120000"/>
                  </a:lnTo>
                  <a:cubicBezTo>
                    <a:pt x="0" y="103431"/>
                    <a:pt x="13431" y="90000"/>
                    <a:pt x="30000" y="90000"/>
                  </a:cubicBezTo>
                  <a:lnTo>
                    <a:pt x="195000" y="90000"/>
                  </a:lnTo>
                  <a:close/>
                  <a:moveTo>
                    <a:pt x="45000" y="120000"/>
                  </a:moveTo>
                  <a:cubicBezTo>
                    <a:pt x="36716" y="120000"/>
                    <a:pt x="30000" y="126716"/>
                    <a:pt x="30000" y="135000"/>
                  </a:cubicBezTo>
                  <a:cubicBezTo>
                    <a:pt x="30000" y="143285"/>
                    <a:pt x="36716" y="150000"/>
                    <a:pt x="45000" y="150000"/>
                  </a:cubicBezTo>
                  <a:lnTo>
                    <a:pt x="120000" y="150000"/>
                  </a:lnTo>
                  <a:cubicBezTo>
                    <a:pt x="128285" y="150000"/>
                    <a:pt x="135000" y="143285"/>
                    <a:pt x="135000" y="135000"/>
                  </a:cubicBezTo>
                  <a:cubicBezTo>
                    <a:pt x="135000" y="126716"/>
                    <a:pt x="128285" y="120000"/>
                    <a:pt x="120000" y="120000"/>
                  </a:cubicBezTo>
                  <a:lnTo>
                    <a:pt x="45000" y="12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0" name="Полилиния 829">
              <a:extLst>
                <a:ext uri="{FF2B5EF4-FFF2-40B4-BE49-F238E27FC236}">
                  <a16:creationId xmlns:a16="http://schemas.microsoft.com/office/drawing/2014/main" id="{3219F95C-78A0-FA4D-9B58-03BE6F166843}"/>
                </a:ext>
              </a:extLst>
            </p:cNvPr>
            <p:cNvSpPr/>
            <p:nvPr/>
          </p:nvSpPr>
          <p:spPr>
            <a:xfrm>
              <a:off x="1577957" y="2788983"/>
              <a:ext cx="225000" cy="102857"/>
            </a:xfrm>
            <a:custGeom>
              <a:avLst/>
              <a:gdLst>
                <a:gd name="connsiteX0" fmla="*/ 180000 w 225000"/>
                <a:gd name="connsiteY0" fmla="*/ 85734 h 102857"/>
                <a:gd name="connsiteX1" fmla="*/ 160700 w 225000"/>
                <a:gd name="connsiteY1" fmla="*/ 102857 h 102857"/>
                <a:gd name="connsiteX2" fmla="*/ 112422 w 225000"/>
                <a:gd name="connsiteY2" fmla="*/ 78344 h 102857"/>
                <a:gd name="connsiteX3" fmla="*/ 64256 w 225000"/>
                <a:gd name="connsiteY3" fmla="*/ 102711 h 102857"/>
                <a:gd name="connsiteX4" fmla="*/ 45000 w 225000"/>
                <a:gd name="connsiteY4" fmla="*/ 85529 h 102857"/>
                <a:gd name="connsiteX5" fmla="*/ 112422 w 225000"/>
                <a:gd name="connsiteY5" fmla="*/ 51429 h 102857"/>
                <a:gd name="connsiteX6" fmla="*/ 180000 w 225000"/>
                <a:gd name="connsiteY6" fmla="*/ 85734 h 102857"/>
                <a:gd name="connsiteX7" fmla="*/ 225000 w 225000"/>
                <a:gd name="connsiteY7" fmla="*/ 51908 h 102857"/>
                <a:gd name="connsiteX8" fmla="*/ 204544 w 225000"/>
                <a:gd name="connsiteY8" fmla="*/ 68571 h 102857"/>
                <a:gd name="connsiteX9" fmla="*/ 112445 w 225000"/>
                <a:gd name="connsiteY9" fmla="*/ 26092 h 102857"/>
                <a:gd name="connsiteX10" fmla="*/ 20436 w 225000"/>
                <a:gd name="connsiteY10" fmla="*/ 68464 h 102857"/>
                <a:gd name="connsiteX11" fmla="*/ 0 w 225000"/>
                <a:gd name="connsiteY11" fmla="*/ 51777 h 102857"/>
                <a:gd name="connsiteX12" fmla="*/ 112445 w 225000"/>
                <a:gd name="connsiteY12" fmla="*/ 0 h 102857"/>
                <a:gd name="connsiteX13" fmla="*/ 225000 w 225000"/>
                <a:gd name="connsiteY13" fmla="*/ 51908 h 10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5000" h="102857">
                  <a:moveTo>
                    <a:pt x="180000" y="85734"/>
                  </a:moveTo>
                  <a:lnTo>
                    <a:pt x="160700" y="102857"/>
                  </a:lnTo>
                  <a:cubicBezTo>
                    <a:pt x="148880" y="87435"/>
                    <a:pt x="131355" y="78344"/>
                    <a:pt x="112422" y="78344"/>
                  </a:cubicBezTo>
                  <a:cubicBezTo>
                    <a:pt x="93549" y="78344"/>
                    <a:pt x="76076" y="87375"/>
                    <a:pt x="64256" y="102711"/>
                  </a:cubicBezTo>
                  <a:lnTo>
                    <a:pt x="45000" y="85529"/>
                  </a:lnTo>
                  <a:cubicBezTo>
                    <a:pt x="61524" y="64091"/>
                    <a:pt x="86025" y="51429"/>
                    <a:pt x="112422" y="51429"/>
                  </a:cubicBezTo>
                  <a:cubicBezTo>
                    <a:pt x="138905" y="51429"/>
                    <a:pt x="163478" y="64175"/>
                    <a:pt x="180000" y="85734"/>
                  </a:cubicBezTo>
                  <a:close/>
                  <a:moveTo>
                    <a:pt x="225000" y="51908"/>
                  </a:moveTo>
                  <a:lnTo>
                    <a:pt x="204544" y="68571"/>
                  </a:lnTo>
                  <a:cubicBezTo>
                    <a:pt x="181942" y="41842"/>
                    <a:pt x="148518" y="26092"/>
                    <a:pt x="112445" y="26092"/>
                  </a:cubicBezTo>
                  <a:cubicBezTo>
                    <a:pt x="76421" y="26092"/>
                    <a:pt x="43038" y="41798"/>
                    <a:pt x="20436" y="68464"/>
                  </a:cubicBezTo>
                  <a:lnTo>
                    <a:pt x="0" y="51777"/>
                  </a:lnTo>
                  <a:cubicBezTo>
                    <a:pt x="27602" y="19214"/>
                    <a:pt x="68439" y="0"/>
                    <a:pt x="112445" y="0"/>
                  </a:cubicBezTo>
                  <a:cubicBezTo>
                    <a:pt x="156511" y="0"/>
                    <a:pt x="197400" y="19268"/>
                    <a:pt x="225000" y="51908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31" name="Рисунок 194">
            <a:extLst>
              <a:ext uri="{FF2B5EF4-FFF2-40B4-BE49-F238E27FC236}">
                <a16:creationId xmlns:a16="http://schemas.microsoft.com/office/drawing/2014/main" id="{5DAE42A5-1CBC-3A42-ADFB-BF1C7C824D44}"/>
              </a:ext>
            </a:extLst>
          </p:cNvPr>
          <p:cNvGrpSpPr/>
          <p:nvPr/>
        </p:nvGrpSpPr>
        <p:grpSpPr>
          <a:xfrm>
            <a:off x="9723467" y="2440027"/>
            <a:ext cx="360000" cy="360000"/>
            <a:chOff x="9756920" y="2758983"/>
            <a:chExt cx="360000" cy="360000"/>
          </a:xfrm>
        </p:grpSpPr>
        <p:sp>
          <p:nvSpPr>
            <p:cNvPr id="832" name="Полилиния 831">
              <a:extLst>
                <a:ext uri="{FF2B5EF4-FFF2-40B4-BE49-F238E27FC236}">
                  <a16:creationId xmlns:a16="http://schemas.microsoft.com/office/drawing/2014/main" id="{16D47067-0973-2647-8569-266063D2C90B}"/>
                </a:ext>
              </a:extLst>
            </p:cNvPr>
            <p:cNvSpPr/>
            <p:nvPr/>
          </p:nvSpPr>
          <p:spPr>
            <a:xfrm>
              <a:off x="9756920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3" name="Скругленный прямоугольник 832">
              <a:extLst>
                <a:ext uri="{FF2B5EF4-FFF2-40B4-BE49-F238E27FC236}">
                  <a16:creationId xmlns:a16="http://schemas.microsoft.com/office/drawing/2014/main" id="{508602DC-268C-874C-918F-D98020B0C9F6}"/>
                </a:ext>
              </a:extLst>
            </p:cNvPr>
            <p:cNvSpPr/>
            <p:nvPr/>
          </p:nvSpPr>
          <p:spPr>
            <a:xfrm>
              <a:off x="9801920" y="2953983"/>
              <a:ext cx="270000" cy="105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4" name="Полилиния 833">
              <a:extLst>
                <a:ext uri="{FF2B5EF4-FFF2-40B4-BE49-F238E27FC236}">
                  <a16:creationId xmlns:a16="http://schemas.microsoft.com/office/drawing/2014/main" id="{FB28B437-8296-6B4E-8D83-194DBE8DB05B}"/>
                </a:ext>
              </a:extLst>
            </p:cNvPr>
            <p:cNvSpPr/>
            <p:nvPr/>
          </p:nvSpPr>
          <p:spPr>
            <a:xfrm>
              <a:off x="9810022" y="2803983"/>
              <a:ext cx="253920" cy="117322"/>
            </a:xfrm>
            <a:custGeom>
              <a:avLst/>
              <a:gdLst>
                <a:gd name="connsiteX0" fmla="*/ 207942 w 253920"/>
                <a:gd name="connsiteY0" fmla="*/ 98237 h 117322"/>
                <a:gd name="connsiteX1" fmla="*/ 184796 w 253920"/>
                <a:gd name="connsiteY1" fmla="*/ 117323 h 117322"/>
                <a:gd name="connsiteX2" fmla="*/ 126897 w 253920"/>
                <a:gd name="connsiteY2" fmla="*/ 90000 h 117322"/>
                <a:gd name="connsiteX3" fmla="*/ 69134 w 253920"/>
                <a:gd name="connsiteY3" fmla="*/ 117159 h 117322"/>
                <a:gd name="connsiteX4" fmla="*/ 46042 w 253920"/>
                <a:gd name="connsiteY4" fmla="*/ 98008 h 117322"/>
                <a:gd name="connsiteX5" fmla="*/ 126897 w 253920"/>
                <a:gd name="connsiteY5" fmla="*/ 60000 h 117322"/>
                <a:gd name="connsiteX6" fmla="*/ 207942 w 253920"/>
                <a:gd name="connsiteY6" fmla="*/ 98237 h 117322"/>
                <a:gd name="connsiteX7" fmla="*/ 253920 w 253920"/>
                <a:gd name="connsiteY7" fmla="*/ 59683 h 117322"/>
                <a:gd name="connsiteX8" fmla="*/ 230835 w 253920"/>
                <a:gd name="connsiteY8" fmla="*/ 78843 h 117322"/>
                <a:gd name="connsiteX9" fmla="*/ 126897 w 253920"/>
                <a:gd name="connsiteY9" fmla="*/ 30000 h 117322"/>
                <a:gd name="connsiteX10" fmla="*/ 23062 w 253920"/>
                <a:gd name="connsiteY10" fmla="*/ 78720 h 117322"/>
                <a:gd name="connsiteX11" fmla="*/ 0 w 253920"/>
                <a:gd name="connsiteY11" fmla="*/ 59533 h 117322"/>
                <a:gd name="connsiteX12" fmla="*/ 126897 w 253920"/>
                <a:gd name="connsiteY12" fmla="*/ 0 h 117322"/>
                <a:gd name="connsiteX13" fmla="*/ 253920 w 253920"/>
                <a:gd name="connsiteY13" fmla="*/ 59683 h 117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3920" h="117322">
                  <a:moveTo>
                    <a:pt x="207942" y="98237"/>
                  </a:moveTo>
                  <a:lnTo>
                    <a:pt x="184796" y="117323"/>
                  </a:lnTo>
                  <a:cubicBezTo>
                    <a:pt x="170621" y="100133"/>
                    <a:pt x="149603" y="90000"/>
                    <a:pt x="126897" y="90000"/>
                  </a:cubicBezTo>
                  <a:cubicBezTo>
                    <a:pt x="104265" y="90000"/>
                    <a:pt x="83310" y="100066"/>
                    <a:pt x="69134" y="117159"/>
                  </a:cubicBezTo>
                  <a:lnTo>
                    <a:pt x="46042" y="98008"/>
                  </a:lnTo>
                  <a:cubicBezTo>
                    <a:pt x="65858" y="74114"/>
                    <a:pt x="95241" y="60000"/>
                    <a:pt x="126897" y="60000"/>
                  </a:cubicBezTo>
                  <a:cubicBezTo>
                    <a:pt x="158658" y="60000"/>
                    <a:pt x="188127" y="74207"/>
                    <a:pt x="207942" y="98237"/>
                  </a:cubicBezTo>
                  <a:close/>
                  <a:moveTo>
                    <a:pt x="253920" y="59683"/>
                  </a:moveTo>
                  <a:lnTo>
                    <a:pt x="230835" y="78843"/>
                  </a:lnTo>
                  <a:cubicBezTo>
                    <a:pt x="205328" y="48110"/>
                    <a:pt x="167607" y="30000"/>
                    <a:pt x="126897" y="30000"/>
                  </a:cubicBezTo>
                  <a:cubicBezTo>
                    <a:pt x="86243" y="30000"/>
                    <a:pt x="48570" y="48059"/>
                    <a:pt x="23062" y="78720"/>
                  </a:cubicBezTo>
                  <a:lnTo>
                    <a:pt x="0" y="59533"/>
                  </a:lnTo>
                  <a:cubicBezTo>
                    <a:pt x="31149" y="22092"/>
                    <a:pt x="77236" y="0"/>
                    <a:pt x="126897" y="0"/>
                  </a:cubicBezTo>
                  <a:cubicBezTo>
                    <a:pt x="176628" y="0"/>
                    <a:pt x="222771" y="22154"/>
                    <a:pt x="253920" y="59683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35" name="Рисунок 195">
            <a:extLst>
              <a:ext uri="{FF2B5EF4-FFF2-40B4-BE49-F238E27FC236}">
                <a16:creationId xmlns:a16="http://schemas.microsoft.com/office/drawing/2014/main" id="{4C5F76BC-CE20-464C-87E1-40B86A628500}"/>
              </a:ext>
            </a:extLst>
          </p:cNvPr>
          <p:cNvGrpSpPr/>
          <p:nvPr/>
        </p:nvGrpSpPr>
        <p:grpSpPr>
          <a:xfrm>
            <a:off x="2172137" y="2440027"/>
            <a:ext cx="360000" cy="360000"/>
            <a:chOff x="2205590" y="2758983"/>
            <a:chExt cx="360000" cy="360000"/>
          </a:xfrm>
        </p:grpSpPr>
        <p:sp>
          <p:nvSpPr>
            <p:cNvPr id="836" name="Полилиния 835">
              <a:extLst>
                <a:ext uri="{FF2B5EF4-FFF2-40B4-BE49-F238E27FC236}">
                  <a16:creationId xmlns:a16="http://schemas.microsoft.com/office/drawing/2014/main" id="{59E00382-2443-FB45-8170-708FC3270C39}"/>
                </a:ext>
              </a:extLst>
            </p:cNvPr>
            <p:cNvSpPr/>
            <p:nvPr/>
          </p:nvSpPr>
          <p:spPr>
            <a:xfrm>
              <a:off x="2205590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7" name="Полилиния 836">
              <a:extLst>
                <a:ext uri="{FF2B5EF4-FFF2-40B4-BE49-F238E27FC236}">
                  <a16:creationId xmlns:a16="http://schemas.microsoft.com/office/drawing/2014/main" id="{84646FC5-0624-984B-A4AA-3150A63076F5}"/>
                </a:ext>
              </a:extLst>
            </p:cNvPr>
            <p:cNvSpPr/>
            <p:nvPr/>
          </p:nvSpPr>
          <p:spPr>
            <a:xfrm>
              <a:off x="2250590" y="2983983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8" name="Полилиния 837">
              <a:extLst>
                <a:ext uri="{FF2B5EF4-FFF2-40B4-BE49-F238E27FC236}">
                  <a16:creationId xmlns:a16="http://schemas.microsoft.com/office/drawing/2014/main" id="{840F9A98-7269-0A4F-A3FE-FC8BDE70C538}"/>
                </a:ext>
              </a:extLst>
            </p:cNvPr>
            <p:cNvSpPr/>
            <p:nvPr/>
          </p:nvSpPr>
          <p:spPr>
            <a:xfrm>
              <a:off x="2250590" y="2871483"/>
              <a:ext cx="202500" cy="202500"/>
            </a:xfrm>
            <a:custGeom>
              <a:avLst/>
              <a:gdLst>
                <a:gd name="connsiteX0" fmla="*/ 202500 w 202500"/>
                <a:gd name="connsiteY0" fmla="*/ 202500 h 202500"/>
                <a:gd name="connsiteX1" fmla="*/ 157500 w 202500"/>
                <a:gd name="connsiteY1" fmla="*/ 202500 h 202500"/>
                <a:gd name="connsiteX2" fmla="*/ 0 w 202500"/>
                <a:gd name="connsiteY2" fmla="*/ 45000 h 202500"/>
                <a:gd name="connsiteX3" fmla="*/ 0 w 202500"/>
                <a:gd name="connsiteY3" fmla="*/ 0 h 202500"/>
                <a:gd name="connsiteX4" fmla="*/ 202500 w 202500"/>
                <a:gd name="connsiteY4" fmla="*/ 202500 h 20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500" h="202500">
                  <a:moveTo>
                    <a:pt x="202500" y="202500"/>
                  </a:moveTo>
                  <a:lnTo>
                    <a:pt x="157500" y="202500"/>
                  </a:lnTo>
                  <a:cubicBezTo>
                    <a:pt x="157500" y="115515"/>
                    <a:pt x="86985" y="45000"/>
                    <a:pt x="0" y="45000"/>
                  </a:cubicBezTo>
                  <a:lnTo>
                    <a:pt x="0" y="0"/>
                  </a:lnTo>
                  <a:cubicBezTo>
                    <a:pt x="111837" y="0"/>
                    <a:pt x="202500" y="90663"/>
                    <a:pt x="202500" y="202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9" name="Полилиния 838">
              <a:extLst>
                <a:ext uri="{FF2B5EF4-FFF2-40B4-BE49-F238E27FC236}">
                  <a16:creationId xmlns:a16="http://schemas.microsoft.com/office/drawing/2014/main" id="{2D9AA3FB-DA08-434B-87E9-DE53339234FB}"/>
                </a:ext>
              </a:extLst>
            </p:cNvPr>
            <p:cNvSpPr/>
            <p:nvPr/>
          </p:nvSpPr>
          <p:spPr>
            <a:xfrm>
              <a:off x="2250590" y="2781483"/>
              <a:ext cx="292500" cy="292500"/>
            </a:xfrm>
            <a:custGeom>
              <a:avLst/>
              <a:gdLst>
                <a:gd name="connsiteX0" fmla="*/ 292500 w 292500"/>
                <a:gd name="connsiteY0" fmla="*/ 292500 h 292500"/>
                <a:gd name="connsiteX1" fmla="*/ 247500 w 292500"/>
                <a:gd name="connsiteY1" fmla="*/ 292500 h 292500"/>
                <a:gd name="connsiteX2" fmla="*/ 0 w 292500"/>
                <a:gd name="connsiteY2" fmla="*/ 45000 h 292500"/>
                <a:gd name="connsiteX3" fmla="*/ 0 w 292500"/>
                <a:gd name="connsiteY3" fmla="*/ 0 h 292500"/>
                <a:gd name="connsiteX4" fmla="*/ 292500 w 292500"/>
                <a:gd name="connsiteY4" fmla="*/ 292500 h 29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2500" h="292500">
                  <a:moveTo>
                    <a:pt x="292500" y="292500"/>
                  </a:moveTo>
                  <a:lnTo>
                    <a:pt x="247500" y="292500"/>
                  </a:lnTo>
                  <a:cubicBezTo>
                    <a:pt x="247500" y="159951"/>
                    <a:pt x="132549" y="45000"/>
                    <a:pt x="0" y="45000"/>
                  </a:cubicBezTo>
                  <a:lnTo>
                    <a:pt x="0" y="0"/>
                  </a:lnTo>
                  <a:cubicBezTo>
                    <a:pt x="157401" y="0"/>
                    <a:pt x="292500" y="135099"/>
                    <a:pt x="292500" y="292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40" name="Рисунок 196">
            <a:extLst>
              <a:ext uri="{FF2B5EF4-FFF2-40B4-BE49-F238E27FC236}">
                <a16:creationId xmlns:a16="http://schemas.microsoft.com/office/drawing/2014/main" id="{07B8C92A-3BDB-814A-8888-46FD9690D25B}"/>
              </a:ext>
            </a:extLst>
          </p:cNvPr>
          <p:cNvGrpSpPr/>
          <p:nvPr/>
        </p:nvGrpSpPr>
        <p:grpSpPr>
          <a:xfrm>
            <a:off x="661871" y="2440027"/>
            <a:ext cx="360000" cy="360000"/>
            <a:chOff x="695324" y="2758983"/>
            <a:chExt cx="360000" cy="360000"/>
          </a:xfrm>
        </p:grpSpPr>
        <p:sp>
          <p:nvSpPr>
            <p:cNvPr id="841" name="Полилиния 840">
              <a:extLst>
                <a:ext uri="{FF2B5EF4-FFF2-40B4-BE49-F238E27FC236}">
                  <a16:creationId xmlns:a16="http://schemas.microsoft.com/office/drawing/2014/main" id="{0A88562B-EAC2-D342-97FE-236A8F6302CC}"/>
                </a:ext>
              </a:extLst>
            </p:cNvPr>
            <p:cNvSpPr/>
            <p:nvPr/>
          </p:nvSpPr>
          <p:spPr>
            <a:xfrm>
              <a:off x="695324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2" name="Полилиния 841">
              <a:extLst>
                <a:ext uri="{FF2B5EF4-FFF2-40B4-BE49-F238E27FC236}">
                  <a16:creationId xmlns:a16="http://schemas.microsoft.com/office/drawing/2014/main" id="{E779D3B7-D851-CC40-9785-741B5AA47CEB}"/>
                </a:ext>
              </a:extLst>
            </p:cNvPr>
            <p:cNvSpPr/>
            <p:nvPr/>
          </p:nvSpPr>
          <p:spPr>
            <a:xfrm rot="-2700000">
              <a:off x="710324" y="2863982"/>
              <a:ext cx="330000" cy="150000"/>
            </a:xfrm>
            <a:custGeom>
              <a:avLst/>
              <a:gdLst>
                <a:gd name="connsiteX0" fmla="*/ 210000 w 330000"/>
                <a:gd name="connsiteY0" fmla="*/ 0 h 150000"/>
                <a:gd name="connsiteX1" fmla="*/ 210000 w 330000"/>
                <a:gd name="connsiteY1" fmla="*/ 15000 h 150000"/>
                <a:gd name="connsiteX2" fmla="*/ 225000 w 330000"/>
                <a:gd name="connsiteY2" fmla="*/ 30000 h 150000"/>
                <a:gd name="connsiteX3" fmla="*/ 240000 w 330000"/>
                <a:gd name="connsiteY3" fmla="*/ 15000 h 150000"/>
                <a:gd name="connsiteX4" fmla="*/ 240000 w 330000"/>
                <a:gd name="connsiteY4" fmla="*/ 0 h 150000"/>
                <a:gd name="connsiteX5" fmla="*/ 270000 w 330000"/>
                <a:gd name="connsiteY5" fmla="*/ 0 h 150000"/>
                <a:gd name="connsiteX6" fmla="*/ 270000 w 330000"/>
                <a:gd name="connsiteY6" fmla="*/ 45000 h 150000"/>
                <a:gd name="connsiteX7" fmla="*/ 285000 w 330000"/>
                <a:gd name="connsiteY7" fmla="*/ 60000 h 150000"/>
                <a:gd name="connsiteX8" fmla="*/ 300000 w 330000"/>
                <a:gd name="connsiteY8" fmla="*/ 45000 h 150000"/>
                <a:gd name="connsiteX9" fmla="*/ 300000 w 330000"/>
                <a:gd name="connsiteY9" fmla="*/ 0 h 150000"/>
                <a:gd name="connsiteX10" fmla="*/ 330000 w 330000"/>
                <a:gd name="connsiteY10" fmla="*/ 30000 h 150000"/>
                <a:gd name="connsiteX11" fmla="*/ 330000 w 330000"/>
                <a:gd name="connsiteY11" fmla="*/ 120000 h 150000"/>
                <a:gd name="connsiteX12" fmla="*/ 300000 w 330000"/>
                <a:gd name="connsiteY12" fmla="*/ 150000 h 150000"/>
                <a:gd name="connsiteX13" fmla="*/ 30000 w 330000"/>
                <a:gd name="connsiteY13" fmla="*/ 150000 h 150000"/>
                <a:gd name="connsiteX14" fmla="*/ 0 w 330000"/>
                <a:gd name="connsiteY14" fmla="*/ 120000 h 150000"/>
                <a:gd name="connsiteX15" fmla="*/ 0 w 330000"/>
                <a:gd name="connsiteY15" fmla="*/ 30000 h 150000"/>
                <a:gd name="connsiteX16" fmla="*/ 30000 w 330000"/>
                <a:gd name="connsiteY16" fmla="*/ 0 h 150000"/>
                <a:gd name="connsiteX17" fmla="*/ 30000 w 330000"/>
                <a:gd name="connsiteY17" fmla="*/ 45000 h 150000"/>
                <a:gd name="connsiteX18" fmla="*/ 45000 w 330000"/>
                <a:gd name="connsiteY18" fmla="*/ 60000 h 150000"/>
                <a:gd name="connsiteX19" fmla="*/ 60000 w 330000"/>
                <a:gd name="connsiteY19" fmla="*/ 45000 h 150000"/>
                <a:gd name="connsiteX20" fmla="*/ 60000 w 330000"/>
                <a:gd name="connsiteY20" fmla="*/ 0 h 150000"/>
                <a:gd name="connsiteX21" fmla="*/ 90000 w 330000"/>
                <a:gd name="connsiteY21" fmla="*/ 0 h 150000"/>
                <a:gd name="connsiteX22" fmla="*/ 90000 w 330000"/>
                <a:gd name="connsiteY22" fmla="*/ 15000 h 150000"/>
                <a:gd name="connsiteX23" fmla="*/ 105000 w 330000"/>
                <a:gd name="connsiteY23" fmla="*/ 30000 h 150000"/>
                <a:gd name="connsiteX24" fmla="*/ 120000 w 330000"/>
                <a:gd name="connsiteY24" fmla="*/ 15000 h 150000"/>
                <a:gd name="connsiteX25" fmla="*/ 120000 w 330000"/>
                <a:gd name="connsiteY25" fmla="*/ 0 h 150000"/>
                <a:gd name="connsiteX26" fmla="*/ 150000 w 330000"/>
                <a:gd name="connsiteY26" fmla="*/ 0 h 150000"/>
                <a:gd name="connsiteX27" fmla="*/ 150000 w 330000"/>
                <a:gd name="connsiteY27" fmla="*/ 45000 h 150000"/>
                <a:gd name="connsiteX28" fmla="*/ 165000 w 330000"/>
                <a:gd name="connsiteY28" fmla="*/ 60000 h 150000"/>
                <a:gd name="connsiteX29" fmla="*/ 180000 w 330000"/>
                <a:gd name="connsiteY29" fmla="*/ 45000 h 150000"/>
                <a:gd name="connsiteX30" fmla="*/ 180000 w 330000"/>
                <a:gd name="connsiteY30" fmla="*/ 0 h 150000"/>
                <a:gd name="connsiteX31" fmla="*/ 210000 w 330000"/>
                <a:gd name="connsiteY31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0000" h="150000">
                  <a:moveTo>
                    <a:pt x="210000" y="0"/>
                  </a:moveTo>
                  <a:lnTo>
                    <a:pt x="210000" y="15000"/>
                  </a:lnTo>
                  <a:cubicBezTo>
                    <a:pt x="210000" y="23284"/>
                    <a:pt x="216716" y="30000"/>
                    <a:pt x="225000" y="30000"/>
                  </a:cubicBezTo>
                  <a:cubicBezTo>
                    <a:pt x="233285" y="30000"/>
                    <a:pt x="240000" y="23284"/>
                    <a:pt x="240000" y="15000"/>
                  </a:cubicBezTo>
                  <a:lnTo>
                    <a:pt x="240000" y="0"/>
                  </a:lnTo>
                  <a:lnTo>
                    <a:pt x="270000" y="0"/>
                  </a:lnTo>
                  <a:lnTo>
                    <a:pt x="270000" y="45000"/>
                  </a:lnTo>
                  <a:cubicBezTo>
                    <a:pt x="270000" y="53285"/>
                    <a:pt x="276716" y="60000"/>
                    <a:pt x="285000" y="60000"/>
                  </a:cubicBezTo>
                  <a:cubicBezTo>
                    <a:pt x="293285" y="60000"/>
                    <a:pt x="300000" y="53285"/>
                    <a:pt x="300000" y="45000"/>
                  </a:cubicBezTo>
                  <a:lnTo>
                    <a:pt x="300000" y="0"/>
                  </a:lnTo>
                  <a:cubicBezTo>
                    <a:pt x="316569" y="0"/>
                    <a:pt x="330000" y="13431"/>
                    <a:pt x="330000" y="30000"/>
                  </a:cubicBezTo>
                  <a:lnTo>
                    <a:pt x="330000" y="120000"/>
                  </a:lnTo>
                  <a:cubicBezTo>
                    <a:pt x="330000" y="136569"/>
                    <a:pt x="316569" y="150000"/>
                    <a:pt x="300000" y="150000"/>
                  </a:cubicBezTo>
                  <a:lnTo>
                    <a:pt x="30000" y="150000"/>
                  </a:lnTo>
                  <a:cubicBezTo>
                    <a:pt x="13431" y="150000"/>
                    <a:pt x="0" y="136569"/>
                    <a:pt x="0" y="12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30000" y="45000"/>
                  </a:lnTo>
                  <a:cubicBezTo>
                    <a:pt x="30000" y="53285"/>
                    <a:pt x="36716" y="60000"/>
                    <a:pt x="45000" y="60000"/>
                  </a:cubicBezTo>
                  <a:cubicBezTo>
                    <a:pt x="53284" y="60000"/>
                    <a:pt x="60000" y="53285"/>
                    <a:pt x="60000" y="45000"/>
                  </a:cubicBezTo>
                  <a:lnTo>
                    <a:pt x="60000" y="0"/>
                  </a:lnTo>
                  <a:lnTo>
                    <a:pt x="90000" y="0"/>
                  </a:lnTo>
                  <a:lnTo>
                    <a:pt x="90000" y="15000"/>
                  </a:lnTo>
                  <a:cubicBezTo>
                    <a:pt x="90000" y="23284"/>
                    <a:pt x="96716" y="30000"/>
                    <a:pt x="105000" y="30000"/>
                  </a:cubicBezTo>
                  <a:cubicBezTo>
                    <a:pt x="113284" y="30000"/>
                    <a:pt x="120000" y="23284"/>
                    <a:pt x="120000" y="15000"/>
                  </a:cubicBezTo>
                  <a:lnTo>
                    <a:pt x="120000" y="0"/>
                  </a:lnTo>
                  <a:lnTo>
                    <a:pt x="150000" y="0"/>
                  </a:lnTo>
                  <a:lnTo>
                    <a:pt x="150000" y="45000"/>
                  </a:lnTo>
                  <a:cubicBezTo>
                    <a:pt x="150000" y="53285"/>
                    <a:pt x="156716" y="60000"/>
                    <a:pt x="165000" y="60000"/>
                  </a:cubicBezTo>
                  <a:cubicBezTo>
                    <a:pt x="173285" y="60000"/>
                    <a:pt x="180000" y="53285"/>
                    <a:pt x="180000" y="45000"/>
                  </a:cubicBezTo>
                  <a:lnTo>
                    <a:pt x="180000" y="0"/>
                  </a:lnTo>
                  <a:lnTo>
                    <a:pt x="210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43" name="Рисунок 197">
            <a:extLst>
              <a:ext uri="{FF2B5EF4-FFF2-40B4-BE49-F238E27FC236}">
                <a16:creationId xmlns:a16="http://schemas.microsoft.com/office/drawing/2014/main" id="{93CC03CD-B7A1-D245-9F41-7868036D0031}"/>
              </a:ext>
            </a:extLst>
          </p:cNvPr>
          <p:cNvGrpSpPr/>
          <p:nvPr/>
        </p:nvGrpSpPr>
        <p:grpSpPr>
          <a:xfrm>
            <a:off x="11233735" y="1766973"/>
            <a:ext cx="360000" cy="360000"/>
            <a:chOff x="11267188" y="2085929"/>
            <a:chExt cx="360000" cy="360000"/>
          </a:xfrm>
        </p:grpSpPr>
        <p:sp>
          <p:nvSpPr>
            <p:cNvPr id="844" name="Полилиния 843">
              <a:extLst>
                <a:ext uri="{FF2B5EF4-FFF2-40B4-BE49-F238E27FC236}">
                  <a16:creationId xmlns:a16="http://schemas.microsoft.com/office/drawing/2014/main" id="{2227869B-C058-E444-A4D2-24E1DE11E4FD}"/>
                </a:ext>
              </a:extLst>
            </p:cNvPr>
            <p:cNvSpPr/>
            <p:nvPr/>
          </p:nvSpPr>
          <p:spPr>
            <a:xfrm>
              <a:off x="11267188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5" name="Скругленный прямоугольник 844">
              <a:extLst>
                <a:ext uri="{FF2B5EF4-FFF2-40B4-BE49-F238E27FC236}">
                  <a16:creationId xmlns:a16="http://schemas.microsoft.com/office/drawing/2014/main" id="{B06BE5F9-10E5-0449-AA56-14F94E604AF4}"/>
                </a:ext>
              </a:extLst>
            </p:cNvPr>
            <p:cNvSpPr/>
            <p:nvPr/>
          </p:nvSpPr>
          <p:spPr>
            <a:xfrm>
              <a:off x="11297188" y="2115929"/>
              <a:ext cx="300000" cy="30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6" name="Полилиния 845">
              <a:extLst>
                <a:ext uri="{FF2B5EF4-FFF2-40B4-BE49-F238E27FC236}">
                  <a16:creationId xmlns:a16="http://schemas.microsoft.com/office/drawing/2014/main" id="{21CAA132-060F-B746-91CB-904D6627853B}"/>
                </a:ext>
              </a:extLst>
            </p:cNvPr>
            <p:cNvSpPr/>
            <p:nvPr/>
          </p:nvSpPr>
          <p:spPr>
            <a:xfrm flipV="1">
              <a:off x="11357186" y="2280927"/>
              <a:ext cx="180003" cy="75001"/>
            </a:xfrm>
            <a:custGeom>
              <a:avLst/>
              <a:gdLst>
                <a:gd name="connsiteX0" fmla="*/ 2521 w 180003"/>
                <a:gd name="connsiteY0" fmla="*/ 23322 h 75001"/>
                <a:gd name="connsiteX1" fmla="*/ 6681 w 180003"/>
                <a:gd name="connsiteY1" fmla="*/ 2520 h 75001"/>
                <a:gd name="connsiteX2" fmla="*/ 27482 w 180003"/>
                <a:gd name="connsiteY2" fmla="*/ 6681 h 75001"/>
                <a:gd name="connsiteX3" fmla="*/ 90002 w 180003"/>
                <a:gd name="connsiteY3" fmla="*/ 45002 h 75001"/>
                <a:gd name="connsiteX4" fmla="*/ 152520 w 180003"/>
                <a:gd name="connsiteY4" fmla="*/ 6681 h 75001"/>
                <a:gd name="connsiteX5" fmla="*/ 173322 w 180003"/>
                <a:gd name="connsiteY5" fmla="*/ 2520 h 75001"/>
                <a:gd name="connsiteX6" fmla="*/ 177483 w 180003"/>
                <a:gd name="connsiteY6" fmla="*/ 23322 h 75001"/>
                <a:gd name="connsiteX7" fmla="*/ 90002 w 180003"/>
                <a:gd name="connsiteY7" fmla="*/ 75002 h 75001"/>
                <a:gd name="connsiteX8" fmla="*/ 2521 w 180003"/>
                <a:gd name="connsiteY8" fmla="*/ 23322 h 75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003" h="75001">
                  <a:moveTo>
                    <a:pt x="2521" y="23322"/>
                  </a:moveTo>
                  <a:cubicBezTo>
                    <a:pt x="-2074" y="16430"/>
                    <a:pt x="-212" y="7116"/>
                    <a:pt x="6681" y="2520"/>
                  </a:cubicBezTo>
                  <a:cubicBezTo>
                    <a:pt x="13574" y="-2074"/>
                    <a:pt x="22887" y="-211"/>
                    <a:pt x="27482" y="6681"/>
                  </a:cubicBezTo>
                  <a:cubicBezTo>
                    <a:pt x="44838" y="32715"/>
                    <a:pt x="65316" y="45002"/>
                    <a:pt x="90002" y="45002"/>
                  </a:cubicBezTo>
                  <a:cubicBezTo>
                    <a:pt x="114687" y="45002"/>
                    <a:pt x="135165" y="32715"/>
                    <a:pt x="152520" y="6681"/>
                  </a:cubicBezTo>
                  <a:cubicBezTo>
                    <a:pt x="157116" y="-211"/>
                    <a:pt x="166430" y="-2074"/>
                    <a:pt x="173322" y="2520"/>
                  </a:cubicBezTo>
                  <a:cubicBezTo>
                    <a:pt x="180215" y="7116"/>
                    <a:pt x="182078" y="16430"/>
                    <a:pt x="177483" y="23322"/>
                  </a:cubicBezTo>
                  <a:cubicBezTo>
                    <a:pt x="154838" y="57288"/>
                    <a:pt x="125316" y="75002"/>
                    <a:pt x="90002" y="75002"/>
                  </a:cubicBezTo>
                  <a:cubicBezTo>
                    <a:pt x="54687" y="75002"/>
                    <a:pt x="25165" y="57288"/>
                    <a:pt x="2521" y="23322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47" name="Рисунок 198">
            <a:extLst>
              <a:ext uri="{FF2B5EF4-FFF2-40B4-BE49-F238E27FC236}">
                <a16:creationId xmlns:a16="http://schemas.microsoft.com/office/drawing/2014/main" id="{EAC2A318-0C65-F041-8452-C28915362767}"/>
              </a:ext>
            </a:extLst>
          </p:cNvPr>
          <p:cNvGrpSpPr/>
          <p:nvPr/>
        </p:nvGrpSpPr>
        <p:grpSpPr>
          <a:xfrm>
            <a:off x="5947802" y="1766973"/>
            <a:ext cx="360000" cy="360000"/>
            <a:chOff x="5981255" y="2085929"/>
            <a:chExt cx="360000" cy="360000"/>
          </a:xfrm>
        </p:grpSpPr>
        <p:sp>
          <p:nvSpPr>
            <p:cNvPr id="848" name="Полилиния 847">
              <a:extLst>
                <a:ext uri="{FF2B5EF4-FFF2-40B4-BE49-F238E27FC236}">
                  <a16:creationId xmlns:a16="http://schemas.microsoft.com/office/drawing/2014/main" id="{2E793834-7A2B-4B42-B167-318547FBE22E}"/>
                </a:ext>
              </a:extLst>
            </p:cNvPr>
            <p:cNvSpPr/>
            <p:nvPr/>
          </p:nvSpPr>
          <p:spPr>
            <a:xfrm>
              <a:off x="5981255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9" name="Полилиния 848">
              <a:extLst>
                <a:ext uri="{FF2B5EF4-FFF2-40B4-BE49-F238E27FC236}">
                  <a16:creationId xmlns:a16="http://schemas.microsoft.com/office/drawing/2014/main" id="{21F4458E-9C46-C347-A990-9E821C04C35F}"/>
                </a:ext>
              </a:extLst>
            </p:cNvPr>
            <p:cNvSpPr/>
            <p:nvPr/>
          </p:nvSpPr>
          <p:spPr>
            <a:xfrm>
              <a:off x="6056255" y="2325929"/>
              <a:ext cx="210000" cy="75000"/>
            </a:xfrm>
            <a:custGeom>
              <a:avLst/>
              <a:gdLst>
                <a:gd name="connsiteX0" fmla="*/ 22500 w 210000"/>
                <a:gd name="connsiteY0" fmla="*/ 0 h 75000"/>
                <a:gd name="connsiteX1" fmla="*/ 37500 w 210000"/>
                <a:gd name="connsiteY1" fmla="*/ 0 h 75000"/>
                <a:gd name="connsiteX2" fmla="*/ 60000 w 210000"/>
                <a:gd name="connsiteY2" fmla="*/ 22500 h 75000"/>
                <a:gd name="connsiteX3" fmla="*/ 60000 w 210000"/>
                <a:gd name="connsiteY3" fmla="*/ 52500 h 75000"/>
                <a:gd name="connsiteX4" fmla="*/ 37500 w 210000"/>
                <a:gd name="connsiteY4" fmla="*/ 75000 h 75000"/>
                <a:gd name="connsiteX5" fmla="*/ 22500 w 210000"/>
                <a:gd name="connsiteY5" fmla="*/ 75000 h 75000"/>
                <a:gd name="connsiteX6" fmla="*/ 0 w 210000"/>
                <a:gd name="connsiteY6" fmla="*/ 52500 h 75000"/>
                <a:gd name="connsiteX7" fmla="*/ 0 w 210000"/>
                <a:gd name="connsiteY7" fmla="*/ 22500 h 75000"/>
                <a:gd name="connsiteX8" fmla="*/ 22500 w 210000"/>
                <a:gd name="connsiteY8" fmla="*/ 0 h 75000"/>
                <a:gd name="connsiteX9" fmla="*/ 172500 w 210000"/>
                <a:gd name="connsiteY9" fmla="*/ 0 h 75000"/>
                <a:gd name="connsiteX10" fmla="*/ 187500 w 210000"/>
                <a:gd name="connsiteY10" fmla="*/ 0 h 75000"/>
                <a:gd name="connsiteX11" fmla="*/ 210000 w 210000"/>
                <a:gd name="connsiteY11" fmla="*/ 22500 h 75000"/>
                <a:gd name="connsiteX12" fmla="*/ 210000 w 210000"/>
                <a:gd name="connsiteY12" fmla="*/ 52500 h 75000"/>
                <a:gd name="connsiteX13" fmla="*/ 187500 w 210000"/>
                <a:gd name="connsiteY13" fmla="*/ 75000 h 75000"/>
                <a:gd name="connsiteX14" fmla="*/ 172500 w 210000"/>
                <a:gd name="connsiteY14" fmla="*/ 75000 h 75000"/>
                <a:gd name="connsiteX15" fmla="*/ 150000 w 210000"/>
                <a:gd name="connsiteY15" fmla="*/ 52500 h 75000"/>
                <a:gd name="connsiteX16" fmla="*/ 150000 w 210000"/>
                <a:gd name="connsiteY16" fmla="*/ 22500 h 75000"/>
                <a:gd name="connsiteX17" fmla="*/ 172500 w 210000"/>
                <a:gd name="connsiteY17" fmla="*/ 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0000" h="75000">
                  <a:moveTo>
                    <a:pt x="22500" y="0"/>
                  </a:moveTo>
                  <a:lnTo>
                    <a:pt x="37500" y="0"/>
                  </a:lnTo>
                  <a:cubicBezTo>
                    <a:pt x="49926" y="0"/>
                    <a:pt x="60000" y="10074"/>
                    <a:pt x="60000" y="22500"/>
                  </a:cubicBezTo>
                  <a:lnTo>
                    <a:pt x="60000" y="52500"/>
                  </a:lnTo>
                  <a:cubicBezTo>
                    <a:pt x="60000" y="64926"/>
                    <a:pt x="49926" y="75000"/>
                    <a:pt x="37500" y="75000"/>
                  </a:cubicBezTo>
                  <a:lnTo>
                    <a:pt x="22500" y="75000"/>
                  </a:lnTo>
                  <a:cubicBezTo>
                    <a:pt x="10074" y="75000"/>
                    <a:pt x="0" y="64926"/>
                    <a:pt x="0" y="52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172500" y="0"/>
                  </a:moveTo>
                  <a:lnTo>
                    <a:pt x="187500" y="0"/>
                  </a:lnTo>
                  <a:cubicBezTo>
                    <a:pt x="199926" y="0"/>
                    <a:pt x="210000" y="10074"/>
                    <a:pt x="210000" y="22500"/>
                  </a:cubicBezTo>
                  <a:lnTo>
                    <a:pt x="210000" y="52500"/>
                  </a:lnTo>
                  <a:cubicBezTo>
                    <a:pt x="210000" y="64926"/>
                    <a:pt x="199926" y="75000"/>
                    <a:pt x="187500" y="75000"/>
                  </a:cubicBezTo>
                  <a:lnTo>
                    <a:pt x="172500" y="75000"/>
                  </a:lnTo>
                  <a:cubicBezTo>
                    <a:pt x="160074" y="75000"/>
                    <a:pt x="150000" y="64926"/>
                    <a:pt x="150000" y="52500"/>
                  </a:cubicBezTo>
                  <a:lnTo>
                    <a:pt x="150000" y="22500"/>
                  </a:lnTo>
                  <a:cubicBezTo>
                    <a:pt x="150000" y="10074"/>
                    <a:pt x="160074" y="0"/>
                    <a:pt x="172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0" name="Полилиния 849">
              <a:extLst>
                <a:ext uri="{FF2B5EF4-FFF2-40B4-BE49-F238E27FC236}">
                  <a16:creationId xmlns:a16="http://schemas.microsoft.com/office/drawing/2014/main" id="{140D0C60-0B1C-1F46-9F34-1C107B764AC8}"/>
                </a:ext>
              </a:extLst>
            </p:cNvPr>
            <p:cNvSpPr/>
            <p:nvPr/>
          </p:nvSpPr>
          <p:spPr>
            <a:xfrm>
              <a:off x="6026255" y="2145929"/>
              <a:ext cx="270000" cy="225000"/>
            </a:xfrm>
            <a:custGeom>
              <a:avLst/>
              <a:gdLst>
                <a:gd name="connsiteX0" fmla="*/ 30000 w 270000"/>
                <a:gd name="connsiteY0" fmla="*/ 0 h 225000"/>
                <a:gd name="connsiteX1" fmla="*/ 240000 w 270000"/>
                <a:gd name="connsiteY1" fmla="*/ 0 h 225000"/>
                <a:gd name="connsiteX2" fmla="*/ 270000 w 270000"/>
                <a:gd name="connsiteY2" fmla="*/ 30000 h 225000"/>
                <a:gd name="connsiteX3" fmla="*/ 270000 w 270000"/>
                <a:gd name="connsiteY3" fmla="*/ 195000 h 225000"/>
                <a:gd name="connsiteX4" fmla="*/ 240000 w 270000"/>
                <a:gd name="connsiteY4" fmla="*/ 225000 h 225000"/>
                <a:gd name="connsiteX5" fmla="*/ 30000 w 270000"/>
                <a:gd name="connsiteY5" fmla="*/ 225000 h 225000"/>
                <a:gd name="connsiteX6" fmla="*/ 0 w 270000"/>
                <a:gd name="connsiteY6" fmla="*/ 195000 h 225000"/>
                <a:gd name="connsiteX7" fmla="*/ 0 w 270000"/>
                <a:gd name="connsiteY7" fmla="*/ 30000 h 225000"/>
                <a:gd name="connsiteX8" fmla="*/ 30000 w 270000"/>
                <a:gd name="connsiteY8" fmla="*/ 0 h 225000"/>
                <a:gd name="connsiteX9" fmla="*/ 187500 w 270000"/>
                <a:gd name="connsiteY9" fmla="*/ 165000 h 225000"/>
                <a:gd name="connsiteX10" fmla="*/ 240000 w 270000"/>
                <a:gd name="connsiteY10" fmla="*/ 112500 h 225000"/>
                <a:gd name="connsiteX11" fmla="*/ 187500 w 270000"/>
                <a:gd name="connsiteY11" fmla="*/ 60000 h 225000"/>
                <a:gd name="connsiteX12" fmla="*/ 135000 w 270000"/>
                <a:gd name="connsiteY12" fmla="*/ 112500 h 225000"/>
                <a:gd name="connsiteX13" fmla="*/ 187500 w 270000"/>
                <a:gd name="connsiteY13" fmla="*/ 165000 h 225000"/>
                <a:gd name="connsiteX14" fmla="*/ 187500 w 270000"/>
                <a:gd name="connsiteY14" fmla="*/ 135000 h 225000"/>
                <a:gd name="connsiteX15" fmla="*/ 210000 w 270000"/>
                <a:gd name="connsiteY15" fmla="*/ 112500 h 225000"/>
                <a:gd name="connsiteX16" fmla="*/ 187500 w 270000"/>
                <a:gd name="connsiteY16" fmla="*/ 90000 h 225000"/>
                <a:gd name="connsiteX17" fmla="*/ 165000 w 270000"/>
                <a:gd name="connsiteY17" fmla="*/ 112500 h 225000"/>
                <a:gd name="connsiteX18" fmla="*/ 187500 w 270000"/>
                <a:gd name="connsiteY18" fmla="*/ 135000 h 225000"/>
                <a:gd name="connsiteX19" fmla="*/ 60000 w 270000"/>
                <a:gd name="connsiteY19" fmla="*/ 60000 h 225000"/>
                <a:gd name="connsiteX20" fmla="*/ 60000 w 270000"/>
                <a:gd name="connsiteY20" fmla="*/ 60000 h 225000"/>
                <a:gd name="connsiteX21" fmla="*/ 75000 w 270000"/>
                <a:gd name="connsiteY21" fmla="*/ 75000 h 225000"/>
                <a:gd name="connsiteX22" fmla="*/ 75000 w 270000"/>
                <a:gd name="connsiteY22" fmla="*/ 105000 h 225000"/>
                <a:gd name="connsiteX23" fmla="*/ 60000 w 270000"/>
                <a:gd name="connsiteY23" fmla="*/ 120000 h 225000"/>
                <a:gd name="connsiteX24" fmla="*/ 60000 w 270000"/>
                <a:gd name="connsiteY24" fmla="*/ 120000 h 225000"/>
                <a:gd name="connsiteX25" fmla="*/ 45000 w 270000"/>
                <a:gd name="connsiteY25" fmla="*/ 105000 h 225000"/>
                <a:gd name="connsiteX26" fmla="*/ 45000 w 270000"/>
                <a:gd name="connsiteY26" fmla="*/ 75000 h 225000"/>
                <a:gd name="connsiteX27" fmla="*/ 60000 w 270000"/>
                <a:gd name="connsiteY27" fmla="*/ 60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0000" h="225000">
                  <a:moveTo>
                    <a:pt x="30000" y="0"/>
                  </a:move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95000"/>
                  </a:lnTo>
                  <a:cubicBezTo>
                    <a:pt x="270000" y="211569"/>
                    <a:pt x="256569" y="225000"/>
                    <a:pt x="240000" y="225000"/>
                  </a:cubicBezTo>
                  <a:lnTo>
                    <a:pt x="30000" y="225000"/>
                  </a:lnTo>
                  <a:cubicBezTo>
                    <a:pt x="13431" y="225000"/>
                    <a:pt x="0" y="211569"/>
                    <a:pt x="0" y="195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187500" y="165000"/>
                  </a:moveTo>
                  <a:cubicBezTo>
                    <a:pt x="216495" y="165000"/>
                    <a:pt x="240000" y="141495"/>
                    <a:pt x="240000" y="112500"/>
                  </a:cubicBezTo>
                  <a:cubicBezTo>
                    <a:pt x="240000" y="83505"/>
                    <a:pt x="216495" y="60000"/>
                    <a:pt x="187500" y="60000"/>
                  </a:cubicBezTo>
                  <a:cubicBezTo>
                    <a:pt x="158505" y="60000"/>
                    <a:pt x="135000" y="83505"/>
                    <a:pt x="135000" y="112500"/>
                  </a:cubicBezTo>
                  <a:cubicBezTo>
                    <a:pt x="135000" y="141495"/>
                    <a:pt x="158505" y="165000"/>
                    <a:pt x="187500" y="165000"/>
                  </a:cubicBezTo>
                  <a:close/>
                  <a:moveTo>
                    <a:pt x="187500" y="135000"/>
                  </a:moveTo>
                  <a:cubicBezTo>
                    <a:pt x="199926" y="135000"/>
                    <a:pt x="210000" y="124926"/>
                    <a:pt x="210000" y="112500"/>
                  </a:cubicBezTo>
                  <a:cubicBezTo>
                    <a:pt x="210000" y="100074"/>
                    <a:pt x="199926" y="90000"/>
                    <a:pt x="187500" y="90000"/>
                  </a:cubicBezTo>
                  <a:cubicBezTo>
                    <a:pt x="175074" y="90000"/>
                    <a:pt x="165000" y="100074"/>
                    <a:pt x="165000" y="112500"/>
                  </a:cubicBezTo>
                  <a:cubicBezTo>
                    <a:pt x="165000" y="124926"/>
                    <a:pt x="175074" y="135000"/>
                    <a:pt x="187500" y="135000"/>
                  </a:cubicBezTo>
                  <a:close/>
                  <a:moveTo>
                    <a:pt x="60000" y="60000"/>
                  </a:moveTo>
                  <a:lnTo>
                    <a:pt x="60000" y="60000"/>
                  </a:lnTo>
                  <a:cubicBezTo>
                    <a:pt x="68284" y="60000"/>
                    <a:pt x="75000" y="66716"/>
                    <a:pt x="75000" y="75000"/>
                  </a:cubicBezTo>
                  <a:lnTo>
                    <a:pt x="75000" y="105000"/>
                  </a:lnTo>
                  <a:cubicBezTo>
                    <a:pt x="75000" y="113285"/>
                    <a:pt x="68284" y="120000"/>
                    <a:pt x="60000" y="120000"/>
                  </a:cubicBezTo>
                  <a:lnTo>
                    <a:pt x="60000" y="120000"/>
                  </a:lnTo>
                  <a:cubicBezTo>
                    <a:pt x="51716" y="120000"/>
                    <a:pt x="45000" y="113285"/>
                    <a:pt x="45000" y="105000"/>
                  </a:cubicBezTo>
                  <a:lnTo>
                    <a:pt x="45000" y="75000"/>
                  </a:lnTo>
                  <a:cubicBezTo>
                    <a:pt x="45000" y="66716"/>
                    <a:pt x="51716" y="60000"/>
                    <a:pt x="60000" y="6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51" name="Рисунок 199">
            <a:extLst>
              <a:ext uri="{FF2B5EF4-FFF2-40B4-BE49-F238E27FC236}">
                <a16:creationId xmlns:a16="http://schemas.microsoft.com/office/drawing/2014/main" id="{44DB8042-B5F0-714C-855F-E59A910D1935}"/>
              </a:ext>
            </a:extLst>
          </p:cNvPr>
          <p:cNvGrpSpPr/>
          <p:nvPr/>
        </p:nvGrpSpPr>
        <p:grpSpPr>
          <a:xfrm>
            <a:off x="9723467" y="1766973"/>
            <a:ext cx="360000" cy="360000"/>
            <a:chOff x="9756920" y="2085929"/>
            <a:chExt cx="360000" cy="360000"/>
          </a:xfrm>
        </p:grpSpPr>
        <p:sp>
          <p:nvSpPr>
            <p:cNvPr id="852" name="Полилиния 851">
              <a:extLst>
                <a:ext uri="{FF2B5EF4-FFF2-40B4-BE49-F238E27FC236}">
                  <a16:creationId xmlns:a16="http://schemas.microsoft.com/office/drawing/2014/main" id="{BF6D842D-EBB6-1B48-AC80-188433BE3E0B}"/>
                </a:ext>
              </a:extLst>
            </p:cNvPr>
            <p:cNvSpPr/>
            <p:nvPr/>
          </p:nvSpPr>
          <p:spPr>
            <a:xfrm>
              <a:off x="9756920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3" name="Полилиния 852">
              <a:extLst>
                <a:ext uri="{FF2B5EF4-FFF2-40B4-BE49-F238E27FC236}">
                  <a16:creationId xmlns:a16="http://schemas.microsoft.com/office/drawing/2014/main" id="{1A9CD03E-3A55-B946-A863-F5C52BB961A0}"/>
                </a:ext>
              </a:extLst>
            </p:cNvPr>
            <p:cNvSpPr/>
            <p:nvPr/>
          </p:nvSpPr>
          <p:spPr>
            <a:xfrm>
              <a:off x="9786920" y="2295929"/>
              <a:ext cx="105000" cy="120000"/>
            </a:xfrm>
            <a:custGeom>
              <a:avLst/>
              <a:gdLst>
                <a:gd name="connsiteX0" fmla="*/ 90000 w 105000"/>
                <a:gd name="connsiteY0" fmla="*/ 45000 h 120000"/>
                <a:gd name="connsiteX1" fmla="*/ 105000 w 105000"/>
                <a:gd name="connsiteY1" fmla="*/ 60000 h 120000"/>
                <a:gd name="connsiteX2" fmla="*/ 105000 w 105000"/>
                <a:gd name="connsiteY2" fmla="*/ 105000 h 120000"/>
                <a:gd name="connsiteX3" fmla="*/ 90000 w 105000"/>
                <a:gd name="connsiteY3" fmla="*/ 120000 h 120000"/>
                <a:gd name="connsiteX4" fmla="*/ 15000 w 105000"/>
                <a:gd name="connsiteY4" fmla="*/ 120000 h 120000"/>
                <a:gd name="connsiteX5" fmla="*/ 0 w 105000"/>
                <a:gd name="connsiteY5" fmla="*/ 105000 h 120000"/>
                <a:gd name="connsiteX6" fmla="*/ 0 w 105000"/>
                <a:gd name="connsiteY6" fmla="*/ 60000 h 120000"/>
                <a:gd name="connsiteX7" fmla="*/ 15000 w 105000"/>
                <a:gd name="connsiteY7" fmla="*/ 45000 h 120000"/>
                <a:gd name="connsiteX8" fmla="*/ 15000 w 105000"/>
                <a:gd name="connsiteY8" fmla="*/ 37500 h 120000"/>
                <a:gd name="connsiteX9" fmla="*/ 52500 w 105000"/>
                <a:gd name="connsiteY9" fmla="*/ 0 h 120000"/>
                <a:gd name="connsiteX10" fmla="*/ 90000 w 105000"/>
                <a:gd name="connsiteY10" fmla="*/ 37500 h 120000"/>
                <a:gd name="connsiteX11" fmla="*/ 90000 w 105000"/>
                <a:gd name="connsiteY11" fmla="*/ 45000 h 120000"/>
                <a:gd name="connsiteX12" fmla="*/ 52500 w 105000"/>
                <a:gd name="connsiteY12" fmla="*/ 15000 h 120000"/>
                <a:gd name="connsiteX13" fmla="*/ 30000 w 105000"/>
                <a:gd name="connsiteY13" fmla="*/ 37500 h 120000"/>
                <a:gd name="connsiteX14" fmla="*/ 30000 w 105000"/>
                <a:gd name="connsiteY14" fmla="*/ 45000 h 120000"/>
                <a:gd name="connsiteX15" fmla="*/ 75000 w 105000"/>
                <a:gd name="connsiteY15" fmla="*/ 45000 h 120000"/>
                <a:gd name="connsiteX16" fmla="*/ 75000 w 105000"/>
                <a:gd name="connsiteY16" fmla="*/ 37500 h 120000"/>
                <a:gd name="connsiteX17" fmla="*/ 52500 w 105000"/>
                <a:gd name="connsiteY17" fmla="*/ 1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000" h="120000">
                  <a:moveTo>
                    <a:pt x="90000" y="45000"/>
                  </a:moveTo>
                  <a:cubicBezTo>
                    <a:pt x="98284" y="45000"/>
                    <a:pt x="105000" y="51716"/>
                    <a:pt x="105000" y="60000"/>
                  </a:cubicBezTo>
                  <a:lnTo>
                    <a:pt x="105000" y="105000"/>
                  </a:lnTo>
                  <a:cubicBezTo>
                    <a:pt x="105000" y="113284"/>
                    <a:pt x="98284" y="120000"/>
                    <a:pt x="90000" y="120000"/>
                  </a:cubicBezTo>
                  <a:lnTo>
                    <a:pt x="15000" y="120000"/>
                  </a:lnTo>
                  <a:cubicBezTo>
                    <a:pt x="6716" y="120000"/>
                    <a:pt x="0" y="113284"/>
                    <a:pt x="0" y="105000"/>
                  </a:cubicBezTo>
                  <a:lnTo>
                    <a:pt x="0" y="60000"/>
                  </a:lnTo>
                  <a:cubicBezTo>
                    <a:pt x="0" y="51716"/>
                    <a:pt x="6716" y="45000"/>
                    <a:pt x="15000" y="45000"/>
                  </a:cubicBezTo>
                  <a:lnTo>
                    <a:pt x="15000" y="37500"/>
                  </a:lnTo>
                  <a:cubicBezTo>
                    <a:pt x="15000" y="16789"/>
                    <a:pt x="31789" y="0"/>
                    <a:pt x="52500" y="0"/>
                  </a:cubicBezTo>
                  <a:cubicBezTo>
                    <a:pt x="73211" y="0"/>
                    <a:pt x="90000" y="16789"/>
                    <a:pt x="90000" y="37500"/>
                  </a:cubicBezTo>
                  <a:lnTo>
                    <a:pt x="90000" y="45000"/>
                  </a:lnTo>
                  <a:close/>
                  <a:moveTo>
                    <a:pt x="52500" y="15000"/>
                  </a:moveTo>
                  <a:cubicBezTo>
                    <a:pt x="40074" y="15000"/>
                    <a:pt x="30000" y="25074"/>
                    <a:pt x="30000" y="37500"/>
                  </a:cubicBezTo>
                  <a:lnTo>
                    <a:pt x="30000" y="45000"/>
                  </a:lnTo>
                  <a:lnTo>
                    <a:pt x="75000" y="45000"/>
                  </a:lnTo>
                  <a:lnTo>
                    <a:pt x="75000" y="37500"/>
                  </a:lnTo>
                  <a:cubicBezTo>
                    <a:pt x="75000" y="25074"/>
                    <a:pt x="64926" y="15000"/>
                    <a:pt x="52500" y="1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4" name="Полилиния 853">
              <a:extLst>
                <a:ext uri="{FF2B5EF4-FFF2-40B4-BE49-F238E27FC236}">
                  <a16:creationId xmlns:a16="http://schemas.microsoft.com/office/drawing/2014/main" id="{EA51A35B-2900-7543-91C3-DA55C1710256}"/>
                </a:ext>
              </a:extLst>
            </p:cNvPr>
            <p:cNvSpPr/>
            <p:nvPr/>
          </p:nvSpPr>
          <p:spPr>
            <a:xfrm>
              <a:off x="9786920" y="2130929"/>
              <a:ext cx="300373" cy="263787"/>
            </a:xfrm>
            <a:custGeom>
              <a:avLst/>
              <a:gdLst>
                <a:gd name="connsiteX0" fmla="*/ 0 w 300373"/>
                <a:gd name="connsiteY0" fmla="*/ 132975 h 263787"/>
                <a:gd name="connsiteX1" fmla="*/ 0 w 300373"/>
                <a:gd name="connsiteY1" fmla="*/ 45000 h 263787"/>
                <a:gd name="connsiteX2" fmla="*/ 45000 w 300373"/>
                <a:gd name="connsiteY2" fmla="*/ 0 h 263787"/>
                <a:gd name="connsiteX3" fmla="*/ 255000 w 300373"/>
                <a:gd name="connsiteY3" fmla="*/ 0 h 263787"/>
                <a:gd name="connsiteX4" fmla="*/ 300000 w 300373"/>
                <a:gd name="connsiteY4" fmla="*/ 45000 h 263787"/>
                <a:gd name="connsiteX5" fmla="*/ 300000 w 300373"/>
                <a:gd name="connsiteY5" fmla="*/ 180000 h 263787"/>
                <a:gd name="connsiteX6" fmla="*/ 300000 w 300373"/>
                <a:gd name="connsiteY6" fmla="*/ 180147 h 263787"/>
                <a:gd name="connsiteX7" fmla="*/ 300374 w 300373"/>
                <a:gd name="connsiteY7" fmla="*/ 180000 h 263787"/>
                <a:gd name="connsiteX8" fmla="*/ 300374 w 300373"/>
                <a:gd name="connsiteY8" fmla="*/ 248787 h 263787"/>
                <a:gd name="connsiteX9" fmla="*/ 285374 w 300373"/>
                <a:gd name="connsiteY9" fmla="*/ 263787 h 263787"/>
                <a:gd name="connsiteX10" fmla="*/ 274767 w 300373"/>
                <a:gd name="connsiteY10" fmla="*/ 259394 h 263787"/>
                <a:gd name="connsiteX11" fmla="*/ 240374 w 300373"/>
                <a:gd name="connsiteY11" fmla="*/ 225000 h 263787"/>
                <a:gd name="connsiteX12" fmla="*/ 164754 w 300373"/>
                <a:gd name="connsiteY12" fmla="*/ 225000 h 263787"/>
                <a:gd name="connsiteX13" fmla="*/ 52500 w 300373"/>
                <a:gd name="connsiteY13" fmla="*/ 120000 h 263787"/>
                <a:gd name="connsiteX14" fmla="*/ 0 w 300373"/>
                <a:gd name="connsiteY14" fmla="*/ 132975 h 263787"/>
                <a:gd name="connsiteX15" fmla="*/ 60000 w 300373"/>
                <a:gd name="connsiteY15" fmla="*/ 60000 h 263787"/>
                <a:gd name="connsiteX16" fmla="*/ 45000 w 300373"/>
                <a:gd name="connsiteY16" fmla="*/ 75000 h 263787"/>
                <a:gd name="connsiteX17" fmla="*/ 60000 w 300373"/>
                <a:gd name="connsiteY17" fmla="*/ 90000 h 263787"/>
                <a:gd name="connsiteX18" fmla="*/ 195000 w 300373"/>
                <a:gd name="connsiteY18" fmla="*/ 90000 h 263787"/>
                <a:gd name="connsiteX19" fmla="*/ 210000 w 300373"/>
                <a:gd name="connsiteY19" fmla="*/ 75000 h 263787"/>
                <a:gd name="connsiteX20" fmla="*/ 195000 w 300373"/>
                <a:gd name="connsiteY20" fmla="*/ 60000 h 263787"/>
                <a:gd name="connsiteX21" fmla="*/ 60000 w 300373"/>
                <a:gd name="connsiteY21" fmla="*/ 60000 h 263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00373" h="263787">
                  <a:moveTo>
                    <a:pt x="0" y="132975"/>
                  </a:move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lnTo>
                    <a:pt x="255000" y="0"/>
                  </a:lnTo>
                  <a:cubicBezTo>
                    <a:pt x="279854" y="0"/>
                    <a:pt x="300000" y="20147"/>
                    <a:pt x="300000" y="45000"/>
                  </a:cubicBezTo>
                  <a:lnTo>
                    <a:pt x="300000" y="180000"/>
                  </a:lnTo>
                  <a:cubicBezTo>
                    <a:pt x="300000" y="180050"/>
                    <a:pt x="300000" y="180098"/>
                    <a:pt x="300000" y="180147"/>
                  </a:cubicBezTo>
                  <a:lnTo>
                    <a:pt x="300374" y="180000"/>
                  </a:lnTo>
                  <a:lnTo>
                    <a:pt x="300374" y="248787"/>
                  </a:lnTo>
                  <a:cubicBezTo>
                    <a:pt x="300374" y="257072"/>
                    <a:pt x="293658" y="263787"/>
                    <a:pt x="285374" y="263787"/>
                  </a:cubicBezTo>
                  <a:cubicBezTo>
                    <a:pt x="281396" y="263787"/>
                    <a:pt x="277581" y="262206"/>
                    <a:pt x="274767" y="259394"/>
                  </a:cubicBezTo>
                  <a:lnTo>
                    <a:pt x="240374" y="225000"/>
                  </a:lnTo>
                  <a:lnTo>
                    <a:pt x="164754" y="225000"/>
                  </a:lnTo>
                  <a:cubicBezTo>
                    <a:pt x="160895" y="166365"/>
                    <a:pt x="112112" y="120000"/>
                    <a:pt x="52500" y="120000"/>
                  </a:cubicBezTo>
                  <a:cubicBezTo>
                    <a:pt x="33539" y="120000"/>
                    <a:pt x="15673" y="124691"/>
                    <a:pt x="0" y="132975"/>
                  </a:cubicBezTo>
                  <a:close/>
                  <a:moveTo>
                    <a:pt x="60000" y="60000"/>
                  </a:moveTo>
                  <a:cubicBezTo>
                    <a:pt x="51716" y="60000"/>
                    <a:pt x="45000" y="66716"/>
                    <a:pt x="45000" y="75000"/>
                  </a:cubicBezTo>
                  <a:cubicBezTo>
                    <a:pt x="45000" y="83284"/>
                    <a:pt x="51716" y="90000"/>
                    <a:pt x="60000" y="90000"/>
                  </a:cubicBezTo>
                  <a:lnTo>
                    <a:pt x="195000" y="90000"/>
                  </a:lnTo>
                  <a:cubicBezTo>
                    <a:pt x="203285" y="90000"/>
                    <a:pt x="210000" y="83284"/>
                    <a:pt x="210000" y="75000"/>
                  </a:cubicBezTo>
                  <a:cubicBezTo>
                    <a:pt x="210000" y="66716"/>
                    <a:pt x="203285" y="60000"/>
                    <a:pt x="195000" y="60000"/>
                  </a:cubicBezTo>
                  <a:lnTo>
                    <a:pt x="60000" y="6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55" name="Рисунок 200">
            <a:extLst>
              <a:ext uri="{FF2B5EF4-FFF2-40B4-BE49-F238E27FC236}">
                <a16:creationId xmlns:a16="http://schemas.microsoft.com/office/drawing/2014/main" id="{BBA84588-5BDD-CB4E-A6C0-17842C71E487}"/>
              </a:ext>
            </a:extLst>
          </p:cNvPr>
          <p:cNvGrpSpPr/>
          <p:nvPr/>
        </p:nvGrpSpPr>
        <p:grpSpPr>
          <a:xfrm>
            <a:off x="6702935" y="1766973"/>
            <a:ext cx="360000" cy="360000"/>
            <a:chOff x="6736388" y="2085929"/>
            <a:chExt cx="360000" cy="360000"/>
          </a:xfrm>
        </p:grpSpPr>
        <p:sp>
          <p:nvSpPr>
            <p:cNvPr id="856" name="Полилиния 855">
              <a:extLst>
                <a:ext uri="{FF2B5EF4-FFF2-40B4-BE49-F238E27FC236}">
                  <a16:creationId xmlns:a16="http://schemas.microsoft.com/office/drawing/2014/main" id="{4D8B070A-40B1-9B4A-925B-C569A661DE62}"/>
                </a:ext>
              </a:extLst>
            </p:cNvPr>
            <p:cNvSpPr/>
            <p:nvPr/>
          </p:nvSpPr>
          <p:spPr>
            <a:xfrm>
              <a:off x="6736388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7" name="Полилиния 856">
              <a:extLst>
                <a:ext uri="{FF2B5EF4-FFF2-40B4-BE49-F238E27FC236}">
                  <a16:creationId xmlns:a16="http://schemas.microsoft.com/office/drawing/2014/main" id="{FB33EB9D-653A-B048-997F-5C0C12A59E44}"/>
                </a:ext>
              </a:extLst>
            </p:cNvPr>
            <p:cNvSpPr/>
            <p:nvPr/>
          </p:nvSpPr>
          <p:spPr>
            <a:xfrm>
              <a:off x="6815587" y="2164144"/>
              <a:ext cx="202688" cy="202688"/>
            </a:xfrm>
            <a:custGeom>
              <a:avLst/>
              <a:gdLst>
                <a:gd name="connsiteX0" fmla="*/ 161283 w 202688"/>
                <a:gd name="connsiteY0" fmla="*/ 7093 h 202688"/>
                <a:gd name="connsiteX1" fmla="*/ 7169 w 202688"/>
                <a:gd name="connsiteY1" fmla="*/ 160970 h 202688"/>
                <a:gd name="connsiteX2" fmla="*/ 7142 w 202688"/>
                <a:gd name="connsiteY2" fmla="*/ 195520 h 202688"/>
                <a:gd name="connsiteX3" fmla="*/ 7155 w 202688"/>
                <a:gd name="connsiteY3" fmla="*/ 195533 h 202688"/>
                <a:gd name="connsiteX4" fmla="*/ 7155 w 202688"/>
                <a:gd name="connsiteY4" fmla="*/ 195533 h 202688"/>
                <a:gd name="connsiteX5" fmla="*/ 41704 w 202688"/>
                <a:gd name="connsiteY5" fmla="*/ 195533 h 202688"/>
                <a:gd name="connsiteX6" fmla="*/ 41717 w 202688"/>
                <a:gd name="connsiteY6" fmla="*/ 195520 h 202688"/>
                <a:gd name="connsiteX7" fmla="*/ 195596 w 202688"/>
                <a:gd name="connsiteY7" fmla="*/ 41405 h 202688"/>
                <a:gd name="connsiteX8" fmla="*/ 195582 w 202688"/>
                <a:gd name="connsiteY8" fmla="*/ 7106 h 202688"/>
                <a:gd name="connsiteX9" fmla="*/ 195582 w 202688"/>
                <a:gd name="connsiteY9" fmla="*/ 7106 h 202688"/>
                <a:gd name="connsiteX10" fmla="*/ 161283 w 202688"/>
                <a:gd name="connsiteY10" fmla="*/ 7093 h 20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2688" h="202688">
                  <a:moveTo>
                    <a:pt x="161283" y="7093"/>
                  </a:moveTo>
                  <a:lnTo>
                    <a:pt x="7169" y="160970"/>
                  </a:lnTo>
                  <a:cubicBezTo>
                    <a:pt x="-2379" y="170504"/>
                    <a:pt x="-2391" y="185972"/>
                    <a:pt x="7142" y="195520"/>
                  </a:cubicBezTo>
                  <a:cubicBezTo>
                    <a:pt x="7146" y="195524"/>
                    <a:pt x="7151" y="195529"/>
                    <a:pt x="7155" y="195533"/>
                  </a:cubicBezTo>
                  <a:lnTo>
                    <a:pt x="7155" y="195533"/>
                  </a:lnTo>
                  <a:cubicBezTo>
                    <a:pt x="16696" y="205073"/>
                    <a:pt x="32164" y="205073"/>
                    <a:pt x="41704" y="195533"/>
                  </a:cubicBezTo>
                  <a:cubicBezTo>
                    <a:pt x="41708" y="195529"/>
                    <a:pt x="41713" y="195524"/>
                    <a:pt x="41717" y="195520"/>
                  </a:cubicBezTo>
                  <a:lnTo>
                    <a:pt x="195596" y="41405"/>
                  </a:lnTo>
                  <a:cubicBezTo>
                    <a:pt x="205058" y="31928"/>
                    <a:pt x="205052" y="16576"/>
                    <a:pt x="195582" y="7106"/>
                  </a:cubicBezTo>
                  <a:lnTo>
                    <a:pt x="195582" y="7106"/>
                  </a:lnTo>
                  <a:cubicBezTo>
                    <a:pt x="186113" y="-2364"/>
                    <a:pt x="170760" y="-2370"/>
                    <a:pt x="161283" y="709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8" name="Полилиния 857">
              <a:extLst>
                <a:ext uri="{FF2B5EF4-FFF2-40B4-BE49-F238E27FC236}">
                  <a16:creationId xmlns:a16="http://schemas.microsoft.com/office/drawing/2014/main" id="{70F92870-0189-FD41-8523-F3B481EE3BB8}"/>
                </a:ext>
              </a:extLst>
            </p:cNvPr>
            <p:cNvSpPr/>
            <p:nvPr/>
          </p:nvSpPr>
          <p:spPr>
            <a:xfrm>
              <a:off x="6796388" y="2145929"/>
              <a:ext cx="240000" cy="240000"/>
            </a:xfrm>
            <a:custGeom>
              <a:avLst/>
              <a:gdLst>
                <a:gd name="connsiteX0" fmla="*/ 87857 w 240000"/>
                <a:gd name="connsiteY0" fmla="*/ 43929 h 240000"/>
                <a:gd name="connsiteX1" fmla="*/ 43951 w 240000"/>
                <a:gd name="connsiteY1" fmla="*/ 87857 h 240000"/>
                <a:gd name="connsiteX2" fmla="*/ 0 w 240000"/>
                <a:gd name="connsiteY2" fmla="*/ 43929 h 240000"/>
                <a:gd name="connsiteX3" fmla="*/ 43951 w 240000"/>
                <a:gd name="connsiteY3" fmla="*/ 0 h 240000"/>
                <a:gd name="connsiteX4" fmla="*/ 87857 w 240000"/>
                <a:gd name="connsiteY4" fmla="*/ 43929 h 240000"/>
                <a:gd name="connsiteX5" fmla="*/ 240000 w 240000"/>
                <a:gd name="connsiteY5" fmla="*/ 196071 h 240000"/>
                <a:gd name="connsiteX6" fmla="*/ 196094 w 240000"/>
                <a:gd name="connsiteY6" fmla="*/ 240000 h 240000"/>
                <a:gd name="connsiteX7" fmla="*/ 152144 w 240000"/>
                <a:gd name="connsiteY7" fmla="*/ 196071 h 240000"/>
                <a:gd name="connsiteX8" fmla="*/ 196094 w 240000"/>
                <a:gd name="connsiteY8" fmla="*/ 152144 h 240000"/>
                <a:gd name="connsiteX9" fmla="*/ 240000 w 240000"/>
                <a:gd name="connsiteY9" fmla="*/ 196071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0000" h="240000">
                  <a:moveTo>
                    <a:pt x="87857" y="43929"/>
                  </a:moveTo>
                  <a:cubicBezTo>
                    <a:pt x="87857" y="68210"/>
                    <a:pt x="68204" y="87857"/>
                    <a:pt x="43951" y="87857"/>
                  </a:cubicBezTo>
                  <a:cubicBezTo>
                    <a:pt x="19698" y="87857"/>
                    <a:pt x="0" y="68210"/>
                    <a:pt x="0" y="43929"/>
                  </a:cubicBezTo>
                  <a:cubicBezTo>
                    <a:pt x="0" y="19648"/>
                    <a:pt x="19698" y="0"/>
                    <a:pt x="43951" y="0"/>
                  </a:cubicBezTo>
                  <a:cubicBezTo>
                    <a:pt x="68204" y="0"/>
                    <a:pt x="87857" y="19648"/>
                    <a:pt x="87857" y="43929"/>
                  </a:cubicBezTo>
                  <a:close/>
                  <a:moveTo>
                    <a:pt x="240000" y="196071"/>
                  </a:moveTo>
                  <a:cubicBezTo>
                    <a:pt x="240000" y="220353"/>
                    <a:pt x="220347" y="240000"/>
                    <a:pt x="196094" y="240000"/>
                  </a:cubicBezTo>
                  <a:cubicBezTo>
                    <a:pt x="171840" y="240000"/>
                    <a:pt x="152144" y="220353"/>
                    <a:pt x="152144" y="196071"/>
                  </a:cubicBezTo>
                  <a:cubicBezTo>
                    <a:pt x="152144" y="171746"/>
                    <a:pt x="171840" y="152144"/>
                    <a:pt x="196094" y="152144"/>
                  </a:cubicBezTo>
                  <a:cubicBezTo>
                    <a:pt x="220347" y="152144"/>
                    <a:pt x="240000" y="171746"/>
                    <a:pt x="240000" y="196071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59" name="Рисунок 201">
            <a:extLst>
              <a:ext uri="{FF2B5EF4-FFF2-40B4-BE49-F238E27FC236}">
                <a16:creationId xmlns:a16="http://schemas.microsoft.com/office/drawing/2014/main" id="{5F340F0D-C45D-274B-8E7D-A21C00C5393E}"/>
              </a:ext>
            </a:extLst>
          </p:cNvPr>
          <p:cNvGrpSpPr/>
          <p:nvPr/>
        </p:nvGrpSpPr>
        <p:grpSpPr>
          <a:xfrm>
            <a:off x="4437536" y="1766973"/>
            <a:ext cx="360000" cy="360000"/>
            <a:chOff x="4470989" y="2085929"/>
            <a:chExt cx="360000" cy="360000"/>
          </a:xfrm>
        </p:grpSpPr>
        <p:sp>
          <p:nvSpPr>
            <p:cNvPr id="860" name="Полилиния 859">
              <a:extLst>
                <a:ext uri="{FF2B5EF4-FFF2-40B4-BE49-F238E27FC236}">
                  <a16:creationId xmlns:a16="http://schemas.microsoft.com/office/drawing/2014/main" id="{CCF1481F-5124-3D4D-B99E-980978094374}"/>
                </a:ext>
              </a:extLst>
            </p:cNvPr>
            <p:cNvSpPr/>
            <p:nvPr/>
          </p:nvSpPr>
          <p:spPr>
            <a:xfrm>
              <a:off x="4470989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1" name="Полилиния 860">
              <a:extLst>
                <a:ext uri="{FF2B5EF4-FFF2-40B4-BE49-F238E27FC236}">
                  <a16:creationId xmlns:a16="http://schemas.microsoft.com/office/drawing/2014/main" id="{4A9E4D47-F38A-0A40-B099-5901C38E1CD3}"/>
                </a:ext>
              </a:extLst>
            </p:cNvPr>
            <p:cNvSpPr/>
            <p:nvPr/>
          </p:nvSpPr>
          <p:spPr>
            <a:xfrm>
              <a:off x="4498674" y="2111858"/>
              <a:ext cx="304628" cy="299999"/>
            </a:xfrm>
            <a:custGeom>
              <a:avLst/>
              <a:gdLst>
                <a:gd name="connsiteX0" fmla="*/ 152314 w 304628"/>
                <a:gd name="connsiteY0" fmla="*/ 274399 h 299999"/>
                <a:gd name="connsiteX1" fmla="*/ 99416 w 304628"/>
                <a:gd name="connsiteY1" fmla="*/ 300000 h 299999"/>
                <a:gd name="connsiteX2" fmla="*/ 75350 w 304628"/>
                <a:gd name="connsiteY2" fmla="*/ 246385 h 299999"/>
                <a:gd name="connsiteX3" fmla="*/ 18371 w 304628"/>
                <a:gd name="connsiteY3" fmla="*/ 231996 h 299999"/>
                <a:gd name="connsiteX4" fmla="*/ 34398 w 304628"/>
                <a:gd name="connsiteY4" fmla="*/ 175455 h 299999"/>
                <a:gd name="connsiteX5" fmla="*/ 0 w 304628"/>
                <a:gd name="connsiteY5" fmla="*/ 127807 h 299999"/>
                <a:gd name="connsiteX6" fmla="*/ 48621 w 304628"/>
                <a:gd name="connsiteY6" fmla="*/ 94796 h 299999"/>
                <a:gd name="connsiteX7" fmla="*/ 52898 w 304628"/>
                <a:gd name="connsiteY7" fmla="*/ 36184 h 299999"/>
                <a:gd name="connsiteX8" fmla="*/ 111362 w 304628"/>
                <a:gd name="connsiteY8" fmla="*/ 42150 h 299999"/>
                <a:gd name="connsiteX9" fmla="*/ 152314 w 304628"/>
                <a:gd name="connsiteY9" fmla="*/ 0 h 299999"/>
                <a:gd name="connsiteX10" fmla="*/ 193266 w 304628"/>
                <a:gd name="connsiteY10" fmla="*/ 42150 h 299999"/>
                <a:gd name="connsiteX11" fmla="*/ 251730 w 304628"/>
                <a:gd name="connsiteY11" fmla="*/ 36184 h 299999"/>
                <a:gd name="connsiteX12" fmla="*/ 256008 w 304628"/>
                <a:gd name="connsiteY12" fmla="*/ 94796 h 299999"/>
                <a:gd name="connsiteX13" fmla="*/ 304629 w 304628"/>
                <a:gd name="connsiteY13" fmla="*/ 127807 h 299999"/>
                <a:gd name="connsiteX14" fmla="*/ 270231 w 304628"/>
                <a:gd name="connsiteY14" fmla="*/ 175455 h 299999"/>
                <a:gd name="connsiteX15" fmla="*/ 286257 w 304628"/>
                <a:gd name="connsiteY15" fmla="*/ 231996 h 299999"/>
                <a:gd name="connsiteX16" fmla="*/ 229278 w 304628"/>
                <a:gd name="connsiteY16" fmla="*/ 246385 h 299999"/>
                <a:gd name="connsiteX17" fmla="*/ 205212 w 304628"/>
                <a:gd name="connsiteY17" fmla="*/ 300000 h 29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628" h="299999">
                  <a:moveTo>
                    <a:pt x="152314" y="274399"/>
                  </a:moveTo>
                  <a:lnTo>
                    <a:pt x="99416" y="300000"/>
                  </a:lnTo>
                  <a:lnTo>
                    <a:pt x="75350" y="246385"/>
                  </a:lnTo>
                  <a:lnTo>
                    <a:pt x="18371" y="231996"/>
                  </a:lnTo>
                  <a:lnTo>
                    <a:pt x="34398" y="175455"/>
                  </a:lnTo>
                  <a:lnTo>
                    <a:pt x="0" y="127807"/>
                  </a:lnTo>
                  <a:lnTo>
                    <a:pt x="48621" y="94796"/>
                  </a:lnTo>
                  <a:lnTo>
                    <a:pt x="52898" y="36184"/>
                  </a:lnTo>
                  <a:lnTo>
                    <a:pt x="111362" y="42150"/>
                  </a:lnTo>
                  <a:lnTo>
                    <a:pt x="152314" y="0"/>
                  </a:lnTo>
                  <a:lnTo>
                    <a:pt x="193266" y="42150"/>
                  </a:lnTo>
                  <a:lnTo>
                    <a:pt x="251730" y="36184"/>
                  </a:lnTo>
                  <a:lnTo>
                    <a:pt x="256008" y="94796"/>
                  </a:lnTo>
                  <a:lnTo>
                    <a:pt x="304629" y="127807"/>
                  </a:lnTo>
                  <a:lnTo>
                    <a:pt x="270231" y="175455"/>
                  </a:lnTo>
                  <a:lnTo>
                    <a:pt x="286257" y="231996"/>
                  </a:lnTo>
                  <a:lnTo>
                    <a:pt x="229278" y="246385"/>
                  </a:lnTo>
                  <a:lnTo>
                    <a:pt x="205212" y="30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2" name="Полилиния 861">
              <a:extLst>
                <a:ext uri="{FF2B5EF4-FFF2-40B4-BE49-F238E27FC236}">
                  <a16:creationId xmlns:a16="http://schemas.microsoft.com/office/drawing/2014/main" id="{D6E0A458-71D9-DB49-A7F2-C82856657ACF}"/>
                </a:ext>
              </a:extLst>
            </p:cNvPr>
            <p:cNvSpPr/>
            <p:nvPr/>
          </p:nvSpPr>
          <p:spPr>
            <a:xfrm>
              <a:off x="4596400" y="2214967"/>
              <a:ext cx="106143" cy="111701"/>
            </a:xfrm>
            <a:custGeom>
              <a:avLst/>
              <a:gdLst>
                <a:gd name="connsiteX0" fmla="*/ 85925 w 106143"/>
                <a:gd name="connsiteY0" fmla="*/ 0 h 111701"/>
                <a:gd name="connsiteX1" fmla="*/ 0 w 106143"/>
                <a:gd name="connsiteY1" fmla="*/ 91483 h 111701"/>
                <a:gd name="connsiteX2" fmla="*/ 20218 w 106143"/>
                <a:gd name="connsiteY2" fmla="*/ 111701 h 111701"/>
                <a:gd name="connsiteX3" fmla="*/ 106143 w 106143"/>
                <a:gd name="connsiteY3" fmla="*/ 20218 h 111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143" h="111701">
                  <a:moveTo>
                    <a:pt x="85925" y="0"/>
                  </a:moveTo>
                  <a:lnTo>
                    <a:pt x="0" y="91483"/>
                  </a:lnTo>
                  <a:lnTo>
                    <a:pt x="20218" y="111701"/>
                  </a:lnTo>
                  <a:lnTo>
                    <a:pt x="106143" y="20218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3" name="Полилиния 862">
              <a:extLst>
                <a:ext uri="{FF2B5EF4-FFF2-40B4-BE49-F238E27FC236}">
                  <a16:creationId xmlns:a16="http://schemas.microsoft.com/office/drawing/2014/main" id="{A6BD39F4-1000-B041-8009-A188958A4A14}"/>
                </a:ext>
              </a:extLst>
            </p:cNvPr>
            <p:cNvSpPr/>
            <p:nvPr/>
          </p:nvSpPr>
          <p:spPr>
            <a:xfrm>
              <a:off x="4582249" y="2197782"/>
              <a:ext cx="51553" cy="51554"/>
            </a:xfrm>
            <a:custGeom>
              <a:avLst/>
              <a:gdLst>
                <a:gd name="connsiteX0" fmla="*/ 51554 w 51553"/>
                <a:gd name="connsiteY0" fmla="*/ 25777 h 51554"/>
                <a:gd name="connsiteX1" fmla="*/ 25777 w 51553"/>
                <a:gd name="connsiteY1" fmla="*/ 51555 h 51554"/>
                <a:gd name="connsiteX2" fmla="*/ 0 w 51553"/>
                <a:gd name="connsiteY2" fmla="*/ 25777 h 51554"/>
                <a:gd name="connsiteX3" fmla="*/ 25777 w 51553"/>
                <a:gd name="connsiteY3" fmla="*/ 0 h 51554"/>
                <a:gd name="connsiteX4" fmla="*/ 51554 w 51553"/>
                <a:gd name="connsiteY4" fmla="*/ 25777 h 51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553" h="51554">
                  <a:moveTo>
                    <a:pt x="51554" y="25777"/>
                  </a:moveTo>
                  <a:cubicBezTo>
                    <a:pt x="51554" y="40026"/>
                    <a:pt x="40022" y="51555"/>
                    <a:pt x="25777" y="51555"/>
                  </a:cubicBezTo>
                  <a:cubicBezTo>
                    <a:pt x="11559" y="51555"/>
                    <a:pt x="0" y="40026"/>
                    <a:pt x="0" y="25777"/>
                  </a:cubicBezTo>
                  <a:cubicBezTo>
                    <a:pt x="0" y="11529"/>
                    <a:pt x="11559" y="0"/>
                    <a:pt x="25777" y="0"/>
                  </a:cubicBezTo>
                  <a:cubicBezTo>
                    <a:pt x="40022" y="0"/>
                    <a:pt x="51554" y="11529"/>
                    <a:pt x="51554" y="25777"/>
                  </a:cubicBezTo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4" name="Полилиния 863">
              <a:extLst>
                <a:ext uri="{FF2B5EF4-FFF2-40B4-BE49-F238E27FC236}">
                  <a16:creationId xmlns:a16="http://schemas.microsoft.com/office/drawing/2014/main" id="{E37F4B97-8F60-1E43-97F3-E523F16B8944}"/>
                </a:ext>
              </a:extLst>
            </p:cNvPr>
            <p:cNvSpPr/>
            <p:nvPr/>
          </p:nvSpPr>
          <p:spPr>
            <a:xfrm>
              <a:off x="4668174" y="2283706"/>
              <a:ext cx="51553" cy="51555"/>
            </a:xfrm>
            <a:custGeom>
              <a:avLst/>
              <a:gdLst>
                <a:gd name="connsiteX0" fmla="*/ 25776 w 51553"/>
                <a:gd name="connsiteY0" fmla="*/ 51555 h 51555"/>
                <a:gd name="connsiteX1" fmla="*/ 0 w 51553"/>
                <a:gd name="connsiteY1" fmla="*/ 25778 h 51555"/>
                <a:gd name="connsiteX2" fmla="*/ 25776 w 51553"/>
                <a:gd name="connsiteY2" fmla="*/ 0 h 51555"/>
                <a:gd name="connsiteX3" fmla="*/ 51553 w 51553"/>
                <a:gd name="connsiteY3" fmla="*/ 25778 h 51555"/>
                <a:gd name="connsiteX4" fmla="*/ 25776 w 51553"/>
                <a:gd name="connsiteY4" fmla="*/ 51555 h 5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553" h="51555">
                  <a:moveTo>
                    <a:pt x="25776" y="51555"/>
                  </a:moveTo>
                  <a:cubicBezTo>
                    <a:pt x="11557" y="51555"/>
                    <a:pt x="0" y="40025"/>
                    <a:pt x="0" y="25778"/>
                  </a:cubicBezTo>
                  <a:cubicBezTo>
                    <a:pt x="0" y="11504"/>
                    <a:pt x="11557" y="0"/>
                    <a:pt x="25776" y="0"/>
                  </a:cubicBezTo>
                  <a:cubicBezTo>
                    <a:pt x="40021" y="0"/>
                    <a:pt x="51553" y="11504"/>
                    <a:pt x="51553" y="25778"/>
                  </a:cubicBezTo>
                  <a:cubicBezTo>
                    <a:pt x="51553" y="40025"/>
                    <a:pt x="40021" y="51555"/>
                    <a:pt x="25776" y="5155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65" name="Рисунок 202">
            <a:extLst>
              <a:ext uri="{FF2B5EF4-FFF2-40B4-BE49-F238E27FC236}">
                <a16:creationId xmlns:a16="http://schemas.microsoft.com/office/drawing/2014/main" id="{6D83A552-1955-E140-8777-D457C900177D}"/>
              </a:ext>
            </a:extLst>
          </p:cNvPr>
          <p:cNvGrpSpPr/>
          <p:nvPr/>
        </p:nvGrpSpPr>
        <p:grpSpPr>
          <a:xfrm>
            <a:off x="5192669" y="1766973"/>
            <a:ext cx="360000" cy="360000"/>
            <a:chOff x="5226122" y="2085929"/>
            <a:chExt cx="360000" cy="360000"/>
          </a:xfrm>
        </p:grpSpPr>
        <p:sp>
          <p:nvSpPr>
            <p:cNvPr id="866" name="Полилиния 865">
              <a:extLst>
                <a:ext uri="{FF2B5EF4-FFF2-40B4-BE49-F238E27FC236}">
                  <a16:creationId xmlns:a16="http://schemas.microsoft.com/office/drawing/2014/main" id="{509B9FF5-17D0-E049-86CE-02DEC55940E1}"/>
                </a:ext>
              </a:extLst>
            </p:cNvPr>
            <p:cNvSpPr/>
            <p:nvPr/>
          </p:nvSpPr>
          <p:spPr>
            <a:xfrm>
              <a:off x="5226122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7" name="Полилиния 866">
              <a:extLst>
                <a:ext uri="{FF2B5EF4-FFF2-40B4-BE49-F238E27FC236}">
                  <a16:creationId xmlns:a16="http://schemas.microsoft.com/office/drawing/2014/main" id="{13AB81F3-42CD-CF4E-A8F6-ECB7A8C42872}"/>
                </a:ext>
              </a:extLst>
            </p:cNvPr>
            <p:cNvSpPr/>
            <p:nvPr/>
          </p:nvSpPr>
          <p:spPr>
            <a:xfrm>
              <a:off x="5301122" y="2145929"/>
              <a:ext cx="210000" cy="255000"/>
            </a:xfrm>
            <a:custGeom>
              <a:avLst/>
              <a:gdLst>
                <a:gd name="connsiteX0" fmla="*/ 30000 w 210000"/>
                <a:gd name="connsiteY0" fmla="*/ 150000 h 255000"/>
                <a:gd name="connsiteX1" fmla="*/ 105000 w 210000"/>
                <a:gd name="connsiteY1" fmla="*/ 225000 h 255000"/>
                <a:gd name="connsiteX2" fmla="*/ 180000 w 210000"/>
                <a:gd name="connsiteY2" fmla="*/ 150000 h 255000"/>
                <a:gd name="connsiteX3" fmla="*/ 105000 w 210000"/>
                <a:gd name="connsiteY3" fmla="*/ 40488 h 255000"/>
                <a:gd name="connsiteX4" fmla="*/ 30000 w 210000"/>
                <a:gd name="connsiteY4" fmla="*/ 150000 h 255000"/>
                <a:gd name="connsiteX5" fmla="*/ 105000 w 210000"/>
                <a:gd name="connsiteY5" fmla="*/ 255000 h 255000"/>
                <a:gd name="connsiteX6" fmla="*/ 0 w 210000"/>
                <a:gd name="connsiteY6" fmla="*/ 150000 h 255000"/>
                <a:gd name="connsiteX7" fmla="*/ 105000 w 210000"/>
                <a:gd name="connsiteY7" fmla="*/ 0 h 255000"/>
                <a:gd name="connsiteX8" fmla="*/ 210000 w 210000"/>
                <a:gd name="connsiteY8" fmla="*/ 150000 h 255000"/>
                <a:gd name="connsiteX9" fmla="*/ 105000 w 210000"/>
                <a:gd name="connsiteY9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0000" h="255000">
                  <a:moveTo>
                    <a:pt x="30000" y="150000"/>
                  </a:moveTo>
                  <a:cubicBezTo>
                    <a:pt x="30000" y="191421"/>
                    <a:pt x="63579" y="225000"/>
                    <a:pt x="105000" y="225000"/>
                  </a:cubicBezTo>
                  <a:cubicBezTo>
                    <a:pt x="146421" y="225000"/>
                    <a:pt x="180000" y="191421"/>
                    <a:pt x="180000" y="150000"/>
                  </a:cubicBezTo>
                  <a:cubicBezTo>
                    <a:pt x="180000" y="125613"/>
                    <a:pt x="155555" y="88028"/>
                    <a:pt x="105000" y="40488"/>
                  </a:cubicBezTo>
                  <a:cubicBezTo>
                    <a:pt x="54446" y="88028"/>
                    <a:pt x="30000" y="125613"/>
                    <a:pt x="30000" y="150000"/>
                  </a:cubicBezTo>
                  <a:close/>
                  <a:moveTo>
                    <a:pt x="105000" y="255000"/>
                  </a:moveTo>
                  <a:cubicBezTo>
                    <a:pt x="47010" y="255000"/>
                    <a:pt x="0" y="207990"/>
                    <a:pt x="0" y="150000"/>
                  </a:cubicBezTo>
                  <a:cubicBezTo>
                    <a:pt x="0" y="111341"/>
                    <a:pt x="35000" y="61340"/>
                    <a:pt x="105000" y="0"/>
                  </a:cubicBezTo>
                  <a:cubicBezTo>
                    <a:pt x="175001" y="61340"/>
                    <a:pt x="210000" y="111341"/>
                    <a:pt x="210000" y="150000"/>
                  </a:cubicBezTo>
                  <a:cubicBezTo>
                    <a:pt x="210000" y="207990"/>
                    <a:pt x="162990" y="255000"/>
                    <a:pt x="105000" y="25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8" name="Полилиния 867">
              <a:extLst>
                <a:ext uri="{FF2B5EF4-FFF2-40B4-BE49-F238E27FC236}">
                  <a16:creationId xmlns:a16="http://schemas.microsoft.com/office/drawing/2014/main" id="{F065A798-C47E-6E45-A2F0-851F8E1550C0}"/>
                </a:ext>
              </a:extLst>
            </p:cNvPr>
            <p:cNvSpPr/>
            <p:nvPr/>
          </p:nvSpPr>
          <p:spPr>
            <a:xfrm>
              <a:off x="5406122" y="2145929"/>
              <a:ext cx="105000" cy="255000"/>
            </a:xfrm>
            <a:custGeom>
              <a:avLst/>
              <a:gdLst>
                <a:gd name="connsiteX0" fmla="*/ 0 w 105000"/>
                <a:gd name="connsiteY0" fmla="*/ 0 h 255000"/>
                <a:gd name="connsiteX1" fmla="*/ 105000 w 105000"/>
                <a:gd name="connsiteY1" fmla="*/ 150000 h 255000"/>
                <a:gd name="connsiteX2" fmla="*/ 0 w 105000"/>
                <a:gd name="connsiteY2" fmla="*/ 255000 h 255000"/>
                <a:gd name="connsiteX3" fmla="*/ 0 w 105000"/>
                <a:gd name="connsiteY3" fmla="*/ 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000" h="255000">
                  <a:moveTo>
                    <a:pt x="0" y="0"/>
                  </a:moveTo>
                  <a:cubicBezTo>
                    <a:pt x="70001" y="61340"/>
                    <a:pt x="105000" y="111341"/>
                    <a:pt x="105000" y="150000"/>
                  </a:cubicBezTo>
                  <a:cubicBezTo>
                    <a:pt x="105000" y="207990"/>
                    <a:pt x="57990" y="255000"/>
                    <a:pt x="0" y="2550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69" name="Рисунок 203">
            <a:extLst>
              <a:ext uri="{FF2B5EF4-FFF2-40B4-BE49-F238E27FC236}">
                <a16:creationId xmlns:a16="http://schemas.microsoft.com/office/drawing/2014/main" id="{BBC1A3A1-F252-524E-B011-D6D2020FF62A}"/>
              </a:ext>
            </a:extLst>
          </p:cNvPr>
          <p:cNvGrpSpPr/>
          <p:nvPr/>
        </p:nvGrpSpPr>
        <p:grpSpPr>
          <a:xfrm>
            <a:off x="7458068" y="1766973"/>
            <a:ext cx="360000" cy="360000"/>
            <a:chOff x="7491521" y="2085929"/>
            <a:chExt cx="360000" cy="360000"/>
          </a:xfrm>
        </p:grpSpPr>
        <p:sp>
          <p:nvSpPr>
            <p:cNvPr id="870" name="Полилиния 869">
              <a:extLst>
                <a:ext uri="{FF2B5EF4-FFF2-40B4-BE49-F238E27FC236}">
                  <a16:creationId xmlns:a16="http://schemas.microsoft.com/office/drawing/2014/main" id="{34795F50-FA74-A140-AAD8-E25E379552C8}"/>
                </a:ext>
              </a:extLst>
            </p:cNvPr>
            <p:cNvSpPr/>
            <p:nvPr/>
          </p:nvSpPr>
          <p:spPr>
            <a:xfrm>
              <a:off x="7491521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1" name="Полилиния 870">
              <a:extLst>
                <a:ext uri="{FF2B5EF4-FFF2-40B4-BE49-F238E27FC236}">
                  <a16:creationId xmlns:a16="http://schemas.microsoft.com/office/drawing/2014/main" id="{E510F566-F81C-8D42-A9AB-018FDE5EAB32}"/>
                </a:ext>
              </a:extLst>
            </p:cNvPr>
            <p:cNvSpPr/>
            <p:nvPr/>
          </p:nvSpPr>
          <p:spPr>
            <a:xfrm>
              <a:off x="7506521" y="2220929"/>
              <a:ext cx="180000" cy="120000"/>
            </a:xfrm>
            <a:custGeom>
              <a:avLst/>
              <a:gdLst>
                <a:gd name="connsiteX0" fmla="*/ 15000 w 180000"/>
                <a:gd name="connsiteY0" fmla="*/ 0 h 120000"/>
                <a:gd name="connsiteX1" fmla="*/ 165000 w 180000"/>
                <a:gd name="connsiteY1" fmla="*/ 0 h 120000"/>
                <a:gd name="connsiteX2" fmla="*/ 180000 w 180000"/>
                <a:gd name="connsiteY2" fmla="*/ 15000 h 120000"/>
                <a:gd name="connsiteX3" fmla="*/ 180000 w 180000"/>
                <a:gd name="connsiteY3" fmla="*/ 60000 h 120000"/>
                <a:gd name="connsiteX4" fmla="*/ 120000 w 180000"/>
                <a:gd name="connsiteY4" fmla="*/ 120000 h 120000"/>
                <a:gd name="connsiteX5" fmla="*/ 60000 w 180000"/>
                <a:gd name="connsiteY5" fmla="*/ 120000 h 120000"/>
                <a:gd name="connsiteX6" fmla="*/ 0 w 180000"/>
                <a:gd name="connsiteY6" fmla="*/ 60000 h 120000"/>
                <a:gd name="connsiteX7" fmla="*/ 0 w 180000"/>
                <a:gd name="connsiteY7" fmla="*/ 15000 h 120000"/>
                <a:gd name="connsiteX8" fmla="*/ 15000 w 180000"/>
                <a:gd name="connsiteY8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000" h="120000">
                  <a:moveTo>
                    <a:pt x="15000" y="0"/>
                  </a:moveTo>
                  <a:lnTo>
                    <a:pt x="165000" y="0"/>
                  </a:lnTo>
                  <a:cubicBezTo>
                    <a:pt x="173285" y="0"/>
                    <a:pt x="180000" y="6716"/>
                    <a:pt x="180000" y="15000"/>
                  </a:cubicBezTo>
                  <a:lnTo>
                    <a:pt x="180000" y="60000"/>
                  </a:lnTo>
                  <a:cubicBezTo>
                    <a:pt x="180000" y="93137"/>
                    <a:pt x="153137" y="120000"/>
                    <a:pt x="120000" y="120000"/>
                  </a:cubicBezTo>
                  <a:lnTo>
                    <a:pt x="60000" y="120000"/>
                  </a:lnTo>
                  <a:cubicBezTo>
                    <a:pt x="26863" y="120000"/>
                    <a:pt x="0" y="93137"/>
                    <a:pt x="0" y="60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2" name="Полилиния 871">
              <a:extLst>
                <a:ext uri="{FF2B5EF4-FFF2-40B4-BE49-F238E27FC236}">
                  <a16:creationId xmlns:a16="http://schemas.microsoft.com/office/drawing/2014/main" id="{54FDDC54-DF9C-F04B-A81C-E6681CB09B22}"/>
                </a:ext>
              </a:extLst>
            </p:cNvPr>
            <p:cNvSpPr/>
            <p:nvPr/>
          </p:nvSpPr>
          <p:spPr>
            <a:xfrm>
              <a:off x="7701521" y="2222143"/>
              <a:ext cx="135000" cy="42570"/>
            </a:xfrm>
            <a:custGeom>
              <a:avLst/>
              <a:gdLst>
                <a:gd name="connsiteX0" fmla="*/ 14977 w 135000"/>
                <a:gd name="connsiteY0" fmla="*/ 5453 h 42570"/>
                <a:gd name="connsiteX1" fmla="*/ 112535 w 135000"/>
                <a:gd name="connsiteY1" fmla="*/ 33 h 42570"/>
                <a:gd name="connsiteX2" fmla="*/ 134967 w 135000"/>
                <a:gd name="connsiteY2" fmla="*/ 20105 h 42570"/>
                <a:gd name="connsiteX3" fmla="*/ 135000 w 135000"/>
                <a:gd name="connsiteY3" fmla="*/ 21285 h 42570"/>
                <a:gd name="connsiteX4" fmla="*/ 135000 w 135000"/>
                <a:gd name="connsiteY4" fmla="*/ 21285 h 42570"/>
                <a:gd name="connsiteX5" fmla="*/ 113715 w 135000"/>
                <a:gd name="connsiteY5" fmla="*/ 42570 h 42570"/>
                <a:gd name="connsiteX6" fmla="*/ 112535 w 135000"/>
                <a:gd name="connsiteY6" fmla="*/ 42537 h 42570"/>
                <a:gd name="connsiteX7" fmla="*/ 14977 w 135000"/>
                <a:gd name="connsiteY7" fmla="*/ 37118 h 42570"/>
                <a:gd name="connsiteX8" fmla="*/ 0 w 135000"/>
                <a:gd name="connsiteY8" fmla="*/ 21285 h 42570"/>
                <a:gd name="connsiteX9" fmla="*/ 0 w 135000"/>
                <a:gd name="connsiteY9" fmla="*/ 21285 h 42570"/>
                <a:gd name="connsiteX10" fmla="*/ 14977 w 135000"/>
                <a:gd name="connsiteY10" fmla="*/ 5453 h 4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000" h="42570">
                  <a:moveTo>
                    <a:pt x="14977" y="5453"/>
                  </a:moveTo>
                  <a:lnTo>
                    <a:pt x="112535" y="33"/>
                  </a:lnTo>
                  <a:cubicBezTo>
                    <a:pt x="124272" y="-619"/>
                    <a:pt x="134315" y="8367"/>
                    <a:pt x="134967" y="20105"/>
                  </a:cubicBezTo>
                  <a:cubicBezTo>
                    <a:pt x="134990" y="20498"/>
                    <a:pt x="135000" y="20891"/>
                    <a:pt x="135000" y="21285"/>
                  </a:cubicBezTo>
                  <a:lnTo>
                    <a:pt x="135000" y="21285"/>
                  </a:lnTo>
                  <a:cubicBezTo>
                    <a:pt x="135000" y="33041"/>
                    <a:pt x="125471" y="42570"/>
                    <a:pt x="113715" y="42570"/>
                  </a:cubicBezTo>
                  <a:cubicBezTo>
                    <a:pt x="113322" y="42570"/>
                    <a:pt x="112927" y="42560"/>
                    <a:pt x="112535" y="42537"/>
                  </a:cubicBezTo>
                  <a:lnTo>
                    <a:pt x="14977" y="37118"/>
                  </a:lnTo>
                  <a:cubicBezTo>
                    <a:pt x="6575" y="36650"/>
                    <a:pt x="0" y="29700"/>
                    <a:pt x="0" y="21285"/>
                  </a:cubicBezTo>
                  <a:lnTo>
                    <a:pt x="0" y="21285"/>
                  </a:lnTo>
                  <a:cubicBezTo>
                    <a:pt x="0" y="12870"/>
                    <a:pt x="6575" y="5920"/>
                    <a:pt x="14977" y="5453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73" name="Рисунок 204">
            <a:extLst>
              <a:ext uri="{FF2B5EF4-FFF2-40B4-BE49-F238E27FC236}">
                <a16:creationId xmlns:a16="http://schemas.microsoft.com/office/drawing/2014/main" id="{26102515-B66D-3546-A40E-866563C5F5D0}"/>
              </a:ext>
            </a:extLst>
          </p:cNvPr>
          <p:cNvGrpSpPr/>
          <p:nvPr/>
        </p:nvGrpSpPr>
        <p:grpSpPr>
          <a:xfrm>
            <a:off x="8968334" y="1766973"/>
            <a:ext cx="360000" cy="360000"/>
            <a:chOff x="9001787" y="2085929"/>
            <a:chExt cx="360000" cy="360000"/>
          </a:xfrm>
        </p:grpSpPr>
        <p:sp>
          <p:nvSpPr>
            <p:cNvPr id="874" name="Полилиния 873">
              <a:extLst>
                <a:ext uri="{FF2B5EF4-FFF2-40B4-BE49-F238E27FC236}">
                  <a16:creationId xmlns:a16="http://schemas.microsoft.com/office/drawing/2014/main" id="{2BEADE1A-ABA5-194D-96D7-9E1718449EDF}"/>
                </a:ext>
              </a:extLst>
            </p:cNvPr>
            <p:cNvSpPr/>
            <p:nvPr/>
          </p:nvSpPr>
          <p:spPr>
            <a:xfrm>
              <a:off x="9001787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5" name="Полилиния 874">
              <a:extLst>
                <a:ext uri="{FF2B5EF4-FFF2-40B4-BE49-F238E27FC236}">
                  <a16:creationId xmlns:a16="http://schemas.microsoft.com/office/drawing/2014/main" id="{15096F3D-BB98-A541-8999-FD84C76AFC7C}"/>
                </a:ext>
              </a:extLst>
            </p:cNvPr>
            <p:cNvSpPr/>
            <p:nvPr/>
          </p:nvSpPr>
          <p:spPr>
            <a:xfrm>
              <a:off x="9061787" y="2145929"/>
              <a:ext cx="240000" cy="240000"/>
            </a:xfrm>
            <a:custGeom>
              <a:avLst/>
              <a:gdLst>
                <a:gd name="connsiteX0" fmla="*/ 195000 w 240000"/>
                <a:gd name="connsiteY0" fmla="*/ 0 h 240000"/>
                <a:gd name="connsiteX1" fmla="*/ 30000 w 240000"/>
                <a:gd name="connsiteY1" fmla="*/ 0 h 240000"/>
                <a:gd name="connsiteX2" fmla="*/ 0 w 240000"/>
                <a:gd name="connsiteY2" fmla="*/ 30000 h 240000"/>
                <a:gd name="connsiteX3" fmla="*/ 0 w 240000"/>
                <a:gd name="connsiteY3" fmla="*/ 210000 h 240000"/>
                <a:gd name="connsiteX4" fmla="*/ 30000 w 240000"/>
                <a:gd name="connsiteY4" fmla="*/ 240000 h 240000"/>
                <a:gd name="connsiteX5" fmla="*/ 210000 w 240000"/>
                <a:gd name="connsiteY5" fmla="*/ 240000 h 240000"/>
                <a:gd name="connsiteX6" fmla="*/ 240000 w 240000"/>
                <a:gd name="connsiteY6" fmla="*/ 210000 h 240000"/>
                <a:gd name="connsiteX7" fmla="*/ 240000 w 240000"/>
                <a:gd name="connsiteY7" fmla="*/ 48107 h 240000"/>
                <a:gd name="connsiteX8" fmla="*/ 237804 w 240000"/>
                <a:gd name="connsiteY8" fmla="*/ 42803 h 240000"/>
                <a:gd name="connsiteX9" fmla="*/ 195000 w 240000"/>
                <a:gd name="connsiteY9" fmla="*/ 0 h 240000"/>
                <a:gd name="connsiteX10" fmla="*/ 195000 w 240000"/>
                <a:gd name="connsiteY10" fmla="*/ 105000 h 240000"/>
                <a:gd name="connsiteX11" fmla="*/ 45000 w 240000"/>
                <a:gd name="connsiteY11" fmla="*/ 105000 h 240000"/>
                <a:gd name="connsiteX12" fmla="*/ 45000 w 240000"/>
                <a:gd name="connsiteY12" fmla="*/ 0 h 240000"/>
                <a:gd name="connsiteX13" fmla="*/ 195000 w 240000"/>
                <a:gd name="connsiteY13" fmla="*/ 0 h 240000"/>
                <a:gd name="connsiteX14" fmla="*/ 195000 w 240000"/>
                <a:gd name="connsiteY14" fmla="*/ 105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0000" h="240000">
                  <a:moveTo>
                    <a:pt x="195000" y="0"/>
                  </a:moveTo>
                  <a:lnTo>
                    <a:pt x="30000" y="0"/>
                  </a:lnTo>
                  <a:cubicBezTo>
                    <a:pt x="11867" y="0"/>
                    <a:pt x="0" y="10500"/>
                    <a:pt x="0" y="30000"/>
                  </a:cubicBezTo>
                  <a:lnTo>
                    <a:pt x="0" y="210000"/>
                  </a:lnTo>
                  <a:cubicBezTo>
                    <a:pt x="0" y="229500"/>
                    <a:pt x="11867" y="240000"/>
                    <a:pt x="30000" y="240000"/>
                  </a:cubicBezTo>
                  <a:lnTo>
                    <a:pt x="210000" y="240000"/>
                  </a:lnTo>
                  <a:cubicBezTo>
                    <a:pt x="228000" y="240000"/>
                    <a:pt x="240000" y="229500"/>
                    <a:pt x="240000" y="210000"/>
                  </a:cubicBezTo>
                  <a:lnTo>
                    <a:pt x="240000" y="48107"/>
                  </a:lnTo>
                  <a:cubicBezTo>
                    <a:pt x="240000" y="46118"/>
                    <a:pt x="239210" y="44210"/>
                    <a:pt x="237804" y="42803"/>
                  </a:cubicBezTo>
                  <a:lnTo>
                    <a:pt x="195000" y="0"/>
                  </a:lnTo>
                  <a:close/>
                  <a:moveTo>
                    <a:pt x="195000" y="105000"/>
                  </a:moveTo>
                  <a:lnTo>
                    <a:pt x="45000" y="105000"/>
                  </a:lnTo>
                  <a:lnTo>
                    <a:pt x="45000" y="0"/>
                  </a:lnTo>
                  <a:lnTo>
                    <a:pt x="195000" y="0"/>
                  </a:lnTo>
                  <a:lnTo>
                    <a:pt x="195000" y="10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6" name="Скругленный прямоугольник 875">
              <a:extLst>
                <a:ext uri="{FF2B5EF4-FFF2-40B4-BE49-F238E27FC236}">
                  <a16:creationId xmlns:a16="http://schemas.microsoft.com/office/drawing/2014/main" id="{DC54814D-BC60-F745-B24B-2775C1177E5F}"/>
                </a:ext>
              </a:extLst>
            </p:cNvPr>
            <p:cNvSpPr/>
            <p:nvPr/>
          </p:nvSpPr>
          <p:spPr>
            <a:xfrm>
              <a:off x="9181787" y="2145929"/>
              <a:ext cx="45000" cy="75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77" name="Рисунок 205">
            <a:extLst>
              <a:ext uri="{FF2B5EF4-FFF2-40B4-BE49-F238E27FC236}">
                <a16:creationId xmlns:a16="http://schemas.microsoft.com/office/drawing/2014/main" id="{E2495A0D-536C-9348-BAC0-1D961D07D8BC}"/>
              </a:ext>
            </a:extLst>
          </p:cNvPr>
          <p:cNvGrpSpPr/>
          <p:nvPr/>
        </p:nvGrpSpPr>
        <p:grpSpPr>
          <a:xfrm>
            <a:off x="10478600" y="1766973"/>
            <a:ext cx="360000" cy="360000"/>
            <a:chOff x="10512053" y="2085929"/>
            <a:chExt cx="360000" cy="360000"/>
          </a:xfrm>
        </p:grpSpPr>
        <p:sp>
          <p:nvSpPr>
            <p:cNvPr id="878" name="Полилиния 877">
              <a:extLst>
                <a:ext uri="{FF2B5EF4-FFF2-40B4-BE49-F238E27FC236}">
                  <a16:creationId xmlns:a16="http://schemas.microsoft.com/office/drawing/2014/main" id="{9621EDA9-8446-E84F-9641-B953293AAB2A}"/>
                </a:ext>
              </a:extLst>
            </p:cNvPr>
            <p:cNvSpPr/>
            <p:nvPr/>
          </p:nvSpPr>
          <p:spPr>
            <a:xfrm>
              <a:off x="10512053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9" name="Полилиния 878">
              <a:extLst>
                <a:ext uri="{FF2B5EF4-FFF2-40B4-BE49-F238E27FC236}">
                  <a16:creationId xmlns:a16="http://schemas.microsoft.com/office/drawing/2014/main" id="{246B85B5-4767-0E43-BF41-26CB38CE79F4}"/>
                </a:ext>
              </a:extLst>
            </p:cNvPr>
            <p:cNvSpPr/>
            <p:nvPr/>
          </p:nvSpPr>
          <p:spPr>
            <a:xfrm>
              <a:off x="10572053" y="2130929"/>
              <a:ext cx="255000" cy="255000"/>
            </a:xfrm>
            <a:custGeom>
              <a:avLst/>
              <a:gdLst>
                <a:gd name="connsiteX0" fmla="*/ 90000 w 255000"/>
                <a:gd name="connsiteY0" fmla="*/ 165000 h 255000"/>
                <a:gd name="connsiteX1" fmla="*/ 15000 w 255000"/>
                <a:gd name="connsiteY1" fmla="*/ 165000 h 255000"/>
                <a:gd name="connsiteX2" fmla="*/ 0 w 255000"/>
                <a:gd name="connsiteY2" fmla="*/ 150000 h 255000"/>
                <a:gd name="connsiteX3" fmla="*/ 15000 w 255000"/>
                <a:gd name="connsiteY3" fmla="*/ 135000 h 255000"/>
                <a:gd name="connsiteX4" fmla="*/ 120000 w 255000"/>
                <a:gd name="connsiteY4" fmla="*/ 135000 h 255000"/>
                <a:gd name="connsiteX5" fmla="*/ 120000 w 255000"/>
                <a:gd name="connsiteY5" fmla="*/ 240000 h 255000"/>
                <a:gd name="connsiteX6" fmla="*/ 105000 w 255000"/>
                <a:gd name="connsiteY6" fmla="*/ 255000 h 255000"/>
                <a:gd name="connsiteX7" fmla="*/ 90000 w 255000"/>
                <a:gd name="connsiteY7" fmla="*/ 240000 h 255000"/>
                <a:gd name="connsiteX8" fmla="*/ 90000 w 255000"/>
                <a:gd name="connsiteY8" fmla="*/ 165000 h 255000"/>
                <a:gd name="connsiteX9" fmla="*/ 165000 w 255000"/>
                <a:gd name="connsiteY9" fmla="*/ 90000 h 255000"/>
                <a:gd name="connsiteX10" fmla="*/ 240000 w 255000"/>
                <a:gd name="connsiteY10" fmla="*/ 90000 h 255000"/>
                <a:gd name="connsiteX11" fmla="*/ 255000 w 255000"/>
                <a:gd name="connsiteY11" fmla="*/ 105000 h 255000"/>
                <a:gd name="connsiteX12" fmla="*/ 240000 w 255000"/>
                <a:gd name="connsiteY12" fmla="*/ 120000 h 255000"/>
                <a:gd name="connsiteX13" fmla="*/ 135000 w 255000"/>
                <a:gd name="connsiteY13" fmla="*/ 120000 h 255000"/>
                <a:gd name="connsiteX14" fmla="*/ 135000 w 255000"/>
                <a:gd name="connsiteY14" fmla="*/ 15000 h 255000"/>
                <a:gd name="connsiteX15" fmla="*/ 150000 w 255000"/>
                <a:gd name="connsiteY15" fmla="*/ 0 h 255000"/>
                <a:gd name="connsiteX16" fmla="*/ 165000 w 255000"/>
                <a:gd name="connsiteY16" fmla="*/ 15000 h 255000"/>
                <a:gd name="connsiteX17" fmla="*/ 165000 w 255000"/>
                <a:gd name="connsiteY17" fmla="*/ 90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5000" h="255000">
                  <a:moveTo>
                    <a:pt x="90000" y="165000"/>
                  </a:moveTo>
                  <a:lnTo>
                    <a:pt x="15000" y="165000"/>
                  </a:lnTo>
                  <a:cubicBezTo>
                    <a:pt x="5000" y="163284"/>
                    <a:pt x="0" y="158285"/>
                    <a:pt x="0" y="150000"/>
                  </a:cubicBezTo>
                  <a:cubicBezTo>
                    <a:pt x="0" y="141716"/>
                    <a:pt x="5000" y="136716"/>
                    <a:pt x="15000" y="135000"/>
                  </a:cubicBezTo>
                  <a:lnTo>
                    <a:pt x="120000" y="135000"/>
                  </a:lnTo>
                  <a:lnTo>
                    <a:pt x="120000" y="240000"/>
                  </a:lnTo>
                  <a:cubicBezTo>
                    <a:pt x="120000" y="250001"/>
                    <a:pt x="115001" y="255000"/>
                    <a:pt x="105000" y="255000"/>
                  </a:cubicBezTo>
                  <a:cubicBezTo>
                    <a:pt x="94999" y="255000"/>
                    <a:pt x="90000" y="250001"/>
                    <a:pt x="90000" y="240000"/>
                  </a:cubicBezTo>
                  <a:lnTo>
                    <a:pt x="90000" y="165000"/>
                  </a:lnTo>
                  <a:close/>
                  <a:moveTo>
                    <a:pt x="165000" y="90000"/>
                  </a:moveTo>
                  <a:lnTo>
                    <a:pt x="240000" y="90000"/>
                  </a:lnTo>
                  <a:cubicBezTo>
                    <a:pt x="250001" y="91716"/>
                    <a:pt x="255000" y="96716"/>
                    <a:pt x="255000" y="105000"/>
                  </a:cubicBezTo>
                  <a:cubicBezTo>
                    <a:pt x="255000" y="113285"/>
                    <a:pt x="250001" y="118284"/>
                    <a:pt x="240000" y="120000"/>
                  </a:cubicBezTo>
                  <a:lnTo>
                    <a:pt x="135000" y="120000"/>
                  </a:lnTo>
                  <a:lnTo>
                    <a:pt x="135000" y="15000"/>
                  </a:lnTo>
                  <a:cubicBezTo>
                    <a:pt x="135000" y="5000"/>
                    <a:pt x="140000" y="0"/>
                    <a:pt x="150000" y="0"/>
                  </a:cubicBezTo>
                  <a:cubicBezTo>
                    <a:pt x="160001" y="0"/>
                    <a:pt x="165000" y="5000"/>
                    <a:pt x="165000" y="15000"/>
                  </a:cubicBezTo>
                  <a:lnTo>
                    <a:pt x="165000" y="9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0" name="Полилиния 879">
              <a:extLst>
                <a:ext uri="{FF2B5EF4-FFF2-40B4-BE49-F238E27FC236}">
                  <a16:creationId xmlns:a16="http://schemas.microsoft.com/office/drawing/2014/main" id="{245AC098-513D-1E4E-BF12-19BC5FE58EE7}"/>
                </a:ext>
              </a:extLst>
            </p:cNvPr>
            <p:cNvSpPr/>
            <p:nvPr/>
          </p:nvSpPr>
          <p:spPr>
            <a:xfrm>
              <a:off x="10565839" y="2124715"/>
              <a:ext cx="267425" cy="267425"/>
            </a:xfrm>
            <a:custGeom>
              <a:avLst/>
              <a:gdLst>
                <a:gd name="connsiteX0" fmla="*/ 4393 w 267425"/>
                <a:gd name="connsiteY0" fmla="*/ 241820 h 267425"/>
                <a:gd name="connsiteX1" fmla="*/ 46820 w 267425"/>
                <a:gd name="connsiteY1" fmla="*/ 199394 h 267425"/>
                <a:gd name="connsiteX2" fmla="*/ 68033 w 267425"/>
                <a:gd name="connsiteY2" fmla="*/ 199394 h 267425"/>
                <a:gd name="connsiteX3" fmla="*/ 68033 w 267425"/>
                <a:gd name="connsiteY3" fmla="*/ 220607 h 267425"/>
                <a:gd name="connsiteX4" fmla="*/ 25607 w 267425"/>
                <a:gd name="connsiteY4" fmla="*/ 263033 h 267425"/>
                <a:gd name="connsiteX5" fmla="*/ 4393 w 267425"/>
                <a:gd name="connsiteY5" fmla="*/ 263033 h 267425"/>
                <a:gd name="connsiteX6" fmla="*/ 4393 w 267425"/>
                <a:gd name="connsiteY6" fmla="*/ 241820 h 267425"/>
                <a:gd name="connsiteX7" fmla="*/ 199394 w 267425"/>
                <a:gd name="connsiteY7" fmla="*/ 46820 h 267425"/>
                <a:gd name="connsiteX8" fmla="*/ 241820 w 267425"/>
                <a:gd name="connsiteY8" fmla="*/ 4393 h 267425"/>
                <a:gd name="connsiteX9" fmla="*/ 263033 w 267425"/>
                <a:gd name="connsiteY9" fmla="*/ 4393 h 267425"/>
                <a:gd name="connsiteX10" fmla="*/ 263033 w 267425"/>
                <a:gd name="connsiteY10" fmla="*/ 25607 h 267425"/>
                <a:gd name="connsiteX11" fmla="*/ 220607 w 267425"/>
                <a:gd name="connsiteY11" fmla="*/ 68033 h 267425"/>
                <a:gd name="connsiteX12" fmla="*/ 199394 w 267425"/>
                <a:gd name="connsiteY12" fmla="*/ 68033 h 267425"/>
                <a:gd name="connsiteX13" fmla="*/ 199394 w 267425"/>
                <a:gd name="connsiteY13" fmla="*/ 46820 h 26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7425" h="267425">
                  <a:moveTo>
                    <a:pt x="4393" y="241820"/>
                  </a:moveTo>
                  <a:lnTo>
                    <a:pt x="46820" y="199394"/>
                  </a:lnTo>
                  <a:cubicBezTo>
                    <a:pt x="52678" y="193536"/>
                    <a:pt x="62175" y="193536"/>
                    <a:pt x="68033" y="199394"/>
                  </a:cubicBezTo>
                  <a:cubicBezTo>
                    <a:pt x="73891" y="205251"/>
                    <a:pt x="73891" y="214749"/>
                    <a:pt x="68033" y="220607"/>
                  </a:cubicBezTo>
                  <a:lnTo>
                    <a:pt x="25607" y="263033"/>
                  </a:lnTo>
                  <a:cubicBezTo>
                    <a:pt x="19749" y="268890"/>
                    <a:pt x="10251" y="268890"/>
                    <a:pt x="4393" y="263033"/>
                  </a:cubicBezTo>
                  <a:cubicBezTo>
                    <a:pt x="-1464" y="257175"/>
                    <a:pt x="-1464" y="247677"/>
                    <a:pt x="4393" y="241820"/>
                  </a:cubicBezTo>
                  <a:close/>
                  <a:moveTo>
                    <a:pt x="199394" y="46820"/>
                  </a:moveTo>
                  <a:lnTo>
                    <a:pt x="241820" y="4393"/>
                  </a:lnTo>
                  <a:cubicBezTo>
                    <a:pt x="247677" y="-1464"/>
                    <a:pt x="257175" y="-1464"/>
                    <a:pt x="263033" y="4393"/>
                  </a:cubicBezTo>
                  <a:cubicBezTo>
                    <a:pt x="268890" y="10251"/>
                    <a:pt x="268890" y="19749"/>
                    <a:pt x="263033" y="25607"/>
                  </a:cubicBezTo>
                  <a:lnTo>
                    <a:pt x="220607" y="68033"/>
                  </a:lnTo>
                  <a:cubicBezTo>
                    <a:pt x="214749" y="73891"/>
                    <a:pt x="205251" y="73891"/>
                    <a:pt x="199394" y="68033"/>
                  </a:cubicBezTo>
                  <a:cubicBezTo>
                    <a:pt x="193536" y="62175"/>
                    <a:pt x="193536" y="52678"/>
                    <a:pt x="199394" y="4682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1" name="Рисунок 206">
            <a:extLst>
              <a:ext uri="{FF2B5EF4-FFF2-40B4-BE49-F238E27FC236}">
                <a16:creationId xmlns:a16="http://schemas.microsoft.com/office/drawing/2014/main" id="{90B0D259-70C8-BB49-9BC1-BCD7834EECF8}"/>
              </a:ext>
            </a:extLst>
          </p:cNvPr>
          <p:cNvGrpSpPr/>
          <p:nvPr/>
        </p:nvGrpSpPr>
        <p:grpSpPr>
          <a:xfrm>
            <a:off x="8213201" y="1766973"/>
            <a:ext cx="360000" cy="360000"/>
            <a:chOff x="8246654" y="2085929"/>
            <a:chExt cx="360000" cy="360000"/>
          </a:xfrm>
        </p:grpSpPr>
        <p:sp>
          <p:nvSpPr>
            <p:cNvPr id="882" name="Полилиния 881">
              <a:extLst>
                <a:ext uri="{FF2B5EF4-FFF2-40B4-BE49-F238E27FC236}">
                  <a16:creationId xmlns:a16="http://schemas.microsoft.com/office/drawing/2014/main" id="{EED1EDAA-A285-D04B-9BC8-8A9434B26C9C}"/>
                </a:ext>
              </a:extLst>
            </p:cNvPr>
            <p:cNvSpPr/>
            <p:nvPr/>
          </p:nvSpPr>
          <p:spPr>
            <a:xfrm>
              <a:off x="8246654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3" name="Полилиния 882">
              <a:extLst>
                <a:ext uri="{FF2B5EF4-FFF2-40B4-BE49-F238E27FC236}">
                  <a16:creationId xmlns:a16="http://schemas.microsoft.com/office/drawing/2014/main" id="{542246BC-BCA7-864F-9E2E-31C649951186}"/>
                </a:ext>
              </a:extLst>
            </p:cNvPr>
            <p:cNvSpPr/>
            <p:nvPr/>
          </p:nvSpPr>
          <p:spPr>
            <a:xfrm>
              <a:off x="8305825" y="2220928"/>
              <a:ext cx="255828" cy="173041"/>
            </a:xfrm>
            <a:custGeom>
              <a:avLst/>
              <a:gdLst>
                <a:gd name="connsiteX0" fmla="*/ 56433 w 255828"/>
                <a:gd name="connsiteY0" fmla="*/ 39698 h 173041"/>
                <a:gd name="connsiteX1" fmla="*/ 3178 w 255828"/>
                <a:gd name="connsiteY1" fmla="*/ 11295 h 173041"/>
                <a:gd name="connsiteX2" fmla="*/ 707 w 255828"/>
                <a:gd name="connsiteY2" fmla="*/ 3177 h 173041"/>
                <a:gd name="connsiteX3" fmla="*/ 7892 w 255828"/>
                <a:gd name="connsiteY3" fmla="*/ 306 h 173041"/>
                <a:gd name="connsiteX4" fmla="*/ 84409 w 255828"/>
                <a:gd name="connsiteY4" fmla="*/ 25710 h 173041"/>
                <a:gd name="connsiteX5" fmla="*/ 56433 w 255828"/>
                <a:gd name="connsiteY5" fmla="*/ 39698 h 173041"/>
                <a:gd name="connsiteX6" fmla="*/ 131813 w 255828"/>
                <a:gd name="connsiteY6" fmla="*/ 79901 h 173041"/>
                <a:gd name="connsiteX7" fmla="*/ 186359 w 255828"/>
                <a:gd name="connsiteY7" fmla="*/ 59556 h 173041"/>
                <a:gd name="connsiteX8" fmla="*/ 220304 w 255828"/>
                <a:gd name="connsiteY8" fmla="*/ 70826 h 173041"/>
                <a:gd name="connsiteX9" fmla="*/ 220279 w 255828"/>
                <a:gd name="connsiteY9" fmla="*/ 70839 h 173041"/>
                <a:gd name="connsiteX10" fmla="*/ 255829 w 255828"/>
                <a:gd name="connsiteY10" fmla="*/ 120542 h 173041"/>
                <a:gd name="connsiteX11" fmla="*/ 203329 w 255828"/>
                <a:gd name="connsiteY11" fmla="*/ 173042 h 173041"/>
                <a:gd name="connsiteX12" fmla="*/ 150829 w 255828"/>
                <a:gd name="connsiteY12" fmla="*/ 120542 h 173041"/>
                <a:gd name="connsiteX13" fmla="*/ 158077 w 255828"/>
                <a:gd name="connsiteY13" fmla="*/ 93908 h 173041"/>
                <a:gd name="connsiteX14" fmla="*/ 131813 w 255828"/>
                <a:gd name="connsiteY14" fmla="*/ 79901 h 173041"/>
                <a:gd name="connsiteX15" fmla="*/ 203329 w 255828"/>
                <a:gd name="connsiteY15" fmla="*/ 98042 h 173041"/>
                <a:gd name="connsiteX16" fmla="*/ 180829 w 255828"/>
                <a:gd name="connsiteY16" fmla="*/ 120542 h 173041"/>
                <a:gd name="connsiteX17" fmla="*/ 203329 w 255828"/>
                <a:gd name="connsiteY17" fmla="*/ 143042 h 173041"/>
                <a:gd name="connsiteX18" fmla="*/ 225829 w 255828"/>
                <a:gd name="connsiteY18" fmla="*/ 120542 h 173041"/>
                <a:gd name="connsiteX19" fmla="*/ 203329 w 255828"/>
                <a:gd name="connsiteY19" fmla="*/ 98042 h 17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5828" h="173041">
                  <a:moveTo>
                    <a:pt x="56433" y="39698"/>
                  </a:moveTo>
                  <a:lnTo>
                    <a:pt x="3178" y="11295"/>
                  </a:lnTo>
                  <a:cubicBezTo>
                    <a:pt x="254" y="9736"/>
                    <a:pt x="-852" y="6101"/>
                    <a:pt x="707" y="3177"/>
                  </a:cubicBezTo>
                  <a:cubicBezTo>
                    <a:pt x="2083" y="598"/>
                    <a:pt x="5117" y="-615"/>
                    <a:pt x="7892" y="306"/>
                  </a:cubicBezTo>
                  <a:lnTo>
                    <a:pt x="84409" y="25710"/>
                  </a:lnTo>
                  <a:lnTo>
                    <a:pt x="56433" y="39698"/>
                  </a:lnTo>
                  <a:close/>
                  <a:moveTo>
                    <a:pt x="131813" y="79901"/>
                  </a:moveTo>
                  <a:lnTo>
                    <a:pt x="186359" y="59556"/>
                  </a:lnTo>
                  <a:lnTo>
                    <a:pt x="220304" y="70826"/>
                  </a:lnTo>
                  <a:lnTo>
                    <a:pt x="220279" y="70839"/>
                  </a:lnTo>
                  <a:cubicBezTo>
                    <a:pt x="240956" y="77888"/>
                    <a:pt x="255829" y="97478"/>
                    <a:pt x="255829" y="120542"/>
                  </a:cubicBezTo>
                  <a:cubicBezTo>
                    <a:pt x="255829" y="149537"/>
                    <a:pt x="232324" y="173042"/>
                    <a:pt x="203329" y="173042"/>
                  </a:cubicBezTo>
                  <a:cubicBezTo>
                    <a:pt x="174334" y="173042"/>
                    <a:pt x="150829" y="149537"/>
                    <a:pt x="150829" y="120542"/>
                  </a:cubicBezTo>
                  <a:cubicBezTo>
                    <a:pt x="150829" y="110820"/>
                    <a:pt x="153472" y="101717"/>
                    <a:pt x="158077" y="93908"/>
                  </a:cubicBezTo>
                  <a:lnTo>
                    <a:pt x="131813" y="79901"/>
                  </a:lnTo>
                  <a:close/>
                  <a:moveTo>
                    <a:pt x="203329" y="98042"/>
                  </a:moveTo>
                  <a:cubicBezTo>
                    <a:pt x="190903" y="98042"/>
                    <a:pt x="180829" y="108116"/>
                    <a:pt x="180829" y="120542"/>
                  </a:cubicBezTo>
                  <a:cubicBezTo>
                    <a:pt x="180829" y="132969"/>
                    <a:pt x="190903" y="143042"/>
                    <a:pt x="203329" y="143042"/>
                  </a:cubicBezTo>
                  <a:cubicBezTo>
                    <a:pt x="215755" y="143042"/>
                    <a:pt x="225829" y="132969"/>
                    <a:pt x="225829" y="120542"/>
                  </a:cubicBezTo>
                  <a:cubicBezTo>
                    <a:pt x="225829" y="108116"/>
                    <a:pt x="215755" y="98042"/>
                    <a:pt x="203329" y="98042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4" name="Полилиния 883">
              <a:extLst>
                <a:ext uri="{FF2B5EF4-FFF2-40B4-BE49-F238E27FC236}">
                  <a16:creationId xmlns:a16="http://schemas.microsoft.com/office/drawing/2014/main" id="{FD24F72A-E193-0D40-96B9-392543D9B6B2}"/>
                </a:ext>
              </a:extLst>
            </p:cNvPr>
            <p:cNvSpPr/>
            <p:nvPr/>
          </p:nvSpPr>
          <p:spPr>
            <a:xfrm>
              <a:off x="8305825" y="2145929"/>
              <a:ext cx="255828" cy="173041"/>
            </a:xfrm>
            <a:custGeom>
              <a:avLst/>
              <a:gdLst>
                <a:gd name="connsiteX0" fmla="*/ 203329 w 255828"/>
                <a:gd name="connsiteY0" fmla="*/ 75000 h 173041"/>
                <a:gd name="connsiteX1" fmla="*/ 225829 w 255828"/>
                <a:gd name="connsiteY1" fmla="*/ 52500 h 173041"/>
                <a:gd name="connsiteX2" fmla="*/ 203329 w 255828"/>
                <a:gd name="connsiteY2" fmla="*/ 30000 h 173041"/>
                <a:gd name="connsiteX3" fmla="*/ 180829 w 255828"/>
                <a:gd name="connsiteY3" fmla="*/ 52500 h 173041"/>
                <a:gd name="connsiteX4" fmla="*/ 203329 w 255828"/>
                <a:gd name="connsiteY4" fmla="*/ 75000 h 173041"/>
                <a:gd name="connsiteX5" fmla="*/ 158077 w 255828"/>
                <a:gd name="connsiteY5" fmla="*/ 79134 h 173041"/>
                <a:gd name="connsiteX6" fmla="*/ 150829 w 255828"/>
                <a:gd name="connsiteY6" fmla="*/ 52500 h 173041"/>
                <a:gd name="connsiteX7" fmla="*/ 203329 w 255828"/>
                <a:gd name="connsiteY7" fmla="*/ 0 h 173041"/>
                <a:gd name="connsiteX8" fmla="*/ 255829 w 255828"/>
                <a:gd name="connsiteY8" fmla="*/ 52500 h 173041"/>
                <a:gd name="connsiteX9" fmla="*/ 220279 w 255828"/>
                <a:gd name="connsiteY9" fmla="*/ 102204 h 173041"/>
                <a:gd name="connsiteX10" fmla="*/ 220304 w 255828"/>
                <a:gd name="connsiteY10" fmla="*/ 102218 h 173041"/>
                <a:gd name="connsiteX11" fmla="*/ 7892 w 255828"/>
                <a:gd name="connsiteY11" fmla="*/ 172736 h 173041"/>
                <a:gd name="connsiteX12" fmla="*/ 707 w 255828"/>
                <a:gd name="connsiteY12" fmla="*/ 169865 h 173041"/>
                <a:gd name="connsiteX13" fmla="*/ 3178 w 255828"/>
                <a:gd name="connsiteY13" fmla="*/ 161747 h 173041"/>
                <a:gd name="connsiteX14" fmla="*/ 158077 w 255828"/>
                <a:gd name="connsiteY14" fmla="*/ 79134 h 17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5828" h="173041">
                  <a:moveTo>
                    <a:pt x="203329" y="75000"/>
                  </a:moveTo>
                  <a:cubicBezTo>
                    <a:pt x="215755" y="75000"/>
                    <a:pt x="225829" y="64926"/>
                    <a:pt x="225829" y="52500"/>
                  </a:cubicBezTo>
                  <a:cubicBezTo>
                    <a:pt x="225829" y="40074"/>
                    <a:pt x="215755" y="30000"/>
                    <a:pt x="203329" y="30000"/>
                  </a:cubicBezTo>
                  <a:cubicBezTo>
                    <a:pt x="190903" y="30000"/>
                    <a:pt x="180829" y="40074"/>
                    <a:pt x="180829" y="52500"/>
                  </a:cubicBezTo>
                  <a:cubicBezTo>
                    <a:pt x="180829" y="64926"/>
                    <a:pt x="190903" y="75000"/>
                    <a:pt x="203329" y="75000"/>
                  </a:cubicBezTo>
                  <a:close/>
                  <a:moveTo>
                    <a:pt x="158077" y="79134"/>
                  </a:moveTo>
                  <a:cubicBezTo>
                    <a:pt x="153472" y="71326"/>
                    <a:pt x="150829" y="62222"/>
                    <a:pt x="150829" y="52500"/>
                  </a:cubicBezTo>
                  <a:cubicBezTo>
                    <a:pt x="150829" y="23505"/>
                    <a:pt x="174334" y="0"/>
                    <a:pt x="203329" y="0"/>
                  </a:cubicBezTo>
                  <a:cubicBezTo>
                    <a:pt x="232324" y="0"/>
                    <a:pt x="255829" y="23505"/>
                    <a:pt x="255829" y="52500"/>
                  </a:cubicBezTo>
                  <a:cubicBezTo>
                    <a:pt x="255829" y="75564"/>
                    <a:pt x="240956" y="95154"/>
                    <a:pt x="220279" y="102204"/>
                  </a:cubicBezTo>
                  <a:lnTo>
                    <a:pt x="220304" y="102218"/>
                  </a:lnTo>
                  <a:lnTo>
                    <a:pt x="7892" y="172736"/>
                  </a:lnTo>
                  <a:cubicBezTo>
                    <a:pt x="5117" y="173657"/>
                    <a:pt x="2083" y="172445"/>
                    <a:pt x="707" y="169865"/>
                  </a:cubicBezTo>
                  <a:cubicBezTo>
                    <a:pt x="-852" y="166941"/>
                    <a:pt x="254" y="163307"/>
                    <a:pt x="3178" y="161747"/>
                  </a:cubicBezTo>
                  <a:lnTo>
                    <a:pt x="158077" y="7913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5" name="Рисунок 207">
            <a:extLst>
              <a:ext uri="{FF2B5EF4-FFF2-40B4-BE49-F238E27FC236}">
                <a16:creationId xmlns:a16="http://schemas.microsoft.com/office/drawing/2014/main" id="{BBF5623D-8224-7043-916B-53E9B7881BC8}"/>
              </a:ext>
            </a:extLst>
          </p:cNvPr>
          <p:cNvGrpSpPr/>
          <p:nvPr/>
        </p:nvGrpSpPr>
        <p:grpSpPr>
          <a:xfrm>
            <a:off x="3682403" y="1766973"/>
            <a:ext cx="360000" cy="360000"/>
            <a:chOff x="3715856" y="2085929"/>
            <a:chExt cx="360000" cy="360000"/>
          </a:xfrm>
        </p:grpSpPr>
        <p:sp>
          <p:nvSpPr>
            <p:cNvPr id="886" name="Полилиния 885">
              <a:extLst>
                <a:ext uri="{FF2B5EF4-FFF2-40B4-BE49-F238E27FC236}">
                  <a16:creationId xmlns:a16="http://schemas.microsoft.com/office/drawing/2014/main" id="{AB81C3BE-AAAF-7F4D-987B-532B394E3709}"/>
                </a:ext>
              </a:extLst>
            </p:cNvPr>
            <p:cNvSpPr/>
            <p:nvPr/>
          </p:nvSpPr>
          <p:spPr>
            <a:xfrm>
              <a:off x="3715856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7" name="Полилиния 886">
              <a:extLst>
                <a:ext uri="{FF2B5EF4-FFF2-40B4-BE49-F238E27FC236}">
                  <a16:creationId xmlns:a16="http://schemas.microsoft.com/office/drawing/2014/main" id="{D07F1DDE-B911-BD45-B9A3-DD12FC2DC2FD}"/>
                </a:ext>
              </a:extLst>
            </p:cNvPr>
            <p:cNvSpPr/>
            <p:nvPr/>
          </p:nvSpPr>
          <p:spPr>
            <a:xfrm>
              <a:off x="3749183" y="2216002"/>
              <a:ext cx="196598" cy="196598"/>
            </a:xfrm>
            <a:custGeom>
              <a:avLst/>
              <a:gdLst>
                <a:gd name="connsiteX0" fmla="*/ 93640 w 196598"/>
                <a:gd name="connsiteY0" fmla="*/ 39320 h 196598"/>
                <a:gd name="connsiteX1" fmla="*/ 77730 w 196598"/>
                <a:gd name="connsiteY1" fmla="*/ 23409 h 196598"/>
                <a:gd name="connsiteX2" fmla="*/ 77730 w 196598"/>
                <a:gd name="connsiteY2" fmla="*/ 12803 h 196598"/>
                <a:gd name="connsiteX3" fmla="*/ 88336 w 196598"/>
                <a:gd name="connsiteY3" fmla="*/ 2197 h 196598"/>
                <a:gd name="connsiteX4" fmla="*/ 98943 w 196598"/>
                <a:gd name="connsiteY4" fmla="*/ 2197 h 196598"/>
                <a:gd name="connsiteX5" fmla="*/ 194403 w 196598"/>
                <a:gd name="connsiteY5" fmla="*/ 97656 h 196598"/>
                <a:gd name="connsiteX6" fmla="*/ 194403 w 196598"/>
                <a:gd name="connsiteY6" fmla="*/ 108263 h 196598"/>
                <a:gd name="connsiteX7" fmla="*/ 183796 w 196598"/>
                <a:gd name="connsiteY7" fmla="*/ 118869 h 196598"/>
                <a:gd name="connsiteX8" fmla="*/ 173190 w 196598"/>
                <a:gd name="connsiteY8" fmla="*/ 118869 h 196598"/>
                <a:gd name="connsiteX9" fmla="*/ 157279 w 196598"/>
                <a:gd name="connsiteY9" fmla="*/ 102959 h 196598"/>
                <a:gd name="connsiteX10" fmla="*/ 72426 w 196598"/>
                <a:gd name="connsiteY10" fmla="*/ 187812 h 196598"/>
                <a:gd name="connsiteX11" fmla="*/ 30000 w 196598"/>
                <a:gd name="connsiteY11" fmla="*/ 187812 h 196598"/>
                <a:gd name="connsiteX12" fmla="*/ 8787 w 196598"/>
                <a:gd name="connsiteY12" fmla="*/ 166599 h 196598"/>
                <a:gd name="connsiteX13" fmla="*/ 8787 w 196598"/>
                <a:gd name="connsiteY13" fmla="*/ 124172 h 196598"/>
                <a:gd name="connsiteX14" fmla="*/ 93640 w 196598"/>
                <a:gd name="connsiteY14" fmla="*/ 39320 h 196598"/>
                <a:gd name="connsiteX15" fmla="*/ 35303 w 196598"/>
                <a:gd name="connsiteY15" fmla="*/ 140082 h 196598"/>
                <a:gd name="connsiteX16" fmla="*/ 35303 w 196598"/>
                <a:gd name="connsiteY16" fmla="*/ 150689 h 196598"/>
                <a:gd name="connsiteX17" fmla="*/ 45910 w 196598"/>
                <a:gd name="connsiteY17" fmla="*/ 150689 h 196598"/>
                <a:gd name="connsiteX18" fmla="*/ 109550 w 196598"/>
                <a:gd name="connsiteY18" fmla="*/ 87050 h 196598"/>
                <a:gd name="connsiteX19" fmla="*/ 109550 w 196598"/>
                <a:gd name="connsiteY19" fmla="*/ 76443 h 196598"/>
                <a:gd name="connsiteX20" fmla="*/ 98943 w 196598"/>
                <a:gd name="connsiteY20" fmla="*/ 76443 h 196598"/>
                <a:gd name="connsiteX21" fmla="*/ 35303 w 196598"/>
                <a:gd name="connsiteY21" fmla="*/ 140082 h 196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6598" h="196598">
                  <a:moveTo>
                    <a:pt x="93640" y="39320"/>
                  </a:moveTo>
                  <a:lnTo>
                    <a:pt x="77730" y="23409"/>
                  </a:lnTo>
                  <a:cubicBezTo>
                    <a:pt x="74801" y="20481"/>
                    <a:pt x="74801" y="15732"/>
                    <a:pt x="77730" y="12803"/>
                  </a:cubicBezTo>
                  <a:lnTo>
                    <a:pt x="88336" y="2197"/>
                  </a:lnTo>
                  <a:cubicBezTo>
                    <a:pt x="91265" y="-732"/>
                    <a:pt x="96014" y="-732"/>
                    <a:pt x="98943" y="2197"/>
                  </a:cubicBezTo>
                  <a:lnTo>
                    <a:pt x="194403" y="97656"/>
                  </a:lnTo>
                  <a:cubicBezTo>
                    <a:pt x="197331" y="100584"/>
                    <a:pt x="197331" y="105333"/>
                    <a:pt x="194403" y="108263"/>
                  </a:cubicBezTo>
                  <a:lnTo>
                    <a:pt x="183796" y="118869"/>
                  </a:lnTo>
                  <a:cubicBezTo>
                    <a:pt x="180867" y="121799"/>
                    <a:pt x="176118" y="121799"/>
                    <a:pt x="173190" y="118869"/>
                  </a:cubicBezTo>
                  <a:lnTo>
                    <a:pt x="157279" y="102959"/>
                  </a:lnTo>
                  <a:lnTo>
                    <a:pt x="72426" y="187812"/>
                  </a:lnTo>
                  <a:cubicBezTo>
                    <a:pt x="60711" y="199527"/>
                    <a:pt x="41716" y="199527"/>
                    <a:pt x="30000" y="187812"/>
                  </a:cubicBezTo>
                  <a:lnTo>
                    <a:pt x="8787" y="166599"/>
                  </a:lnTo>
                  <a:cubicBezTo>
                    <a:pt x="-2929" y="154883"/>
                    <a:pt x="-2929" y="135888"/>
                    <a:pt x="8787" y="124172"/>
                  </a:cubicBezTo>
                  <a:lnTo>
                    <a:pt x="93640" y="39320"/>
                  </a:lnTo>
                  <a:close/>
                  <a:moveTo>
                    <a:pt x="35303" y="140082"/>
                  </a:moveTo>
                  <a:cubicBezTo>
                    <a:pt x="32374" y="143012"/>
                    <a:pt x="32374" y="147761"/>
                    <a:pt x="35303" y="150689"/>
                  </a:cubicBezTo>
                  <a:cubicBezTo>
                    <a:pt x="38232" y="153618"/>
                    <a:pt x="42981" y="153618"/>
                    <a:pt x="45910" y="150689"/>
                  </a:cubicBezTo>
                  <a:lnTo>
                    <a:pt x="109550" y="87050"/>
                  </a:lnTo>
                  <a:cubicBezTo>
                    <a:pt x="112479" y="84120"/>
                    <a:pt x="112479" y="79371"/>
                    <a:pt x="109550" y="76443"/>
                  </a:cubicBezTo>
                  <a:cubicBezTo>
                    <a:pt x="106621" y="73514"/>
                    <a:pt x="101872" y="73514"/>
                    <a:pt x="98943" y="76443"/>
                  </a:cubicBezTo>
                  <a:lnTo>
                    <a:pt x="35303" y="140082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8" name="Полилиния 887">
              <a:extLst>
                <a:ext uri="{FF2B5EF4-FFF2-40B4-BE49-F238E27FC236}">
                  <a16:creationId xmlns:a16="http://schemas.microsoft.com/office/drawing/2014/main" id="{231DABA0-CF28-984B-9693-5D7C3A842DAA}"/>
                </a:ext>
              </a:extLst>
            </p:cNvPr>
            <p:cNvSpPr/>
            <p:nvPr/>
          </p:nvSpPr>
          <p:spPr>
            <a:xfrm>
              <a:off x="3885249" y="2139949"/>
              <a:ext cx="136585" cy="136585"/>
            </a:xfrm>
            <a:custGeom>
              <a:avLst/>
              <a:gdLst>
                <a:gd name="connsiteX0" fmla="*/ 84852 w 136585"/>
                <a:gd name="connsiteY0" fmla="*/ 30520 h 136585"/>
                <a:gd name="connsiteX1" fmla="*/ 82288 w 136585"/>
                <a:gd name="connsiteY1" fmla="*/ 27956 h 136585"/>
                <a:gd name="connsiteX2" fmla="*/ 82288 w 136585"/>
                <a:gd name="connsiteY2" fmla="*/ 17349 h 136585"/>
                <a:gd name="connsiteX3" fmla="*/ 84807 w 136585"/>
                <a:gd name="connsiteY3" fmla="*/ 15689 h 136585"/>
                <a:gd name="connsiteX4" fmla="*/ 122688 w 136585"/>
                <a:gd name="connsiteY4" fmla="*/ 537 h 136585"/>
                <a:gd name="connsiteX5" fmla="*/ 130776 w 136585"/>
                <a:gd name="connsiteY5" fmla="*/ 2197 h 136585"/>
                <a:gd name="connsiteX6" fmla="*/ 134388 w 136585"/>
                <a:gd name="connsiteY6" fmla="*/ 5809 h 136585"/>
                <a:gd name="connsiteX7" fmla="*/ 136049 w 136585"/>
                <a:gd name="connsiteY7" fmla="*/ 13898 h 136585"/>
                <a:gd name="connsiteX8" fmla="*/ 120897 w 136585"/>
                <a:gd name="connsiteY8" fmla="*/ 51779 h 136585"/>
                <a:gd name="connsiteX9" fmla="*/ 111147 w 136585"/>
                <a:gd name="connsiteY9" fmla="*/ 55957 h 136585"/>
                <a:gd name="connsiteX10" fmla="*/ 108630 w 136585"/>
                <a:gd name="connsiteY10" fmla="*/ 54297 h 136585"/>
                <a:gd name="connsiteX11" fmla="*/ 106067 w 136585"/>
                <a:gd name="connsiteY11" fmla="*/ 51733 h 136585"/>
                <a:gd name="connsiteX12" fmla="*/ 21213 w 136585"/>
                <a:gd name="connsiteY12" fmla="*/ 136586 h 136585"/>
                <a:gd name="connsiteX13" fmla="*/ 0 w 136585"/>
                <a:gd name="connsiteY13" fmla="*/ 115373 h 136585"/>
                <a:gd name="connsiteX14" fmla="*/ 84852 w 136585"/>
                <a:gd name="connsiteY14" fmla="*/ 30520 h 136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6585" h="136585">
                  <a:moveTo>
                    <a:pt x="84852" y="30520"/>
                  </a:moveTo>
                  <a:lnTo>
                    <a:pt x="82288" y="27956"/>
                  </a:lnTo>
                  <a:cubicBezTo>
                    <a:pt x="79360" y="25027"/>
                    <a:pt x="79360" y="20278"/>
                    <a:pt x="82288" y="17349"/>
                  </a:cubicBezTo>
                  <a:cubicBezTo>
                    <a:pt x="83007" y="16631"/>
                    <a:pt x="83864" y="16066"/>
                    <a:pt x="84807" y="15689"/>
                  </a:cubicBezTo>
                  <a:lnTo>
                    <a:pt x="122688" y="537"/>
                  </a:lnTo>
                  <a:cubicBezTo>
                    <a:pt x="125474" y="-578"/>
                    <a:pt x="128655" y="75"/>
                    <a:pt x="130776" y="2197"/>
                  </a:cubicBezTo>
                  <a:lnTo>
                    <a:pt x="134388" y="5809"/>
                  </a:lnTo>
                  <a:cubicBezTo>
                    <a:pt x="136511" y="7931"/>
                    <a:pt x="137163" y="11113"/>
                    <a:pt x="136049" y="13898"/>
                  </a:cubicBezTo>
                  <a:lnTo>
                    <a:pt x="120897" y="51779"/>
                  </a:lnTo>
                  <a:cubicBezTo>
                    <a:pt x="119358" y="55625"/>
                    <a:pt x="114993" y="57495"/>
                    <a:pt x="111147" y="55957"/>
                  </a:cubicBezTo>
                  <a:cubicBezTo>
                    <a:pt x="110205" y="55580"/>
                    <a:pt x="109349" y="55015"/>
                    <a:pt x="108630" y="54297"/>
                  </a:cubicBezTo>
                  <a:lnTo>
                    <a:pt x="106067" y="51733"/>
                  </a:lnTo>
                  <a:lnTo>
                    <a:pt x="21213" y="136586"/>
                  </a:lnTo>
                  <a:lnTo>
                    <a:pt x="0" y="115373"/>
                  </a:lnTo>
                  <a:lnTo>
                    <a:pt x="84852" y="3052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89" name="Рисунок 208">
            <a:extLst>
              <a:ext uri="{FF2B5EF4-FFF2-40B4-BE49-F238E27FC236}">
                <a16:creationId xmlns:a16="http://schemas.microsoft.com/office/drawing/2014/main" id="{016B6463-7FAF-C448-9AE9-1F1C3FC70E36}"/>
              </a:ext>
            </a:extLst>
          </p:cNvPr>
          <p:cNvGrpSpPr/>
          <p:nvPr/>
        </p:nvGrpSpPr>
        <p:grpSpPr>
          <a:xfrm>
            <a:off x="2172137" y="1766973"/>
            <a:ext cx="360000" cy="360000"/>
            <a:chOff x="2205590" y="2085929"/>
            <a:chExt cx="360000" cy="360000"/>
          </a:xfrm>
        </p:grpSpPr>
        <p:sp>
          <p:nvSpPr>
            <p:cNvPr id="890" name="Полилиния 889">
              <a:extLst>
                <a:ext uri="{FF2B5EF4-FFF2-40B4-BE49-F238E27FC236}">
                  <a16:creationId xmlns:a16="http://schemas.microsoft.com/office/drawing/2014/main" id="{DC8CC13E-52D7-DB48-A14D-F0A9A083061E}"/>
                </a:ext>
              </a:extLst>
            </p:cNvPr>
            <p:cNvSpPr/>
            <p:nvPr/>
          </p:nvSpPr>
          <p:spPr>
            <a:xfrm>
              <a:off x="2205590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1" name="Полилиния 890">
              <a:extLst>
                <a:ext uri="{FF2B5EF4-FFF2-40B4-BE49-F238E27FC236}">
                  <a16:creationId xmlns:a16="http://schemas.microsoft.com/office/drawing/2014/main" id="{FC7D671A-99C3-4443-B564-80AEC69B6A84}"/>
                </a:ext>
              </a:extLst>
            </p:cNvPr>
            <p:cNvSpPr/>
            <p:nvPr/>
          </p:nvSpPr>
          <p:spPr>
            <a:xfrm>
              <a:off x="2280590" y="2145929"/>
              <a:ext cx="210000" cy="240000"/>
            </a:xfrm>
            <a:custGeom>
              <a:avLst/>
              <a:gdLst>
                <a:gd name="connsiteX0" fmla="*/ 0 w 210000"/>
                <a:gd name="connsiteY0" fmla="*/ 15000 h 240000"/>
                <a:gd name="connsiteX1" fmla="*/ 15000 w 210000"/>
                <a:gd name="connsiteY1" fmla="*/ 0 h 240000"/>
                <a:gd name="connsiteX2" fmla="*/ 161250 w 210000"/>
                <a:gd name="connsiteY2" fmla="*/ 0 h 240000"/>
                <a:gd name="connsiteX3" fmla="*/ 167250 w 210000"/>
                <a:gd name="connsiteY3" fmla="*/ 3000 h 240000"/>
                <a:gd name="connsiteX4" fmla="*/ 208500 w 210000"/>
                <a:gd name="connsiteY4" fmla="*/ 58000 h 240000"/>
                <a:gd name="connsiteX5" fmla="*/ 210000 w 210000"/>
                <a:gd name="connsiteY5" fmla="*/ 62500 h 240000"/>
                <a:gd name="connsiteX6" fmla="*/ 210000 w 210000"/>
                <a:gd name="connsiteY6" fmla="*/ 225000 h 240000"/>
                <a:gd name="connsiteX7" fmla="*/ 195000 w 210000"/>
                <a:gd name="connsiteY7" fmla="*/ 240000 h 240000"/>
                <a:gd name="connsiteX8" fmla="*/ 15000 w 210000"/>
                <a:gd name="connsiteY8" fmla="*/ 240000 h 240000"/>
                <a:gd name="connsiteX9" fmla="*/ 0 w 210000"/>
                <a:gd name="connsiteY9" fmla="*/ 225000 h 240000"/>
                <a:gd name="connsiteX10" fmla="*/ 0 w 210000"/>
                <a:gd name="connsiteY10" fmla="*/ 15000 h 240000"/>
                <a:gd name="connsiteX11" fmla="*/ 30000 w 210000"/>
                <a:gd name="connsiteY11" fmla="*/ 30000 h 240000"/>
                <a:gd name="connsiteX12" fmla="*/ 30000 w 210000"/>
                <a:gd name="connsiteY12" fmla="*/ 75000 h 240000"/>
                <a:gd name="connsiteX13" fmla="*/ 60000 w 210000"/>
                <a:gd name="connsiteY13" fmla="*/ 75000 h 240000"/>
                <a:gd name="connsiteX14" fmla="*/ 60000 w 210000"/>
                <a:gd name="connsiteY14" fmla="*/ 30000 h 240000"/>
                <a:gd name="connsiteX15" fmla="*/ 30000 w 210000"/>
                <a:gd name="connsiteY15" fmla="*/ 30000 h 240000"/>
                <a:gd name="connsiteX16" fmla="*/ 75000 w 210000"/>
                <a:gd name="connsiteY16" fmla="*/ 30000 h 240000"/>
                <a:gd name="connsiteX17" fmla="*/ 75000 w 210000"/>
                <a:gd name="connsiteY17" fmla="*/ 75000 h 240000"/>
                <a:gd name="connsiteX18" fmla="*/ 105000 w 210000"/>
                <a:gd name="connsiteY18" fmla="*/ 75000 h 240000"/>
                <a:gd name="connsiteX19" fmla="*/ 105000 w 210000"/>
                <a:gd name="connsiteY19" fmla="*/ 30000 h 240000"/>
                <a:gd name="connsiteX20" fmla="*/ 75000 w 210000"/>
                <a:gd name="connsiteY20" fmla="*/ 30000 h 240000"/>
                <a:gd name="connsiteX21" fmla="*/ 120000 w 210000"/>
                <a:gd name="connsiteY21" fmla="*/ 30000 h 240000"/>
                <a:gd name="connsiteX22" fmla="*/ 120000 w 210000"/>
                <a:gd name="connsiteY22" fmla="*/ 75000 h 240000"/>
                <a:gd name="connsiteX23" fmla="*/ 150000 w 210000"/>
                <a:gd name="connsiteY23" fmla="*/ 75000 h 240000"/>
                <a:gd name="connsiteX24" fmla="*/ 150000 w 210000"/>
                <a:gd name="connsiteY24" fmla="*/ 30000 h 240000"/>
                <a:gd name="connsiteX25" fmla="*/ 120000 w 210000"/>
                <a:gd name="connsiteY25" fmla="*/ 3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0000" h="240000">
                  <a:moveTo>
                    <a:pt x="0" y="15000"/>
                  </a:moveTo>
                  <a:cubicBezTo>
                    <a:pt x="0" y="6716"/>
                    <a:pt x="6716" y="0"/>
                    <a:pt x="15000" y="0"/>
                  </a:cubicBezTo>
                  <a:lnTo>
                    <a:pt x="161250" y="0"/>
                  </a:lnTo>
                  <a:cubicBezTo>
                    <a:pt x="163611" y="0"/>
                    <a:pt x="165834" y="1112"/>
                    <a:pt x="167250" y="3000"/>
                  </a:cubicBezTo>
                  <a:lnTo>
                    <a:pt x="208500" y="58000"/>
                  </a:lnTo>
                  <a:cubicBezTo>
                    <a:pt x="209473" y="59298"/>
                    <a:pt x="210000" y="60877"/>
                    <a:pt x="210000" y="62500"/>
                  </a:cubicBezTo>
                  <a:lnTo>
                    <a:pt x="210000" y="225000"/>
                  </a:lnTo>
                  <a:cubicBezTo>
                    <a:pt x="210000" y="233285"/>
                    <a:pt x="203285" y="240000"/>
                    <a:pt x="195000" y="240000"/>
                  </a:cubicBezTo>
                  <a:lnTo>
                    <a:pt x="15000" y="240000"/>
                  </a:lnTo>
                  <a:cubicBezTo>
                    <a:pt x="6716" y="240000"/>
                    <a:pt x="0" y="233285"/>
                    <a:pt x="0" y="225000"/>
                  </a:cubicBezTo>
                  <a:lnTo>
                    <a:pt x="0" y="15000"/>
                  </a:lnTo>
                  <a:close/>
                  <a:moveTo>
                    <a:pt x="30000" y="30000"/>
                  </a:moveTo>
                  <a:lnTo>
                    <a:pt x="30000" y="75000"/>
                  </a:lnTo>
                  <a:lnTo>
                    <a:pt x="60000" y="75000"/>
                  </a:lnTo>
                  <a:lnTo>
                    <a:pt x="60000" y="30000"/>
                  </a:lnTo>
                  <a:lnTo>
                    <a:pt x="30000" y="30000"/>
                  </a:lnTo>
                  <a:close/>
                  <a:moveTo>
                    <a:pt x="75000" y="30000"/>
                  </a:moveTo>
                  <a:lnTo>
                    <a:pt x="75000" y="75000"/>
                  </a:lnTo>
                  <a:lnTo>
                    <a:pt x="105000" y="75000"/>
                  </a:lnTo>
                  <a:lnTo>
                    <a:pt x="105000" y="30000"/>
                  </a:lnTo>
                  <a:lnTo>
                    <a:pt x="75000" y="30000"/>
                  </a:lnTo>
                  <a:close/>
                  <a:moveTo>
                    <a:pt x="120000" y="30000"/>
                  </a:moveTo>
                  <a:lnTo>
                    <a:pt x="120000" y="75000"/>
                  </a:lnTo>
                  <a:lnTo>
                    <a:pt x="150000" y="75000"/>
                  </a:lnTo>
                  <a:lnTo>
                    <a:pt x="150000" y="30000"/>
                  </a:lnTo>
                  <a:lnTo>
                    <a:pt x="120000" y="3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92" name="Рисунок 209">
            <a:extLst>
              <a:ext uri="{FF2B5EF4-FFF2-40B4-BE49-F238E27FC236}">
                <a16:creationId xmlns:a16="http://schemas.microsoft.com/office/drawing/2014/main" id="{31827EC3-4F6D-174A-ABE2-BEDB0A2FC208}"/>
              </a:ext>
            </a:extLst>
          </p:cNvPr>
          <p:cNvGrpSpPr/>
          <p:nvPr/>
        </p:nvGrpSpPr>
        <p:grpSpPr>
          <a:xfrm>
            <a:off x="2927270" y="1766973"/>
            <a:ext cx="360000" cy="360000"/>
            <a:chOff x="2960723" y="2085929"/>
            <a:chExt cx="360000" cy="360000"/>
          </a:xfrm>
        </p:grpSpPr>
        <p:sp>
          <p:nvSpPr>
            <p:cNvPr id="893" name="Полилиния 892">
              <a:extLst>
                <a:ext uri="{FF2B5EF4-FFF2-40B4-BE49-F238E27FC236}">
                  <a16:creationId xmlns:a16="http://schemas.microsoft.com/office/drawing/2014/main" id="{383CAF22-9182-F749-99AD-EB93520EDFF4}"/>
                </a:ext>
              </a:extLst>
            </p:cNvPr>
            <p:cNvSpPr/>
            <p:nvPr/>
          </p:nvSpPr>
          <p:spPr>
            <a:xfrm>
              <a:off x="2960723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4" name="Полилиния 893">
              <a:extLst>
                <a:ext uri="{FF2B5EF4-FFF2-40B4-BE49-F238E27FC236}">
                  <a16:creationId xmlns:a16="http://schemas.microsoft.com/office/drawing/2014/main" id="{B602B0B3-0E41-BF44-8778-F8468F30E177}"/>
                </a:ext>
              </a:extLst>
            </p:cNvPr>
            <p:cNvSpPr/>
            <p:nvPr/>
          </p:nvSpPr>
          <p:spPr>
            <a:xfrm>
              <a:off x="3170723" y="2310929"/>
              <a:ext cx="89999" cy="89999"/>
            </a:xfrm>
            <a:custGeom>
              <a:avLst/>
              <a:gdLst>
                <a:gd name="connsiteX0" fmla="*/ 4393 w 89999"/>
                <a:gd name="connsiteY0" fmla="*/ 25606 h 89999"/>
                <a:gd name="connsiteX1" fmla="*/ 4393 w 89999"/>
                <a:gd name="connsiteY1" fmla="*/ 4393 h 89999"/>
                <a:gd name="connsiteX2" fmla="*/ 25606 w 89999"/>
                <a:gd name="connsiteY2" fmla="*/ 4393 h 89999"/>
                <a:gd name="connsiteX3" fmla="*/ 85606 w 89999"/>
                <a:gd name="connsiteY3" fmla="*/ 64393 h 89999"/>
                <a:gd name="connsiteX4" fmla="*/ 85606 w 89999"/>
                <a:gd name="connsiteY4" fmla="*/ 85606 h 89999"/>
                <a:gd name="connsiteX5" fmla="*/ 64393 w 89999"/>
                <a:gd name="connsiteY5" fmla="*/ 85606 h 89999"/>
                <a:gd name="connsiteX6" fmla="*/ 4393 w 89999"/>
                <a:gd name="connsiteY6" fmla="*/ 25606 h 8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999" h="89999">
                  <a:moveTo>
                    <a:pt x="4393" y="25606"/>
                  </a:move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6" y="4393"/>
                  </a:cubicBezTo>
                  <a:lnTo>
                    <a:pt x="85606" y="64393"/>
                  </a:lnTo>
                  <a:cubicBezTo>
                    <a:pt x="91464" y="70251"/>
                    <a:pt x="91464" y="79749"/>
                    <a:pt x="85606" y="85606"/>
                  </a:cubicBezTo>
                  <a:cubicBezTo>
                    <a:pt x="79749" y="91464"/>
                    <a:pt x="70251" y="91464"/>
                    <a:pt x="64393" y="85606"/>
                  </a:cubicBezTo>
                  <a:lnTo>
                    <a:pt x="4393" y="25606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5" name="Полилиния 894">
              <a:extLst>
                <a:ext uri="{FF2B5EF4-FFF2-40B4-BE49-F238E27FC236}">
                  <a16:creationId xmlns:a16="http://schemas.microsoft.com/office/drawing/2014/main" id="{06007E85-01F0-5643-B941-A76D2ACD9E4A}"/>
                </a:ext>
              </a:extLst>
            </p:cNvPr>
            <p:cNvSpPr/>
            <p:nvPr/>
          </p:nvSpPr>
          <p:spPr>
            <a:xfrm>
              <a:off x="3020723" y="2145929"/>
              <a:ext cx="210000" cy="210000"/>
            </a:xfrm>
            <a:custGeom>
              <a:avLst/>
              <a:gdLst>
                <a:gd name="connsiteX0" fmla="*/ 105000 w 210000"/>
                <a:gd name="connsiteY0" fmla="*/ 180000 h 210000"/>
                <a:gd name="connsiteX1" fmla="*/ 180000 w 210000"/>
                <a:gd name="connsiteY1" fmla="*/ 105000 h 210000"/>
                <a:gd name="connsiteX2" fmla="*/ 105000 w 210000"/>
                <a:gd name="connsiteY2" fmla="*/ 30000 h 210000"/>
                <a:gd name="connsiteX3" fmla="*/ 30000 w 210000"/>
                <a:gd name="connsiteY3" fmla="*/ 105000 h 210000"/>
                <a:gd name="connsiteX4" fmla="*/ 105000 w 210000"/>
                <a:gd name="connsiteY4" fmla="*/ 180000 h 210000"/>
                <a:gd name="connsiteX5" fmla="*/ 105000 w 210000"/>
                <a:gd name="connsiteY5" fmla="*/ 210000 h 210000"/>
                <a:gd name="connsiteX6" fmla="*/ 0 w 210000"/>
                <a:gd name="connsiteY6" fmla="*/ 105000 h 210000"/>
                <a:gd name="connsiteX7" fmla="*/ 105000 w 210000"/>
                <a:gd name="connsiteY7" fmla="*/ 0 h 210000"/>
                <a:gd name="connsiteX8" fmla="*/ 210000 w 210000"/>
                <a:gd name="connsiteY8" fmla="*/ 105000 h 210000"/>
                <a:gd name="connsiteX9" fmla="*/ 105000 w 210000"/>
                <a:gd name="connsiteY9" fmla="*/ 21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0000" h="210000">
                  <a:moveTo>
                    <a:pt x="105000" y="180000"/>
                  </a:moveTo>
                  <a:cubicBezTo>
                    <a:pt x="146421" y="180000"/>
                    <a:pt x="180000" y="146421"/>
                    <a:pt x="180000" y="105000"/>
                  </a:cubicBezTo>
                  <a:cubicBezTo>
                    <a:pt x="180000" y="63579"/>
                    <a:pt x="146421" y="30000"/>
                    <a:pt x="105000" y="30000"/>
                  </a:cubicBezTo>
                  <a:cubicBezTo>
                    <a:pt x="63579" y="30000"/>
                    <a:pt x="30000" y="63579"/>
                    <a:pt x="30000" y="105000"/>
                  </a:cubicBezTo>
                  <a:cubicBezTo>
                    <a:pt x="30000" y="146421"/>
                    <a:pt x="63579" y="180000"/>
                    <a:pt x="105000" y="180000"/>
                  </a:cubicBezTo>
                  <a:close/>
                  <a:moveTo>
                    <a:pt x="105000" y="210000"/>
                  </a:moveTo>
                  <a:cubicBezTo>
                    <a:pt x="47010" y="210000"/>
                    <a:pt x="0" y="162990"/>
                    <a:pt x="0" y="105000"/>
                  </a:cubicBezTo>
                  <a:cubicBezTo>
                    <a:pt x="0" y="47010"/>
                    <a:pt x="47010" y="0"/>
                    <a:pt x="105000" y="0"/>
                  </a:cubicBezTo>
                  <a:cubicBezTo>
                    <a:pt x="162990" y="0"/>
                    <a:pt x="210000" y="47010"/>
                    <a:pt x="210000" y="105000"/>
                  </a:cubicBezTo>
                  <a:cubicBezTo>
                    <a:pt x="210000" y="162990"/>
                    <a:pt x="162990" y="210000"/>
                    <a:pt x="105000" y="21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96" name="Рисунок 210">
            <a:extLst>
              <a:ext uri="{FF2B5EF4-FFF2-40B4-BE49-F238E27FC236}">
                <a16:creationId xmlns:a16="http://schemas.microsoft.com/office/drawing/2014/main" id="{E8DD2B7C-F1E7-6E46-9D42-A4C7ACCBC1A5}"/>
              </a:ext>
            </a:extLst>
          </p:cNvPr>
          <p:cNvGrpSpPr/>
          <p:nvPr/>
        </p:nvGrpSpPr>
        <p:grpSpPr>
          <a:xfrm>
            <a:off x="1417004" y="1766973"/>
            <a:ext cx="360000" cy="360000"/>
            <a:chOff x="1450457" y="2085929"/>
            <a:chExt cx="360000" cy="360000"/>
          </a:xfrm>
        </p:grpSpPr>
        <p:sp>
          <p:nvSpPr>
            <p:cNvPr id="897" name="Полилиния 896">
              <a:extLst>
                <a:ext uri="{FF2B5EF4-FFF2-40B4-BE49-F238E27FC236}">
                  <a16:creationId xmlns:a16="http://schemas.microsoft.com/office/drawing/2014/main" id="{0AAA909A-8DAA-444E-A0E1-BF3AB19924FC}"/>
                </a:ext>
              </a:extLst>
            </p:cNvPr>
            <p:cNvSpPr/>
            <p:nvPr/>
          </p:nvSpPr>
          <p:spPr>
            <a:xfrm>
              <a:off x="1450457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8" name="Полилиния 897">
              <a:extLst>
                <a:ext uri="{FF2B5EF4-FFF2-40B4-BE49-F238E27FC236}">
                  <a16:creationId xmlns:a16="http://schemas.microsoft.com/office/drawing/2014/main" id="{376C5951-FA01-194D-8DD5-A844C12985C8}"/>
                </a:ext>
              </a:extLst>
            </p:cNvPr>
            <p:cNvSpPr/>
            <p:nvPr/>
          </p:nvSpPr>
          <p:spPr>
            <a:xfrm>
              <a:off x="1495457" y="2130929"/>
              <a:ext cx="270000" cy="270000"/>
            </a:xfrm>
            <a:custGeom>
              <a:avLst/>
              <a:gdLst>
                <a:gd name="connsiteX0" fmla="*/ 232500 w 270000"/>
                <a:gd name="connsiteY0" fmla="*/ 75000 h 270000"/>
                <a:gd name="connsiteX1" fmla="*/ 195000 w 270000"/>
                <a:gd name="connsiteY1" fmla="*/ 37500 h 270000"/>
                <a:gd name="connsiteX2" fmla="*/ 232500 w 270000"/>
                <a:gd name="connsiteY2" fmla="*/ 0 h 270000"/>
                <a:gd name="connsiteX3" fmla="*/ 270000 w 270000"/>
                <a:gd name="connsiteY3" fmla="*/ 37500 h 270000"/>
                <a:gd name="connsiteX4" fmla="*/ 232500 w 270000"/>
                <a:gd name="connsiteY4" fmla="*/ 75000 h 270000"/>
                <a:gd name="connsiteX5" fmla="*/ 232500 w 270000"/>
                <a:gd name="connsiteY5" fmla="*/ 270000 h 270000"/>
                <a:gd name="connsiteX6" fmla="*/ 195000 w 270000"/>
                <a:gd name="connsiteY6" fmla="*/ 232500 h 270000"/>
                <a:gd name="connsiteX7" fmla="*/ 232500 w 270000"/>
                <a:gd name="connsiteY7" fmla="*/ 195000 h 270000"/>
                <a:gd name="connsiteX8" fmla="*/ 270000 w 270000"/>
                <a:gd name="connsiteY8" fmla="*/ 232500 h 270000"/>
                <a:gd name="connsiteX9" fmla="*/ 232500 w 270000"/>
                <a:gd name="connsiteY9" fmla="*/ 270000 h 270000"/>
                <a:gd name="connsiteX10" fmla="*/ 37500 w 270000"/>
                <a:gd name="connsiteY10" fmla="*/ 270000 h 270000"/>
                <a:gd name="connsiteX11" fmla="*/ 0 w 270000"/>
                <a:gd name="connsiteY11" fmla="*/ 232500 h 270000"/>
                <a:gd name="connsiteX12" fmla="*/ 37500 w 270000"/>
                <a:gd name="connsiteY12" fmla="*/ 195000 h 270000"/>
                <a:gd name="connsiteX13" fmla="*/ 75000 w 270000"/>
                <a:gd name="connsiteY13" fmla="*/ 232500 h 270000"/>
                <a:gd name="connsiteX14" fmla="*/ 37500 w 270000"/>
                <a:gd name="connsiteY14" fmla="*/ 27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0000" h="270000">
                  <a:moveTo>
                    <a:pt x="232500" y="75000"/>
                  </a:moveTo>
                  <a:cubicBezTo>
                    <a:pt x="211790" y="75000"/>
                    <a:pt x="195000" y="58211"/>
                    <a:pt x="195000" y="37500"/>
                  </a:cubicBezTo>
                  <a:cubicBezTo>
                    <a:pt x="195000" y="16789"/>
                    <a:pt x="211790" y="0"/>
                    <a:pt x="232500" y="0"/>
                  </a:cubicBezTo>
                  <a:cubicBezTo>
                    <a:pt x="253210" y="0"/>
                    <a:pt x="270000" y="16789"/>
                    <a:pt x="270000" y="37500"/>
                  </a:cubicBezTo>
                  <a:cubicBezTo>
                    <a:pt x="270000" y="58211"/>
                    <a:pt x="253210" y="75000"/>
                    <a:pt x="232500" y="75000"/>
                  </a:cubicBezTo>
                  <a:close/>
                  <a:moveTo>
                    <a:pt x="232500" y="270000"/>
                  </a:moveTo>
                  <a:cubicBezTo>
                    <a:pt x="211790" y="270000"/>
                    <a:pt x="195000" y="253210"/>
                    <a:pt x="195000" y="232500"/>
                  </a:cubicBezTo>
                  <a:cubicBezTo>
                    <a:pt x="195000" y="211790"/>
                    <a:pt x="211790" y="195000"/>
                    <a:pt x="232500" y="195000"/>
                  </a:cubicBezTo>
                  <a:cubicBezTo>
                    <a:pt x="253210" y="195000"/>
                    <a:pt x="270000" y="211790"/>
                    <a:pt x="270000" y="232500"/>
                  </a:cubicBezTo>
                  <a:cubicBezTo>
                    <a:pt x="270000" y="253210"/>
                    <a:pt x="253210" y="270000"/>
                    <a:pt x="232500" y="270000"/>
                  </a:cubicBezTo>
                  <a:close/>
                  <a:moveTo>
                    <a:pt x="37500" y="270000"/>
                  </a:moveTo>
                  <a:cubicBezTo>
                    <a:pt x="16789" y="270000"/>
                    <a:pt x="0" y="253210"/>
                    <a:pt x="0" y="232500"/>
                  </a:cubicBezTo>
                  <a:cubicBezTo>
                    <a:pt x="0" y="211790"/>
                    <a:pt x="16789" y="195000"/>
                    <a:pt x="37500" y="195000"/>
                  </a:cubicBezTo>
                  <a:cubicBezTo>
                    <a:pt x="58211" y="195000"/>
                    <a:pt x="75000" y="211790"/>
                    <a:pt x="75000" y="232500"/>
                  </a:cubicBezTo>
                  <a:cubicBezTo>
                    <a:pt x="75000" y="253210"/>
                    <a:pt x="58211" y="270000"/>
                    <a:pt x="37500" y="27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9" name="Полилиния 898">
              <a:extLst>
                <a:ext uri="{FF2B5EF4-FFF2-40B4-BE49-F238E27FC236}">
                  <a16:creationId xmlns:a16="http://schemas.microsoft.com/office/drawing/2014/main" id="{967CC454-3F09-164C-B519-91484DF63937}"/>
                </a:ext>
              </a:extLst>
            </p:cNvPr>
            <p:cNvSpPr/>
            <p:nvPr/>
          </p:nvSpPr>
          <p:spPr>
            <a:xfrm>
              <a:off x="1495457" y="2130929"/>
              <a:ext cx="255000" cy="255000"/>
            </a:xfrm>
            <a:custGeom>
              <a:avLst/>
              <a:gdLst>
                <a:gd name="connsiteX0" fmla="*/ 37500 w 255000"/>
                <a:gd name="connsiteY0" fmla="*/ 75000 h 255000"/>
                <a:gd name="connsiteX1" fmla="*/ 0 w 255000"/>
                <a:gd name="connsiteY1" fmla="*/ 37500 h 255000"/>
                <a:gd name="connsiteX2" fmla="*/ 37500 w 255000"/>
                <a:gd name="connsiteY2" fmla="*/ 0 h 255000"/>
                <a:gd name="connsiteX3" fmla="*/ 75000 w 255000"/>
                <a:gd name="connsiteY3" fmla="*/ 37500 h 255000"/>
                <a:gd name="connsiteX4" fmla="*/ 37500 w 255000"/>
                <a:gd name="connsiteY4" fmla="*/ 75000 h 255000"/>
                <a:gd name="connsiteX5" fmla="*/ 120000 w 255000"/>
                <a:gd name="connsiteY5" fmla="*/ 15000 h 255000"/>
                <a:gd name="connsiteX6" fmla="*/ 150000 w 255000"/>
                <a:gd name="connsiteY6" fmla="*/ 15000 h 255000"/>
                <a:gd name="connsiteX7" fmla="*/ 165000 w 255000"/>
                <a:gd name="connsiteY7" fmla="*/ 30000 h 255000"/>
                <a:gd name="connsiteX8" fmla="*/ 150000 w 255000"/>
                <a:gd name="connsiteY8" fmla="*/ 45000 h 255000"/>
                <a:gd name="connsiteX9" fmla="*/ 120000 w 255000"/>
                <a:gd name="connsiteY9" fmla="*/ 45000 h 255000"/>
                <a:gd name="connsiteX10" fmla="*/ 105000 w 255000"/>
                <a:gd name="connsiteY10" fmla="*/ 30000 h 255000"/>
                <a:gd name="connsiteX11" fmla="*/ 120000 w 255000"/>
                <a:gd name="connsiteY11" fmla="*/ 15000 h 255000"/>
                <a:gd name="connsiteX12" fmla="*/ 120000 w 255000"/>
                <a:gd name="connsiteY12" fmla="*/ 225000 h 255000"/>
                <a:gd name="connsiteX13" fmla="*/ 150000 w 255000"/>
                <a:gd name="connsiteY13" fmla="*/ 225000 h 255000"/>
                <a:gd name="connsiteX14" fmla="*/ 165000 w 255000"/>
                <a:gd name="connsiteY14" fmla="*/ 240000 h 255000"/>
                <a:gd name="connsiteX15" fmla="*/ 150000 w 255000"/>
                <a:gd name="connsiteY15" fmla="*/ 255000 h 255000"/>
                <a:gd name="connsiteX16" fmla="*/ 120000 w 255000"/>
                <a:gd name="connsiteY16" fmla="*/ 255000 h 255000"/>
                <a:gd name="connsiteX17" fmla="*/ 105000 w 255000"/>
                <a:gd name="connsiteY17" fmla="*/ 240000 h 255000"/>
                <a:gd name="connsiteX18" fmla="*/ 120000 w 255000"/>
                <a:gd name="connsiteY18" fmla="*/ 225000 h 255000"/>
                <a:gd name="connsiteX19" fmla="*/ 30000 w 255000"/>
                <a:gd name="connsiteY19" fmla="*/ 105000 h 255000"/>
                <a:gd name="connsiteX20" fmla="*/ 45000 w 255000"/>
                <a:gd name="connsiteY20" fmla="*/ 120000 h 255000"/>
                <a:gd name="connsiteX21" fmla="*/ 45000 w 255000"/>
                <a:gd name="connsiteY21" fmla="*/ 150000 h 255000"/>
                <a:gd name="connsiteX22" fmla="*/ 30000 w 255000"/>
                <a:gd name="connsiteY22" fmla="*/ 165000 h 255000"/>
                <a:gd name="connsiteX23" fmla="*/ 15000 w 255000"/>
                <a:gd name="connsiteY23" fmla="*/ 150000 h 255000"/>
                <a:gd name="connsiteX24" fmla="*/ 15000 w 255000"/>
                <a:gd name="connsiteY24" fmla="*/ 120000 h 255000"/>
                <a:gd name="connsiteX25" fmla="*/ 30000 w 255000"/>
                <a:gd name="connsiteY25" fmla="*/ 105000 h 255000"/>
                <a:gd name="connsiteX26" fmla="*/ 240000 w 255000"/>
                <a:gd name="connsiteY26" fmla="*/ 105000 h 255000"/>
                <a:gd name="connsiteX27" fmla="*/ 255000 w 255000"/>
                <a:gd name="connsiteY27" fmla="*/ 120000 h 255000"/>
                <a:gd name="connsiteX28" fmla="*/ 255000 w 255000"/>
                <a:gd name="connsiteY28" fmla="*/ 150000 h 255000"/>
                <a:gd name="connsiteX29" fmla="*/ 240000 w 255000"/>
                <a:gd name="connsiteY29" fmla="*/ 165000 h 255000"/>
                <a:gd name="connsiteX30" fmla="*/ 225000 w 255000"/>
                <a:gd name="connsiteY30" fmla="*/ 150000 h 255000"/>
                <a:gd name="connsiteX31" fmla="*/ 225000 w 255000"/>
                <a:gd name="connsiteY31" fmla="*/ 120000 h 255000"/>
                <a:gd name="connsiteX32" fmla="*/ 240000 w 255000"/>
                <a:gd name="connsiteY32" fmla="*/ 10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55000" h="255000">
                  <a:moveTo>
                    <a:pt x="37500" y="75000"/>
                  </a:moveTo>
                  <a:cubicBezTo>
                    <a:pt x="16789" y="75000"/>
                    <a:pt x="0" y="58211"/>
                    <a:pt x="0" y="37500"/>
                  </a:cubicBezTo>
                  <a:cubicBezTo>
                    <a:pt x="0" y="16789"/>
                    <a:pt x="16789" y="0"/>
                    <a:pt x="37500" y="0"/>
                  </a:cubicBezTo>
                  <a:cubicBezTo>
                    <a:pt x="58211" y="0"/>
                    <a:pt x="75000" y="16789"/>
                    <a:pt x="75000" y="37500"/>
                  </a:cubicBezTo>
                  <a:cubicBezTo>
                    <a:pt x="75000" y="58211"/>
                    <a:pt x="58211" y="75000"/>
                    <a:pt x="37500" y="75000"/>
                  </a:cubicBezTo>
                  <a:close/>
                  <a:moveTo>
                    <a:pt x="120000" y="15000"/>
                  </a:moveTo>
                  <a:lnTo>
                    <a:pt x="150000" y="15000"/>
                  </a:lnTo>
                  <a:cubicBezTo>
                    <a:pt x="158285" y="15000"/>
                    <a:pt x="165000" y="21716"/>
                    <a:pt x="165000" y="30000"/>
                  </a:cubicBezTo>
                  <a:cubicBezTo>
                    <a:pt x="165000" y="38284"/>
                    <a:pt x="158285" y="45000"/>
                    <a:pt x="150000" y="45000"/>
                  </a:cubicBezTo>
                  <a:lnTo>
                    <a:pt x="120000" y="45000"/>
                  </a:lnTo>
                  <a:cubicBezTo>
                    <a:pt x="111715" y="45000"/>
                    <a:pt x="105000" y="38284"/>
                    <a:pt x="105000" y="30000"/>
                  </a:cubicBezTo>
                  <a:cubicBezTo>
                    <a:pt x="105000" y="21716"/>
                    <a:pt x="111715" y="15000"/>
                    <a:pt x="120000" y="15000"/>
                  </a:cubicBezTo>
                  <a:close/>
                  <a:moveTo>
                    <a:pt x="120000" y="225000"/>
                  </a:moveTo>
                  <a:lnTo>
                    <a:pt x="150000" y="225000"/>
                  </a:lnTo>
                  <a:cubicBezTo>
                    <a:pt x="158285" y="225000"/>
                    <a:pt x="165000" y="231716"/>
                    <a:pt x="165000" y="240000"/>
                  </a:cubicBezTo>
                  <a:cubicBezTo>
                    <a:pt x="165000" y="248285"/>
                    <a:pt x="158285" y="255000"/>
                    <a:pt x="150000" y="255000"/>
                  </a:cubicBezTo>
                  <a:lnTo>
                    <a:pt x="120000" y="255000"/>
                  </a:lnTo>
                  <a:cubicBezTo>
                    <a:pt x="111715" y="255000"/>
                    <a:pt x="105000" y="248285"/>
                    <a:pt x="105000" y="240000"/>
                  </a:cubicBezTo>
                  <a:cubicBezTo>
                    <a:pt x="105000" y="231716"/>
                    <a:pt x="111715" y="225000"/>
                    <a:pt x="120000" y="225000"/>
                  </a:cubicBezTo>
                  <a:close/>
                  <a:moveTo>
                    <a:pt x="30000" y="105000"/>
                  </a:moveTo>
                  <a:cubicBezTo>
                    <a:pt x="38284" y="105000"/>
                    <a:pt x="45000" y="111715"/>
                    <a:pt x="45000" y="120000"/>
                  </a:cubicBezTo>
                  <a:lnTo>
                    <a:pt x="45000" y="150000"/>
                  </a:lnTo>
                  <a:cubicBezTo>
                    <a:pt x="45000" y="158285"/>
                    <a:pt x="38284" y="165000"/>
                    <a:pt x="30000" y="165000"/>
                  </a:cubicBezTo>
                  <a:cubicBezTo>
                    <a:pt x="21716" y="165000"/>
                    <a:pt x="15000" y="158285"/>
                    <a:pt x="15000" y="150000"/>
                  </a:cubicBezTo>
                  <a:lnTo>
                    <a:pt x="15000" y="120000"/>
                  </a:lnTo>
                  <a:cubicBezTo>
                    <a:pt x="15000" y="111715"/>
                    <a:pt x="21716" y="105000"/>
                    <a:pt x="30000" y="105000"/>
                  </a:cubicBezTo>
                  <a:close/>
                  <a:moveTo>
                    <a:pt x="240000" y="105000"/>
                  </a:moveTo>
                  <a:cubicBezTo>
                    <a:pt x="248285" y="105000"/>
                    <a:pt x="255000" y="111715"/>
                    <a:pt x="255000" y="120000"/>
                  </a:cubicBezTo>
                  <a:lnTo>
                    <a:pt x="255000" y="150000"/>
                  </a:lnTo>
                  <a:cubicBezTo>
                    <a:pt x="255000" y="158285"/>
                    <a:pt x="248285" y="165000"/>
                    <a:pt x="240000" y="165000"/>
                  </a:cubicBezTo>
                  <a:cubicBezTo>
                    <a:pt x="231716" y="165000"/>
                    <a:pt x="225000" y="158285"/>
                    <a:pt x="225000" y="150000"/>
                  </a:cubicBezTo>
                  <a:lnTo>
                    <a:pt x="225000" y="120000"/>
                  </a:lnTo>
                  <a:cubicBezTo>
                    <a:pt x="225000" y="111715"/>
                    <a:pt x="231716" y="105000"/>
                    <a:pt x="240000" y="10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00" name="Рисунок 211">
            <a:extLst>
              <a:ext uri="{FF2B5EF4-FFF2-40B4-BE49-F238E27FC236}">
                <a16:creationId xmlns:a16="http://schemas.microsoft.com/office/drawing/2014/main" id="{8C66705D-D24E-1243-B66D-08E697FB728B}"/>
              </a:ext>
            </a:extLst>
          </p:cNvPr>
          <p:cNvGrpSpPr/>
          <p:nvPr/>
        </p:nvGrpSpPr>
        <p:grpSpPr>
          <a:xfrm>
            <a:off x="661871" y="1766973"/>
            <a:ext cx="360000" cy="360000"/>
            <a:chOff x="695324" y="2085929"/>
            <a:chExt cx="360000" cy="360000"/>
          </a:xfrm>
        </p:grpSpPr>
        <p:sp>
          <p:nvSpPr>
            <p:cNvPr id="901" name="Полилиния 900">
              <a:extLst>
                <a:ext uri="{FF2B5EF4-FFF2-40B4-BE49-F238E27FC236}">
                  <a16:creationId xmlns:a16="http://schemas.microsoft.com/office/drawing/2014/main" id="{0941AA76-3891-CC42-8D7A-3923E38A43EC}"/>
                </a:ext>
              </a:extLst>
            </p:cNvPr>
            <p:cNvSpPr/>
            <p:nvPr/>
          </p:nvSpPr>
          <p:spPr>
            <a:xfrm>
              <a:off x="695324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2" name="Полилиния 901">
              <a:extLst>
                <a:ext uri="{FF2B5EF4-FFF2-40B4-BE49-F238E27FC236}">
                  <a16:creationId xmlns:a16="http://schemas.microsoft.com/office/drawing/2014/main" id="{B9BB6E81-E61C-5E43-BF48-D7930282E410}"/>
                </a:ext>
              </a:extLst>
            </p:cNvPr>
            <p:cNvSpPr/>
            <p:nvPr/>
          </p:nvSpPr>
          <p:spPr>
            <a:xfrm>
              <a:off x="740324" y="2100929"/>
              <a:ext cx="225000" cy="300000"/>
            </a:xfrm>
            <a:custGeom>
              <a:avLst/>
              <a:gdLst>
                <a:gd name="connsiteX0" fmla="*/ 27857 w 225000"/>
                <a:gd name="connsiteY0" fmla="*/ 0 h 300000"/>
                <a:gd name="connsiteX1" fmla="*/ 131046 w 225000"/>
                <a:gd name="connsiteY1" fmla="*/ 0 h 300000"/>
                <a:gd name="connsiteX2" fmla="*/ 145577 w 225000"/>
                <a:gd name="connsiteY2" fmla="*/ 5321 h 300000"/>
                <a:gd name="connsiteX3" fmla="*/ 217031 w 225000"/>
                <a:gd name="connsiteY3" fmla="*/ 65759 h 300000"/>
                <a:gd name="connsiteX4" fmla="*/ 225000 w 225000"/>
                <a:gd name="connsiteY4" fmla="*/ 82938 h 300000"/>
                <a:gd name="connsiteX5" fmla="*/ 225000 w 225000"/>
                <a:gd name="connsiteY5" fmla="*/ 271250 h 300000"/>
                <a:gd name="connsiteX6" fmla="*/ 197144 w 225000"/>
                <a:gd name="connsiteY6" fmla="*/ 300000 h 300000"/>
                <a:gd name="connsiteX7" fmla="*/ 27857 w 225000"/>
                <a:gd name="connsiteY7" fmla="*/ 300000 h 300000"/>
                <a:gd name="connsiteX8" fmla="*/ 0 w 225000"/>
                <a:gd name="connsiteY8" fmla="*/ 271250 h 300000"/>
                <a:gd name="connsiteX9" fmla="*/ 0 w 225000"/>
                <a:gd name="connsiteY9" fmla="*/ 28750 h 300000"/>
                <a:gd name="connsiteX10" fmla="*/ 27857 w 225000"/>
                <a:gd name="connsiteY10" fmla="*/ 0 h 300000"/>
                <a:gd name="connsiteX11" fmla="*/ 75000 w 225000"/>
                <a:gd name="connsiteY11" fmla="*/ 165000 h 300000"/>
                <a:gd name="connsiteX12" fmla="*/ 60000 w 225000"/>
                <a:gd name="connsiteY12" fmla="*/ 180000 h 300000"/>
                <a:gd name="connsiteX13" fmla="*/ 75000 w 225000"/>
                <a:gd name="connsiteY13" fmla="*/ 195000 h 300000"/>
                <a:gd name="connsiteX14" fmla="*/ 180000 w 225000"/>
                <a:gd name="connsiteY14" fmla="*/ 195000 h 300000"/>
                <a:gd name="connsiteX15" fmla="*/ 195000 w 225000"/>
                <a:gd name="connsiteY15" fmla="*/ 180000 h 300000"/>
                <a:gd name="connsiteX16" fmla="*/ 180000 w 225000"/>
                <a:gd name="connsiteY16" fmla="*/ 165000 h 300000"/>
                <a:gd name="connsiteX17" fmla="*/ 75000 w 225000"/>
                <a:gd name="connsiteY17" fmla="*/ 165000 h 300000"/>
                <a:gd name="connsiteX18" fmla="*/ 75000 w 225000"/>
                <a:gd name="connsiteY18" fmla="*/ 225000 h 300000"/>
                <a:gd name="connsiteX19" fmla="*/ 60000 w 225000"/>
                <a:gd name="connsiteY19" fmla="*/ 240000 h 300000"/>
                <a:gd name="connsiteX20" fmla="*/ 75000 w 225000"/>
                <a:gd name="connsiteY20" fmla="*/ 255000 h 300000"/>
                <a:gd name="connsiteX21" fmla="*/ 120000 w 225000"/>
                <a:gd name="connsiteY21" fmla="*/ 255000 h 300000"/>
                <a:gd name="connsiteX22" fmla="*/ 135000 w 225000"/>
                <a:gd name="connsiteY22" fmla="*/ 240000 h 300000"/>
                <a:gd name="connsiteX23" fmla="*/ 120000 w 225000"/>
                <a:gd name="connsiteY23" fmla="*/ 225000 h 300000"/>
                <a:gd name="connsiteX24" fmla="*/ 75000 w 225000"/>
                <a:gd name="connsiteY24" fmla="*/ 225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5000" h="300000">
                  <a:moveTo>
                    <a:pt x="27857" y="0"/>
                  </a:moveTo>
                  <a:lnTo>
                    <a:pt x="131046" y="0"/>
                  </a:lnTo>
                  <a:cubicBezTo>
                    <a:pt x="136367" y="0"/>
                    <a:pt x="141515" y="1885"/>
                    <a:pt x="145577" y="5321"/>
                  </a:cubicBezTo>
                  <a:lnTo>
                    <a:pt x="217031" y="65759"/>
                  </a:lnTo>
                  <a:cubicBezTo>
                    <a:pt x="222086" y="70034"/>
                    <a:pt x="225000" y="76318"/>
                    <a:pt x="225000" y="82938"/>
                  </a:cubicBezTo>
                  <a:lnTo>
                    <a:pt x="225000" y="271250"/>
                  </a:lnTo>
                  <a:cubicBezTo>
                    <a:pt x="225000" y="298109"/>
                    <a:pt x="224694" y="300000"/>
                    <a:pt x="197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  <a:moveTo>
                    <a:pt x="75000" y="165000"/>
                  </a:moveTo>
                  <a:cubicBezTo>
                    <a:pt x="66716" y="165000"/>
                    <a:pt x="60000" y="171716"/>
                    <a:pt x="60000" y="180000"/>
                  </a:cubicBezTo>
                  <a:cubicBezTo>
                    <a:pt x="60000" y="188285"/>
                    <a:pt x="66716" y="195000"/>
                    <a:pt x="75000" y="195000"/>
                  </a:cubicBezTo>
                  <a:lnTo>
                    <a:pt x="180000" y="195000"/>
                  </a:lnTo>
                  <a:cubicBezTo>
                    <a:pt x="188285" y="195000"/>
                    <a:pt x="195000" y="188285"/>
                    <a:pt x="195000" y="180000"/>
                  </a:cubicBezTo>
                  <a:cubicBezTo>
                    <a:pt x="195000" y="171716"/>
                    <a:pt x="188285" y="165000"/>
                    <a:pt x="180000" y="165000"/>
                  </a:cubicBezTo>
                  <a:lnTo>
                    <a:pt x="75000" y="165000"/>
                  </a:lnTo>
                  <a:close/>
                  <a:moveTo>
                    <a:pt x="75000" y="225000"/>
                  </a:moveTo>
                  <a:cubicBezTo>
                    <a:pt x="66716" y="225000"/>
                    <a:pt x="60000" y="231716"/>
                    <a:pt x="60000" y="240000"/>
                  </a:cubicBezTo>
                  <a:cubicBezTo>
                    <a:pt x="60000" y="248285"/>
                    <a:pt x="66716" y="255000"/>
                    <a:pt x="75000" y="255000"/>
                  </a:cubicBezTo>
                  <a:lnTo>
                    <a:pt x="120000" y="255000"/>
                  </a:lnTo>
                  <a:cubicBezTo>
                    <a:pt x="128285" y="255000"/>
                    <a:pt x="135000" y="248285"/>
                    <a:pt x="135000" y="240000"/>
                  </a:cubicBezTo>
                  <a:cubicBezTo>
                    <a:pt x="135000" y="231716"/>
                    <a:pt x="128285" y="225000"/>
                    <a:pt x="120000" y="225000"/>
                  </a:cubicBezTo>
                  <a:lnTo>
                    <a:pt x="75000" y="22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3" name="Полилиния 902">
              <a:extLst>
                <a:ext uri="{FF2B5EF4-FFF2-40B4-BE49-F238E27FC236}">
                  <a16:creationId xmlns:a16="http://schemas.microsoft.com/office/drawing/2014/main" id="{27131684-A78F-A048-BA06-23A04533530B}"/>
                </a:ext>
              </a:extLst>
            </p:cNvPr>
            <p:cNvSpPr/>
            <p:nvPr/>
          </p:nvSpPr>
          <p:spPr>
            <a:xfrm>
              <a:off x="770324" y="2130929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  <a:gd name="connsiteX11" fmla="*/ 45000 w 240000"/>
                <a:gd name="connsiteY11" fmla="*/ 135000 h 300000"/>
                <a:gd name="connsiteX12" fmla="*/ 30000 w 240000"/>
                <a:gd name="connsiteY12" fmla="*/ 150000 h 300000"/>
                <a:gd name="connsiteX13" fmla="*/ 45000 w 240000"/>
                <a:gd name="connsiteY13" fmla="*/ 165000 h 300000"/>
                <a:gd name="connsiteX14" fmla="*/ 150000 w 240000"/>
                <a:gd name="connsiteY14" fmla="*/ 165000 h 300000"/>
                <a:gd name="connsiteX15" fmla="*/ 165000 w 240000"/>
                <a:gd name="connsiteY15" fmla="*/ 150000 h 300000"/>
                <a:gd name="connsiteX16" fmla="*/ 150000 w 240000"/>
                <a:gd name="connsiteY16" fmla="*/ 135000 h 300000"/>
                <a:gd name="connsiteX17" fmla="*/ 45000 w 240000"/>
                <a:gd name="connsiteY17" fmla="*/ 135000 h 300000"/>
                <a:gd name="connsiteX18" fmla="*/ 45000 w 240000"/>
                <a:gd name="connsiteY18" fmla="*/ 195000 h 300000"/>
                <a:gd name="connsiteX19" fmla="*/ 30000 w 240000"/>
                <a:gd name="connsiteY19" fmla="*/ 210000 h 300000"/>
                <a:gd name="connsiteX20" fmla="*/ 45000 w 240000"/>
                <a:gd name="connsiteY20" fmla="*/ 225000 h 300000"/>
                <a:gd name="connsiteX21" fmla="*/ 90000 w 240000"/>
                <a:gd name="connsiteY21" fmla="*/ 225000 h 300000"/>
                <a:gd name="connsiteX22" fmla="*/ 105000 w 240000"/>
                <a:gd name="connsiteY22" fmla="*/ 210000 h 300000"/>
                <a:gd name="connsiteX23" fmla="*/ 90000 w 240000"/>
                <a:gd name="connsiteY23" fmla="*/ 195000 h 300000"/>
                <a:gd name="connsiteX24" fmla="*/ 45000 w 240000"/>
                <a:gd name="connsiteY24" fmla="*/ 195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  <a:moveTo>
                    <a:pt x="45000" y="135000"/>
                  </a:moveTo>
                  <a:cubicBezTo>
                    <a:pt x="36716" y="135000"/>
                    <a:pt x="30000" y="141716"/>
                    <a:pt x="30000" y="150000"/>
                  </a:cubicBezTo>
                  <a:cubicBezTo>
                    <a:pt x="30000" y="158285"/>
                    <a:pt x="36716" y="165000"/>
                    <a:pt x="45000" y="165000"/>
                  </a:cubicBezTo>
                  <a:lnTo>
                    <a:pt x="150000" y="165000"/>
                  </a:lnTo>
                  <a:cubicBezTo>
                    <a:pt x="158285" y="165000"/>
                    <a:pt x="165000" y="158285"/>
                    <a:pt x="165000" y="150000"/>
                  </a:cubicBezTo>
                  <a:cubicBezTo>
                    <a:pt x="165000" y="141716"/>
                    <a:pt x="158285" y="135000"/>
                    <a:pt x="150000" y="135000"/>
                  </a:cubicBezTo>
                  <a:lnTo>
                    <a:pt x="45000" y="135000"/>
                  </a:lnTo>
                  <a:close/>
                  <a:moveTo>
                    <a:pt x="45000" y="195000"/>
                  </a:moveTo>
                  <a:cubicBezTo>
                    <a:pt x="36716" y="195000"/>
                    <a:pt x="30000" y="201716"/>
                    <a:pt x="30000" y="210000"/>
                  </a:cubicBezTo>
                  <a:cubicBezTo>
                    <a:pt x="30000" y="218285"/>
                    <a:pt x="36716" y="225000"/>
                    <a:pt x="45000" y="225000"/>
                  </a:cubicBezTo>
                  <a:lnTo>
                    <a:pt x="90000" y="225000"/>
                  </a:lnTo>
                  <a:cubicBezTo>
                    <a:pt x="98285" y="225000"/>
                    <a:pt x="105000" y="218285"/>
                    <a:pt x="105000" y="210000"/>
                  </a:cubicBezTo>
                  <a:cubicBezTo>
                    <a:pt x="105000" y="201716"/>
                    <a:pt x="98285" y="195000"/>
                    <a:pt x="90000" y="195000"/>
                  </a:cubicBezTo>
                  <a:lnTo>
                    <a:pt x="45000" y="19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04" name="Рисунок 212">
            <a:extLst>
              <a:ext uri="{FF2B5EF4-FFF2-40B4-BE49-F238E27FC236}">
                <a16:creationId xmlns:a16="http://schemas.microsoft.com/office/drawing/2014/main" id="{7C12D4D2-C15D-AA45-99D5-E63ECA13A811}"/>
              </a:ext>
            </a:extLst>
          </p:cNvPr>
          <p:cNvGrpSpPr/>
          <p:nvPr/>
        </p:nvGrpSpPr>
        <p:grpSpPr>
          <a:xfrm>
            <a:off x="9723467" y="1093919"/>
            <a:ext cx="360000" cy="360000"/>
            <a:chOff x="9756920" y="1412875"/>
            <a:chExt cx="360000" cy="360000"/>
          </a:xfrm>
        </p:grpSpPr>
        <p:sp>
          <p:nvSpPr>
            <p:cNvPr id="905" name="Полилиния 904">
              <a:extLst>
                <a:ext uri="{FF2B5EF4-FFF2-40B4-BE49-F238E27FC236}">
                  <a16:creationId xmlns:a16="http://schemas.microsoft.com/office/drawing/2014/main" id="{8720BCFE-CE14-324E-B917-6EEEF6AD8E44}"/>
                </a:ext>
              </a:extLst>
            </p:cNvPr>
            <p:cNvSpPr/>
            <p:nvPr/>
          </p:nvSpPr>
          <p:spPr>
            <a:xfrm>
              <a:off x="975692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6" name="Полилиния 905">
              <a:extLst>
                <a:ext uri="{FF2B5EF4-FFF2-40B4-BE49-F238E27FC236}">
                  <a16:creationId xmlns:a16="http://schemas.microsoft.com/office/drawing/2014/main" id="{3B8C0D33-49EF-024B-A8AF-155F186EBE59}"/>
                </a:ext>
              </a:extLst>
            </p:cNvPr>
            <p:cNvSpPr/>
            <p:nvPr/>
          </p:nvSpPr>
          <p:spPr>
            <a:xfrm>
              <a:off x="9801920" y="1461972"/>
              <a:ext cx="289225" cy="261802"/>
            </a:xfrm>
            <a:custGeom>
              <a:avLst/>
              <a:gdLst>
                <a:gd name="connsiteX0" fmla="*/ 0 w 289225"/>
                <a:gd name="connsiteY0" fmla="*/ 153403 h 261802"/>
                <a:gd name="connsiteX1" fmla="*/ 240000 w 289225"/>
                <a:gd name="connsiteY1" fmla="*/ 130902 h 261802"/>
                <a:gd name="connsiteX2" fmla="*/ 0 w 289225"/>
                <a:gd name="connsiteY2" fmla="*/ 108402 h 261802"/>
                <a:gd name="connsiteX3" fmla="*/ 0 w 289225"/>
                <a:gd name="connsiteY3" fmla="*/ 7502 h 261802"/>
                <a:gd name="connsiteX4" fmla="*/ 661 w 289225"/>
                <a:gd name="connsiteY4" fmla="*/ 4424 h 261802"/>
                <a:gd name="connsiteX5" fmla="*/ 10578 w 289225"/>
                <a:gd name="connsiteY5" fmla="*/ 662 h 261802"/>
                <a:gd name="connsiteX6" fmla="*/ 284802 w 289225"/>
                <a:gd name="connsiteY6" fmla="*/ 124062 h 261802"/>
                <a:gd name="connsiteX7" fmla="*/ 288563 w 289225"/>
                <a:gd name="connsiteY7" fmla="*/ 127824 h 261802"/>
                <a:gd name="connsiteX8" fmla="*/ 284802 w 289225"/>
                <a:gd name="connsiteY8" fmla="*/ 137743 h 261802"/>
                <a:gd name="connsiteX9" fmla="*/ 10578 w 289225"/>
                <a:gd name="connsiteY9" fmla="*/ 261143 h 261802"/>
                <a:gd name="connsiteX10" fmla="*/ 7500 w 289225"/>
                <a:gd name="connsiteY10" fmla="*/ 261803 h 261802"/>
                <a:gd name="connsiteX11" fmla="*/ 0 w 289225"/>
                <a:gd name="connsiteY11" fmla="*/ 254303 h 261802"/>
                <a:gd name="connsiteX12" fmla="*/ 0 w 289225"/>
                <a:gd name="connsiteY12" fmla="*/ 153403 h 26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225" h="261802">
                  <a:moveTo>
                    <a:pt x="0" y="153403"/>
                  </a:moveTo>
                  <a:lnTo>
                    <a:pt x="240000" y="130902"/>
                  </a:lnTo>
                  <a:lnTo>
                    <a:pt x="0" y="108402"/>
                  </a:lnTo>
                  <a:lnTo>
                    <a:pt x="0" y="7502"/>
                  </a:lnTo>
                  <a:cubicBezTo>
                    <a:pt x="0" y="6441"/>
                    <a:pt x="225" y="5392"/>
                    <a:pt x="661" y="4424"/>
                  </a:cubicBezTo>
                  <a:cubicBezTo>
                    <a:pt x="2360" y="647"/>
                    <a:pt x="6800" y="-1037"/>
                    <a:pt x="10578" y="662"/>
                  </a:cubicBezTo>
                  <a:lnTo>
                    <a:pt x="284802" y="124062"/>
                  </a:lnTo>
                  <a:cubicBezTo>
                    <a:pt x="286473" y="124815"/>
                    <a:pt x="287811" y="126153"/>
                    <a:pt x="288563" y="127824"/>
                  </a:cubicBezTo>
                  <a:cubicBezTo>
                    <a:pt x="290264" y="131602"/>
                    <a:pt x="288579" y="136041"/>
                    <a:pt x="284802" y="137743"/>
                  </a:cubicBezTo>
                  <a:lnTo>
                    <a:pt x="10578" y="261143"/>
                  </a:lnTo>
                  <a:cubicBezTo>
                    <a:pt x="9610" y="261578"/>
                    <a:pt x="8561" y="261803"/>
                    <a:pt x="7500" y="261803"/>
                  </a:cubicBezTo>
                  <a:cubicBezTo>
                    <a:pt x="3358" y="261803"/>
                    <a:pt x="0" y="258445"/>
                    <a:pt x="0" y="254303"/>
                  </a:cubicBezTo>
                  <a:lnTo>
                    <a:pt x="0" y="15340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07" name="Рисунок 213">
            <a:extLst>
              <a:ext uri="{FF2B5EF4-FFF2-40B4-BE49-F238E27FC236}">
                <a16:creationId xmlns:a16="http://schemas.microsoft.com/office/drawing/2014/main" id="{A507F3AA-88C9-BC4E-91B1-51F3134D1BB6}"/>
              </a:ext>
            </a:extLst>
          </p:cNvPr>
          <p:cNvGrpSpPr/>
          <p:nvPr/>
        </p:nvGrpSpPr>
        <p:grpSpPr>
          <a:xfrm>
            <a:off x="8213201" y="1093919"/>
            <a:ext cx="360000" cy="360000"/>
            <a:chOff x="8246654" y="1412875"/>
            <a:chExt cx="360000" cy="360000"/>
          </a:xfrm>
        </p:grpSpPr>
        <p:sp>
          <p:nvSpPr>
            <p:cNvPr id="908" name="Полилиния 907">
              <a:extLst>
                <a:ext uri="{FF2B5EF4-FFF2-40B4-BE49-F238E27FC236}">
                  <a16:creationId xmlns:a16="http://schemas.microsoft.com/office/drawing/2014/main" id="{555CBCE0-5331-714E-82F1-998F0DABC839}"/>
                </a:ext>
              </a:extLst>
            </p:cNvPr>
            <p:cNvSpPr/>
            <p:nvPr/>
          </p:nvSpPr>
          <p:spPr>
            <a:xfrm>
              <a:off x="824665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9" name="Полилиния 908">
              <a:extLst>
                <a:ext uri="{FF2B5EF4-FFF2-40B4-BE49-F238E27FC236}">
                  <a16:creationId xmlns:a16="http://schemas.microsoft.com/office/drawing/2014/main" id="{B0754C9C-F6B7-C447-8F4E-8DE447504BA2}"/>
                </a:ext>
              </a:extLst>
            </p:cNvPr>
            <p:cNvSpPr/>
            <p:nvPr/>
          </p:nvSpPr>
          <p:spPr>
            <a:xfrm>
              <a:off x="8246654" y="1502875"/>
              <a:ext cx="90000" cy="180000"/>
            </a:xfrm>
            <a:custGeom>
              <a:avLst/>
              <a:gdLst>
                <a:gd name="connsiteX0" fmla="*/ 60000 w 90000"/>
                <a:gd name="connsiteY0" fmla="*/ 150000 h 180000"/>
                <a:gd name="connsiteX1" fmla="*/ 75000 w 90000"/>
                <a:gd name="connsiteY1" fmla="*/ 150000 h 180000"/>
                <a:gd name="connsiteX2" fmla="*/ 90000 w 90000"/>
                <a:gd name="connsiteY2" fmla="*/ 165000 h 180000"/>
                <a:gd name="connsiteX3" fmla="*/ 75000 w 90000"/>
                <a:gd name="connsiteY3" fmla="*/ 180000 h 180000"/>
                <a:gd name="connsiteX4" fmla="*/ 60000 w 90000"/>
                <a:gd name="connsiteY4" fmla="*/ 180000 h 180000"/>
                <a:gd name="connsiteX5" fmla="*/ 45000 w 90000"/>
                <a:gd name="connsiteY5" fmla="*/ 165000 h 180000"/>
                <a:gd name="connsiteX6" fmla="*/ 60000 w 90000"/>
                <a:gd name="connsiteY6" fmla="*/ 150000 h 180000"/>
                <a:gd name="connsiteX7" fmla="*/ 15000 w 90000"/>
                <a:gd name="connsiteY7" fmla="*/ 75000 h 180000"/>
                <a:gd name="connsiteX8" fmla="*/ 75000 w 90000"/>
                <a:gd name="connsiteY8" fmla="*/ 75000 h 180000"/>
                <a:gd name="connsiteX9" fmla="*/ 90000 w 90000"/>
                <a:gd name="connsiteY9" fmla="*/ 90000 h 180000"/>
                <a:gd name="connsiteX10" fmla="*/ 75000 w 90000"/>
                <a:gd name="connsiteY10" fmla="*/ 105000 h 180000"/>
                <a:gd name="connsiteX11" fmla="*/ 15000 w 90000"/>
                <a:gd name="connsiteY11" fmla="*/ 105000 h 180000"/>
                <a:gd name="connsiteX12" fmla="*/ 0 w 90000"/>
                <a:gd name="connsiteY12" fmla="*/ 90000 h 180000"/>
                <a:gd name="connsiteX13" fmla="*/ 15000 w 90000"/>
                <a:gd name="connsiteY13" fmla="*/ 75000 h 180000"/>
                <a:gd name="connsiteX14" fmla="*/ 45000 w 90000"/>
                <a:gd name="connsiteY14" fmla="*/ 0 h 180000"/>
                <a:gd name="connsiteX15" fmla="*/ 75000 w 90000"/>
                <a:gd name="connsiteY15" fmla="*/ 0 h 180000"/>
                <a:gd name="connsiteX16" fmla="*/ 90000 w 90000"/>
                <a:gd name="connsiteY16" fmla="*/ 15000 h 180000"/>
                <a:gd name="connsiteX17" fmla="*/ 75000 w 90000"/>
                <a:gd name="connsiteY17" fmla="*/ 30000 h 180000"/>
                <a:gd name="connsiteX18" fmla="*/ 45000 w 90000"/>
                <a:gd name="connsiteY18" fmla="*/ 30000 h 180000"/>
                <a:gd name="connsiteX19" fmla="*/ 30000 w 90000"/>
                <a:gd name="connsiteY19" fmla="*/ 15000 h 180000"/>
                <a:gd name="connsiteX20" fmla="*/ 45000 w 90000"/>
                <a:gd name="connsiteY20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0000" h="180000">
                  <a:moveTo>
                    <a:pt x="60000" y="150000"/>
                  </a:moveTo>
                  <a:lnTo>
                    <a:pt x="75000" y="150000"/>
                  </a:lnTo>
                  <a:cubicBezTo>
                    <a:pt x="83284" y="150000"/>
                    <a:pt x="90000" y="156716"/>
                    <a:pt x="90000" y="165000"/>
                  </a:cubicBezTo>
                  <a:cubicBezTo>
                    <a:pt x="90000" y="173285"/>
                    <a:pt x="83284" y="180000"/>
                    <a:pt x="75000" y="180000"/>
                  </a:cubicBezTo>
                  <a:lnTo>
                    <a:pt x="60000" y="180000"/>
                  </a:lnTo>
                  <a:cubicBezTo>
                    <a:pt x="51716" y="180000"/>
                    <a:pt x="45000" y="173285"/>
                    <a:pt x="45000" y="165000"/>
                  </a:cubicBezTo>
                  <a:cubicBezTo>
                    <a:pt x="45000" y="156716"/>
                    <a:pt x="51716" y="150000"/>
                    <a:pt x="60000" y="150000"/>
                  </a:cubicBezTo>
                  <a:close/>
                  <a:moveTo>
                    <a:pt x="15000" y="75000"/>
                  </a:moveTo>
                  <a:lnTo>
                    <a:pt x="75000" y="75000"/>
                  </a:lnTo>
                  <a:cubicBezTo>
                    <a:pt x="83284" y="75000"/>
                    <a:pt x="90000" y="81715"/>
                    <a:pt x="90000" y="90000"/>
                  </a:cubicBezTo>
                  <a:cubicBezTo>
                    <a:pt x="90000" y="98285"/>
                    <a:pt x="83284" y="105000"/>
                    <a:pt x="75000" y="105000"/>
                  </a:cubicBezTo>
                  <a:lnTo>
                    <a:pt x="15000" y="105000"/>
                  </a:lnTo>
                  <a:cubicBezTo>
                    <a:pt x="6716" y="105000"/>
                    <a:pt x="0" y="98285"/>
                    <a:pt x="0" y="90000"/>
                  </a:cubicBezTo>
                  <a:cubicBezTo>
                    <a:pt x="0" y="81715"/>
                    <a:pt x="6716" y="75000"/>
                    <a:pt x="15000" y="75000"/>
                  </a:cubicBezTo>
                  <a:close/>
                  <a:moveTo>
                    <a:pt x="45000" y="0"/>
                  </a:moveTo>
                  <a:lnTo>
                    <a:pt x="75000" y="0"/>
                  </a:lnTo>
                  <a:cubicBezTo>
                    <a:pt x="83284" y="0"/>
                    <a:pt x="90000" y="6716"/>
                    <a:pt x="90000" y="15000"/>
                  </a:cubicBezTo>
                  <a:cubicBezTo>
                    <a:pt x="90000" y="23284"/>
                    <a:pt x="83284" y="30000"/>
                    <a:pt x="75000" y="30000"/>
                  </a:cubicBezTo>
                  <a:lnTo>
                    <a:pt x="45000" y="30000"/>
                  </a:lnTo>
                  <a:cubicBezTo>
                    <a:pt x="36716" y="30000"/>
                    <a:pt x="30000" y="23284"/>
                    <a:pt x="30000" y="15000"/>
                  </a:cubicBezTo>
                  <a:cubicBezTo>
                    <a:pt x="30000" y="6716"/>
                    <a:pt x="36716" y="0"/>
                    <a:pt x="4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0" name="Полилиния 909">
              <a:extLst>
                <a:ext uri="{FF2B5EF4-FFF2-40B4-BE49-F238E27FC236}">
                  <a16:creationId xmlns:a16="http://schemas.microsoft.com/office/drawing/2014/main" id="{423D02C5-AB66-E24A-B7D1-C36228FA7416}"/>
                </a:ext>
              </a:extLst>
            </p:cNvPr>
            <p:cNvSpPr/>
            <p:nvPr/>
          </p:nvSpPr>
          <p:spPr>
            <a:xfrm>
              <a:off x="8366654" y="1502875"/>
              <a:ext cx="240000" cy="180000"/>
            </a:xfrm>
            <a:custGeom>
              <a:avLst/>
              <a:gdLst>
                <a:gd name="connsiteX0" fmla="*/ 30000 w 240000"/>
                <a:gd name="connsiteY0" fmla="*/ 0 h 180000"/>
                <a:gd name="connsiteX1" fmla="*/ 210000 w 240000"/>
                <a:gd name="connsiteY1" fmla="*/ 0 h 180000"/>
                <a:gd name="connsiteX2" fmla="*/ 240000 w 240000"/>
                <a:gd name="connsiteY2" fmla="*/ 30000 h 180000"/>
                <a:gd name="connsiteX3" fmla="*/ 240000 w 240000"/>
                <a:gd name="connsiteY3" fmla="*/ 150000 h 180000"/>
                <a:gd name="connsiteX4" fmla="*/ 210000 w 240000"/>
                <a:gd name="connsiteY4" fmla="*/ 180000 h 180000"/>
                <a:gd name="connsiteX5" fmla="*/ 30000 w 240000"/>
                <a:gd name="connsiteY5" fmla="*/ 180000 h 180000"/>
                <a:gd name="connsiteX6" fmla="*/ 0 w 240000"/>
                <a:gd name="connsiteY6" fmla="*/ 150000 h 180000"/>
                <a:gd name="connsiteX7" fmla="*/ 0 w 240000"/>
                <a:gd name="connsiteY7" fmla="*/ 30000 h 180000"/>
                <a:gd name="connsiteX8" fmla="*/ 30000 w 240000"/>
                <a:gd name="connsiteY8" fmla="*/ 0 h 180000"/>
                <a:gd name="connsiteX9" fmla="*/ 196274 w 240000"/>
                <a:gd name="connsiteY9" fmla="*/ 31077 h 180000"/>
                <a:gd name="connsiteX10" fmla="*/ 120000 w 240000"/>
                <a:gd name="connsiteY10" fmla="*/ 70779 h 180000"/>
                <a:gd name="connsiteX11" fmla="*/ 43727 w 240000"/>
                <a:gd name="connsiteY11" fmla="*/ 31077 h 180000"/>
                <a:gd name="connsiteX12" fmla="*/ 31114 w 240000"/>
                <a:gd name="connsiteY12" fmla="*/ 34735 h 180000"/>
                <a:gd name="connsiteX13" fmla="*/ 34898 w 240000"/>
                <a:gd name="connsiteY13" fmla="*/ 46926 h 180000"/>
                <a:gd name="connsiteX14" fmla="*/ 115586 w 240000"/>
                <a:gd name="connsiteY14" fmla="*/ 88925 h 180000"/>
                <a:gd name="connsiteX15" fmla="*/ 124415 w 240000"/>
                <a:gd name="connsiteY15" fmla="*/ 88925 h 180000"/>
                <a:gd name="connsiteX16" fmla="*/ 205103 w 240000"/>
                <a:gd name="connsiteY16" fmla="*/ 46926 h 180000"/>
                <a:gd name="connsiteX17" fmla="*/ 208885 w 240000"/>
                <a:gd name="connsiteY17" fmla="*/ 34735 h 180000"/>
                <a:gd name="connsiteX18" fmla="*/ 196274 w 240000"/>
                <a:gd name="connsiteY18" fmla="*/ 31077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0000" h="180000">
                  <a:moveTo>
                    <a:pt x="30000" y="0"/>
                  </a:moveTo>
                  <a:lnTo>
                    <a:pt x="210000" y="0"/>
                  </a:lnTo>
                  <a:cubicBezTo>
                    <a:pt x="226569" y="0"/>
                    <a:pt x="240000" y="13431"/>
                    <a:pt x="240000" y="30000"/>
                  </a:cubicBezTo>
                  <a:lnTo>
                    <a:pt x="240000" y="150000"/>
                  </a:lnTo>
                  <a:cubicBezTo>
                    <a:pt x="240000" y="166569"/>
                    <a:pt x="226569" y="180000"/>
                    <a:pt x="210000" y="180000"/>
                  </a:cubicBezTo>
                  <a:lnTo>
                    <a:pt x="30000" y="180000"/>
                  </a:lnTo>
                  <a:cubicBezTo>
                    <a:pt x="13431" y="180000"/>
                    <a:pt x="0" y="166569"/>
                    <a:pt x="0" y="15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196274" y="31077"/>
                  </a:moveTo>
                  <a:lnTo>
                    <a:pt x="120000" y="70779"/>
                  </a:lnTo>
                  <a:lnTo>
                    <a:pt x="43727" y="31077"/>
                  </a:lnTo>
                  <a:cubicBezTo>
                    <a:pt x="39198" y="28721"/>
                    <a:pt x="33552" y="30358"/>
                    <a:pt x="31114" y="34735"/>
                  </a:cubicBezTo>
                  <a:cubicBezTo>
                    <a:pt x="28677" y="39111"/>
                    <a:pt x="30371" y="44569"/>
                    <a:pt x="34898" y="46926"/>
                  </a:cubicBezTo>
                  <a:lnTo>
                    <a:pt x="115586" y="88925"/>
                  </a:lnTo>
                  <a:cubicBezTo>
                    <a:pt x="118341" y="90359"/>
                    <a:pt x="121659" y="90359"/>
                    <a:pt x="124415" y="88925"/>
                  </a:cubicBezTo>
                  <a:lnTo>
                    <a:pt x="205103" y="46926"/>
                  </a:lnTo>
                  <a:cubicBezTo>
                    <a:pt x="209630" y="44569"/>
                    <a:pt x="211323" y="39111"/>
                    <a:pt x="208885" y="34735"/>
                  </a:cubicBezTo>
                  <a:cubicBezTo>
                    <a:pt x="206448" y="30358"/>
                    <a:pt x="200802" y="28721"/>
                    <a:pt x="196274" y="31077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11" name="Рисунок 214">
            <a:extLst>
              <a:ext uri="{FF2B5EF4-FFF2-40B4-BE49-F238E27FC236}">
                <a16:creationId xmlns:a16="http://schemas.microsoft.com/office/drawing/2014/main" id="{B2C7C9BD-EC84-6F43-90B4-8F368ACCF86A}"/>
              </a:ext>
            </a:extLst>
          </p:cNvPr>
          <p:cNvGrpSpPr/>
          <p:nvPr/>
        </p:nvGrpSpPr>
        <p:grpSpPr>
          <a:xfrm>
            <a:off x="6702935" y="1093919"/>
            <a:ext cx="360000" cy="360000"/>
            <a:chOff x="6736388" y="1412875"/>
            <a:chExt cx="360000" cy="360000"/>
          </a:xfrm>
        </p:grpSpPr>
        <p:sp>
          <p:nvSpPr>
            <p:cNvPr id="912" name="Полилиния 911">
              <a:extLst>
                <a:ext uri="{FF2B5EF4-FFF2-40B4-BE49-F238E27FC236}">
                  <a16:creationId xmlns:a16="http://schemas.microsoft.com/office/drawing/2014/main" id="{0B750E68-DA74-FE41-89DF-D16A639ACE62}"/>
                </a:ext>
              </a:extLst>
            </p:cNvPr>
            <p:cNvSpPr/>
            <p:nvPr/>
          </p:nvSpPr>
          <p:spPr>
            <a:xfrm>
              <a:off x="6736388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3" name="Полилиния 912">
              <a:extLst>
                <a:ext uri="{FF2B5EF4-FFF2-40B4-BE49-F238E27FC236}">
                  <a16:creationId xmlns:a16="http://schemas.microsoft.com/office/drawing/2014/main" id="{1AE5F3A0-F3D0-5045-88BD-98A9D6113965}"/>
                </a:ext>
              </a:extLst>
            </p:cNvPr>
            <p:cNvSpPr/>
            <p:nvPr/>
          </p:nvSpPr>
          <p:spPr>
            <a:xfrm>
              <a:off x="6856388" y="1491950"/>
              <a:ext cx="222606" cy="201847"/>
            </a:xfrm>
            <a:custGeom>
              <a:avLst/>
              <a:gdLst>
                <a:gd name="connsiteX0" fmla="*/ 0 w 222606"/>
                <a:gd name="connsiteY0" fmla="*/ 118428 h 201847"/>
                <a:gd name="connsiteX1" fmla="*/ 186705 w 222606"/>
                <a:gd name="connsiteY1" fmla="*/ 100925 h 201847"/>
                <a:gd name="connsiteX2" fmla="*/ 0 w 222606"/>
                <a:gd name="connsiteY2" fmla="*/ 83421 h 201847"/>
                <a:gd name="connsiteX3" fmla="*/ 0 w 222606"/>
                <a:gd name="connsiteY3" fmla="*/ 7502 h 201847"/>
                <a:gd name="connsiteX4" fmla="*/ 661 w 222606"/>
                <a:gd name="connsiteY4" fmla="*/ 4424 h 201847"/>
                <a:gd name="connsiteX5" fmla="*/ 10578 w 222606"/>
                <a:gd name="connsiteY5" fmla="*/ 662 h 201847"/>
                <a:gd name="connsiteX6" fmla="*/ 218184 w 222606"/>
                <a:gd name="connsiteY6" fmla="*/ 94085 h 201847"/>
                <a:gd name="connsiteX7" fmla="*/ 221945 w 222606"/>
                <a:gd name="connsiteY7" fmla="*/ 97847 h 201847"/>
                <a:gd name="connsiteX8" fmla="*/ 218184 w 222606"/>
                <a:gd name="connsiteY8" fmla="*/ 107763 h 201847"/>
                <a:gd name="connsiteX9" fmla="*/ 10578 w 222606"/>
                <a:gd name="connsiteY9" fmla="*/ 201186 h 201847"/>
                <a:gd name="connsiteX10" fmla="*/ 7500 w 222606"/>
                <a:gd name="connsiteY10" fmla="*/ 201848 h 201847"/>
                <a:gd name="connsiteX11" fmla="*/ 0 w 222606"/>
                <a:gd name="connsiteY11" fmla="*/ 194348 h 201847"/>
                <a:gd name="connsiteX12" fmla="*/ 0 w 222606"/>
                <a:gd name="connsiteY12" fmla="*/ 118428 h 201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2606" h="201847">
                  <a:moveTo>
                    <a:pt x="0" y="118428"/>
                  </a:moveTo>
                  <a:lnTo>
                    <a:pt x="186705" y="100925"/>
                  </a:lnTo>
                  <a:lnTo>
                    <a:pt x="0" y="83421"/>
                  </a:lnTo>
                  <a:lnTo>
                    <a:pt x="0" y="7502"/>
                  </a:lnTo>
                  <a:cubicBezTo>
                    <a:pt x="0" y="6441"/>
                    <a:pt x="225" y="5392"/>
                    <a:pt x="661" y="4424"/>
                  </a:cubicBezTo>
                  <a:cubicBezTo>
                    <a:pt x="2360" y="647"/>
                    <a:pt x="6800" y="-1037"/>
                    <a:pt x="10578" y="662"/>
                  </a:cubicBezTo>
                  <a:lnTo>
                    <a:pt x="218184" y="94085"/>
                  </a:lnTo>
                  <a:cubicBezTo>
                    <a:pt x="219855" y="94838"/>
                    <a:pt x="221193" y="96176"/>
                    <a:pt x="221945" y="97847"/>
                  </a:cubicBezTo>
                  <a:cubicBezTo>
                    <a:pt x="223644" y="101624"/>
                    <a:pt x="221961" y="106064"/>
                    <a:pt x="218184" y="107763"/>
                  </a:cubicBezTo>
                  <a:lnTo>
                    <a:pt x="10578" y="201186"/>
                  </a:lnTo>
                  <a:cubicBezTo>
                    <a:pt x="9610" y="201621"/>
                    <a:pt x="8561" y="201848"/>
                    <a:pt x="7500" y="201848"/>
                  </a:cubicBezTo>
                  <a:cubicBezTo>
                    <a:pt x="3358" y="201848"/>
                    <a:pt x="0" y="198489"/>
                    <a:pt x="0" y="194348"/>
                  </a:cubicBezTo>
                  <a:lnTo>
                    <a:pt x="0" y="118428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4" name="Полилиния 913">
              <a:extLst>
                <a:ext uri="{FF2B5EF4-FFF2-40B4-BE49-F238E27FC236}">
                  <a16:creationId xmlns:a16="http://schemas.microsoft.com/office/drawing/2014/main" id="{5ADF94EE-DEFA-1448-B1A5-0062429BF52C}"/>
                </a:ext>
              </a:extLst>
            </p:cNvPr>
            <p:cNvSpPr/>
            <p:nvPr/>
          </p:nvSpPr>
          <p:spPr>
            <a:xfrm>
              <a:off x="6736388" y="1502875"/>
              <a:ext cx="90000" cy="180000"/>
            </a:xfrm>
            <a:custGeom>
              <a:avLst/>
              <a:gdLst>
                <a:gd name="connsiteX0" fmla="*/ 60000 w 90000"/>
                <a:gd name="connsiteY0" fmla="*/ 150000 h 180000"/>
                <a:gd name="connsiteX1" fmla="*/ 75000 w 90000"/>
                <a:gd name="connsiteY1" fmla="*/ 150000 h 180000"/>
                <a:gd name="connsiteX2" fmla="*/ 90000 w 90000"/>
                <a:gd name="connsiteY2" fmla="*/ 165000 h 180000"/>
                <a:gd name="connsiteX3" fmla="*/ 75000 w 90000"/>
                <a:gd name="connsiteY3" fmla="*/ 180000 h 180000"/>
                <a:gd name="connsiteX4" fmla="*/ 60000 w 90000"/>
                <a:gd name="connsiteY4" fmla="*/ 180000 h 180000"/>
                <a:gd name="connsiteX5" fmla="*/ 45000 w 90000"/>
                <a:gd name="connsiteY5" fmla="*/ 165000 h 180000"/>
                <a:gd name="connsiteX6" fmla="*/ 60000 w 90000"/>
                <a:gd name="connsiteY6" fmla="*/ 150000 h 180000"/>
                <a:gd name="connsiteX7" fmla="*/ 15000 w 90000"/>
                <a:gd name="connsiteY7" fmla="*/ 75000 h 180000"/>
                <a:gd name="connsiteX8" fmla="*/ 75000 w 90000"/>
                <a:gd name="connsiteY8" fmla="*/ 75000 h 180000"/>
                <a:gd name="connsiteX9" fmla="*/ 90000 w 90000"/>
                <a:gd name="connsiteY9" fmla="*/ 90000 h 180000"/>
                <a:gd name="connsiteX10" fmla="*/ 75000 w 90000"/>
                <a:gd name="connsiteY10" fmla="*/ 105000 h 180000"/>
                <a:gd name="connsiteX11" fmla="*/ 15000 w 90000"/>
                <a:gd name="connsiteY11" fmla="*/ 105000 h 180000"/>
                <a:gd name="connsiteX12" fmla="*/ 0 w 90000"/>
                <a:gd name="connsiteY12" fmla="*/ 90000 h 180000"/>
                <a:gd name="connsiteX13" fmla="*/ 15000 w 90000"/>
                <a:gd name="connsiteY13" fmla="*/ 75000 h 180000"/>
                <a:gd name="connsiteX14" fmla="*/ 60000 w 90000"/>
                <a:gd name="connsiteY14" fmla="*/ 0 h 180000"/>
                <a:gd name="connsiteX15" fmla="*/ 75000 w 90000"/>
                <a:gd name="connsiteY15" fmla="*/ 0 h 180000"/>
                <a:gd name="connsiteX16" fmla="*/ 90000 w 90000"/>
                <a:gd name="connsiteY16" fmla="*/ 15000 h 180000"/>
                <a:gd name="connsiteX17" fmla="*/ 75000 w 90000"/>
                <a:gd name="connsiteY17" fmla="*/ 30000 h 180000"/>
                <a:gd name="connsiteX18" fmla="*/ 60000 w 90000"/>
                <a:gd name="connsiteY18" fmla="*/ 30000 h 180000"/>
                <a:gd name="connsiteX19" fmla="*/ 45000 w 90000"/>
                <a:gd name="connsiteY19" fmla="*/ 15000 h 180000"/>
                <a:gd name="connsiteX20" fmla="*/ 60000 w 90000"/>
                <a:gd name="connsiteY20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0000" h="180000">
                  <a:moveTo>
                    <a:pt x="60000" y="150000"/>
                  </a:moveTo>
                  <a:lnTo>
                    <a:pt x="75000" y="150000"/>
                  </a:lnTo>
                  <a:cubicBezTo>
                    <a:pt x="83284" y="150000"/>
                    <a:pt x="90000" y="156716"/>
                    <a:pt x="90000" y="165000"/>
                  </a:cubicBezTo>
                  <a:cubicBezTo>
                    <a:pt x="90000" y="173285"/>
                    <a:pt x="83284" y="180000"/>
                    <a:pt x="75000" y="180000"/>
                  </a:cubicBezTo>
                  <a:lnTo>
                    <a:pt x="60000" y="180000"/>
                  </a:lnTo>
                  <a:cubicBezTo>
                    <a:pt x="51716" y="180000"/>
                    <a:pt x="45000" y="173285"/>
                    <a:pt x="45000" y="165000"/>
                  </a:cubicBezTo>
                  <a:cubicBezTo>
                    <a:pt x="45000" y="156716"/>
                    <a:pt x="51716" y="150000"/>
                    <a:pt x="60000" y="150000"/>
                  </a:cubicBezTo>
                  <a:close/>
                  <a:moveTo>
                    <a:pt x="15000" y="75000"/>
                  </a:moveTo>
                  <a:lnTo>
                    <a:pt x="75000" y="75000"/>
                  </a:lnTo>
                  <a:cubicBezTo>
                    <a:pt x="83284" y="75000"/>
                    <a:pt x="90000" y="81715"/>
                    <a:pt x="90000" y="90000"/>
                  </a:cubicBezTo>
                  <a:cubicBezTo>
                    <a:pt x="90000" y="98285"/>
                    <a:pt x="83284" y="105000"/>
                    <a:pt x="75000" y="105000"/>
                  </a:cubicBezTo>
                  <a:lnTo>
                    <a:pt x="15000" y="105000"/>
                  </a:lnTo>
                  <a:cubicBezTo>
                    <a:pt x="6716" y="105000"/>
                    <a:pt x="0" y="98285"/>
                    <a:pt x="0" y="90000"/>
                  </a:cubicBezTo>
                  <a:cubicBezTo>
                    <a:pt x="0" y="81715"/>
                    <a:pt x="6716" y="75000"/>
                    <a:pt x="15000" y="75000"/>
                  </a:cubicBezTo>
                  <a:close/>
                  <a:moveTo>
                    <a:pt x="60000" y="0"/>
                  </a:moveTo>
                  <a:lnTo>
                    <a:pt x="75000" y="0"/>
                  </a:lnTo>
                  <a:cubicBezTo>
                    <a:pt x="83284" y="0"/>
                    <a:pt x="90000" y="6716"/>
                    <a:pt x="90000" y="15000"/>
                  </a:cubicBezTo>
                  <a:cubicBezTo>
                    <a:pt x="90000" y="23284"/>
                    <a:pt x="83284" y="30000"/>
                    <a:pt x="75000" y="30000"/>
                  </a:cubicBezTo>
                  <a:lnTo>
                    <a:pt x="60000" y="30000"/>
                  </a:lnTo>
                  <a:cubicBezTo>
                    <a:pt x="51716" y="30000"/>
                    <a:pt x="45000" y="23284"/>
                    <a:pt x="45000" y="15000"/>
                  </a:cubicBezTo>
                  <a:cubicBezTo>
                    <a:pt x="45000" y="6716"/>
                    <a:pt x="51716" y="0"/>
                    <a:pt x="60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15" name="Рисунок 215">
            <a:extLst>
              <a:ext uri="{FF2B5EF4-FFF2-40B4-BE49-F238E27FC236}">
                <a16:creationId xmlns:a16="http://schemas.microsoft.com/office/drawing/2014/main" id="{DEFBF96B-22D8-6F41-B117-B674CFF08656}"/>
              </a:ext>
            </a:extLst>
          </p:cNvPr>
          <p:cNvGrpSpPr/>
          <p:nvPr/>
        </p:nvGrpSpPr>
        <p:grpSpPr>
          <a:xfrm>
            <a:off x="5192669" y="1093919"/>
            <a:ext cx="360000" cy="360000"/>
            <a:chOff x="5226122" y="1412875"/>
            <a:chExt cx="360000" cy="360000"/>
          </a:xfrm>
        </p:grpSpPr>
        <p:sp>
          <p:nvSpPr>
            <p:cNvPr id="916" name="Полилиния 915">
              <a:extLst>
                <a:ext uri="{FF2B5EF4-FFF2-40B4-BE49-F238E27FC236}">
                  <a16:creationId xmlns:a16="http://schemas.microsoft.com/office/drawing/2014/main" id="{15750DBD-7529-8D45-A5BB-43AD6AC1E88F}"/>
                </a:ext>
              </a:extLst>
            </p:cNvPr>
            <p:cNvSpPr/>
            <p:nvPr/>
          </p:nvSpPr>
          <p:spPr>
            <a:xfrm>
              <a:off x="5226122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7" name="Полилиния 916">
              <a:extLst>
                <a:ext uri="{FF2B5EF4-FFF2-40B4-BE49-F238E27FC236}">
                  <a16:creationId xmlns:a16="http://schemas.microsoft.com/office/drawing/2014/main" id="{BA342464-0364-3247-8643-1829571AA814}"/>
                </a:ext>
              </a:extLst>
            </p:cNvPr>
            <p:cNvSpPr/>
            <p:nvPr/>
          </p:nvSpPr>
          <p:spPr>
            <a:xfrm>
              <a:off x="5271122" y="1442875"/>
              <a:ext cx="270000" cy="90000"/>
            </a:xfrm>
            <a:custGeom>
              <a:avLst/>
              <a:gdLst>
                <a:gd name="connsiteX0" fmla="*/ 30000 w 270000"/>
                <a:gd name="connsiteY0" fmla="*/ 0 h 90000"/>
                <a:gd name="connsiteX1" fmla="*/ 240000 w 270000"/>
                <a:gd name="connsiteY1" fmla="*/ 0 h 90000"/>
                <a:gd name="connsiteX2" fmla="*/ 270000 w 270000"/>
                <a:gd name="connsiteY2" fmla="*/ 30000 h 90000"/>
                <a:gd name="connsiteX3" fmla="*/ 270000 w 270000"/>
                <a:gd name="connsiteY3" fmla="*/ 60000 h 90000"/>
                <a:gd name="connsiteX4" fmla="*/ 240000 w 270000"/>
                <a:gd name="connsiteY4" fmla="*/ 90000 h 90000"/>
                <a:gd name="connsiteX5" fmla="*/ 30000 w 270000"/>
                <a:gd name="connsiteY5" fmla="*/ 90000 h 90000"/>
                <a:gd name="connsiteX6" fmla="*/ 0 w 270000"/>
                <a:gd name="connsiteY6" fmla="*/ 60000 h 90000"/>
                <a:gd name="connsiteX7" fmla="*/ 0 w 270000"/>
                <a:gd name="connsiteY7" fmla="*/ 30000 h 90000"/>
                <a:gd name="connsiteX8" fmla="*/ 30000 w 270000"/>
                <a:gd name="connsiteY8" fmla="*/ 0 h 90000"/>
                <a:gd name="connsiteX9" fmla="*/ 120000 w 270000"/>
                <a:gd name="connsiteY9" fmla="*/ 30000 h 90000"/>
                <a:gd name="connsiteX10" fmla="*/ 105000 w 270000"/>
                <a:gd name="connsiteY10" fmla="*/ 45000 h 90000"/>
                <a:gd name="connsiteX11" fmla="*/ 120000 w 270000"/>
                <a:gd name="connsiteY11" fmla="*/ 60000 h 90000"/>
                <a:gd name="connsiteX12" fmla="*/ 195000 w 270000"/>
                <a:gd name="connsiteY12" fmla="*/ 60000 h 90000"/>
                <a:gd name="connsiteX13" fmla="*/ 210000 w 270000"/>
                <a:gd name="connsiteY13" fmla="*/ 45000 h 90000"/>
                <a:gd name="connsiteX14" fmla="*/ 195000 w 270000"/>
                <a:gd name="connsiteY14" fmla="*/ 30000 h 90000"/>
                <a:gd name="connsiteX15" fmla="*/ 120000 w 270000"/>
                <a:gd name="connsiteY15" fmla="*/ 30000 h 90000"/>
                <a:gd name="connsiteX16" fmla="*/ 60000 w 270000"/>
                <a:gd name="connsiteY16" fmla="*/ 60000 h 90000"/>
                <a:gd name="connsiteX17" fmla="*/ 75000 w 270000"/>
                <a:gd name="connsiteY17" fmla="*/ 45000 h 90000"/>
                <a:gd name="connsiteX18" fmla="*/ 60000 w 270000"/>
                <a:gd name="connsiteY18" fmla="*/ 30000 h 90000"/>
                <a:gd name="connsiteX19" fmla="*/ 45000 w 270000"/>
                <a:gd name="connsiteY19" fmla="*/ 45000 h 90000"/>
                <a:gd name="connsiteX20" fmla="*/ 60000 w 270000"/>
                <a:gd name="connsiteY20" fmla="*/ 6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000" h="90000">
                  <a:moveTo>
                    <a:pt x="30000" y="0"/>
                  </a:move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60000"/>
                  </a:lnTo>
                  <a:cubicBezTo>
                    <a:pt x="270000" y="76569"/>
                    <a:pt x="256569" y="90000"/>
                    <a:pt x="240000" y="90000"/>
                  </a:cubicBezTo>
                  <a:lnTo>
                    <a:pt x="30000" y="90000"/>
                  </a:lnTo>
                  <a:cubicBezTo>
                    <a:pt x="13431" y="90000"/>
                    <a:pt x="0" y="76569"/>
                    <a:pt x="0" y="6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120000" y="30000"/>
                  </a:moveTo>
                  <a:cubicBezTo>
                    <a:pt x="111715" y="30000"/>
                    <a:pt x="105000" y="36716"/>
                    <a:pt x="105000" y="45000"/>
                  </a:cubicBezTo>
                  <a:cubicBezTo>
                    <a:pt x="105000" y="53284"/>
                    <a:pt x="111715" y="60000"/>
                    <a:pt x="120000" y="60000"/>
                  </a:cubicBezTo>
                  <a:lnTo>
                    <a:pt x="195000" y="60000"/>
                  </a:lnTo>
                  <a:cubicBezTo>
                    <a:pt x="203285" y="60000"/>
                    <a:pt x="210000" y="53284"/>
                    <a:pt x="210000" y="45000"/>
                  </a:cubicBezTo>
                  <a:cubicBezTo>
                    <a:pt x="210000" y="36716"/>
                    <a:pt x="203285" y="30000"/>
                    <a:pt x="195000" y="30000"/>
                  </a:cubicBezTo>
                  <a:lnTo>
                    <a:pt x="120000" y="30000"/>
                  </a:lnTo>
                  <a:close/>
                  <a:moveTo>
                    <a:pt x="60000" y="60000"/>
                  </a:moveTo>
                  <a:cubicBezTo>
                    <a:pt x="68284" y="60000"/>
                    <a:pt x="75000" y="53284"/>
                    <a:pt x="75000" y="45000"/>
                  </a:cubicBezTo>
                  <a:cubicBezTo>
                    <a:pt x="75000" y="36716"/>
                    <a:pt x="68284" y="30000"/>
                    <a:pt x="60000" y="30000"/>
                  </a:cubicBezTo>
                  <a:cubicBezTo>
                    <a:pt x="51716" y="30000"/>
                    <a:pt x="45000" y="36716"/>
                    <a:pt x="45000" y="45000"/>
                  </a:cubicBezTo>
                  <a:cubicBezTo>
                    <a:pt x="45000" y="53284"/>
                    <a:pt x="51716" y="60000"/>
                    <a:pt x="60000" y="6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8" name="Полилиния 917">
              <a:extLst>
                <a:ext uri="{FF2B5EF4-FFF2-40B4-BE49-F238E27FC236}">
                  <a16:creationId xmlns:a16="http://schemas.microsoft.com/office/drawing/2014/main" id="{C4626440-6D53-4847-B8D4-4B8BB0A617B4}"/>
                </a:ext>
              </a:extLst>
            </p:cNvPr>
            <p:cNvSpPr/>
            <p:nvPr/>
          </p:nvSpPr>
          <p:spPr>
            <a:xfrm>
              <a:off x="5271122" y="1547875"/>
              <a:ext cx="270000" cy="90000"/>
            </a:xfrm>
            <a:custGeom>
              <a:avLst/>
              <a:gdLst>
                <a:gd name="connsiteX0" fmla="*/ 30000 w 270000"/>
                <a:gd name="connsiteY0" fmla="*/ 0 h 90000"/>
                <a:gd name="connsiteX1" fmla="*/ 240000 w 270000"/>
                <a:gd name="connsiteY1" fmla="*/ 0 h 90000"/>
                <a:gd name="connsiteX2" fmla="*/ 270000 w 270000"/>
                <a:gd name="connsiteY2" fmla="*/ 30000 h 90000"/>
                <a:gd name="connsiteX3" fmla="*/ 270000 w 270000"/>
                <a:gd name="connsiteY3" fmla="*/ 60000 h 90000"/>
                <a:gd name="connsiteX4" fmla="*/ 240000 w 270000"/>
                <a:gd name="connsiteY4" fmla="*/ 90000 h 90000"/>
                <a:gd name="connsiteX5" fmla="*/ 30000 w 270000"/>
                <a:gd name="connsiteY5" fmla="*/ 90000 h 90000"/>
                <a:gd name="connsiteX6" fmla="*/ 0 w 270000"/>
                <a:gd name="connsiteY6" fmla="*/ 60000 h 90000"/>
                <a:gd name="connsiteX7" fmla="*/ 0 w 270000"/>
                <a:gd name="connsiteY7" fmla="*/ 30000 h 90000"/>
                <a:gd name="connsiteX8" fmla="*/ 30000 w 270000"/>
                <a:gd name="connsiteY8" fmla="*/ 0 h 90000"/>
                <a:gd name="connsiteX9" fmla="*/ 120000 w 270000"/>
                <a:gd name="connsiteY9" fmla="*/ 30000 h 90000"/>
                <a:gd name="connsiteX10" fmla="*/ 105000 w 270000"/>
                <a:gd name="connsiteY10" fmla="*/ 45000 h 90000"/>
                <a:gd name="connsiteX11" fmla="*/ 120000 w 270000"/>
                <a:gd name="connsiteY11" fmla="*/ 60000 h 90000"/>
                <a:gd name="connsiteX12" fmla="*/ 195000 w 270000"/>
                <a:gd name="connsiteY12" fmla="*/ 60000 h 90000"/>
                <a:gd name="connsiteX13" fmla="*/ 210000 w 270000"/>
                <a:gd name="connsiteY13" fmla="*/ 45000 h 90000"/>
                <a:gd name="connsiteX14" fmla="*/ 195000 w 270000"/>
                <a:gd name="connsiteY14" fmla="*/ 30000 h 90000"/>
                <a:gd name="connsiteX15" fmla="*/ 120000 w 270000"/>
                <a:gd name="connsiteY15" fmla="*/ 30000 h 90000"/>
                <a:gd name="connsiteX16" fmla="*/ 60000 w 270000"/>
                <a:gd name="connsiteY16" fmla="*/ 60000 h 90000"/>
                <a:gd name="connsiteX17" fmla="*/ 75000 w 270000"/>
                <a:gd name="connsiteY17" fmla="*/ 45000 h 90000"/>
                <a:gd name="connsiteX18" fmla="*/ 60000 w 270000"/>
                <a:gd name="connsiteY18" fmla="*/ 30000 h 90000"/>
                <a:gd name="connsiteX19" fmla="*/ 45000 w 270000"/>
                <a:gd name="connsiteY19" fmla="*/ 45000 h 90000"/>
                <a:gd name="connsiteX20" fmla="*/ 60000 w 270000"/>
                <a:gd name="connsiteY20" fmla="*/ 6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000" h="90000">
                  <a:moveTo>
                    <a:pt x="30000" y="0"/>
                  </a:move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60000"/>
                  </a:lnTo>
                  <a:cubicBezTo>
                    <a:pt x="270000" y="76569"/>
                    <a:pt x="256569" y="90000"/>
                    <a:pt x="240000" y="90000"/>
                  </a:cubicBezTo>
                  <a:lnTo>
                    <a:pt x="30000" y="90000"/>
                  </a:lnTo>
                  <a:cubicBezTo>
                    <a:pt x="13431" y="90000"/>
                    <a:pt x="0" y="76569"/>
                    <a:pt x="0" y="6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120000" y="30000"/>
                  </a:moveTo>
                  <a:cubicBezTo>
                    <a:pt x="111715" y="30000"/>
                    <a:pt x="105000" y="36715"/>
                    <a:pt x="105000" y="45000"/>
                  </a:cubicBezTo>
                  <a:cubicBezTo>
                    <a:pt x="105000" y="53285"/>
                    <a:pt x="111715" y="60000"/>
                    <a:pt x="120000" y="60000"/>
                  </a:cubicBezTo>
                  <a:lnTo>
                    <a:pt x="195000" y="60000"/>
                  </a:lnTo>
                  <a:cubicBezTo>
                    <a:pt x="203285" y="60000"/>
                    <a:pt x="210000" y="53285"/>
                    <a:pt x="210000" y="45000"/>
                  </a:cubicBezTo>
                  <a:cubicBezTo>
                    <a:pt x="210000" y="36715"/>
                    <a:pt x="203285" y="30000"/>
                    <a:pt x="195000" y="30000"/>
                  </a:cubicBezTo>
                  <a:lnTo>
                    <a:pt x="120000" y="30000"/>
                  </a:lnTo>
                  <a:close/>
                  <a:moveTo>
                    <a:pt x="60000" y="60000"/>
                  </a:moveTo>
                  <a:cubicBezTo>
                    <a:pt x="68284" y="60000"/>
                    <a:pt x="75000" y="53285"/>
                    <a:pt x="75000" y="45000"/>
                  </a:cubicBezTo>
                  <a:cubicBezTo>
                    <a:pt x="75000" y="36715"/>
                    <a:pt x="68284" y="30000"/>
                    <a:pt x="60000" y="30000"/>
                  </a:cubicBezTo>
                  <a:cubicBezTo>
                    <a:pt x="51716" y="30000"/>
                    <a:pt x="45000" y="36715"/>
                    <a:pt x="45000" y="45000"/>
                  </a:cubicBezTo>
                  <a:cubicBezTo>
                    <a:pt x="45000" y="53285"/>
                    <a:pt x="51716" y="60000"/>
                    <a:pt x="60000" y="6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9" name="Полилиния 918">
              <a:extLst>
                <a:ext uri="{FF2B5EF4-FFF2-40B4-BE49-F238E27FC236}">
                  <a16:creationId xmlns:a16="http://schemas.microsoft.com/office/drawing/2014/main" id="{8CE84292-8BBA-3244-BA65-DEAAC3EA9CF7}"/>
                </a:ext>
              </a:extLst>
            </p:cNvPr>
            <p:cNvSpPr/>
            <p:nvPr/>
          </p:nvSpPr>
          <p:spPr>
            <a:xfrm>
              <a:off x="5271122" y="1652875"/>
              <a:ext cx="270000" cy="90000"/>
            </a:xfrm>
            <a:custGeom>
              <a:avLst/>
              <a:gdLst>
                <a:gd name="connsiteX0" fmla="*/ 30000 w 270000"/>
                <a:gd name="connsiteY0" fmla="*/ 0 h 90000"/>
                <a:gd name="connsiteX1" fmla="*/ 240000 w 270000"/>
                <a:gd name="connsiteY1" fmla="*/ 0 h 90000"/>
                <a:gd name="connsiteX2" fmla="*/ 270000 w 270000"/>
                <a:gd name="connsiteY2" fmla="*/ 30000 h 90000"/>
                <a:gd name="connsiteX3" fmla="*/ 270000 w 270000"/>
                <a:gd name="connsiteY3" fmla="*/ 60000 h 90000"/>
                <a:gd name="connsiteX4" fmla="*/ 240000 w 270000"/>
                <a:gd name="connsiteY4" fmla="*/ 90000 h 90000"/>
                <a:gd name="connsiteX5" fmla="*/ 30000 w 270000"/>
                <a:gd name="connsiteY5" fmla="*/ 90000 h 90000"/>
                <a:gd name="connsiteX6" fmla="*/ 0 w 270000"/>
                <a:gd name="connsiteY6" fmla="*/ 60000 h 90000"/>
                <a:gd name="connsiteX7" fmla="*/ 0 w 270000"/>
                <a:gd name="connsiteY7" fmla="*/ 30000 h 90000"/>
                <a:gd name="connsiteX8" fmla="*/ 30000 w 270000"/>
                <a:gd name="connsiteY8" fmla="*/ 0 h 90000"/>
                <a:gd name="connsiteX9" fmla="*/ 120000 w 270000"/>
                <a:gd name="connsiteY9" fmla="*/ 30000 h 90000"/>
                <a:gd name="connsiteX10" fmla="*/ 105000 w 270000"/>
                <a:gd name="connsiteY10" fmla="*/ 45000 h 90000"/>
                <a:gd name="connsiteX11" fmla="*/ 120000 w 270000"/>
                <a:gd name="connsiteY11" fmla="*/ 60000 h 90000"/>
                <a:gd name="connsiteX12" fmla="*/ 195000 w 270000"/>
                <a:gd name="connsiteY12" fmla="*/ 60000 h 90000"/>
                <a:gd name="connsiteX13" fmla="*/ 210000 w 270000"/>
                <a:gd name="connsiteY13" fmla="*/ 45000 h 90000"/>
                <a:gd name="connsiteX14" fmla="*/ 195000 w 270000"/>
                <a:gd name="connsiteY14" fmla="*/ 30000 h 90000"/>
                <a:gd name="connsiteX15" fmla="*/ 120000 w 270000"/>
                <a:gd name="connsiteY15" fmla="*/ 30000 h 90000"/>
                <a:gd name="connsiteX16" fmla="*/ 60000 w 270000"/>
                <a:gd name="connsiteY16" fmla="*/ 60000 h 90000"/>
                <a:gd name="connsiteX17" fmla="*/ 75000 w 270000"/>
                <a:gd name="connsiteY17" fmla="*/ 45000 h 90000"/>
                <a:gd name="connsiteX18" fmla="*/ 60000 w 270000"/>
                <a:gd name="connsiteY18" fmla="*/ 30000 h 90000"/>
                <a:gd name="connsiteX19" fmla="*/ 45000 w 270000"/>
                <a:gd name="connsiteY19" fmla="*/ 45000 h 90000"/>
                <a:gd name="connsiteX20" fmla="*/ 60000 w 270000"/>
                <a:gd name="connsiteY20" fmla="*/ 6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000" h="90000">
                  <a:moveTo>
                    <a:pt x="30000" y="0"/>
                  </a:move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60000"/>
                  </a:lnTo>
                  <a:cubicBezTo>
                    <a:pt x="270000" y="76569"/>
                    <a:pt x="256569" y="90000"/>
                    <a:pt x="240000" y="90000"/>
                  </a:cubicBezTo>
                  <a:lnTo>
                    <a:pt x="30000" y="90000"/>
                  </a:lnTo>
                  <a:cubicBezTo>
                    <a:pt x="13431" y="90000"/>
                    <a:pt x="0" y="76569"/>
                    <a:pt x="0" y="6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120000" y="30000"/>
                  </a:moveTo>
                  <a:cubicBezTo>
                    <a:pt x="111715" y="30000"/>
                    <a:pt x="105000" y="36716"/>
                    <a:pt x="105000" y="45000"/>
                  </a:cubicBezTo>
                  <a:cubicBezTo>
                    <a:pt x="105000" y="53284"/>
                    <a:pt x="111715" y="60000"/>
                    <a:pt x="120000" y="60000"/>
                  </a:cubicBezTo>
                  <a:lnTo>
                    <a:pt x="195000" y="60000"/>
                  </a:lnTo>
                  <a:cubicBezTo>
                    <a:pt x="203285" y="60000"/>
                    <a:pt x="210000" y="53284"/>
                    <a:pt x="210000" y="45000"/>
                  </a:cubicBezTo>
                  <a:cubicBezTo>
                    <a:pt x="210000" y="36716"/>
                    <a:pt x="203285" y="30000"/>
                    <a:pt x="195000" y="30000"/>
                  </a:cubicBezTo>
                  <a:lnTo>
                    <a:pt x="120000" y="30000"/>
                  </a:lnTo>
                  <a:close/>
                  <a:moveTo>
                    <a:pt x="60000" y="60000"/>
                  </a:moveTo>
                  <a:cubicBezTo>
                    <a:pt x="68284" y="60000"/>
                    <a:pt x="75000" y="53284"/>
                    <a:pt x="75000" y="45000"/>
                  </a:cubicBezTo>
                  <a:cubicBezTo>
                    <a:pt x="75000" y="36716"/>
                    <a:pt x="68284" y="30000"/>
                    <a:pt x="60000" y="30000"/>
                  </a:cubicBezTo>
                  <a:cubicBezTo>
                    <a:pt x="51716" y="30000"/>
                    <a:pt x="45000" y="36716"/>
                    <a:pt x="45000" y="45000"/>
                  </a:cubicBezTo>
                  <a:cubicBezTo>
                    <a:pt x="45000" y="53284"/>
                    <a:pt x="51716" y="60000"/>
                    <a:pt x="60000" y="6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20" name="Рисунок 216">
            <a:extLst>
              <a:ext uri="{FF2B5EF4-FFF2-40B4-BE49-F238E27FC236}">
                <a16:creationId xmlns:a16="http://schemas.microsoft.com/office/drawing/2014/main" id="{F2673B9C-A719-D542-92C1-308BEA5E6F96}"/>
              </a:ext>
            </a:extLst>
          </p:cNvPr>
          <p:cNvGrpSpPr/>
          <p:nvPr/>
        </p:nvGrpSpPr>
        <p:grpSpPr>
          <a:xfrm>
            <a:off x="5947802" y="1093919"/>
            <a:ext cx="360000" cy="360000"/>
            <a:chOff x="5981255" y="1412875"/>
            <a:chExt cx="360000" cy="360000"/>
          </a:xfrm>
        </p:grpSpPr>
        <p:sp>
          <p:nvSpPr>
            <p:cNvPr id="921" name="Полилиния 920">
              <a:extLst>
                <a:ext uri="{FF2B5EF4-FFF2-40B4-BE49-F238E27FC236}">
                  <a16:creationId xmlns:a16="http://schemas.microsoft.com/office/drawing/2014/main" id="{CD431FB8-B167-CC4A-A0A5-8A6C5354AF9F}"/>
                </a:ext>
              </a:extLst>
            </p:cNvPr>
            <p:cNvSpPr/>
            <p:nvPr/>
          </p:nvSpPr>
          <p:spPr>
            <a:xfrm>
              <a:off x="5981255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2" name="Скругленный прямоугольник 921">
              <a:extLst>
                <a:ext uri="{FF2B5EF4-FFF2-40B4-BE49-F238E27FC236}">
                  <a16:creationId xmlns:a16="http://schemas.microsoft.com/office/drawing/2014/main" id="{471DF872-E27F-2242-9934-64DECFDEC19E}"/>
                </a:ext>
              </a:extLst>
            </p:cNvPr>
            <p:cNvSpPr/>
            <p:nvPr/>
          </p:nvSpPr>
          <p:spPr>
            <a:xfrm>
              <a:off x="6011255" y="1502875"/>
              <a:ext cx="315000" cy="18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3" name="Полилиния 922">
              <a:extLst>
                <a:ext uri="{FF2B5EF4-FFF2-40B4-BE49-F238E27FC236}">
                  <a16:creationId xmlns:a16="http://schemas.microsoft.com/office/drawing/2014/main" id="{2283A720-79CC-1546-9A80-46F30F24AF3F}"/>
                </a:ext>
              </a:extLst>
            </p:cNvPr>
            <p:cNvSpPr/>
            <p:nvPr/>
          </p:nvSpPr>
          <p:spPr>
            <a:xfrm>
              <a:off x="6176255" y="1532875"/>
              <a:ext cx="120000" cy="120000"/>
            </a:xfrm>
            <a:custGeom>
              <a:avLst/>
              <a:gdLst>
                <a:gd name="connsiteX0" fmla="*/ 120000 w 120000"/>
                <a:gd name="connsiteY0" fmla="*/ 60000 h 120000"/>
                <a:gd name="connsiteX1" fmla="*/ 60000 w 120000"/>
                <a:gd name="connsiteY1" fmla="*/ 120000 h 120000"/>
                <a:gd name="connsiteX2" fmla="*/ 0 w 120000"/>
                <a:gd name="connsiteY2" fmla="*/ 60000 h 120000"/>
                <a:gd name="connsiteX3" fmla="*/ 60000 w 120000"/>
                <a:gd name="connsiteY3" fmla="*/ 0 h 120000"/>
                <a:gd name="connsiteX4" fmla="*/ 120000 w 120000"/>
                <a:gd name="connsiteY4" fmla="*/ 6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00" h="120000">
                  <a:moveTo>
                    <a:pt x="120000" y="60000"/>
                  </a:moveTo>
                  <a:cubicBezTo>
                    <a:pt x="120000" y="93137"/>
                    <a:pt x="93137" y="120000"/>
                    <a:pt x="60000" y="120000"/>
                  </a:cubicBez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24" name="Рисунок 217">
            <a:extLst>
              <a:ext uri="{FF2B5EF4-FFF2-40B4-BE49-F238E27FC236}">
                <a16:creationId xmlns:a16="http://schemas.microsoft.com/office/drawing/2014/main" id="{80828F22-ABED-E64A-8E41-75A52804C8E5}"/>
              </a:ext>
            </a:extLst>
          </p:cNvPr>
          <p:cNvGrpSpPr/>
          <p:nvPr/>
        </p:nvGrpSpPr>
        <p:grpSpPr>
          <a:xfrm>
            <a:off x="8968334" y="1093919"/>
            <a:ext cx="360000" cy="360000"/>
            <a:chOff x="9001787" y="1412875"/>
            <a:chExt cx="360000" cy="360000"/>
          </a:xfrm>
        </p:grpSpPr>
        <p:sp>
          <p:nvSpPr>
            <p:cNvPr id="925" name="Полилиния 924">
              <a:extLst>
                <a:ext uri="{FF2B5EF4-FFF2-40B4-BE49-F238E27FC236}">
                  <a16:creationId xmlns:a16="http://schemas.microsoft.com/office/drawing/2014/main" id="{B0A262EF-BEB8-A34D-A861-6E56F5132E74}"/>
                </a:ext>
              </a:extLst>
            </p:cNvPr>
            <p:cNvSpPr/>
            <p:nvPr/>
          </p:nvSpPr>
          <p:spPr>
            <a:xfrm>
              <a:off x="9001787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6" name="Полилиния 925">
              <a:extLst>
                <a:ext uri="{FF2B5EF4-FFF2-40B4-BE49-F238E27FC236}">
                  <a16:creationId xmlns:a16="http://schemas.microsoft.com/office/drawing/2014/main" id="{E50EE5FA-255F-9B40-8567-BF89B6520EE6}"/>
                </a:ext>
              </a:extLst>
            </p:cNvPr>
            <p:cNvSpPr/>
            <p:nvPr/>
          </p:nvSpPr>
          <p:spPr>
            <a:xfrm>
              <a:off x="9046787" y="1457875"/>
              <a:ext cx="270000" cy="270000"/>
            </a:xfrm>
            <a:custGeom>
              <a:avLst/>
              <a:gdLst>
                <a:gd name="connsiteX0" fmla="*/ 234337 w 270000"/>
                <a:gd name="connsiteY0" fmla="*/ 101250 h 270000"/>
                <a:gd name="connsiteX1" fmla="*/ 236250 w 270000"/>
                <a:gd name="connsiteY1" fmla="*/ 101250 h 270000"/>
                <a:gd name="connsiteX2" fmla="*/ 270000 w 270000"/>
                <a:gd name="connsiteY2" fmla="*/ 135000 h 270000"/>
                <a:gd name="connsiteX3" fmla="*/ 236250 w 270000"/>
                <a:gd name="connsiteY3" fmla="*/ 168750 h 270000"/>
                <a:gd name="connsiteX4" fmla="*/ 235282 w 270000"/>
                <a:gd name="connsiteY4" fmla="*/ 168750 h 270000"/>
                <a:gd name="connsiteX5" fmla="*/ 228591 w 270000"/>
                <a:gd name="connsiteY5" fmla="*/ 173181 h 270000"/>
                <a:gd name="connsiteX6" fmla="*/ 229917 w 270000"/>
                <a:gd name="connsiteY6" fmla="*/ 181271 h 270000"/>
                <a:gd name="connsiteX7" fmla="*/ 230587 w 270000"/>
                <a:gd name="connsiteY7" fmla="*/ 181941 h 270000"/>
                <a:gd name="connsiteX8" fmla="*/ 240486 w 270000"/>
                <a:gd name="connsiteY8" fmla="*/ 205820 h 270000"/>
                <a:gd name="connsiteX9" fmla="*/ 230597 w 270000"/>
                <a:gd name="connsiteY9" fmla="*/ 229688 h 270000"/>
                <a:gd name="connsiteX10" fmla="*/ 206718 w 270000"/>
                <a:gd name="connsiteY10" fmla="*/ 239586 h 270000"/>
                <a:gd name="connsiteX11" fmla="*/ 182846 w 270000"/>
                <a:gd name="connsiteY11" fmla="*/ 229692 h 270000"/>
                <a:gd name="connsiteX12" fmla="*/ 182259 w 270000"/>
                <a:gd name="connsiteY12" fmla="*/ 229104 h 270000"/>
                <a:gd name="connsiteX13" fmla="*/ 174081 w 270000"/>
                <a:gd name="connsiteY13" fmla="*/ 227691 h 270000"/>
                <a:gd name="connsiteX14" fmla="*/ 169650 w 270000"/>
                <a:gd name="connsiteY14" fmla="*/ 234337 h 270000"/>
                <a:gd name="connsiteX15" fmla="*/ 169650 w 270000"/>
                <a:gd name="connsiteY15" fmla="*/ 236250 h 270000"/>
                <a:gd name="connsiteX16" fmla="*/ 135900 w 270000"/>
                <a:gd name="connsiteY16" fmla="*/ 270000 h 270000"/>
                <a:gd name="connsiteX17" fmla="*/ 102150 w 270000"/>
                <a:gd name="connsiteY17" fmla="*/ 236250 h 270000"/>
                <a:gd name="connsiteX18" fmla="*/ 96708 w 270000"/>
                <a:gd name="connsiteY18" fmla="*/ 228541 h 270000"/>
                <a:gd name="connsiteX19" fmla="*/ 88730 w 270000"/>
                <a:gd name="connsiteY19" fmla="*/ 229917 h 270000"/>
                <a:gd name="connsiteX20" fmla="*/ 88059 w 270000"/>
                <a:gd name="connsiteY20" fmla="*/ 230587 h 270000"/>
                <a:gd name="connsiteX21" fmla="*/ 64181 w 270000"/>
                <a:gd name="connsiteY21" fmla="*/ 240486 h 270000"/>
                <a:gd name="connsiteX22" fmla="*/ 40312 w 270000"/>
                <a:gd name="connsiteY22" fmla="*/ 230597 h 270000"/>
                <a:gd name="connsiteX23" fmla="*/ 30414 w 270000"/>
                <a:gd name="connsiteY23" fmla="*/ 206718 h 270000"/>
                <a:gd name="connsiteX24" fmla="*/ 40308 w 270000"/>
                <a:gd name="connsiteY24" fmla="*/ 182846 h 270000"/>
                <a:gd name="connsiteX25" fmla="*/ 40895 w 270000"/>
                <a:gd name="connsiteY25" fmla="*/ 182259 h 270000"/>
                <a:gd name="connsiteX26" fmla="*/ 42310 w 270000"/>
                <a:gd name="connsiteY26" fmla="*/ 174081 h 270000"/>
                <a:gd name="connsiteX27" fmla="*/ 35663 w 270000"/>
                <a:gd name="connsiteY27" fmla="*/ 169650 h 270000"/>
                <a:gd name="connsiteX28" fmla="*/ 33750 w 270000"/>
                <a:gd name="connsiteY28" fmla="*/ 169650 h 270000"/>
                <a:gd name="connsiteX29" fmla="*/ 0 w 270000"/>
                <a:gd name="connsiteY29" fmla="*/ 135900 h 270000"/>
                <a:gd name="connsiteX30" fmla="*/ 33750 w 270000"/>
                <a:gd name="connsiteY30" fmla="*/ 102150 h 270000"/>
                <a:gd name="connsiteX31" fmla="*/ 41458 w 270000"/>
                <a:gd name="connsiteY31" fmla="*/ 96708 h 270000"/>
                <a:gd name="connsiteX32" fmla="*/ 40083 w 270000"/>
                <a:gd name="connsiteY32" fmla="*/ 88730 h 270000"/>
                <a:gd name="connsiteX33" fmla="*/ 39412 w 270000"/>
                <a:gd name="connsiteY33" fmla="*/ 88059 h 270000"/>
                <a:gd name="connsiteX34" fmla="*/ 29514 w 270000"/>
                <a:gd name="connsiteY34" fmla="*/ 64181 h 270000"/>
                <a:gd name="connsiteX35" fmla="*/ 39403 w 270000"/>
                <a:gd name="connsiteY35" fmla="*/ 40312 h 270000"/>
                <a:gd name="connsiteX36" fmla="*/ 63281 w 270000"/>
                <a:gd name="connsiteY36" fmla="*/ 30414 h 270000"/>
                <a:gd name="connsiteX37" fmla="*/ 87155 w 270000"/>
                <a:gd name="connsiteY37" fmla="*/ 40308 h 270000"/>
                <a:gd name="connsiteX38" fmla="*/ 87742 w 270000"/>
                <a:gd name="connsiteY38" fmla="*/ 40895 h 270000"/>
                <a:gd name="connsiteX39" fmla="*/ 95808 w 270000"/>
                <a:gd name="connsiteY39" fmla="*/ 42358 h 270000"/>
                <a:gd name="connsiteX40" fmla="*/ 97423 w 270000"/>
                <a:gd name="connsiteY40" fmla="*/ 42017 h 270000"/>
                <a:gd name="connsiteX41" fmla="*/ 101250 w 270000"/>
                <a:gd name="connsiteY41" fmla="*/ 35663 h 270000"/>
                <a:gd name="connsiteX42" fmla="*/ 101250 w 270000"/>
                <a:gd name="connsiteY42" fmla="*/ 33750 h 270000"/>
                <a:gd name="connsiteX43" fmla="*/ 135000 w 270000"/>
                <a:gd name="connsiteY43" fmla="*/ 0 h 270000"/>
                <a:gd name="connsiteX44" fmla="*/ 168750 w 270000"/>
                <a:gd name="connsiteY44" fmla="*/ 33750 h 270000"/>
                <a:gd name="connsiteX45" fmla="*/ 168750 w 270000"/>
                <a:gd name="connsiteY45" fmla="*/ 34718 h 270000"/>
                <a:gd name="connsiteX46" fmla="*/ 173292 w 270000"/>
                <a:gd name="connsiteY46" fmla="*/ 41458 h 270000"/>
                <a:gd name="connsiteX47" fmla="*/ 181271 w 270000"/>
                <a:gd name="connsiteY47" fmla="*/ 40083 h 270000"/>
                <a:gd name="connsiteX48" fmla="*/ 181941 w 270000"/>
                <a:gd name="connsiteY48" fmla="*/ 39412 h 270000"/>
                <a:gd name="connsiteX49" fmla="*/ 205820 w 270000"/>
                <a:gd name="connsiteY49" fmla="*/ 29514 h 270000"/>
                <a:gd name="connsiteX50" fmla="*/ 229688 w 270000"/>
                <a:gd name="connsiteY50" fmla="*/ 39403 h 270000"/>
                <a:gd name="connsiteX51" fmla="*/ 239586 w 270000"/>
                <a:gd name="connsiteY51" fmla="*/ 63281 h 270000"/>
                <a:gd name="connsiteX52" fmla="*/ 229692 w 270000"/>
                <a:gd name="connsiteY52" fmla="*/ 87155 h 270000"/>
                <a:gd name="connsiteX53" fmla="*/ 229104 w 270000"/>
                <a:gd name="connsiteY53" fmla="*/ 87742 h 270000"/>
                <a:gd name="connsiteX54" fmla="*/ 227642 w 270000"/>
                <a:gd name="connsiteY54" fmla="*/ 95808 h 270000"/>
                <a:gd name="connsiteX55" fmla="*/ 227984 w 270000"/>
                <a:gd name="connsiteY55" fmla="*/ 97423 h 270000"/>
                <a:gd name="connsiteX56" fmla="*/ 234337 w 270000"/>
                <a:gd name="connsiteY56" fmla="*/ 10125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70000" h="270000">
                  <a:moveTo>
                    <a:pt x="234337" y="101250"/>
                  </a:moveTo>
                  <a:lnTo>
                    <a:pt x="236250" y="101250"/>
                  </a:lnTo>
                  <a:cubicBezTo>
                    <a:pt x="254889" y="101250"/>
                    <a:pt x="270000" y="116361"/>
                    <a:pt x="270000" y="135000"/>
                  </a:cubicBezTo>
                  <a:cubicBezTo>
                    <a:pt x="270000" y="153639"/>
                    <a:pt x="254889" y="168750"/>
                    <a:pt x="236250" y="168750"/>
                  </a:cubicBezTo>
                  <a:lnTo>
                    <a:pt x="235282" y="168750"/>
                  </a:lnTo>
                  <a:cubicBezTo>
                    <a:pt x="232368" y="168762"/>
                    <a:pt x="229739" y="170504"/>
                    <a:pt x="228591" y="173181"/>
                  </a:cubicBezTo>
                  <a:cubicBezTo>
                    <a:pt x="227336" y="176027"/>
                    <a:pt x="227915" y="179222"/>
                    <a:pt x="229917" y="181271"/>
                  </a:cubicBezTo>
                  <a:lnTo>
                    <a:pt x="230587" y="181941"/>
                  </a:lnTo>
                  <a:cubicBezTo>
                    <a:pt x="236925" y="188271"/>
                    <a:pt x="240486" y="196862"/>
                    <a:pt x="240486" y="205820"/>
                  </a:cubicBezTo>
                  <a:cubicBezTo>
                    <a:pt x="240486" y="214776"/>
                    <a:pt x="236925" y="223367"/>
                    <a:pt x="230597" y="229688"/>
                  </a:cubicBezTo>
                  <a:cubicBezTo>
                    <a:pt x="224266" y="236025"/>
                    <a:pt x="215676" y="239586"/>
                    <a:pt x="206718" y="239586"/>
                  </a:cubicBezTo>
                  <a:cubicBezTo>
                    <a:pt x="197761" y="239586"/>
                    <a:pt x="189171" y="236025"/>
                    <a:pt x="182846" y="229692"/>
                  </a:cubicBezTo>
                  <a:lnTo>
                    <a:pt x="182259" y="229104"/>
                  </a:lnTo>
                  <a:cubicBezTo>
                    <a:pt x="180122" y="227015"/>
                    <a:pt x="176927" y="226435"/>
                    <a:pt x="174081" y="227691"/>
                  </a:cubicBezTo>
                  <a:cubicBezTo>
                    <a:pt x="171404" y="228838"/>
                    <a:pt x="169662" y="231468"/>
                    <a:pt x="169650" y="234337"/>
                  </a:cubicBezTo>
                  <a:lnTo>
                    <a:pt x="169650" y="236250"/>
                  </a:lnTo>
                  <a:cubicBezTo>
                    <a:pt x="169650" y="254889"/>
                    <a:pt x="154539" y="270000"/>
                    <a:pt x="135900" y="270000"/>
                  </a:cubicBezTo>
                  <a:cubicBezTo>
                    <a:pt x="117261" y="270000"/>
                    <a:pt x="102150" y="254889"/>
                    <a:pt x="102150" y="236250"/>
                  </a:cubicBezTo>
                  <a:cubicBezTo>
                    <a:pt x="102083" y="232499"/>
                    <a:pt x="100185" y="229845"/>
                    <a:pt x="96708" y="228541"/>
                  </a:cubicBezTo>
                  <a:cubicBezTo>
                    <a:pt x="93973" y="227336"/>
                    <a:pt x="90779" y="227915"/>
                    <a:pt x="88730" y="229917"/>
                  </a:cubicBezTo>
                  <a:lnTo>
                    <a:pt x="88059" y="230587"/>
                  </a:lnTo>
                  <a:cubicBezTo>
                    <a:pt x="81729" y="236925"/>
                    <a:pt x="73139" y="240486"/>
                    <a:pt x="64181" y="240486"/>
                  </a:cubicBezTo>
                  <a:cubicBezTo>
                    <a:pt x="55224" y="240486"/>
                    <a:pt x="46634" y="236925"/>
                    <a:pt x="40312" y="230597"/>
                  </a:cubicBezTo>
                  <a:cubicBezTo>
                    <a:pt x="33975" y="224266"/>
                    <a:pt x="30414" y="215676"/>
                    <a:pt x="30414" y="206718"/>
                  </a:cubicBezTo>
                  <a:cubicBezTo>
                    <a:pt x="30414" y="197761"/>
                    <a:pt x="33975" y="189171"/>
                    <a:pt x="40308" y="182846"/>
                  </a:cubicBezTo>
                  <a:lnTo>
                    <a:pt x="40895" y="182259"/>
                  </a:lnTo>
                  <a:cubicBezTo>
                    <a:pt x="42986" y="180122"/>
                    <a:pt x="43565" y="176927"/>
                    <a:pt x="42310" y="174081"/>
                  </a:cubicBezTo>
                  <a:cubicBezTo>
                    <a:pt x="41162" y="171404"/>
                    <a:pt x="38532" y="169662"/>
                    <a:pt x="35663" y="169650"/>
                  </a:cubicBezTo>
                  <a:lnTo>
                    <a:pt x="33750" y="169650"/>
                  </a:lnTo>
                  <a:cubicBezTo>
                    <a:pt x="15110" y="169650"/>
                    <a:pt x="0" y="154539"/>
                    <a:pt x="0" y="135900"/>
                  </a:cubicBezTo>
                  <a:cubicBezTo>
                    <a:pt x="0" y="117261"/>
                    <a:pt x="15110" y="102150"/>
                    <a:pt x="33750" y="102150"/>
                  </a:cubicBezTo>
                  <a:cubicBezTo>
                    <a:pt x="37501" y="102083"/>
                    <a:pt x="40155" y="100185"/>
                    <a:pt x="41458" y="96708"/>
                  </a:cubicBezTo>
                  <a:cubicBezTo>
                    <a:pt x="42665" y="93973"/>
                    <a:pt x="42086" y="90779"/>
                    <a:pt x="40083" y="88730"/>
                  </a:cubicBezTo>
                  <a:lnTo>
                    <a:pt x="39412" y="88059"/>
                  </a:lnTo>
                  <a:cubicBezTo>
                    <a:pt x="33075" y="81729"/>
                    <a:pt x="29514" y="73139"/>
                    <a:pt x="29514" y="64181"/>
                  </a:cubicBezTo>
                  <a:cubicBezTo>
                    <a:pt x="29514" y="55224"/>
                    <a:pt x="33075" y="46634"/>
                    <a:pt x="39403" y="40312"/>
                  </a:cubicBezTo>
                  <a:cubicBezTo>
                    <a:pt x="45734" y="33975"/>
                    <a:pt x="54324" y="30414"/>
                    <a:pt x="63281" y="30414"/>
                  </a:cubicBezTo>
                  <a:cubicBezTo>
                    <a:pt x="72239" y="30414"/>
                    <a:pt x="80829" y="33975"/>
                    <a:pt x="87155" y="40308"/>
                  </a:cubicBezTo>
                  <a:lnTo>
                    <a:pt x="87742" y="40895"/>
                  </a:lnTo>
                  <a:cubicBezTo>
                    <a:pt x="89879" y="42986"/>
                    <a:pt x="93073" y="43565"/>
                    <a:pt x="95808" y="42358"/>
                  </a:cubicBezTo>
                  <a:lnTo>
                    <a:pt x="97423" y="42017"/>
                  </a:lnTo>
                  <a:cubicBezTo>
                    <a:pt x="99756" y="40753"/>
                    <a:pt x="101239" y="38310"/>
                    <a:pt x="101250" y="35663"/>
                  </a:cubicBezTo>
                  <a:lnTo>
                    <a:pt x="101250" y="33750"/>
                  </a:lnTo>
                  <a:cubicBezTo>
                    <a:pt x="101250" y="15110"/>
                    <a:pt x="116361" y="0"/>
                    <a:pt x="135000" y="0"/>
                  </a:cubicBezTo>
                  <a:cubicBezTo>
                    <a:pt x="153639" y="0"/>
                    <a:pt x="168750" y="15110"/>
                    <a:pt x="168750" y="33750"/>
                  </a:cubicBezTo>
                  <a:lnTo>
                    <a:pt x="168750" y="34718"/>
                  </a:lnTo>
                  <a:cubicBezTo>
                    <a:pt x="168762" y="37632"/>
                    <a:pt x="170504" y="40262"/>
                    <a:pt x="173292" y="41458"/>
                  </a:cubicBezTo>
                  <a:cubicBezTo>
                    <a:pt x="176027" y="42665"/>
                    <a:pt x="179222" y="42086"/>
                    <a:pt x="181271" y="40083"/>
                  </a:cubicBezTo>
                  <a:lnTo>
                    <a:pt x="181941" y="39412"/>
                  </a:lnTo>
                  <a:cubicBezTo>
                    <a:pt x="188271" y="33075"/>
                    <a:pt x="196862" y="29514"/>
                    <a:pt x="205820" y="29514"/>
                  </a:cubicBezTo>
                  <a:cubicBezTo>
                    <a:pt x="214776" y="29514"/>
                    <a:pt x="223367" y="33075"/>
                    <a:pt x="229688" y="39403"/>
                  </a:cubicBezTo>
                  <a:cubicBezTo>
                    <a:pt x="236025" y="45734"/>
                    <a:pt x="239586" y="54324"/>
                    <a:pt x="239586" y="63281"/>
                  </a:cubicBezTo>
                  <a:cubicBezTo>
                    <a:pt x="239586" y="72239"/>
                    <a:pt x="236025" y="80829"/>
                    <a:pt x="229692" y="87155"/>
                  </a:cubicBezTo>
                  <a:lnTo>
                    <a:pt x="229104" y="87742"/>
                  </a:lnTo>
                  <a:cubicBezTo>
                    <a:pt x="227015" y="89879"/>
                    <a:pt x="226435" y="93073"/>
                    <a:pt x="227642" y="95808"/>
                  </a:cubicBezTo>
                  <a:lnTo>
                    <a:pt x="227984" y="97423"/>
                  </a:lnTo>
                  <a:cubicBezTo>
                    <a:pt x="229247" y="99756"/>
                    <a:pt x="231690" y="101239"/>
                    <a:pt x="234337" y="10125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7" name="Полилиния 926">
              <a:extLst>
                <a:ext uri="{FF2B5EF4-FFF2-40B4-BE49-F238E27FC236}">
                  <a16:creationId xmlns:a16="http://schemas.microsoft.com/office/drawing/2014/main" id="{C45C4BA7-18BC-A542-9462-412252EFC3BD}"/>
                </a:ext>
              </a:extLst>
            </p:cNvPr>
            <p:cNvSpPr/>
            <p:nvPr/>
          </p:nvSpPr>
          <p:spPr>
            <a:xfrm>
              <a:off x="9136787" y="1547875"/>
              <a:ext cx="90000" cy="90000"/>
            </a:xfrm>
            <a:custGeom>
              <a:avLst/>
              <a:gdLst>
                <a:gd name="connsiteX0" fmla="*/ 45000 w 90000"/>
                <a:gd name="connsiteY0" fmla="*/ 90000 h 90000"/>
                <a:gd name="connsiteX1" fmla="*/ 90000 w 90000"/>
                <a:gd name="connsiteY1" fmla="*/ 45000 h 90000"/>
                <a:gd name="connsiteX2" fmla="*/ 45000 w 90000"/>
                <a:gd name="connsiteY2" fmla="*/ 0 h 90000"/>
                <a:gd name="connsiteX3" fmla="*/ 0 w 90000"/>
                <a:gd name="connsiteY3" fmla="*/ 45000 h 90000"/>
                <a:gd name="connsiteX4" fmla="*/ 45000 w 90000"/>
                <a:gd name="connsiteY4" fmla="*/ 9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45000" y="90000"/>
                  </a:moveTo>
                  <a:cubicBezTo>
                    <a:pt x="69854" y="90000"/>
                    <a:pt x="90000" y="69854"/>
                    <a:pt x="90000" y="45000"/>
                  </a:cubicBezTo>
                  <a:cubicBezTo>
                    <a:pt x="90000" y="20146"/>
                    <a:pt x="69854" y="0"/>
                    <a:pt x="45000" y="0"/>
                  </a:cubicBezTo>
                  <a:cubicBezTo>
                    <a:pt x="20146" y="0"/>
                    <a:pt x="0" y="20146"/>
                    <a:pt x="0" y="45000"/>
                  </a:cubicBezTo>
                  <a:cubicBezTo>
                    <a:pt x="0" y="69854"/>
                    <a:pt x="20146" y="90000"/>
                    <a:pt x="45000" y="9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28" name="Рисунок 218">
            <a:extLst>
              <a:ext uri="{FF2B5EF4-FFF2-40B4-BE49-F238E27FC236}">
                <a16:creationId xmlns:a16="http://schemas.microsoft.com/office/drawing/2014/main" id="{B34785A6-615E-D643-94EA-0D9014BD6A5D}"/>
              </a:ext>
            </a:extLst>
          </p:cNvPr>
          <p:cNvGrpSpPr/>
          <p:nvPr/>
        </p:nvGrpSpPr>
        <p:grpSpPr>
          <a:xfrm>
            <a:off x="10478600" y="1093919"/>
            <a:ext cx="360000" cy="360000"/>
            <a:chOff x="10512053" y="1412875"/>
            <a:chExt cx="360000" cy="360000"/>
          </a:xfrm>
        </p:grpSpPr>
        <p:sp>
          <p:nvSpPr>
            <p:cNvPr id="929" name="Полилиния 928">
              <a:extLst>
                <a:ext uri="{FF2B5EF4-FFF2-40B4-BE49-F238E27FC236}">
                  <a16:creationId xmlns:a16="http://schemas.microsoft.com/office/drawing/2014/main" id="{D75E6DEF-C5CE-7C4F-BE5F-C80C29A2ECCB}"/>
                </a:ext>
              </a:extLst>
            </p:cNvPr>
            <p:cNvSpPr/>
            <p:nvPr/>
          </p:nvSpPr>
          <p:spPr>
            <a:xfrm>
              <a:off x="10512053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0" name="Полилиния 929">
              <a:extLst>
                <a:ext uri="{FF2B5EF4-FFF2-40B4-BE49-F238E27FC236}">
                  <a16:creationId xmlns:a16="http://schemas.microsoft.com/office/drawing/2014/main" id="{B9795CC6-DD0D-8A48-8FCF-5BC0E8678164}"/>
                </a:ext>
              </a:extLst>
            </p:cNvPr>
            <p:cNvSpPr/>
            <p:nvPr/>
          </p:nvSpPr>
          <p:spPr>
            <a:xfrm>
              <a:off x="10557053" y="1517875"/>
              <a:ext cx="255000" cy="165000"/>
            </a:xfrm>
            <a:custGeom>
              <a:avLst/>
              <a:gdLst>
                <a:gd name="connsiteX0" fmla="*/ 22500 w 255000"/>
                <a:gd name="connsiteY0" fmla="*/ 0 h 165000"/>
                <a:gd name="connsiteX1" fmla="*/ 97500 w 255000"/>
                <a:gd name="connsiteY1" fmla="*/ 0 h 165000"/>
                <a:gd name="connsiteX2" fmla="*/ 120000 w 255000"/>
                <a:gd name="connsiteY2" fmla="*/ 22500 h 165000"/>
                <a:gd name="connsiteX3" fmla="*/ 97500 w 255000"/>
                <a:gd name="connsiteY3" fmla="*/ 45000 h 165000"/>
                <a:gd name="connsiteX4" fmla="*/ 22500 w 255000"/>
                <a:gd name="connsiteY4" fmla="*/ 45000 h 165000"/>
                <a:gd name="connsiteX5" fmla="*/ 0 w 255000"/>
                <a:gd name="connsiteY5" fmla="*/ 22500 h 165000"/>
                <a:gd name="connsiteX6" fmla="*/ 22500 w 255000"/>
                <a:gd name="connsiteY6" fmla="*/ 0 h 165000"/>
                <a:gd name="connsiteX7" fmla="*/ 157500 w 255000"/>
                <a:gd name="connsiteY7" fmla="*/ 120000 h 165000"/>
                <a:gd name="connsiteX8" fmla="*/ 232500 w 255000"/>
                <a:gd name="connsiteY8" fmla="*/ 120000 h 165000"/>
                <a:gd name="connsiteX9" fmla="*/ 255000 w 255000"/>
                <a:gd name="connsiteY9" fmla="*/ 142500 h 165000"/>
                <a:gd name="connsiteX10" fmla="*/ 232500 w 255000"/>
                <a:gd name="connsiteY10" fmla="*/ 165000 h 165000"/>
                <a:gd name="connsiteX11" fmla="*/ 157500 w 255000"/>
                <a:gd name="connsiteY11" fmla="*/ 165000 h 165000"/>
                <a:gd name="connsiteX12" fmla="*/ 135000 w 255000"/>
                <a:gd name="connsiteY12" fmla="*/ 142500 h 165000"/>
                <a:gd name="connsiteX13" fmla="*/ 157500 w 255000"/>
                <a:gd name="connsiteY13" fmla="*/ 120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5000" h="165000">
                  <a:moveTo>
                    <a:pt x="22500" y="0"/>
                  </a:moveTo>
                  <a:lnTo>
                    <a:pt x="97500" y="0"/>
                  </a:lnTo>
                  <a:cubicBezTo>
                    <a:pt x="109926" y="0"/>
                    <a:pt x="120000" y="10074"/>
                    <a:pt x="120000" y="22500"/>
                  </a:cubicBezTo>
                  <a:cubicBezTo>
                    <a:pt x="120000" y="34926"/>
                    <a:pt x="109926" y="45000"/>
                    <a:pt x="97500" y="45000"/>
                  </a:cubicBezTo>
                  <a:lnTo>
                    <a:pt x="22500" y="45000"/>
                  </a:ln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157500" y="120000"/>
                  </a:moveTo>
                  <a:lnTo>
                    <a:pt x="232500" y="120000"/>
                  </a:lnTo>
                  <a:cubicBezTo>
                    <a:pt x="244926" y="120000"/>
                    <a:pt x="255000" y="130074"/>
                    <a:pt x="255000" y="142500"/>
                  </a:cubicBezTo>
                  <a:cubicBezTo>
                    <a:pt x="255000" y="154926"/>
                    <a:pt x="244926" y="165000"/>
                    <a:pt x="232500" y="165000"/>
                  </a:cubicBezTo>
                  <a:lnTo>
                    <a:pt x="157500" y="165000"/>
                  </a:lnTo>
                  <a:cubicBezTo>
                    <a:pt x="145074" y="165000"/>
                    <a:pt x="135000" y="154926"/>
                    <a:pt x="135000" y="142500"/>
                  </a:cubicBezTo>
                  <a:cubicBezTo>
                    <a:pt x="135000" y="130074"/>
                    <a:pt x="145074" y="120000"/>
                    <a:pt x="1575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1" name="Полилиния 930">
              <a:extLst>
                <a:ext uri="{FF2B5EF4-FFF2-40B4-BE49-F238E27FC236}">
                  <a16:creationId xmlns:a16="http://schemas.microsoft.com/office/drawing/2014/main" id="{C7F82A8D-0ACC-4540-8DCC-CEC62A5963AD}"/>
                </a:ext>
              </a:extLst>
            </p:cNvPr>
            <p:cNvSpPr/>
            <p:nvPr/>
          </p:nvSpPr>
          <p:spPr>
            <a:xfrm>
              <a:off x="10557053" y="1487875"/>
              <a:ext cx="255000" cy="210000"/>
            </a:xfrm>
            <a:custGeom>
              <a:avLst/>
              <a:gdLst>
                <a:gd name="connsiteX0" fmla="*/ 210000 w 255000"/>
                <a:gd name="connsiteY0" fmla="*/ 90000 h 210000"/>
                <a:gd name="connsiteX1" fmla="*/ 165000 w 255000"/>
                <a:gd name="connsiteY1" fmla="*/ 45000 h 210000"/>
                <a:gd name="connsiteX2" fmla="*/ 210000 w 255000"/>
                <a:gd name="connsiteY2" fmla="*/ 0 h 210000"/>
                <a:gd name="connsiteX3" fmla="*/ 255000 w 255000"/>
                <a:gd name="connsiteY3" fmla="*/ 45000 h 210000"/>
                <a:gd name="connsiteX4" fmla="*/ 210000 w 255000"/>
                <a:gd name="connsiteY4" fmla="*/ 90000 h 210000"/>
                <a:gd name="connsiteX5" fmla="*/ 45000 w 255000"/>
                <a:gd name="connsiteY5" fmla="*/ 210000 h 210000"/>
                <a:gd name="connsiteX6" fmla="*/ 0 w 255000"/>
                <a:gd name="connsiteY6" fmla="*/ 165000 h 210000"/>
                <a:gd name="connsiteX7" fmla="*/ 45000 w 255000"/>
                <a:gd name="connsiteY7" fmla="*/ 120000 h 210000"/>
                <a:gd name="connsiteX8" fmla="*/ 90000 w 255000"/>
                <a:gd name="connsiteY8" fmla="*/ 165000 h 210000"/>
                <a:gd name="connsiteX9" fmla="*/ 45000 w 255000"/>
                <a:gd name="connsiteY9" fmla="*/ 21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5000" h="210000">
                  <a:moveTo>
                    <a:pt x="210000" y="90000"/>
                  </a:moveTo>
                  <a:cubicBezTo>
                    <a:pt x="185147" y="90000"/>
                    <a:pt x="165000" y="69853"/>
                    <a:pt x="165000" y="45000"/>
                  </a:cubicBezTo>
                  <a:cubicBezTo>
                    <a:pt x="165000" y="20147"/>
                    <a:pt x="185147" y="0"/>
                    <a:pt x="210000" y="0"/>
                  </a:cubicBezTo>
                  <a:cubicBezTo>
                    <a:pt x="234854" y="0"/>
                    <a:pt x="255000" y="20147"/>
                    <a:pt x="255000" y="45000"/>
                  </a:cubicBezTo>
                  <a:cubicBezTo>
                    <a:pt x="255000" y="69853"/>
                    <a:pt x="234854" y="90000"/>
                    <a:pt x="210000" y="90000"/>
                  </a:cubicBezTo>
                  <a:close/>
                  <a:moveTo>
                    <a:pt x="45000" y="210000"/>
                  </a:moveTo>
                  <a:cubicBezTo>
                    <a:pt x="20147" y="210000"/>
                    <a:pt x="0" y="189854"/>
                    <a:pt x="0" y="165000"/>
                  </a:cubicBezTo>
                  <a:cubicBezTo>
                    <a:pt x="0" y="140147"/>
                    <a:pt x="20147" y="120000"/>
                    <a:pt x="45000" y="120000"/>
                  </a:cubicBezTo>
                  <a:cubicBezTo>
                    <a:pt x="69853" y="120000"/>
                    <a:pt x="90000" y="140147"/>
                    <a:pt x="90000" y="165000"/>
                  </a:cubicBezTo>
                  <a:cubicBezTo>
                    <a:pt x="90000" y="189854"/>
                    <a:pt x="69853" y="210000"/>
                    <a:pt x="45000" y="21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32" name="Рисунок 219">
            <a:extLst>
              <a:ext uri="{FF2B5EF4-FFF2-40B4-BE49-F238E27FC236}">
                <a16:creationId xmlns:a16="http://schemas.microsoft.com/office/drawing/2014/main" id="{21D01CB0-4582-5148-BCD6-E397F723FBC7}"/>
              </a:ext>
            </a:extLst>
          </p:cNvPr>
          <p:cNvGrpSpPr/>
          <p:nvPr/>
        </p:nvGrpSpPr>
        <p:grpSpPr>
          <a:xfrm>
            <a:off x="7458068" y="1093919"/>
            <a:ext cx="360000" cy="360000"/>
            <a:chOff x="7491521" y="1412875"/>
            <a:chExt cx="360000" cy="360000"/>
          </a:xfrm>
        </p:grpSpPr>
        <p:sp>
          <p:nvSpPr>
            <p:cNvPr id="933" name="Полилиния 932">
              <a:extLst>
                <a:ext uri="{FF2B5EF4-FFF2-40B4-BE49-F238E27FC236}">
                  <a16:creationId xmlns:a16="http://schemas.microsoft.com/office/drawing/2014/main" id="{BD60720F-D0A5-074B-8BAA-58F512E94320}"/>
                </a:ext>
              </a:extLst>
            </p:cNvPr>
            <p:cNvSpPr/>
            <p:nvPr/>
          </p:nvSpPr>
          <p:spPr>
            <a:xfrm>
              <a:off x="7491521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4" name="Полилиния 933">
              <a:extLst>
                <a:ext uri="{FF2B5EF4-FFF2-40B4-BE49-F238E27FC236}">
                  <a16:creationId xmlns:a16="http://schemas.microsoft.com/office/drawing/2014/main" id="{AF7081DC-8CAA-7144-B59C-79BBB69F03ED}"/>
                </a:ext>
              </a:extLst>
            </p:cNvPr>
            <p:cNvSpPr/>
            <p:nvPr/>
          </p:nvSpPr>
          <p:spPr>
            <a:xfrm>
              <a:off x="7536521" y="1457875"/>
              <a:ext cx="270000" cy="120000"/>
            </a:xfrm>
            <a:custGeom>
              <a:avLst/>
              <a:gdLst>
                <a:gd name="connsiteX0" fmla="*/ 60000 w 270000"/>
                <a:gd name="connsiteY0" fmla="*/ 0 h 120000"/>
                <a:gd name="connsiteX1" fmla="*/ 210000 w 270000"/>
                <a:gd name="connsiteY1" fmla="*/ 0 h 120000"/>
                <a:gd name="connsiteX2" fmla="*/ 270000 w 270000"/>
                <a:gd name="connsiteY2" fmla="*/ 60000 h 120000"/>
                <a:gd name="connsiteX3" fmla="*/ 210000 w 270000"/>
                <a:gd name="connsiteY3" fmla="*/ 120000 h 120000"/>
                <a:gd name="connsiteX4" fmla="*/ 60000 w 270000"/>
                <a:gd name="connsiteY4" fmla="*/ 120000 h 120000"/>
                <a:gd name="connsiteX5" fmla="*/ 0 w 270000"/>
                <a:gd name="connsiteY5" fmla="*/ 60000 h 120000"/>
                <a:gd name="connsiteX6" fmla="*/ 60000 w 270000"/>
                <a:gd name="connsiteY6" fmla="*/ 0 h 120000"/>
                <a:gd name="connsiteX7" fmla="*/ 60000 w 270000"/>
                <a:gd name="connsiteY7" fmla="*/ 90000 h 120000"/>
                <a:gd name="connsiteX8" fmla="*/ 90000 w 270000"/>
                <a:gd name="connsiteY8" fmla="*/ 60000 h 120000"/>
                <a:gd name="connsiteX9" fmla="*/ 60000 w 270000"/>
                <a:gd name="connsiteY9" fmla="*/ 30000 h 120000"/>
                <a:gd name="connsiteX10" fmla="*/ 30000 w 270000"/>
                <a:gd name="connsiteY10" fmla="*/ 60000 h 120000"/>
                <a:gd name="connsiteX11" fmla="*/ 60000 w 270000"/>
                <a:gd name="connsiteY11" fmla="*/ 9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0000" h="120000">
                  <a:moveTo>
                    <a:pt x="60000" y="0"/>
                  </a:moveTo>
                  <a:lnTo>
                    <a:pt x="210000" y="0"/>
                  </a:lnTo>
                  <a:cubicBezTo>
                    <a:pt x="243137" y="0"/>
                    <a:pt x="270000" y="26863"/>
                    <a:pt x="270000" y="60000"/>
                  </a:cubicBezTo>
                  <a:cubicBezTo>
                    <a:pt x="270000" y="93137"/>
                    <a:pt x="243137" y="120000"/>
                    <a:pt x="210000" y="120000"/>
                  </a:cubicBezTo>
                  <a:lnTo>
                    <a:pt x="60000" y="120000"/>
                  </a:ln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lose/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5" name="Полилиния 934">
              <a:extLst>
                <a:ext uri="{FF2B5EF4-FFF2-40B4-BE49-F238E27FC236}">
                  <a16:creationId xmlns:a16="http://schemas.microsoft.com/office/drawing/2014/main" id="{4285DCCB-F003-5E4E-B69F-96A49ABB17D6}"/>
                </a:ext>
              </a:extLst>
            </p:cNvPr>
            <p:cNvSpPr/>
            <p:nvPr/>
          </p:nvSpPr>
          <p:spPr>
            <a:xfrm>
              <a:off x="7536521" y="1607875"/>
              <a:ext cx="270000" cy="120000"/>
            </a:xfrm>
            <a:custGeom>
              <a:avLst/>
              <a:gdLst>
                <a:gd name="connsiteX0" fmla="*/ 60000 w 270000"/>
                <a:gd name="connsiteY0" fmla="*/ 0 h 120000"/>
                <a:gd name="connsiteX1" fmla="*/ 210000 w 270000"/>
                <a:gd name="connsiteY1" fmla="*/ 0 h 120000"/>
                <a:gd name="connsiteX2" fmla="*/ 270000 w 270000"/>
                <a:gd name="connsiteY2" fmla="*/ 60000 h 120000"/>
                <a:gd name="connsiteX3" fmla="*/ 210000 w 270000"/>
                <a:gd name="connsiteY3" fmla="*/ 120000 h 120000"/>
                <a:gd name="connsiteX4" fmla="*/ 60000 w 270000"/>
                <a:gd name="connsiteY4" fmla="*/ 120000 h 120000"/>
                <a:gd name="connsiteX5" fmla="*/ 0 w 270000"/>
                <a:gd name="connsiteY5" fmla="*/ 60000 h 120000"/>
                <a:gd name="connsiteX6" fmla="*/ 60000 w 270000"/>
                <a:gd name="connsiteY6" fmla="*/ 0 h 120000"/>
                <a:gd name="connsiteX7" fmla="*/ 210000 w 270000"/>
                <a:gd name="connsiteY7" fmla="*/ 90000 h 120000"/>
                <a:gd name="connsiteX8" fmla="*/ 240000 w 270000"/>
                <a:gd name="connsiteY8" fmla="*/ 60000 h 120000"/>
                <a:gd name="connsiteX9" fmla="*/ 210000 w 270000"/>
                <a:gd name="connsiteY9" fmla="*/ 30000 h 120000"/>
                <a:gd name="connsiteX10" fmla="*/ 180000 w 270000"/>
                <a:gd name="connsiteY10" fmla="*/ 60000 h 120000"/>
                <a:gd name="connsiteX11" fmla="*/ 210000 w 270000"/>
                <a:gd name="connsiteY11" fmla="*/ 9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0000" h="120000">
                  <a:moveTo>
                    <a:pt x="60000" y="0"/>
                  </a:moveTo>
                  <a:lnTo>
                    <a:pt x="210000" y="0"/>
                  </a:lnTo>
                  <a:cubicBezTo>
                    <a:pt x="243137" y="0"/>
                    <a:pt x="270000" y="26864"/>
                    <a:pt x="270000" y="60000"/>
                  </a:cubicBezTo>
                  <a:cubicBezTo>
                    <a:pt x="270000" y="93137"/>
                    <a:pt x="243137" y="120000"/>
                    <a:pt x="210000" y="120000"/>
                  </a:cubicBezTo>
                  <a:lnTo>
                    <a:pt x="60000" y="120000"/>
                  </a:ln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4"/>
                    <a:pt x="26863" y="0"/>
                    <a:pt x="60000" y="0"/>
                  </a:cubicBezTo>
                  <a:close/>
                  <a:moveTo>
                    <a:pt x="210000" y="90000"/>
                  </a:moveTo>
                  <a:cubicBezTo>
                    <a:pt x="226569" y="90000"/>
                    <a:pt x="240000" y="76569"/>
                    <a:pt x="240000" y="60000"/>
                  </a:cubicBezTo>
                  <a:cubicBezTo>
                    <a:pt x="240000" y="43431"/>
                    <a:pt x="226569" y="30000"/>
                    <a:pt x="210000" y="30000"/>
                  </a:cubicBezTo>
                  <a:cubicBezTo>
                    <a:pt x="193431" y="30000"/>
                    <a:pt x="180000" y="43431"/>
                    <a:pt x="180000" y="60000"/>
                  </a:cubicBezTo>
                  <a:cubicBezTo>
                    <a:pt x="180000" y="76569"/>
                    <a:pt x="193431" y="90000"/>
                    <a:pt x="210000" y="9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36" name="Рисунок 220">
            <a:extLst>
              <a:ext uri="{FF2B5EF4-FFF2-40B4-BE49-F238E27FC236}">
                <a16:creationId xmlns:a16="http://schemas.microsoft.com/office/drawing/2014/main" id="{2C651DA1-D0F3-9C48-9068-638C024EC69A}"/>
              </a:ext>
            </a:extLst>
          </p:cNvPr>
          <p:cNvGrpSpPr/>
          <p:nvPr/>
        </p:nvGrpSpPr>
        <p:grpSpPr>
          <a:xfrm>
            <a:off x="4437536" y="1093919"/>
            <a:ext cx="360000" cy="360000"/>
            <a:chOff x="4470989" y="1412875"/>
            <a:chExt cx="360000" cy="360000"/>
          </a:xfrm>
        </p:grpSpPr>
        <p:sp>
          <p:nvSpPr>
            <p:cNvPr id="937" name="Полилиния 936">
              <a:extLst>
                <a:ext uri="{FF2B5EF4-FFF2-40B4-BE49-F238E27FC236}">
                  <a16:creationId xmlns:a16="http://schemas.microsoft.com/office/drawing/2014/main" id="{BA3306E7-DCB0-114B-82E5-9E8AB9AA59A4}"/>
                </a:ext>
              </a:extLst>
            </p:cNvPr>
            <p:cNvSpPr/>
            <p:nvPr/>
          </p:nvSpPr>
          <p:spPr>
            <a:xfrm>
              <a:off x="4470989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8" name="Полилиния 937">
              <a:extLst>
                <a:ext uri="{FF2B5EF4-FFF2-40B4-BE49-F238E27FC236}">
                  <a16:creationId xmlns:a16="http://schemas.microsoft.com/office/drawing/2014/main" id="{EE4A8BDF-6ED6-3040-96C7-7C97198101C9}"/>
                </a:ext>
              </a:extLst>
            </p:cNvPr>
            <p:cNvSpPr/>
            <p:nvPr/>
          </p:nvSpPr>
          <p:spPr>
            <a:xfrm>
              <a:off x="4496283" y="1444382"/>
              <a:ext cx="296985" cy="296984"/>
            </a:xfrm>
            <a:custGeom>
              <a:avLst/>
              <a:gdLst>
                <a:gd name="connsiteX0" fmla="*/ 49706 w 296985"/>
                <a:gd name="connsiteY0" fmla="*/ 98787 h 296984"/>
                <a:gd name="connsiteX1" fmla="*/ 49706 w 296985"/>
                <a:gd name="connsiteY1" fmla="*/ 43492 h 296984"/>
                <a:gd name="connsiteX2" fmla="*/ 105000 w 296985"/>
                <a:gd name="connsiteY2" fmla="*/ 43492 h 296984"/>
                <a:gd name="connsiteX3" fmla="*/ 148493 w 296985"/>
                <a:gd name="connsiteY3" fmla="*/ 0 h 296984"/>
                <a:gd name="connsiteX4" fmla="*/ 191985 w 296985"/>
                <a:gd name="connsiteY4" fmla="*/ 43492 h 296984"/>
                <a:gd name="connsiteX5" fmla="*/ 259706 w 296985"/>
                <a:gd name="connsiteY5" fmla="*/ 43492 h 296984"/>
                <a:gd name="connsiteX6" fmla="*/ 259706 w 296985"/>
                <a:gd name="connsiteY6" fmla="*/ 111213 h 296984"/>
                <a:gd name="connsiteX7" fmla="*/ 296985 w 296985"/>
                <a:gd name="connsiteY7" fmla="*/ 148492 h 296984"/>
                <a:gd name="connsiteX8" fmla="*/ 259706 w 296985"/>
                <a:gd name="connsiteY8" fmla="*/ 185772 h 296984"/>
                <a:gd name="connsiteX9" fmla="*/ 259706 w 296985"/>
                <a:gd name="connsiteY9" fmla="*/ 253492 h 296984"/>
                <a:gd name="connsiteX10" fmla="*/ 191985 w 296985"/>
                <a:gd name="connsiteY10" fmla="*/ 253492 h 296984"/>
                <a:gd name="connsiteX11" fmla="*/ 148493 w 296985"/>
                <a:gd name="connsiteY11" fmla="*/ 296985 h 296984"/>
                <a:gd name="connsiteX12" fmla="*/ 105000 w 296985"/>
                <a:gd name="connsiteY12" fmla="*/ 253492 h 296984"/>
                <a:gd name="connsiteX13" fmla="*/ 49706 w 296985"/>
                <a:gd name="connsiteY13" fmla="*/ 253492 h 296984"/>
                <a:gd name="connsiteX14" fmla="*/ 49706 w 296985"/>
                <a:gd name="connsiteY14" fmla="*/ 198198 h 296984"/>
                <a:gd name="connsiteX15" fmla="*/ 0 w 296985"/>
                <a:gd name="connsiteY15" fmla="*/ 148492 h 296984"/>
                <a:gd name="connsiteX16" fmla="*/ 49706 w 296985"/>
                <a:gd name="connsiteY16" fmla="*/ 98787 h 296984"/>
                <a:gd name="connsiteX17" fmla="*/ 154706 w 296985"/>
                <a:gd name="connsiteY17" fmla="*/ 193492 h 296984"/>
                <a:gd name="connsiteX18" fmla="*/ 199706 w 296985"/>
                <a:gd name="connsiteY18" fmla="*/ 148492 h 296984"/>
                <a:gd name="connsiteX19" fmla="*/ 154706 w 296985"/>
                <a:gd name="connsiteY19" fmla="*/ 103492 h 296984"/>
                <a:gd name="connsiteX20" fmla="*/ 109706 w 296985"/>
                <a:gd name="connsiteY20" fmla="*/ 148492 h 296984"/>
                <a:gd name="connsiteX21" fmla="*/ 154706 w 296985"/>
                <a:gd name="connsiteY21" fmla="*/ 193492 h 296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6985" h="296984">
                  <a:moveTo>
                    <a:pt x="49706" y="98787"/>
                  </a:moveTo>
                  <a:lnTo>
                    <a:pt x="49706" y="43492"/>
                  </a:lnTo>
                  <a:lnTo>
                    <a:pt x="105000" y="43492"/>
                  </a:lnTo>
                  <a:lnTo>
                    <a:pt x="148493" y="0"/>
                  </a:lnTo>
                  <a:lnTo>
                    <a:pt x="191985" y="43492"/>
                  </a:lnTo>
                  <a:lnTo>
                    <a:pt x="259706" y="43492"/>
                  </a:lnTo>
                  <a:lnTo>
                    <a:pt x="259706" y="111213"/>
                  </a:lnTo>
                  <a:lnTo>
                    <a:pt x="296985" y="148492"/>
                  </a:lnTo>
                  <a:lnTo>
                    <a:pt x="259706" y="185772"/>
                  </a:lnTo>
                  <a:lnTo>
                    <a:pt x="259706" y="253492"/>
                  </a:lnTo>
                  <a:lnTo>
                    <a:pt x="191985" y="253492"/>
                  </a:lnTo>
                  <a:lnTo>
                    <a:pt x="148493" y="296985"/>
                  </a:lnTo>
                  <a:lnTo>
                    <a:pt x="105000" y="253492"/>
                  </a:lnTo>
                  <a:lnTo>
                    <a:pt x="49706" y="253492"/>
                  </a:lnTo>
                  <a:lnTo>
                    <a:pt x="49706" y="198198"/>
                  </a:lnTo>
                  <a:lnTo>
                    <a:pt x="0" y="148492"/>
                  </a:lnTo>
                  <a:lnTo>
                    <a:pt x="49706" y="98787"/>
                  </a:lnTo>
                  <a:close/>
                  <a:moveTo>
                    <a:pt x="154706" y="193492"/>
                  </a:moveTo>
                  <a:cubicBezTo>
                    <a:pt x="179559" y="193492"/>
                    <a:pt x="199706" y="173346"/>
                    <a:pt x="199706" y="148492"/>
                  </a:cubicBezTo>
                  <a:cubicBezTo>
                    <a:pt x="199706" y="123639"/>
                    <a:pt x="179559" y="103492"/>
                    <a:pt x="154706" y="103492"/>
                  </a:cubicBezTo>
                  <a:cubicBezTo>
                    <a:pt x="129852" y="103492"/>
                    <a:pt x="109706" y="123639"/>
                    <a:pt x="109706" y="148492"/>
                  </a:cubicBezTo>
                  <a:cubicBezTo>
                    <a:pt x="109706" y="173346"/>
                    <a:pt x="129852" y="193492"/>
                    <a:pt x="154706" y="193492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39" name="Рисунок 221">
            <a:extLst>
              <a:ext uri="{FF2B5EF4-FFF2-40B4-BE49-F238E27FC236}">
                <a16:creationId xmlns:a16="http://schemas.microsoft.com/office/drawing/2014/main" id="{C62BC1CF-3E26-E943-B73A-6F342414CC55}"/>
              </a:ext>
            </a:extLst>
          </p:cNvPr>
          <p:cNvGrpSpPr/>
          <p:nvPr/>
        </p:nvGrpSpPr>
        <p:grpSpPr>
          <a:xfrm>
            <a:off x="3682403" y="1093919"/>
            <a:ext cx="361103" cy="360000"/>
            <a:chOff x="3715856" y="1412875"/>
            <a:chExt cx="361103" cy="360000"/>
          </a:xfrm>
        </p:grpSpPr>
        <p:sp>
          <p:nvSpPr>
            <p:cNvPr id="940" name="Полилиния 939">
              <a:extLst>
                <a:ext uri="{FF2B5EF4-FFF2-40B4-BE49-F238E27FC236}">
                  <a16:creationId xmlns:a16="http://schemas.microsoft.com/office/drawing/2014/main" id="{5B036106-2C2C-4A43-A661-50FCD554CA53}"/>
                </a:ext>
              </a:extLst>
            </p:cNvPr>
            <p:cNvSpPr/>
            <p:nvPr/>
          </p:nvSpPr>
          <p:spPr>
            <a:xfrm>
              <a:off x="3715856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1" name="Полилиния 940">
              <a:extLst>
                <a:ext uri="{FF2B5EF4-FFF2-40B4-BE49-F238E27FC236}">
                  <a16:creationId xmlns:a16="http://schemas.microsoft.com/office/drawing/2014/main" id="{28CAA972-D4A2-FC4E-BBA7-E3EF4873D25B}"/>
                </a:ext>
              </a:extLst>
            </p:cNvPr>
            <p:cNvSpPr/>
            <p:nvPr/>
          </p:nvSpPr>
          <p:spPr>
            <a:xfrm>
              <a:off x="3745856" y="1442875"/>
              <a:ext cx="300000" cy="300000"/>
            </a:xfrm>
            <a:custGeom>
              <a:avLst/>
              <a:gdLst>
                <a:gd name="connsiteX0" fmla="*/ 133500 w 300000"/>
                <a:gd name="connsiteY0" fmla="*/ 0 h 300000"/>
                <a:gd name="connsiteX1" fmla="*/ 148500 w 300000"/>
                <a:gd name="connsiteY1" fmla="*/ 15000 h 300000"/>
                <a:gd name="connsiteX2" fmla="*/ 133500 w 300000"/>
                <a:gd name="connsiteY2" fmla="*/ 30000 h 300000"/>
                <a:gd name="connsiteX3" fmla="*/ 60000 w 300000"/>
                <a:gd name="connsiteY3" fmla="*/ 30000 h 300000"/>
                <a:gd name="connsiteX4" fmla="*/ 30000 w 300000"/>
                <a:gd name="connsiteY4" fmla="*/ 60000 h 300000"/>
                <a:gd name="connsiteX5" fmla="*/ 30000 w 300000"/>
                <a:gd name="connsiteY5" fmla="*/ 240000 h 300000"/>
                <a:gd name="connsiteX6" fmla="*/ 60000 w 300000"/>
                <a:gd name="connsiteY6" fmla="*/ 270000 h 300000"/>
                <a:gd name="connsiteX7" fmla="*/ 240000 w 300000"/>
                <a:gd name="connsiteY7" fmla="*/ 270000 h 300000"/>
                <a:gd name="connsiteX8" fmla="*/ 270000 w 300000"/>
                <a:gd name="connsiteY8" fmla="*/ 240000 h 300000"/>
                <a:gd name="connsiteX9" fmla="*/ 270000 w 300000"/>
                <a:gd name="connsiteY9" fmla="*/ 210000 h 300000"/>
                <a:gd name="connsiteX10" fmla="*/ 285000 w 300000"/>
                <a:gd name="connsiteY10" fmla="*/ 195000 h 300000"/>
                <a:gd name="connsiteX11" fmla="*/ 300000 w 300000"/>
                <a:gd name="connsiteY11" fmla="*/ 210000 h 300000"/>
                <a:gd name="connsiteX12" fmla="*/ 300000 w 300000"/>
                <a:gd name="connsiteY12" fmla="*/ 240000 h 300000"/>
                <a:gd name="connsiteX13" fmla="*/ 240000 w 300000"/>
                <a:gd name="connsiteY13" fmla="*/ 300000 h 300000"/>
                <a:gd name="connsiteX14" fmla="*/ 60000 w 300000"/>
                <a:gd name="connsiteY14" fmla="*/ 300000 h 300000"/>
                <a:gd name="connsiteX15" fmla="*/ 0 w 300000"/>
                <a:gd name="connsiteY15" fmla="*/ 240000 h 300000"/>
                <a:gd name="connsiteX16" fmla="*/ 0 w 300000"/>
                <a:gd name="connsiteY16" fmla="*/ 60000 h 300000"/>
                <a:gd name="connsiteX17" fmla="*/ 60000 w 300000"/>
                <a:gd name="connsiteY17" fmla="*/ 0 h 300000"/>
                <a:gd name="connsiteX18" fmla="*/ 133500 w 300000"/>
                <a:gd name="connsiteY18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0000" h="300000">
                  <a:moveTo>
                    <a:pt x="133500" y="0"/>
                  </a:moveTo>
                  <a:cubicBezTo>
                    <a:pt x="141785" y="0"/>
                    <a:pt x="148500" y="6716"/>
                    <a:pt x="148500" y="15000"/>
                  </a:cubicBezTo>
                  <a:cubicBezTo>
                    <a:pt x="148500" y="23284"/>
                    <a:pt x="141785" y="30000"/>
                    <a:pt x="133500" y="30000"/>
                  </a:cubicBezTo>
                  <a:lnTo>
                    <a:pt x="60000" y="30000"/>
                  </a:lnTo>
                  <a:cubicBezTo>
                    <a:pt x="43431" y="30000"/>
                    <a:pt x="30000" y="43431"/>
                    <a:pt x="30000" y="60000"/>
                  </a:cubicBezTo>
                  <a:lnTo>
                    <a:pt x="30000" y="240000"/>
                  </a:lnTo>
                  <a:cubicBezTo>
                    <a:pt x="30000" y="256569"/>
                    <a:pt x="43431" y="270000"/>
                    <a:pt x="60000" y="270000"/>
                  </a:cubicBezTo>
                  <a:lnTo>
                    <a:pt x="240000" y="270000"/>
                  </a:lnTo>
                  <a:cubicBezTo>
                    <a:pt x="256569" y="270000"/>
                    <a:pt x="270000" y="256569"/>
                    <a:pt x="270000" y="240000"/>
                  </a:cubicBezTo>
                  <a:lnTo>
                    <a:pt x="270000" y="210000"/>
                  </a:lnTo>
                  <a:cubicBezTo>
                    <a:pt x="270000" y="201716"/>
                    <a:pt x="276716" y="195000"/>
                    <a:pt x="285000" y="195000"/>
                  </a:cubicBezTo>
                  <a:cubicBezTo>
                    <a:pt x="293285" y="195000"/>
                    <a:pt x="300000" y="201716"/>
                    <a:pt x="300000" y="210000"/>
                  </a:cubicBezTo>
                  <a:lnTo>
                    <a:pt x="300000" y="240000"/>
                  </a:lnTo>
                  <a:cubicBezTo>
                    <a:pt x="300000" y="273137"/>
                    <a:pt x="273137" y="300000"/>
                    <a:pt x="240000" y="300000"/>
                  </a:cubicBezTo>
                  <a:lnTo>
                    <a:pt x="60000" y="300000"/>
                  </a:lnTo>
                  <a:cubicBezTo>
                    <a:pt x="26863" y="300000"/>
                    <a:pt x="0" y="273137"/>
                    <a:pt x="0" y="240000"/>
                  </a:cubicBezTo>
                  <a:lnTo>
                    <a:pt x="0" y="60000"/>
                  </a:lnTo>
                  <a:cubicBezTo>
                    <a:pt x="0" y="26863"/>
                    <a:pt x="26863" y="0"/>
                    <a:pt x="60000" y="0"/>
                  </a:cubicBezTo>
                  <a:lnTo>
                    <a:pt x="1335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2" name="Полилиния 941">
              <a:extLst>
                <a:ext uri="{FF2B5EF4-FFF2-40B4-BE49-F238E27FC236}">
                  <a16:creationId xmlns:a16="http://schemas.microsoft.com/office/drawing/2014/main" id="{79C2E5DA-6AFA-6644-93D4-5901F9C863D6}"/>
                </a:ext>
              </a:extLst>
            </p:cNvPr>
            <p:cNvSpPr/>
            <p:nvPr/>
          </p:nvSpPr>
          <p:spPr>
            <a:xfrm rot="10800000" flipV="1">
              <a:off x="3820855" y="1429193"/>
              <a:ext cx="256103" cy="215975"/>
            </a:xfrm>
            <a:custGeom>
              <a:avLst/>
              <a:gdLst>
                <a:gd name="connsiteX0" fmla="*/ 256036 w 256103"/>
                <a:gd name="connsiteY0" fmla="*/ 192142 h 215975"/>
                <a:gd name="connsiteX1" fmla="*/ 222871 w 256103"/>
                <a:gd name="connsiteY1" fmla="*/ 99730 h 215975"/>
                <a:gd name="connsiteX2" fmla="*/ 120123 w 256103"/>
                <a:gd name="connsiteY2" fmla="*/ 69535 h 215975"/>
                <a:gd name="connsiteX3" fmla="*/ 120123 w 256103"/>
                <a:gd name="connsiteY3" fmla="*/ 11250 h 215975"/>
                <a:gd name="connsiteX4" fmla="*/ 108873 w 256103"/>
                <a:gd name="connsiteY4" fmla="*/ 0 h 215975"/>
                <a:gd name="connsiteX5" fmla="*/ 101313 w 256103"/>
                <a:gd name="connsiteY5" fmla="*/ 2918 h 215975"/>
                <a:gd name="connsiteX6" fmla="*/ 3691 w 256103"/>
                <a:gd name="connsiteY6" fmla="*/ 91484 h 215975"/>
                <a:gd name="connsiteX7" fmla="*/ 2918 w 256103"/>
                <a:gd name="connsiteY7" fmla="*/ 107375 h 215975"/>
                <a:gd name="connsiteX8" fmla="*/ 3606 w 256103"/>
                <a:gd name="connsiteY8" fmla="*/ 108070 h 215975"/>
                <a:gd name="connsiteX9" fmla="*/ 101229 w 256103"/>
                <a:gd name="connsiteY9" fmla="*/ 198478 h 215975"/>
                <a:gd name="connsiteX10" fmla="*/ 117126 w 256103"/>
                <a:gd name="connsiteY10" fmla="*/ 197868 h 215975"/>
                <a:gd name="connsiteX11" fmla="*/ 120123 w 256103"/>
                <a:gd name="connsiteY11" fmla="*/ 190224 h 215975"/>
                <a:gd name="connsiteX12" fmla="*/ 120123 w 256103"/>
                <a:gd name="connsiteY12" fmla="*/ 132295 h 215975"/>
                <a:gd name="connsiteX13" fmla="*/ 184395 w 256103"/>
                <a:gd name="connsiteY13" fmla="*/ 140386 h 215975"/>
                <a:gd name="connsiteX14" fmla="*/ 243064 w 256103"/>
                <a:gd name="connsiteY14" fmla="*/ 208626 h 215975"/>
                <a:gd name="connsiteX15" fmla="*/ 243064 w 256103"/>
                <a:gd name="connsiteY15" fmla="*/ 208626 h 215975"/>
                <a:gd name="connsiteX16" fmla="*/ 253617 w 256103"/>
                <a:gd name="connsiteY16" fmla="*/ 215976 h 215975"/>
                <a:gd name="connsiteX17" fmla="*/ 256104 w 256103"/>
                <a:gd name="connsiteY17" fmla="*/ 215976 h 215975"/>
                <a:gd name="connsiteX18" fmla="*/ 256036 w 256103"/>
                <a:gd name="connsiteY18" fmla="*/ 192142 h 21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6103" h="215975">
                  <a:moveTo>
                    <a:pt x="256036" y="192142"/>
                  </a:moveTo>
                  <a:cubicBezTo>
                    <a:pt x="256036" y="180700"/>
                    <a:pt x="258487" y="135550"/>
                    <a:pt x="222871" y="99730"/>
                  </a:cubicBezTo>
                  <a:cubicBezTo>
                    <a:pt x="198900" y="75623"/>
                    <a:pt x="163026" y="71442"/>
                    <a:pt x="120123" y="69535"/>
                  </a:cubicBezTo>
                  <a:lnTo>
                    <a:pt x="120123" y="11250"/>
                  </a:lnTo>
                  <a:cubicBezTo>
                    <a:pt x="120123" y="5037"/>
                    <a:pt x="115086" y="0"/>
                    <a:pt x="108873" y="0"/>
                  </a:cubicBezTo>
                  <a:cubicBezTo>
                    <a:pt x="106078" y="0"/>
                    <a:pt x="103383" y="1040"/>
                    <a:pt x="101313" y="2918"/>
                  </a:cubicBezTo>
                  <a:lnTo>
                    <a:pt x="3691" y="91484"/>
                  </a:lnTo>
                  <a:cubicBezTo>
                    <a:pt x="-911" y="95658"/>
                    <a:pt x="-1257" y="102773"/>
                    <a:pt x="2918" y="107375"/>
                  </a:cubicBezTo>
                  <a:cubicBezTo>
                    <a:pt x="3137" y="107616"/>
                    <a:pt x="3367" y="107848"/>
                    <a:pt x="3606" y="108070"/>
                  </a:cubicBezTo>
                  <a:lnTo>
                    <a:pt x="101229" y="198478"/>
                  </a:lnTo>
                  <a:cubicBezTo>
                    <a:pt x="105787" y="202701"/>
                    <a:pt x="112905" y="202428"/>
                    <a:pt x="117126" y="197868"/>
                  </a:cubicBezTo>
                  <a:cubicBezTo>
                    <a:pt x="119052" y="195789"/>
                    <a:pt x="120123" y="193059"/>
                    <a:pt x="120123" y="190224"/>
                  </a:cubicBezTo>
                  <a:lnTo>
                    <a:pt x="120123" y="132295"/>
                  </a:lnTo>
                  <a:cubicBezTo>
                    <a:pt x="147363" y="133044"/>
                    <a:pt x="166765" y="134778"/>
                    <a:pt x="184395" y="140386"/>
                  </a:cubicBezTo>
                  <a:cubicBezTo>
                    <a:pt x="209668" y="148426"/>
                    <a:pt x="229224" y="171172"/>
                    <a:pt x="243064" y="208626"/>
                  </a:cubicBezTo>
                  <a:lnTo>
                    <a:pt x="243064" y="208626"/>
                  </a:lnTo>
                  <a:cubicBezTo>
                    <a:pt x="244696" y="213043"/>
                    <a:pt x="248907" y="215976"/>
                    <a:pt x="253617" y="215976"/>
                  </a:cubicBezTo>
                  <a:lnTo>
                    <a:pt x="256104" y="215976"/>
                  </a:lnTo>
                  <a:cubicBezTo>
                    <a:pt x="256104" y="209098"/>
                    <a:pt x="256036" y="198202"/>
                    <a:pt x="256036" y="192142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43" name="Рисунок 222">
            <a:extLst>
              <a:ext uri="{FF2B5EF4-FFF2-40B4-BE49-F238E27FC236}">
                <a16:creationId xmlns:a16="http://schemas.microsoft.com/office/drawing/2014/main" id="{35C090D5-F460-F04E-A4B4-3F2C1B59CE80}"/>
              </a:ext>
            </a:extLst>
          </p:cNvPr>
          <p:cNvGrpSpPr/>
          <p:nvPr/>
        </p:nvGrpSpPr>
        <p:grpSpPr>
          <a:xfrm>
            <a:off x="2927270" y="1093919"/>
            <a:ext cx="360000" cy="360000"/>
            <a:chOff x="2960723" y="1412875"/>
            <a:chExt cx="360000" cy="360000"/>
          </a:xfrm>
        </p:grpSpPr>
        <p:sp>
          <p:nvSpPr>
            <p:cNvPr id="944" name="Полилиния 943">
              <a:extLst>
                <a:ext uri="{FF2B5EF4-FFF2-40B4-BE49-F238E27FC236}">
                  <a16:creationId xmlns:a16="http://schemas.microsoft.com/office/drawing/2014/main" id="{D557468D-1010-7343-BFD3-B24482766CB3}"/>
                </a:ext>
              </a:extLst>
            </p:cNvPr>
            <p:cNvSpPr/>
            <p:nvPr/>
          </p:nvSpPr>
          <p:spPr>
            <a:xfrm>
              <a:off x="2960723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5" name="Полилиния 944">
              <a:extLst>
                <a:ext uri="{FF2B5EF4-FFF2-40B4-BE49-F238E27FC236}">
                  <a16:creationId xmlns:a16="http://schemas.microsoft.com/office/drawing/2014/main" id="{EDD5D9AE-E46F-8049-8086-AB53C212B2A8}"/>
                </a:ext>
              </a:extLst>
            </p:cNvPr>
            <p:cNvSpPr/>
            <p:nvPr/>
          </p:nvSpPr>
          <p:spPr>
            <a:xfrm>
              <a:off x="3020723" y="1450897"/>
              <a:ext cx="240000" cy="304288"/>
            </a:xfrm>
            <a:custGeom>
              <a:avLst/>
              <a:gdLst>
                <a:gd name="connsiteX0" fmla="*/ 0 w 240000"/>
                <a:gd name="connsiteY0" fmla="*/ 21977 h 304288"/>
                <a:gd name="connsiteX1" fmla="*/ 114471 w 240000"/>
                <a:gd name="connsiteY1" fmla="*/ 514 h 304288"/>
                <a:gd name="connsiteX2" fmla="*/ 125529 w 240000"/>
                <a:gd name="connsiteY2" fmla="*/ 514 h 304288"/>
                <a:gd name="connsiteX3" fmla="*/ 240000 w 240000"/>
                <a:gd name="connsiteY3" fmla="*/ 21977 h 304288"/>
                <a:gd name="connsiteX4" fmla="*/ 240000 w 240000"/>
                <a:gd name="connsiteY4" fmla="*/ 161222 h 304288"/>
                <a:gd name="connsiteX5" fmla="*/ 180000 w 240000"/>
                <a:gd name="connsiteY5" fmla="*/ 269477 h 304288"/>
                <a:gd name="connsiteX6" fmla="*/ 127950 w 240000"/>
                <a:gd name="connsiteY6" fmla="*/ 302009 h 304288"/>
                <a:gd name="connsiteX7" fmla="*/ 112050 w 240000"/>
                <a:gd name="connsiteY7" fmla="*/ 302009 h 304288"/>
                <a:gd name="connsiteX8" fmla="*/ 60000 w 240000"/>
                <a:gd name="connsiteY8" fmla="*/ 269477 h 304288"/>
                <a:gd name="connsiteX9" fmla="*/ 0 w 240000"/>
                <a:gd name="connsiteY9" fmla="*/ 161222 h 304288"/>
                <a:gd name="connsiteX10" fmla="*/ 0 w 240000"/>
                <a:gd name="connsiteY10" fmla="*/ 21977 h 30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4288">
                  <a:moveTo>
                    <a:pt x="0" y="21977"/>
                  </a:moveTo>
                  <a:lnTo>
                    <a:pt x="114471" y="514"/>
                  </a:lnTo>
                  <a:cubicBezTo>
                    <a:pt x="118125" y="-171"/>
                    <a:pt x="121875" y="-171"/>
                    <a:pt x="125529" y="514"/>
                  </a:cubicBezTo>
                  <a:lnTo>
                    <a:pt x="240000" y="21977"/>
                  </a:lnTo>
                  <a:lnTo>
                    <a:pt x="240000" y="161222"/>
                  </a:lnTo>
                  <a:cubicBezTo>
                    <a:pt x="240000" y="205238"/>
                    <a:pt x="217325" y="246149"/>
                    <a:pt x="180000" y="269477"/>
                  </a:cubicBezTo>
                  <a:lnTo>
                    <a:pt x="127950" y="302009"/>
                  </a:lnTo>
                  <a:cubicBezTo>
                    <a:pt x="123086" y="305048"/>
                    <a:pt x="116915" y="305048"/>
                    <a:pt x="112050" y="302009"/>
                  </a:cubicBezTo>
                  <a:lnTo>
                    <a:pt x="60000" y="269477"/>
                  </a:lnTo>
                  <a:cubicBezTo>
                    <a:pt x="22675" y="246149"/>
                    <a:pt x="0" y="205238"/>
                    <a:pt x="0" y="161222"/>
                  </a:cubicBezTo>
                  <a:lnTo>
                    <a:pt x="0" y="21977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6" name="Полилиния 945">
              <a:extLst>
                <a:ext uri="{FF2B5EF4-FFF2-40B4-BE49-F238E27FC236}">
                  <a16:creationId xmlns:a16="http://schemas.microsoft.com/office/drawing/2014/main" id="{F863929E-4B08-F94E-BF52-07FDC8CC7F88}"/>
                </a:ext>
              </a:extLst>
            </p:cNvPr>
            <p:cNvSpPr/>
            <p:nvPr/>
          </p:nvSpPr>
          <p:spPr>
            <a:xfrm>
              <a:off x="3085223" y="1547875"/>
              <a:ext cx="115000" cy="86249"/>
            </a:xfrm>
            <a:custGeom>
              <a:avLst/>
              <a:gdLst>
                <a:gd name="connsiteX0" fmla="*/ 43125 w 115000"/>
                <a:gd name="connsiteY0" fmla="*/ 86250 h 86249"/>
                <a:gd name="connsiteX1" fmla="*/ 33063 w 115000"/>
                <a:gd name="connsiteY1" fmla="*/ 81937 h 86249"/>
                <a:gd name="connsiteX2" fmla="*/ 4312 w 115000"/>
                <a:gd name="connsiteY2" fmla="*/ 53187 h 86249"/>
                <a:gd name="connsiteX3" fmla="*/ 4312 w 115000"/>
                <a:gd name="connsiteY3" fmla="*/ 33063 h 86249"/>
                <a:gd name="connsiteX4" fmla="*/ 24438 w 115000"/>
                <a:gd name="connsiteY4" fmla="*/ 33063 h 86249"/>
                <a:gd name="connsiteX5" fmla="*/ 43125 w 115000"/>
                <a:gd name="connsiteY5" fmla="*/ 51750 h 86249"/>
                <a:gd name="connsiteX6" fmla="*/ 90562 w 115000"/>
                <a:gd name="connsiteY6" fmla="*/ 4312 h 86249"/>
                <a:gd name="connsiteX7" fmla="*/ 110688 w 115000"/>
                <a:gd name="connsiteY7" fmla="*/ 4312 h 86249"/>
                <a:gd name="connsiteX8" fmla="*/ 110688 w 115000"/>
                <a:gd name="connsiteY8" fmla="*/ 24438 h 86249"/>
                <a:gd name="connsiteX9" fmla="*/ 53187 w 115000"/>
                <a:gd name="connsiteY9" fmla="*/ 81937 h 86249"/>
                <a:gd name="connsiteX10" fmla="*/ 43125 w 115000"/>
                <a:gd name="connsiteY10" fmla="*/ 86250 h 86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000" h="86249">
                  <a:moveTo>
                    <a:pt x="43125" y="86250"/>
                  </a:moveTo>
                  <a:cubicBezTo>
                    <a:pt x="39531" y="86250"/>
                    <a:pt x="35937" y="84813"/>
                    <a:pt x="33063" y="81937"/>
                  </a:cubicBezTo>
                  <a:lnTo>
                    <a:pt x="4312" y="53187"/>
                  </a:lnTo>
                  <a:cubicBezTo>
                    <a:pt x="-1437" y="47437"/>
                    <a:pt x="-1437" y="38812"/>
                    <a:pt x="4312" y="33063"/>
                  </a:cubicBezTo>
                  <a:cubicBezTo>
                    <a:pt x="10062" y="27312"/>
                    <a:pt x="19406" y="27312"/>
                    <a:pt x="24438" y="33063"/>
                  </a:cubicBezTo>
                  <a:lnTo>
                    <a:pt x="43125" y="51750"/>
                  </a:lnTo>
                  <a:lnTo>
                    <a:pt x="90562" y="4312"/>
                  </a:lnTo>
                  <a:cubicBezTo>
                    <a:pt x="96312" y="-1437"/>
                    <a:pt x="104937" y="-1437"/>
                    <a:pt x="110688" y="4312"/>
                  </a:cubicBezTo>
                  <a:cubicBezTo>
                    <a:pt x="116437" y="10062"/>
                    <a:pt x="116437" y="18687"/>
                    <a:pt x="110688" y="24438"/>
                  </a:cubicBezTo>
                  <a:lnTo>
                    <a:pt x="53187" y="81937"/>
                  </a:lnTo>
                  <a:cubicBezTo>
                    <a:pt x="50313" y="84813"/>
                    <a:pt x="46719" y="86250"/>
                    <a:pt x="43125" y="8625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47" name="Рисунок 223">
            <a:extLst>
              <a:ext uri="{FF2B5EF4-FFF2-40B4-BE49-F238E27FC236}">
                <a16:creationId xmlns:a16="http://schemas.microsoft.com/office/drawing/2014/main" id="{6E97581F-31F4-1043-A691-E09F448A6044}"/>
              </a:ext>
            </a:extLst>
          </p:cNvPr>
          <p:cNvGrpSpPr/>
          <p:nvPr/>
        </p:nvGrpSpPr>
        <p:grpSpPr>
          <a:xfrm>
            <a:off x="2172137" y="1093919"/>
            <a:ext cx="360000" cy="360000"/>
            <a:chOff x="2205590" y="1412875"/>
            <a:chExt cx="360000" cy="360000"/>
          </a:xfrm>
        </p:grpSpPr>
        <p:sp>
          <p:nvSpPr>
            <p:cNvPr id="948" name="Полилиния 947">
              <a:extLst>
                <a:ext uri="{FF2B5EF4-FFF2-40B4-BE49-F238E27FC236}">
                  <a16:creationId xmlns:a16="http://schemas.microsoft.com/office/drawing/2014/main" id="{F2537F12-2473-794D-8AD1-58FC08380E61}"/>
                </a:ext>
              </a:extLst>
            </p:cNvPr>
            <p:cNvSpPr/>
            <p:nvPr/>
          </p:nvSpPr>
          <p:spPr>
            <a:xfrm>
              <a:off x="220559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9" name="Полилиния 948">
              <a:extLst>
                <a:ext uri="{FF2B5EF4-FFF2-40B4-BE49-F238E27FC236}">
                  <a16:creationId xmlns:a16="http://schemas.microsoft.com/office/drawing/2014/main" id="{E174D9B8-0A0E-5C4D-AD51-FBA22474CB20}"/>
                </a:ext>
              </a:extLst>
            </p:cNvPr>
            <p:cNvSpPr/>
            <p:nvPr/>
          </p:nvSpPr>
          <p:spPr>
            <a:xfrm>
              <a:off x="2265590" y="1450897"/>
              <a:ext cx="240000" cy="304288"/>
            </a:xfrm>
            <a:custGeom>
              <a:avLst/>
              <a:gdLst>
                <a:gd name="connsiteX0" fmla="*/ 0 w 240000"/>
                <a:gd name="connsiteY0" fmla="*/ 21977 h 304288"/>
                <a:gd name="connsiteX1" fmla="*/ 114471 w 240000"/>
                <a:gd name="connsiteY1" fmla="*/ 514 h 304288"/>
                <a:gd name="connsiteX2" fmla="*/ 125529 w 240000"/>
                <a:gd name="connsiteY2" fmla="*/ 514 h 304288"/>
                <a:gd name="connsiteX3" fmla="*/ 240000 w 240000"/>
                <a:gd name="connsiteY3" fmla="*/ 21977 h 304288"/>
                <a:gd name="connsiteX4" fmla="*/ 240000 w 240000"/>
                <a:gd name="connsiteY4" fmla="*/ 161222 h 304288"/>
                <a:gd name="connsiteX5" fmla="*/ 180000 w 240000"/>
                <a:gd name="connsiteY5" fmla="*/ 269477 h 304288"/>
                <a:gd name="connsiteX6" fmla="*/ 127950 w 240000"/>
                <a:gd name="connsiteY6" fmla="*/ 302009 h 304288"/>
                <a:gd name="connsiteX7" fmla="*/ 112050 w 240000"/>
                <a:gd name="connsiteY7" fmla="*/ 302009 h 304288"/>
                <a:gd name="connsiteX8" fmla="*/ 60000 w 240000"/>
                <a:gd name="connsiteY8" fmla="*/ 269477 h 304288"/>
                <a:gd name="connsiteX9" fmla="*/ 0 w 240000"/>
                <a:gd name="connsiteY9" fmla="*/ 161222 h 304288"/>
                <a:gd name="connsiteX10" fmla="*/ 0 w 240000"/>
                <a:gd name="connsiteY10" fmla="*/ 21977 h 30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4288">
                  <a:moveTo>
                    <a:pt x="0" y="21977"/>
                  </a:moveTo>
                  <a:lnTo>
                    <a:pt x="114471" y="514"/>
                  </a:lnTo>
                  <a:cubicBezTo>
                    <a:pt x="118125" y="-171"/>
                    <a:pt x="121875" y="-171"/>
                    <a:pt x="125529" y="514"/>
                  </a:cubicBezTo>
                  <a:lnTo>
                    <a:pt x="240000" y="21977"/>
                  </a:lnTo>
                  <a:lnTo>
                    <a:pt x="240000" y="161222"/>
                  </a:lnTo>
                  <a:cubicBezTo>
                    <a:pt x="240000" y="205238"/>
                    <a:pt x="217325" y="246149"/>
                    <a:pt x="180000" y="269477"/>
                  </a:cubicBezTo>
                  <a:lnTo>
                    <a:pt x="127950" y="302009"/>
                  </a:lnTo>
                  <a:cubicBezTo>
                    <a:pt x="123086" y="305048"/>
                    <a:pt x="116915" y="305048"/>
                    <a:pt x="112050" y="302009"/>
                  </a:cubicBezTo>
                  <a:lnTo>
                    <a:pt x="60000" y="269477"/>
                  </a:lnTo>
                  <a:cubicBezTo>
                    <a:pt x="22675" y="246149"/>
                    <a:pt x="0" y="205238"/>
                    <a:pt x="0" y="161222"/>
                  </a:cubicBezTo>
                  <a:lnTo>
                    <a:pt x="0" y="21977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0" name="Полилиния 949">
              <a:extLst>
                <a:ext uri="{FF2B5EF4-FFF2-40B4-BE49-F238E27FC236}">
                  <a16:creationId xmlns:a16="http://schemas.microsoft.com/office/drawing/2014/main" id="{5E4BAB66-C398-F54F-B20F-F0ABEB03DF32}"/>
                </a:ext>
              </a:extLst>
            </p:cNvPr>
            <p:cNvSpPr/>
            <p:nvPr/>
          </p:nvSpPr>
          <p:spPr>
            <a:xfrm>
              <a:off x="2338770" y="1546055"/>
              <a:ext cx="93640" cy="93640"/>
            </a:xfrm>
            <a:custGeom>
              <a:avLst/>
              <a:gdLst>
                <a:gd name="connsiteX0" fmla="*/ 25607 w 93640"/>
                <a:gd name="connsiteY0" fmla="*/ 46820 h 93640"/>
                <a:gd name="connsiteX1" fmla="*/ 4393 w 93640"/>
                <a:gd name="connsiteY1" fmla="*/ 25607 h 93640"/>
                <a:gd name="connsiteX2" fmla="*/ 4393 w 93640"/>
                <a:gd name="connsiteY2" fmla="*/ 4393 h 93640"/>
                <a:gd name="connsiteX3" fmla="*/ 25607 w 93640"/>
                <a:gd name="connsiteY3" fmla="*/ 4393 h 93640"/>
                <a:gd name="connsiteX4" fmla="*/ 46820 w 93640"/>
                <a:gd name="connsiteY4" fmla="*/ 25607 h 93640"/>
                <a:gd name="connsiteX5" fmla="*/ 68033 w 93640"/>
                <a:gd name="connsiteY5" fmla="*/ 4393 h 93640"/>
                <a:gd name="connsiteX6" fmla="*/ 89246 w 93640"/>
                <a:gd name="connsiteY6" fmla="*/ 4393 h 93640"/>
                <a:gd name="connsiteX7" fmla="*/ 89246 w 93640"/>
                <a:gd name="connsiteY7" fmla="*/ 25607 h 93640"/>
                <a:gd name="connsiteX8" fmla="*/ 68033 w 93640"/>
                <a:gd name="connsiteY8" fmla="*/ 46820 h 93640"/>
                <a:gd name="connsiteX9" fmla="*/ 89246 w 93640"/>
                <a:gd name="connsiteY9" fmla="*/ 68033 h 93640"/>
                <a:gd name="connsiteX10" fmla="*/ 89246 w 93640"/>
                <a:gd name="connsiteY10" fmla="*/ 89246 h 93640"/>
                <a:gd name="connsiteX11" fmla="*/ 68033 w 93640"/>
                <a:gd name="connsiteY11" fmla="*/ 89246 h 93640"/>
                <a:gd name="connsiteX12" fmla="*/ 46820 w 93640"/>
                <a:gd name="connsiteY12" fmla="*/ 68033 h 93640"/>
                <a:gd name="connsiteX13" fmla="*/ 25607 w 93640"/>
                <a:gd name="connsiteY13" fmla="*/ 89246 h 93640"/>
                <a:gd name="connsiteX14" fmla="*/ 4393 w 93640"/>
                <a:gd name="connsiteY14" fmla="*/ 89246 h 93640"/>
                <a:gd name="connsiteX15" fmla="*/ 4393 w 93640"/>
                <a:gd name="connsiteY15" fmla="*/ 68033 h 93640"/>
                <a:gd name="connsiteX16" fmla="*/ 25607 w 93640"/>
                <a:gd name="connsiteY16" fmla="*/ 46820 h 93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3640" h="93640">
                  <a:moveTo>
                    <a:pt x="25607" y="46820"/>
                  </a:moveTo>
                  <a:lnTo>
                    <a:pt x="4393" y="25607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7" y="4393"/>
                  </a:cubicBezTo>
                  <a:lnTo>
                    <a:pt x="46820" y="25607"/>
                  </a:lnTo>
                  <a:lnTo>
                    <a:pt x="68033" y="4393"/>
                  </a:lnTo>
                  <a:cubicBezTo>
                    <a:pt x="73890" y="-1464"/>
                    <a:pt x="83388" y="-1464"/>
                    <a:pt x="89246" y="4393"/>
                  </a:cubicBezTo>
                  <a:cubicBezTo>
                    <a:pt x="95105" y="10251"/>
                    <a:pt x="95105" y="19749"/>
                    <a:pt x="89246" y="25607"/>
                  </a:cubicBezTo>
                  <a:lnTo>
                    <a:pt x="68033" y="46820"/>
                  </a:lnTo>
                  <a:lnTo>
                    <a:pt x="89246" y="68033"/>
                  </a:lnTo>
                  <a:cubicBezTo>
                    <a:pt x="95105" y="73890"/>
                    <a:pt x="95105" y="83388"/>
                    <a:pt x="89246" y="89246"/>
                  </a:cubicBezTo>
                  <a:cubicBezTo>
                    <a:pt x="83388" y="95105"/>
                    <a:pt x="73890" y="95105"/>
                    <a:pt x="68033" y="89246"/>
                  </a:cubicBezTo>
                  <a:lnTo>
                    <a:pt x="46820" y="68033"/>
                  </a:lnTo>
                  <a:lnTo>
                    <a:pt x="25607" y="89246"/>
                  </a:lnTo>
                  <a:cubicBezTo>
                    <a:pt x="19749" y="95105"/>
                    <a:pt x="10251" y="95105"/>
                    <a:pt x="4393" y="89246"/>
                  </a:cubicBezTo>
                  <a:cubicBezTo>
                    <a:pt x="-1464" y="83388"/>
                    <a:pt x="-1464" y="73890"/>
                    <a:pt x="4393" y="68033"/>
                  </a:cubicBezTo>
                  <a:lnTo>
                    <a:pt x="25607" y="4682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51" name="Рисунок 224">
            <a:extLst>
              <a:ext uri="{FF2B5EF4-FFF2-40B4-BE49-F238E27FC236}">
                <a16:creationId xmlns:a16="http://schemas.microsoft.com/office/drawing/2014/main" id="{1C4A3078-C0C9-C047-95D4-85C65A724AE1}"/>
              </a:ext>
            </a:extLst>
          </p:cNvPr>
          <p:cNvGrpSpPr/>
          <p:nvPr/>
        </p:nvGrpSpPr>
        <p:grpSpPr>
          <a:xfrm>
            <a:off x="1417004" y="1093919"/>
            <a:ext cx="360000" cy="360000"/>
            <a:chOff x="1450457" y="1412875"/>
            <a:chExt cx="360000" cy="360000"/>
          </a:xfrm>
        </p:grpSpPr>
        <p:sp>
          <p:nvSpPr>
            <p:cNvPr id="952" name="Полилиния 951">
              <a:extLst>
                <a:ext uri="{FF2B5EF4-FFF2-40B4-BE49-F238E27FC236}">
                  <a16:creationId xmlns:a16="http://schemas.microsoft.com/office/drawing/2014/main" id="{852CE987-9BC7-C24B-92C9-AFC68CBF84F6}"/>
                </a:ext>
              </a:extLst>
            </p:cNvPr>
            <p:cNvSpPr/>
            <p:nvPr/>
          </p:nvSpPr>
          <p:spPr>
            <a:xfrm>
              <a:off x="1450457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3" name="Полилиния 952">
              <a:extLst>
                <a:ext uri="{FF2B5EF4-FFF2-40B4-BE49-F238E27FC236}">
                  <a16:creationId xmlns:a16="http://schemas.microsoft.com/office/drawing/2014/main" id="{5C2B2D85-B374-6540-937E-64135FBE58F0}"/>
                </a:ext>
              </a:extLst>
            </p:cNvPr>
            <p:cNvSpPr/>
            <p:nvPr/>
          </p:nvSpPr>
          <p:spPr>
            <a:xfrm>
              <a:off x="1510457" y="1450897"/>
              <a:ext cx="240000" cy="304288"/>
            </a:xfrm>
            <a:custGeom>
              <a:avLst/>
              <a:gdLst>
                <a:gd name="connsiteX0" fmla="*/ 0 w 240000"/>
                <a:gd name="connsiteY0" fmla="*/ 21977 h 304288"/>
                <a:gd name="connsiteX1" fmla="*/ 114471 w 240000"/>
                <a:gd name="connsiteY1" fmla="*/ 514 h 304288"/>
                <a:gd name="connsiteX2" fmla="*/ 125529 w 240000"/>
                <a:gd name="connsiteY2" fmla="*/ 514 h 304288"/>
                <a:gd name="connsiteX3" fmla="*/ 240000 w 240000"/>
                <a:gd name="connsiteY3" fmla="*/ 21977 h 304288"/>
                <a:gd name="connsiteX4" fmla="*/ 240000 w 240000"/>
                <a:gd name="connsiteY4" fmla="*/ 161222 h 304288"/>
                <a:gd name="connsiteX5" fmla="*/ 180000 w 240000"/>
                <a:gd name="connsiteY5" fmla="*/ 269477 h 304288"/>
                <a:gd name="connsiteX6" fmla="*/ 127950 w 240000"/>
                <a:gd name="connsiteY6" fmla="*/ 302009 h 304288"/>
                <a:gd name="connsiteX7" fmla="*/ 112050 w 240000"/>
                <a:gd name="connsiteY7" fmla="*/ 302009 h 304288"/>
                <a:gd name="connsiteX8" fmla="*/ 60000 w 240000"/>
                <a:gd name="connsiteY8" fmla="*/ 269477 h 304288"/>
                <a:gd name="connsiteX9" fmla="*/ 0 w 240000"/>
                <a:gd name="connsiteY9" fmla="*/ 161222 h 304288"/>
                <a:gd name="connsiteX10" fmla="*/ 0 w 240000"/>
                <a:gd name="connsiteY10" fmla="*/ 21977 h 30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4288">
                  <a:moveTo>
                    <a:pt x="0" y="21977"/>
                  </a:moveTo>
                  <a:lnTo>
                    <a:pt x="114471" y="514"/>
                  </a:lnTo>
                  <a:cubicBezTo>
                    <a:pt x="118125" y="-171"/>
                    <a:pt x="121875" y="-171"/>
                    <a:pt x="125529" y="514"/>
                  </a:cubicBezTo>
                  <a:lnTo>
                    <a:pt x="240000" y="21977"/>
                  </a:lnTo>
                  <a:lnTo>
                    <a:pt x="240000" y="161222"/>
                  </a:lnTo>
                  <a:cubicBezTo>
                    <a:pt x="240000" y="205238"/>
                    <a:pt x="217325" y="246149"/>
                    <a:pt x="180000" y="269477"/>
                  </a:cubicBezTo>
                  <a:lnTo>
                    <a:pt x="127950" y="302009"/>
                  </a:lnTo>
                  <a:cubicBezTo>
                    <a:pt x="123086" y="305048"/>
                    <a:pt x="116915" y="305048"/>
                    <a:pt x="112050" y="302009"/>
                  </a:cubicBezTo>
                  <a:lnTo>
                    <a:pt x="60000" y="269477"/>
                  </a:lnTo>
                  <a:cubicBezTo>
                    <a:pt x="22675" y="246149"/>
                    <a:pt x="0" y="205238"/>
                    <a:pt x="0" y="161222"/>
                  </a:cubicBezTo>
                  <a:lnTo>
                    <a:pt x="0" y="21977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4" name="Полилиния 953">
              <a:extLst>
                <a:ext uri="{FF2B5EF4-FFF2-40B4-BE49-F238E27FC236}">
                  <a16:creationId xmlns:a16="http://schemas.microsoft.com/office/drawing/2014/main" id="{CF4482C6-33A9-9B46-A843-4BA322B740AA}"/>
                </a:ext>
              </a:extLst>
            </p:cNvPr>
            <p:cNvSpPr/>
            <p:nvPr/>
          </p:nvSpPr>
          <p:spPr>
            <a:xfrm>
              <a:off x="1577957" y="1532875"/>
              <a:ext cx="105000" cy="120000"/>
            </a:xfrm>
            <a:custGeom>
              <a:avLst/>
              <a:gdLst>
                <a:gd name="connsiteX0" fmla="*/ 90000 w 105000"/>
                <a:gd name="connsiteY0" fmla="*/ 45000 h 120000"/>
                <a:gd name="connsiteX1" fmla="*/ 105000 w 105000"/>
                <a:gd name="connsiteY1" fmla="*/ 60000 h 120000"/>
                <a:gd name="connsiteX2" fmla="*/ 105000 w 105000"/>
                <a:gd name="connsiteY2" fmla="*/ 105000 h 120000"/>
                <a:gd name="connsiteX3" fmla="*/ 90000 w 105000"/>
                <a:gd name="connsiteY3" fmla="*/ 120000 h 120000"/>
                <a:gd name="connsiteX4" fmla="*/ 15000 w 105000"/>
                <a:gd name="connsiteY4" fmla="*/ 120000 h 120000"/>
                <a:gd name="connsiteX5" fmla="*/ 0 w 105000"/>
                <a:gd name="connsiteY5" fmla="*/ 105000 h 120000"/>
                <a:gd name="connsiteX6" fmla="*/ 0 w 105000"/>
                <a:gd name="connsiteY6" fmla="*/ 60000 h 120000"/>
                <a:gd name="connsiteX7" fmla="*/ 15000 w 105000"/>
                <a:gd name="connsiteY7" fmla="*/ 45000 h 120000"/>
                <a:gd name="connsiteX8" fmla="*/ 15000 w 105000"/>
                <a:gd name="connsiteY8" fmla="*/ 37500 h 120000"/>
                <a:gd name="connsiteX9" fmla="*/ 52500 w 105000"/>
                <a:gd name="connsiteY9" fmla="*/ 0 h 120000"/>
                <a:gd name="connsiteX10" fmla="*/ 90000 w 105000"/>
                <a:gd name="connsiteY10" fmla="*/ 37500 h 120000"/>
                <a:gd name="connsiteX11" fmla="*/ 90000 w 105000"/>
                <a:gd name="connsiteY11" fmla="*/ 45000 h 120000"/>
                <a:gd name="connsiteX12" fmla="*/ 52500 w 105000"/>
                <a:gd name="connsiteY12" fmla="*/ 15000 h 120000"/>
                <a:gd name="connsiteX13" fmla="*/ 30000 w 105000"/>
                <a:gd name="connsiteY13" fmla="*/ 37500 h 120000"/>
                <a:gd name="connsiteX14" fmla="*/ 30000 w 105000"/>
                <a:gd name="connsiteY14" fmla="*/ 45000 h 120000"/>
                <a:gd name="connsiteX15" fmla="*/ 75000 w 105000"/>
                <a:gd name="connsiteY15" fmla="*/ 45000 h 120000"/>
                <a:gd name="connsiteX16" fmla="*/ 75000 w 105000"/>
                <a:gd name="connsiteY16" fmla="*/ 37500 h 120000"/>
                <a:gd name="connsiteX17" fmla="*/ 52500 w 105000"/>
                <a:gd name="connsiteY17" fmla="*/ 1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000" h="120000">
                  <a:moveTo>
                    <a:pt x="90000" y="45000"/>
                  </a:moveTo>
                  <a:cubicBezTo>
                    <a:pt x="98285" y="45000"/>
                    <a:pt x="105000" y="51715"/>
                    <a:pt x="105000" y="60000"/>
                  </a:cubicBezTo>
                  <a:lnTo>
                    <a:pt x="105000" y="105000"/>
                  </a:lnTo>
                  <a:cubicBezTo>
                    <a:pt x="105000" y="113285"/>
                    <a:pt x="98285" y="120000"/>
                    <a:pt x="90000" y="120000"/>
                  </a:cubicBezTo>
                  <a:lnTo>
                    <a:pt x="15000" y="120000"/>
                  </a:lnTo>
                  <a:cubicBezTo>
                    <a:pt x="6716" y="120000"/>
                    <a:pt x="0" y="113285"/>
                    <a:pt x="0" y="105000"/>
                  </a:cubicBezTo>
                  <a:lnTo>
                    <a:pt x="0" y="60000"/>
                  </a:lnTo>
                  <a:cubicBezTo>
                    <a:pt x="0" y="51715"/>
                    <a:pt x="6716" y="45000"/>
                    <a:pt x="15000" y="45000"/>
                  </a:cubicBezTo>
                  <a:lnTo>
                    <a:pt x="15000" y="37500"/>
                  </a:lnTo>
                  <a:cubicBezTo>
                    <a:pt x="15000" y="16789"/>
                    <a:pt x="31789" y="0"/>
                    <a:pt x="52500" y="0"/>
                  </a:cubicBezTo>
                  <a:cubicBezTo>
                    <a:pt x="73211" y="0"/>
                    <a:pt x="90000" y="16789"/>
                    <a:pt x="90000" y="37500"/>
                  </a:cubicBezTo>
                  <a:lnTo>
                    <a:pt x="90000" y="45000"/>
                  </a:lnTo>
                  <a:close/>
                  <a:moveTo>
                    <a:pt x="52500" y="15000"/>
                  </a:moveTo>
                  <a:cubicBezTo>
                    <a:pt x="40074" y="15000"/>
                    <a:pt x="30000" y="25074"/>
                    <a:pt x="30000" y="37500"/>
                  </a:cubicBezTo>
                  <a:lnTo>
                    <a:pt x="30000" y="45000"/>
                  </a:lnTo>
                  <a:lnTo>
                    <a:pt x="75000" y="45000"/>
                  </a:lnTo>
                  <a:lnTo>
                    <a:pt x="75000" y="37500"/>
                  </a:lnTo>
                  <a:cubicBezTo>
                    <a:pt x="75000" y="25074"/>
                    <a:pt x="64926" y="15000"/>
                    <a:pt x="52500" y="1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55" name="Рисунок 225">
            <a:extLst>
              <a:ext uri="{FF2B5EF4-FFF2-40B4-BE49-F238E27FC236}">
                <a16:creationId xmlns:a16="http://schemas.microsoft.com/office/drawing/2014/main" id="{E14BAFA1-E45C-8F4F-8FE7-830AB5B1224E}"/>
              </a:ext>
            </a:extLst>
          </p:cNvPr>
          <p:cNvGrpSpPr/>
          <p:nvPr/>
        </p:nvGrpSpPr>
        <p:grpSpPr>
          <a:xfrm>
            <a:off x="11233735" y="1093919"/>
            <a:ext cx="360000" cy="360000"/>
            <a:chOff x="11267188" y="1412875"/>
            <a:chExt cx="360000" cy="360000"/>
          </a:xfrm>
        </p:grpSpPr>
        <p:sp>
          <p:nvSpPr>
            <p:cNvPr id="956" name="Полилиния 955">
              <a:extLst>
                <a:ext uri="{FF2B5EF4-FFF2-40B4-BE49-F238E27FC236}">
                  <a16:creationId xmlns:a16="http://schemas.microsoft.com/office/drawing/2014/main" id="{A7B6FF7A-610B-7D43-B146-60DDF5104CD3}"/>
                </a:ext>
              </a:extLst>
            </p:cNvPr>
            <p:cNvSpPr/>
            <p:nvPr/>
          </p:nvSpPr>
          <p:spPr>
            <a:xfrm>
              <a:off x="11267188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7" name="Полилиния 956">
              <a:extLst>
                <a:ext uri="{FF2B5EF4-FFF2-40B4-BE49-F238E27FC236}">
                  <a16:creationId xmlns:a16="http://schemas.microsoft.com/office/drawing/2014/main" id="{DC1821B1-0913-E045-AD0A-78D35A257FB3}"/>
                </a:ext>
              </a:extLst>
            </p:cNvPr>
            <p:cNvSpPr/>
            <p:nvPr/>
          </p:nvSpPr>
          <p:spPr>
            <a:xfrm>
              <a:off x="11327188" y="1450897"/>
              <a:ext cx="240000" cy="304288"/>
            </a:xfrm>
            <a:custGeom>
              <a:avLst/>
              <a:gdLst>
                <a:gd name="connsiteX0" fmla="*/ 0 w 240000"/>
                <a:gd name="connsiteY0" fmla="*/ 21977 h 304288"/>
                <a:gd name="connsiteX1" fmla="*/ 114471 w 240000"/>
                <a:gd name="connsiteY1" fmla="*/ 514 h 304288"/>
                <a:gd name="connsiteX2" fmla="*/ 125529 w 240000"/>
                <a:gd name="connsiteY2" fmla="*/ 514 h 304288"/>
                <a:gd name="connsiteX3" fmla="*/ 240000 w 240000"/>
                <a:gd name="connsiteY3" fmla="*/ 21977 h 304288"/>
                <a:gd name="connsiteX4" fmla="*/ 240000 w 240000"/>
                <a:gd name="connsiteY4" fmla="*/ 161222 h 304288"/>
                <a:gd name="connsiteX5" fmla="*/ 180000 w 240000"/>
                <a:gd name="connsiteY5" fmla="*/ 269477 h 304288"/>
                <a:gd name="connsiteX6" fmla="*/ 127950 w 240000"/>
                <a:gd name="connsiteY6" fmla="*/ 302009 h 304288"/>
                <a:gd name="connsiteX7" fmla="*/ 112050 w 240000"/>
                <a:gd name="connsiteY7" fmla="*/ 302009 h 304288"/>
                <a:gd name="connsiteX8" fmla="*/ 60000 w 240000"/>
                <a:gd name="connsiteY8" fmla="*/ 269477 h 304288"/>
                <a:gd name="connsiteX9" fmla="*/ 0 w 240000"/>
                <a:gd name="connsiteY9" fmla="*/ 161222 h 304288"/>
                <a:gd name="connsiteX10" fmla="*/ 0 w 240000"/>
                <a:gd name="connsiteY10" fmla="*/ 21977 h 30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4288">
                  <a:moveTo>
                    <a:pt x="0" y="21977"/>
                  </a:moveTo>
                  <a:lnTo>
                    <a:pt x="114471" y="514"/>
                  </a:lnTo>
                  <a:cubicBezTo>
                    <a:pt x="118125" y="-171"/>
                    <a:pt x="121875" y="-171"/>
                    <a:pt x="125529" y="514"/>
                  </a:cubicBezTo>
                  <a:lnTo>
                    <a:pt x="240000" y="21977"/>
                  </a:lnTo>
                  <a:lnTo>
                    <a:pt x="240000" y="161222"/>
                  </a:lnTo>
                  <a:cubicBezTo>
                    <a:pt x="240000" y="205238"/>
                    <a:pt x="217325" y="246149"/>
                    <a:pt x="180000" y="269477"/>
                  </a:cubicBezTo>
                  <a:lnTo>
                    <a:pt x="127950" y="302009"/>
                  </a:lnTo>
                  <a:cubicBezTo>
                    <a:pt x="123086" y="305048"/>
                    <a:pt x="116915" y="305048"/>
                    <a:pt x="112050" y="302009"/>
                  </a:cubicBezTo>
                  <a:lnTo>
                    <a:pt x="60000" y="269477"/>
                  </a:lnTo>
                  <a:cubicBezTo>
                    <a:pt x="22675" y="246149"/>
                    <a:pt x="0" y="205238"/>
                    <a:pt x="0" y="161222"/>
                  </a:cubicBezTo>
                  <a:lnTo>
                    <a:pt x="0" y="21977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8" name="Полилиния 957">
              <a:extLst>
                <a:ext uri="{FF2B5EF4-FFF2-40B4-BE49-F238E27FC236}">
                  <a16:creationId xmlns:a16="http://schemas.microsoft.com/office/drawing/2014/main" id="{A0815DD3-4E60-7249-98E8-575B6AA8C6A6}"/>
                </a:ext>
              </a:extLst>
            </p:cNvPr>
            <p:cNvSpPr/>
            <p:nvPr/>
          </p:nvSpPr>
          <p:spPr>
            <a:xfrm>
              <a:off x="11402188" y="1517875"/>
              <a:ext cx="105000" cy="165000"/>
            </a:xfrm>
            <a:custGeom>
              <a:avLst/>
              <a:gdLst>
                <a:gd name="connsiteX0" fmla="*/ 34999 w 105000"/>
                <a:gd name="connsiteY0" fmla="*/ 165000 h 165000"/>
                <a:gd name="connsiteX1" fmla="*/ 105000 w 105000"/>
                <a:gd name="connsiteY1" fmla="*/ 66000 h 165000"/>
                <a:gd name="connsiteX2" fmla="*/ 70001 w 105000"/>
                <a:gd name="connsiteY2" fmla="*/ 66000 h 165000"/>
                <a:gd name="connsiteX3" fmla="*/ 70001 w 105000"/>
                <a:gd name="connsiteY3" fmla="*/ 0 h 165000"/>
                <a:gd name="connsiteX4" fmla="*/ 0 w 105000"/>
                <a:gd name="connsiteY4" fmla="*/ 99000 h 165000"/>
                <a:gd name="connsiteX5" fmla="*/ 34999 w 105000"/>
                <a:gd name="connsiteY5" fmla="*/ 99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5000" h="165000">
                  <a:moveTo>
                    <a:pt x="34999" y="165000"/>
                  </a:moveTo>
                  <a:lnTo>
                    <a:pt x="105000" y="66000"/>
                  </a:lnTo>
                  <a:lnTo>
                    <a:pt x="70001" y="66000"/>
                  </a:lnTo>
                  <a:lnTo>
                    <a:pt x="70001" y="0"/>
                  </a:lnTo>
                  <a:lnTo>
                    <a:pt x="0" y="99000"/>
                  </a:lnTo>
                  <a:lnTo>
                    <a:pt x="34999" y="99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59" name="Рисунок 226">
            <a:extLst>
              <a:ext uri="{FF2B5EF4-FFF2-40B4-BE49-F238E27FC236}">
                <a16:creationId xmlns:a16="http://schemas.microsoft.com/office/drawing/2014/main" id="{B9C18C5F-030E-224D-81C1-563BCDFC60B1}"/>
              </a:ext>
            </a:extLst>
          </p:cNvPr>
          <p:cNvGrpSpPr/>
          <p:nvPr/>
        </p:nvGrpSpPr>
        <p:grpSpPr>
          <a:xfrm>
            <a:off x="661871" y="1093919"/>
            <a:ext cx="360000" cy="360000"/>
            <a:chOff x="695324" y="1412875"/>
            <a:chExt cx="360000" cy="360000"/>
          </a:xfrm>
        </p:grpSpPr>
        <p:sp>
          <p:nvSpPr>
            <p:cNvPr id="960" name="Полилиния 959">
              <a:extLst>
                <a:ext uri="{FF2B5EF4-FFF2-40B4-BE49-F238E27FC236}">
                  <a16:creationId xmlns:a16="http://schemas.microsoft.com/office/drawing/2014/main" id="{F9F304C4-9C1F-F24F-A1AA-9D0336A88979}"/>
                </a:ext>
              </a:extLst>
            </p:cNvPr>
            <p:cNvSpPr/>
            <p:nvPr/>
          </p:nvSpPr>
          <p:spPr>
            <a:xfrm>
              <a:off x="69532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1" name="Полилиния 960">
              <a:extLst>
                <a:ext uri="{FF2B5EF4-FFF2-40B4-BE49-F238E27FC236}">
                  <a16:creationId xmlns:a16="http://schemas.microsoft.com/office/drawing/2014/main" id="{FA3E54CC-8411-DF44-B2BD-3393143CFCCE}"/>
                </a:ext>
              </a:extLst>
            </p:cNvPr>
            <p:cNvSpPr/>
            <p:nvPr/>
          </p:nvSpPr>
          <p:spPr>
            <a:xfrm>
              <a:off x="755324" y="1450897"/>
              <a:ext cx="240000" cy="304288"/>
            </a:xfrm>
            <a:custGeom>
              <a:avLst/>
              <a:gdLst>
                <a:gd name="connsiteX0" fmla="*/ 0 w 240000"/>
                <a:gd name="connsiteY0" fmla="*/ 21977 h 304288"/>
                <a:gd name="connsiteX1" fmla="*/ 114471 w 240000"/>
                <a:gd name="connsiteY1" fmla="*/ 514 h 304288"/>
                <a:gd name="connsiteX2" fmla="*/ 125529 w 240000"/>
                <a:gd name="connsiteY2" fmla="*/ 514 h 304288"/>
                <a:gd name="connsiteX3" fmla="*/ 240000 w 240000"/>
                <a:gd name="connsiteY3" fmla="*/ 21977 h 304288"/>
                <a:gd name="connsiteX4" fmla="*/ 240000 w 240000"/>
                <a:gd name="connsiteY4" fmla="*/ 161222 h 304288"/>
                <a:gd name="connsiteX5" fmla="*/ 180000 w 240000"/>
                <a:gd name="connsiteY5" fmla="*/ 269477 h 304288"/>
                <a:gd name="connsiteX6" fmla="*/ 127950 w 240000"/>
                <a:gd name="connsiteY6" fmla="*/ 302009 h 304288"/>
                <a:gd name="connsiteX7" fmla="*/ 112050 w 240000"/>
                <a:gd name="connsiteY7" fmla="*/ 302009 h 304288"/>
                <a:gd name="connsiteX8" fmla="*/ 60000 w 240000"/>
                <a:gd name="connsiteY8" fmla="*/ 269477 h 304288"/>
                <a:gd name="connsiteX9" fmla="*/ 0 w 240000"/>
                <a:gd name="connsiteY9" fmla="*/ 161222 h 304288"/>
                <a:gd name="connsiteX10" fmla="*/ 0 w 240000"/>
                <a:gd name="connsiteY10" fmla="*/ 21977 h 30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4288">
                  <a:moveTo>
                    <a:pt x="0" y="21977"/>
                  </a:moveTo>
                  <a:lnTo>
                    <a:pt x="114471" y="514"/>
                  </a:lnTo>
                  <a:cubicBezTo>
                    <a:pt x="118125" y="-171"/>
                    <a:pt x="121875" y="-171"/>
                    <a:pt x="125529" y="514"/>
                  </a:cubicBezTo>
                  <a:lnTo>
                    <a:pt x="240000" y="21977"/>
                  </a:lnTo>
                  <a:lnTo>
                    <a:pt x="240000" y="161222"/>
                  </a:lnTo>
                  <a:cubicBezTo>
                    <a:pt x="240000" y="205238"/>
                    <a:pt x="217325" y="246149"/>
                    <a:pt x="180000" y="269477"/>
                  </a:cubicBezTo>
                  <a:lnTo>
                    <a:pt x="127950" y="302009"/>
                  </a:lnTo>
                  <a:cubicBezTo>
                    <a:pt x="123086" y="305048"/>
                    <a:pt x="116915" y="305048"/>
                    <a:pt x="112050" y="302009"/>
                  </a:cubicBezTo>
                  <a:lnTo>
                    <a:pt x="60000" y="269477"/>
                  </a:lnTo>
                  <a:cubicBezTo>
                    <a:pt x="22675" y="246149"/>
                    <a:pt x="0" y="205238"/>
                    <a:pt x="0" y="161222"/>
                  </a:cubicBezTo>
                  <a:lnTo>
                    <a:pt x="0" y="21977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2" name="Полилиния 961">
              <a:extLst>
                <a:ext uri="{FF2B5EF4-FFF2-40B4-BE49-F238E27FC236}">
                  <a16:creationId xmlns:a16="http://schemas.microsoft.com/office/drawing/2014/main" id="{13075673-8A3E-3D4A-B340-830C03929620}"/>
                </a:ext>
              </a:extLst>
            </p:cNvPr>
            <p:cNvSpPr/>
            <p:nvPr/>
          </p:nvSpPr>
          <p:spPr>
            <a:xfrm>
              <a:off x="845324" y="1517875"/>
              <a:ext cx="60000" cy="60000"/>
            </a:xfrm>
            <a:custGeom>
              <a:avLst/>
              <a:gdLst>
                <a:gd name="connsiteX0" fmla="*/ 30000 w 60000"/>
                <a:gd name="connsiteY0" fmla="*/ 60000 h 60000"/>
                <a:gd name="connsiteX1" fmla="*/ 0 w 60000"/>
                <a:gd name="connsiteY1" fmla="*/ 30000 h 60000"/>
                <a:gd name="connsiteX2" fmla="*/ 30000 w 60000"/>
                <a:gd name="connsiteY2" fmla="*/ 0 h 60000"/>
                <a:gd name="connsiteX3" fmla="*/ 60000 w 60000"/>
                <a:gd name="connsiteY3" fmla="*/ 30000 h 60000"/>
                <a:gd name="connsiteX4" fmla="*/ 30000 w 60000"/>
                <a:gd name="connsiteY4" fmla="*/ 6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30000" y="60000"/>
                  </a:move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ubicBezTo>
                    <a:pt x="60000" y="46569"/>
                    <a:pt x="46569" y="60000"/>
                    <a:pt x="30000" y="6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3" name="Полилиния 962">
              <a:extLst>
                <a:ext uri="{FF2B5EF4-FFF2-40B4-BE49-F238E27FC236}">
                  <a16:creationId xmlns:a16="http://schemas.microsoft.com/office/drawing/2014/main" id="{3B06173C-710F-554E-9E36-3DC28E5A6F57}"/>
                </a:ext>
              </a:extLst>
            </p:cNvPr>
            <p:cNvSpPr/>
            <p:nvPr/>
          </p:nvSpPr>
          <p:spPr>
            <a:xfrm>
              <a:off x="800323" y="1592875"/>
              <a:ext cx="149999" cy="75000"/>
            </a:xfrm>
            <a:custGeom>
              <a:avLst/>
              <a:gdLst>
                <a:gd name="connsiteX0" fmla="*/ 5 w 149999"/>
                <a:gd name="connsiteY0" fmla="*/ 67493 h 75000"/>
                <a:gd name="connsiteX1" fmla="*/ 74861 w 149999"/>
                <a:gd name="connsiteY1" fmla="*/ 0 h 75000"/>
                <a:gd name="connsiteX2" fmla="*/ 149982 w 149999"/>
                <a:gd name="connsiteY2" fmla="*/ 67500 h 75000"/>
                <a:gd name="connsiteX3" fmla="*/ 143723 w 149999"/>
                <a:gd name="connsiteY3" fmla="*/ 75000 h 75000"/>
                <a:gd name="connsiteX4" fmla="*/ 6063 w 149999"/>
                <a:gd name="connsiteY4" fmla="*/ 75000 h 75000"/>
                <a:gd name="connsiteX5" fmla="*/ 5 w 149999"/>
                <a:gd name="connsiteY5" fmla="*/ 67493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999" h="75000">
                  <a:moveTo>
                    <a:pt x="5" y="67493"/>
                  </a:moveTo>
                  <a:cubicBezTo>
                    <a:pt x="3236" y="22749"/>
                    <a:pt x="35516" y="0"/>
                    <a:pt x="74861" y="0"/>
                  </a:cubicBezTo>
                  <a:cubicBezTo>
                    <a:pt x="114761" y="0"/>
                    <a:pt x="147540" y="21498"/>
                    <a:pt x="149982" y="67500"/>
                  </a:cubicBezTo>
                  <a:cubicBezTo>
                    <a:pt x="150080" y="69333"/>
                    <a:pt x="149982" y="75000"/>
                    <a:pt x="143723" y="75000"/>
                  </a:cubicBezTo>
                  <a:cubicBezTo>
                    <a:pt x="112842" y="75000"/>
                    <a:pt x="66956" y="75000"/>
                    <a:pt x="6063" y="75000"/>
                  </a:cubicBezTo>
                  <a:cubicBezTo>
                    <a:pt x="3973" y="75000"/>
                    <a:pt x="-171" y="69930"/>
                    <a:pt x="5" y="6749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64" name="Рисунок 227">
            <a:extLst>
              <a:ext uri="{FF2B5EF4-FFF2-40B4-BE49-F238E27FC236}">
                <a16:creationId xmlns:a16="http://schemas.microsoft.com/office/drawing/2014/main" id="{6A77E4D0-0623-E54C-8F10-45B873CDFBCA}"/>
              </a:ext>
            </a:extLst>
          </p:cNvPr>
          <p:cNvGrpSpPr/>
          <p:nvPr/>
        </p:nvGrpSpPr>
        <p:grpSpPr>
          <a:xfrm>
            <a:off x="1442758" y="5805300"/>
            <a:ext cx="360000" cy="360000"/>
            <a:chOff x="1476211" y="6124256"/>
            <a:chExt cx="360000" cy="360000"/>
          </a:xfrm>
        </p:grpSpPr>
        <p:sp>
          <p:nvSpPr>
            <p:cNvPr id="965" name="Полилиния 964">
              <a:extLst>
                <a:ext uri="{FF2B5EF4-FFF2-40B4-BE49-F238E27FC236}">
                  <a16:creationId xmlns:a16="http://schemas.microsoft.com/office/drawing/2014/main" id="{1B485962-4441-2547-93B1-7E99E76D054D}"/>
                </a:ext>
              </a:extLst>
            </p:cNvPr>
            <p:cNvSpPr/>
            <p:nvPr/>
          </p:nvSpPr>
          <p:spPr>
            <a:xfrm>
              <a:off x="147621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6" name="Полилиния 965">
              <a:extLst>
                <a:ext uri="{FF2B5EF4-FFF2-40B4-BE49-F238E27FC236}">
                  <a16:creationId xmlns:a16="http://schemas.microsoft.com/office/drawing/2014/main" id="{D9EFE2AD-3E99-BE4C-B7EC-A539AC5575CC}"/>
                </a:ext>
              </a:extLst>
            </p:cNvPr>
            <p:cNvSpPr/>
            <p:nvPr/>
          </p:nvSpPr>
          <p:spPr>
            <a:xfrm rot="5400000" flipV="1">
              <a:off x="1527275" y="6138746"/>
              <a:ext cx="257840" cy="313180"/>
            </a:xfrm>
            <a:custGeom>
              <a:avLst/>
              <a:gdLst>
                <a:gd name="connsiteX0" fmla="*/ 137841 w 257840"/>
                <a:gd name="connsiteY0" fmla="*/ 256638 h 313180"/>
                <a:gd name="connsiteX1" fmla="*/ 137841 w 257840"/>
                <a:gd name="connsiteY1" fmla="*/ 201605 h 313180"/>
                <a:gd name="connsiteX2" fmla="*/ 227841 w 257840"/>
                <a:gd name="connsiteY2" fmla="*/ 201605 h 313180"/>
                <a:gd name="connsiteX3" fmla="*/ 227841 w 257840"/>
                <a:gd name="connsiteY3" fmla="*/ 111605 h 313180"/>
                <a:gd name="connsiteX4" fmla="*/ 137841 w 257840"/>
                <a:gd name="connsiteY4" fmla="*/ 111605 h 313180"/>
                <a:gd name="connsiteX5" fmla="*/ 137841 w 257840"/>
                <a:gd name="connsiteY5" fmla="*/ 56492 h 313180"/>
                <a:gd name="connsiteX6" fmla="*/ 37767 w 257840"/>
                <a:gd name="connsiteY6" fmla="*/ 156486 h 313180"/>
                <a:gd name="connsiteX7" fmla="*/ 137841 w 257840"/>
                <a:gd name="connsiteY7" fmla="*/ 256638 h 313180"/>
                <a:gd name="connsiteX8" fmla="*/ 167841 w 257840"/>
                <a:gd name="connsiteY8" fmla="*/ 81605 h 313180"/>
                <a:gd name="connsiteX9" fmla="*/ 242841 w 257840"/>
                <a:gd name="connsiteY9" fmla="*/ 81605 h 313180"/>
                <a:gd name="connsiteX10" fmla="*/ 257841 w 257840"/>
                <a:gd name="connsiteY10" fmla="*/ 96605 h 313180"/>
                <a:gd name="connsiteX11" fmla="*/ 257841 w 257840"/>
                <a:gd name="connsiteY11" fmla="*/ 216605 h 313180"/>
                <a:gd name="connsiteX12" fmla="*/ 242841 w 257840"/>
                <a:gd name="connsiteY12" fmla="*/ 231605 h 313180"/>
                <a:gd name="connsiteX13" fmla="*/ 167841 w 257840"/>
                <a:gd name="connsiteY13" fmla="*/ 231605 h 313180"/>
                <a:gd name="connsiteX14" fmla="*/ 167841 w 257840"/>
                <a:gd name="connsiteY14" fmla="*/ 301931 h 313180"/>
                <a:gd name="connsiteX15" fmla="*/ 164542 w 257840"/>
                <a:gd name="connsiteY15" fmla="*/ 309888 h 313180"/>
                <a:gd name="connsiteX16" fmla="*/ 148632 w 257840"/>
                <a:gd name="connsiteY16" fmla="*/ 309882 h 313180"/>
                <a:gd name="connsiteX17" fmla="*/ 3292 w 257840"/>
                <a:gd name="connsiteY17" fmla="*/ 164429 h 313180"/>
                <a:gd name="connsiteX18" fmla="*/ 3298 w 257840"/>
                <a:gd name="connsiteY18" fmla="*/ 148518 h 313180"/>
                <a:gd name="connsiteX19" fmla="*/ 148638 w 257840"/>
                <a:gd name="connsiteY19" fmla="*/ 3292 h 313180"/>
                <a:gd name="connsiteX20" fmla="*/ 156591 w 257840"/>
                <a:gd name="connsiteY20" fmla="*/ 0 h 313180"/>
                <a:gd name="connsiteX21" fmla="*/ 167841 w 257840"/>
                <a:gd name="connsiteY21" fmla="*/ 11250 h 313180"/>
                <a:gd name="connsiteX22" fmla="*/ 167841 w 257840"/>
                <a:gd name="connsiteY22" fmla="*/ 81605 h 31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7840" h="313180">
                  <a:moveTo>
                    <a:pt x="137841" y="256638"/>
                  </a:moveTo>
                  <a:lnTo>
                    <a:pt x="137841" y="201605"/>
                  </a:lnTo>
                  <a:lnTo>
                    <a:pt x="227841" y="201605"/>
                  </a:lnTo>
                  <a:lnTo>
                    <a:pt x="227841" y="111605"/>
                  </a:lnTo>
                  <a:lnTo>
                    <a:pt x="137841" y="111605"/>
                  </a:lnTo>
                  <a:lnTo>
                    <a:pt x="137841" y="56492"/>
                  </a:lnTo>
                  <a:lnTo>
                    <a:pt x="37767" y="156486"/>
                  </a:lnTo>
                  <a:lnTo>
                    <a:pt x="137841" y="256638"/>
                  </a:lnTo>
                  <a:close/>
                  <a:moveTo>
                    <a:pt x="167841" y="81605"/>
                  </a:moveTo>
                  <a:lnTo>
                    <a:pt x="242841" y="81605"/>
                  </a:lnTo>
                  <a:cubicBezTo>
                    <a:pt x="251125" y="81605"/>
                    <a:pt x="257841" y="88321"/>
                    <a:pt x="257841" y="96605"/>
                  </a:cubicBezTo>
                  <a:lnTo>
                    <a:pt x="257841" y="216605"/>
                  </a:lnTo>
                  <a:cubicBezTo>
                    <a:pt x="257841" y="224889"/>
                    <a:pt x="251125" y="231605"/>
                    <a:pt x="242841" y="231605"/>
                  </a:cubicBezTo>
                  <a:lnTo>
                    <a:pt x="167841" y="231605"/>
                  </a:lnTo>
                  <a:lnTo>
                    <a:pt x="167841" y="301931"/>
                  </a:lnTo>
                  <a:cubicBezTo>
                    <a:pt x="167841" y="304916"/>
                    <a:pt x="166654" y="307778"/>
                    <a:pt x="164542" y="309888"/>
                  </a:cubicBezTo>
                  <a:cubicBezTo>
                    <a:pt x="160147" y="314280"/>
                    <a:pt x="153024" y="314277"/>
                    <a:pt x="148632" y="309882"/>
                  </a:cubicBezTo>
                  <a:lnTo>
                    <a:pt x="3292" y="164429"/>
                  </a:lnTo>
                  <a:cubicBezTo>
                    <a:pt x="-1100" y="160034"/>
                    <a:pt x="-1097" y="152910"/>
                    <a:pt x="3298" y="148518"/>
                  </a:cubicBezTo>
                  <a:lnTo>
                    <a:pt x="148638" y="3292"/>
                  </a:lnTo>
                  <a:cubicBezTo>
                    <a:pt x="150748" y="1184"/>
                    <a:pt x="153609" y="0"/>
                    <a:pt x="156591" y="0"/>
                  </a:cubicBezTo>
                  <a:cubicBezTo>
                    <a:pt x="162804" y="0"/>
                    <a:pt x="167841" y="5037"/>
                    <a:pt x="167841" y="11250"/>
                  </a:cubicBezTo>
                  <a:lnTo>
                    <a:pt x="167841" y="81605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67" name="Рисунок 228">
            <a:extLst>
              <a:ext uri="{FF2B5EF4-FFF2-40B4-BE49-F238E27FC236}">
                <a16:creationId xmlns:a16="http://schemas.microsoft.com/office/drawing/2014/main" id="{2F295E37-9A47-0542-9D3A-C16414BE60DB}"/>
              </a:ext>
            </a:extLst>
          </p:cNvPr>
          <p:cNvGrpSpPr/>
          <p:nvPr/>
        </p:nvGrpSpPr>
        <p:grpSpPr>
          <a:xfrm>
            <a:off x="2195910" y="5805300"/>
            <a:ext cx="360000" cy="360000"/>
            <a:chOff x="2229363" y="6124256"/>
            <a:chExt cx="360000" cy="360000"/>
          </a:xfrm>
        </p:grpSpPr>
        <p:sp>
          <p:nvSpPr>
            <p:cNvPr id="968" name="Полилиния 967">
              <a:extLst>
                <a:ext uri="{FF2B5EF4-FFF2-40B4-BE49-F238E27FC236}">
                  <a16:creationId xmlns:a16="http://schemas.microsoft.com/office/drawing/2014/main" id="{937D86F0-9B15-D94B-9DF9-3047E4617A4A}"/>
                </a:ext>
              </a:extLst>
            </p:cNvPr>
            <p:cNvSpPr/>
            <p:nvPr/>
          </p:nvSpPr>
          <p:spPr>
            <a:xfrm>
              <a:off x="222936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9" name="Полилиния 968">
              <a:extLst>
                <a:ext uri="{FF2B5EF4-FFF2-40B4-BE49-F238E27FC236}">
                  <a16:creationId xmlns:a16="http://schemas.microsoft.com/office/drawing/2014/main" id="{7FEFE512-A75F-4A40-BD64-28BA5D8FAE32}"/>
                </a:ext>
              </a:extLst>
            </p:cNvPr>
            <p:cNvSpPr/>
            <p:nvPr/>
          </p:nvSpPr>
          <p:spPr>
            <a:xfrm>
              <a:off x="2259363" y="6184256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0" name="Полилиния 969">
              <a:extLst>
                <a:ext uri="{FF2B5EF4-FFF2-40B4-BE49-F238E27FC236}">
                  <a16:creationId xmlns:a16="http://schemas.microsoft.com/office/drawing/2014/main" id="{3E57572A-015B-8745-A84F-7D233E63C124}"/>
                </a:ext>
              </a:extLst>
            </p:cNvPr>
            <p:cNvSpPr/>
            <p:nvPr/>
          </p:nvSpPr>
          <p:spPr>
            <a:xfrm>
              <a:off x="2379363" y="6282629"/>
              <a:ext cx="81052" cy="105586"/>
            </a:xfrm>
            <a:custGeom>
              <a:avLst/>
              <a:gdLst>
                <a:gd name="connsiteX0" fmla="*/ 11733 w 81052"/>
                <a:gd name="connsiteY0" fmla="*/ 104278 h 105586"/>
                <a:gd name="connsiteX1" fmla="*/ 77784 w 81052"/>
                <a:gd name="connsiteY1" fmla="*/ 59127 h 105586"/>
                <a:gd name="connsiteX2" fmla="*/ 79743 w 81052"/>
                <a:gd name="connsiteY2" fmla="*/ 48703 h 105586"/>
                <a:gd name="connsiteX3" fmla="*/ 77802 w 81052"/>
                <a:gd name="connsiteY3" fmla="*/ 46756 h 105586"/>
                <a:gd name="connsiteX4" fmla="*/ 11751 w 81052"/>
                <a:gd name="connsiteY4" fmla="*/ 1321 h 105586"/>
                <a:gd name="connsiteX5" fmla="*/ 1320 w 81052"/>
                <a:gd name="connsiteY5" fmla="*/ 3250 h 105586"/>
                <a:gd name="connsiteX6" fmla="*/ 0 w 81052"/>
                <a:gd name="connsiteY6" fmla="*/ 7501 h 105586"/>
                <a:gd name="connsiteX7" fmla="*/ 0 w 81052"/>
                <a:gd name="connsiteY7" fmla="*/ 98086 h 105586"/>
                <a:gd name="connsiteX8" fmla="*/ 7500 w 81052"/>
                <a:gd name="connsiteY8" fmla="*/ 105586 h 105586"/>
                <a:gd name="connsiteX9" fmla="*/ 11733 w 81052"/>
                <a:gd name="connsiteY9" fmla="*/ 104278 h 1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052" h="105586">
                  <a:moveTo>
                    <a:pt x="11733" y="104278"/>
                  </a:moveTo>
                  <a:lnTo>
                    <a:pt x="77784" y="59127"/>
                  </a:lnTo>
                  <a:cubicBezTo>
                    <a:pt x="81204" y="56790"/>
                    <a:pt x="82082" y="52123"/>
                    <a:pt x="79743" y="48703"/>
                  </a:cubicBezTo>
                  <a:cubicBezTo>
                    <a:pt x="79223" y="47940"/>
                    <a:pt x="78564" y="47280"/>
                    <a:pt x="77802" y="46756"/>
                  </a:cubicBezTo>
                  <a:lnTo>
                    <a:pt x="11751" y="1321"/>
                  </a:lnTo>
                  <a:cubicBezTo>
                    <a:pt x="8338" y="-1026"/>
                    <a:pt x="3668" y="-162"/>
                    <a:pt x="1320" y="3250"/>
                  </a:cubicBezTo>
                  <a:cubicBezTo>
                    <a:pt x="460" y="4501"/>
                    <a:pt x="0" y="5983"/>
                    <a:pt x="0" y="7501"/>
                  </a:cubicBezTo>
                  <a:lnTo>
                    <a:pt x="0" y="98086"/>
                  </a:lnTo>
                  <a:cubicBezTo>
                    <a:pt x="0" y="102228"/>
                    <a:pt x="3358" y="105586"/>
                    <a:pt x="7500" y="105586"/>
                  </a:cubicBezTo>
                  <a:cubicBezTo>
                    <a:pt x="9011" y="105586"/>
                    <a:pt x="10485" y="105130"/>
                    <a:pt x="11733" y="104278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71" name="Рисунок 229">
            <a:extLst>
              <a:ext uri="{FF2B5EF4-FFF2-40B4-BE49-F238E27FC236}">
                <a16:creationId xmlns:a16="http://schemas.microsoft.com/office/drawing/2014/main" id="{9ECADA1B-F98E-D949-9C25-8006C4EA4EB9}"/>
              </a:ext>
            </a:extLst>
          </p:cNvPr>
          <p:cNvGrpSpPr/>
          <p:nvPr/>
        </p:nvGrpSpPr>
        <p:grpSpPr>
          <a:xfrm>
            <a:off x="2949062" y="5805300"/>
            <a:ext cx="360000" cy="360000"/>
            <a:chOff x="2982515" y="6124256"/>
            <a:chExt cx="360000" cy="360000"/>
          </a:xfrm>
        </p:grpSpPr>
        <p:sp>
          <p:nvSpPr>
            <p:cNvPr id="972" name="Полилиния 971">
              <a:extLst>
                <a:ext uri="{FF2B5EF4-FFF2-40B4-BE49-F238E27FC236}">
                  <a16:creationId xmlns:a16="http://schemas.microsoft.com/office/drawing/2014/main" id="{3F923026-B8EA-6541-A911-45876FBEDBAB}"/>
                </a:ext>
              </a:extLst>
            </p:cNvPr>
            <p:cNvSpPr/>
            <p:nvPr/>
          </p:nvSpPr>
          <p:spPr>
            <a:xfrm>
              <a:off x="298251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3" name="Скругленный прямоугольник 972">
              <a:extLst>
                <a:ext uri="{FF2B5EF4-FFF2-40B4-BE49-F238E27FC236}">
                  <a16:creationId xmlns:a16="http://schemas.microsoft.com/office/drawing/2014/main" id="{155890F8-58B1-5547-9B2D-9CEC7BC9701C}"/>
                </a:ext>
              </a:extLst>
            </p:cNvPr>
            <p:cNvSpPr/>
            <p:nvPr/>
          </p:nvSpPr>
          <p:spPr>
            <a:xfrm>
              <a:off x="3012515" y="6259256"/>
              <a:ext cx="300000" cy="195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4" name="Скругленный прямоугольник 973">
              <a:extLst>
                <a:ext uri="{FF2B5EF4-FFF2-40B4-BE49-F238E27FC236}">
                  <a16:creationId xmlns:a16="http://schemas.microsoft.com/office/drawing/2014/main" id="{EAFC706A-08A6-5F47-8F26-5E44BEDF46D8}"/>
                </a:ext>
              </a:extLst>
            </p:cNvPr>
            <p:cNvSpPr/>
            <p:nvPr/>
          </p:nvSpPr>
          <p:spPr>
            <a:xfrm>
              <a:off x="3057515" y="6199256"/>
              <a:ext cx="21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5" name="Скругленный прямоугольник 974">
              <a:extLst>
                <a:ext uri="{FF2B5EF4-FFF2-40B4-BE49-F238E27FC236}">
                  <a16:creationId xmlns:a16="http://schemas.microsoft.com/office/drawing/2014/main" id="{B474D926-2CE2-B048-8275-42AD36427ED4}"/>
                </a:ext>
              </a:extLst>
            </p:cNvPr>
            <p:cNvSpPr/>
            <p:nvPr/>
          </p:nvSpPr>
          <p:spPr>
            <a:xfrm>
              <a:off x="3087515" y="6139256"/>
              <a:ext cx="15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6" name="Полилиния 975">
              <a:extLst>
                <a:ext uri="{FF2B5EF4-FFF2-40B4-BE49-F238E27FC236}">
                  <a16:creationId xmlns:a16="http://schemas.microsoft.com/office/drawing/2014/main" id="{32BCCCA6-C8B7-974E-AB0A-1ABE793E999B}"/>
                </a:ext>
              </a:extLst>
            </p:cNvPr>
            <p:cNvSpPr/>
            <p:nvPr/>
          </p:nvSpPr>
          <p:spPr>
            <a:xfrm>
              <a:off x="3117515" y="6289255"/>
              <a:ext cx="109999" cy="135000"/>
            </a:xfrm>
            <a:custGeom>
              <a:avLst/>
              <a:gdLst>
                <a:gd name="connsiteX0" fmla="*/ 27499 w 109999"/>
                <a:gd name="connsiteY0" fmla="*/ 135000 h 135000"/>
                <a:gd name="connsiteX1" fmla="*/ 0 w 109999"/>
                <a:gd name="connsiteY1" fmla="*/ 112083 h 135000"/>
                <a:gd name="connsiteX2" fmla="*/ 27499 w 109999"/>
                <a:gd name="connsiteY2" fmla="*/ 89166 h 135000"/>
                <a:gd name="connsiteX3" fmla="*/ 36666 w 109999"/>
                <a:gd name="connsiteY3" fmla="*/ 90471 h 135000"/>
                <a:gd name="connsiteX4" fmla="*/ 36666 w 109999"/>
                <a:gd name="connsiteY4" fmla="*/ 26874 h 135000"/>
                <a:gd name="connsiteX5" fmla="*/ 43904 w 109999"/>
                <a:gd name="connsiteY5" fmla="*/ 16617 h 135000"/>
                <a:gd name="connsiteX6" fmla="*/ 96612 w 109999"/>
                <a:gd name="connsiteY6" fmla="*/ 497 h 135000"/>
                <a:gd name="connsiteX7" fmla="*/ 109999 w 109999"/>
                <a:gd name="connsiteY7" fmla="*/ 10754 h 135000"/>
                <a:gd name="connsiteX8" fmla="*/ 109999 w 109999"/>
                <a:gd name="connsiteY8" fmla="*/ 26874 h 135000"/>
                <a:gd name="connsiteX9" fmla="*/ 100833 w 109999"/>
                <a:gd name="connsiteY9" fmla="*/ 36666 h 135000"/>
                <a:gd name="connsiteX10" fmla="*/ 55001 w 109999"/>
                <a:gd name="connsiteY10" fmla="*/ 45834 h 135000"/>
                <a:gd name="connsiteX11" fmla="*/ 55001 w 109999"/>
                <a:gd name="connsiteY11" fmla="*/ 112553 h 135000"/>
                <a:gd name="connsiteX12" fmla="*/ 54802 w 109999"/>
                <a:gd name="connsiteY12" fmla="*/ 114840 h 135000"/>
                <a:gd name="connsiteX13" fmla="*/ 27499 w 109999"/>
                <a:gd name="connsiteY13" fmla="*/ 135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999" h="135000">
                  <a:moveTo>
                    <a:pt x="27499" y="135000"/>
                  </a:moveTo>
                  <a:cubicBezTo>
                    <a:pt x="12312" y="135000"/>
                    <a:pt x="0" y="124740"/>
                    <a:pt x="0" y="112083"/>
                  </a:cubicBezTo>
                  <a:cubicBezTo>
                    <a:pt x="0" y="99428"/>
                    <a:pt x="12312" y="89166"/>
                    <a:pt x="27499" y="89166"/>
                  </a:cubicBezTo>
                  <a:cubicBezTo>
                    <a:pt x="30714" y="89166"/>
                    <a:pt x="33799" y="89627"/>
                    <a:pt x="36666" y="90471"/>
                  </a:cubicBezTo>
                  <a:lnTo>
                    <a:pt x="36666" y="26874"/>
                  </a:lnTo>
                  <a:cubicBezTo>
                    <a:pt x="36666" y="22173"/>
                    <a:pt x="39599" y="18018"/>
                    <a:pt x="43904" y="16617"/>
                  </a:cubicBezTo>
                  <a:lnTo>
                    <a:pt x="96612" y="497"/>
                  </a:lnTo>
                  <a:cubicBezTo>
                    <a:pt x="103253" y="-1666"/>
                    <a:pt x="109999" y="3504"/>
                    <a:pt x="109999" y="10754"/>
                  </a:cubicBezTo>
                  <a:lnTo>
                    <a:pt x="109999" y="26874"/>
                  </a:lnTo>
                  <a:cubicBezTo>
                    <a:pt x="109999" y="32247"/>
                    <a:pt x="104969" y="35679"/>
                    <a:pt x="100833" y="36666"/>
                  </a:cubicBezTo>
                  <a:cubicBezTo>
                    <a:pt x="94882" y="38088"/>
                    <a:pt x="79605" y="41144"/>
                    <a:pt x="55001" y="45834"/>
                  </a:cubicBezTo>
                  <a:lnTo>
                    <a:pt x="55001" y="112553"/>
                  </a:lnTo>
                  <a:cubicBezTo>
                    <a:pt x="55001" y="113376"/>
                    <a:pt x="54933" y="114138"/>
                    <a:pt x="54802" y="114840"/>
                  </a:cubicBezTo>
                  <a:cubicBezTo>
                    <a:pt x="53169" y="126197"/>
                    <a:pt x="41568" y="135000"/>
                    <a:pt x="27499" y="13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77" name="Рисунок 230">
            <a:extLst>
              <a:ext uri="{FF2B5EF4-FFF2-40B4-BE49-F238E27FC236}">
                <a16:creationId xmlns:a16="http://schemas.microsoft.com/office/drawing/2014/main" id="{64689062-6217-9A43-ACF3-494DF5BA8A93}"/>
              </a:ext>
            </a:extLst>
          </p:cNvPr>
          <p:cNvGrpSpPr/>
          <p:nvPr/>
        </p:nvGrpSpPr>
        <p:grpSpPr>
          <a:xfrm>
            <a:off x="3702214" y="5805300"/>
            <a:ext cx="360000" cy="360000"/>
            <a:chOff x="3735667" y="6124256"/>
            <a:chExt cx="360000" cy="360000"/>
          </a:xfrm>
        </p:grpSpPr>
        <p:sp>
          <p:nvSpPr>
            <p:cNvPr id="978" name="Полилиния 977">
              <a:extLst>
                <a:ext uri="{FF2B5EF4-FFF2-40B4-BE49-F238E27FC236}">
                  <a16:creationId xmlns:a16="http://schemas.microsoft.com/office/drawing/2014/main" id="{8ABF76A9-4142-3442-A916-963F5DB85B53}"/>
                </a:ext>
              </a:extLst>
            </p:cNvPr>
            <p:cNvSpPr/>
            <p:nvPr/>
          </p:nvSpPr>
          <p:spPr>
            <a:xfrm>
              <a:off x="3735667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9" name="Полилиния 978">
              <a:extLst>
                <a:ext uri="{FF2B5EF4-FFF2-40B4-BE49-F238E27FC236}">
                  <a16:creationId xmlns:a16="http://schemas.microsoft.com/office/drawing/2014/main" id="{8C493EC2-D017-5D47-8E45-D01EAB982605}"/>
                </a:ext>
              </a:extLst>
            </p:cNvPr>
            <p:cNvSpPr/>
            <p:nvPr/>
          </p:nvSpPr>
          <p:spPr>
            <a:xfrm>
              <a:off x="3765667" y="6199256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0" name="Полилиния 979">
              <a:extLst>
                <a:ext uri="{FF2B5EF4-FFF2-40B4-BE49-F238E27FC236}">
                  <a16:creationId xmlns:a16="http://schemas.microsoft.com/office/drawing/2014/main" id="{F988637E-E1EA-8D4A-AD8F-D3EEBBECB762}"/>
                </a:ext>
              </a:extLst>
            </p:cNvPr>
            <p:cNvSpPr/>
            <p:nvPr/>
          </p:nvSpPr>
          <p:spPr>
            <a:xfrm>
              <a:off x="3870667" y="6289255"/>
              <a:ext cx="109999" cy="135000"/>
            </a:xfrm>
            <a:custGeom>
              <a:avLst/>
              <a:gdLst>
                <a:gd name="connsiteX0" fmla="*/ 27499 w 109999"/>
                <a:gd name="connsiteY0" fmla="*/ 135000 h 135000"/>
                <a:gd name="connsiteX1" fmla="*/ 0 w 109999"/>
                <a:gd name="connsiteY1" fmla="*/ 112083 h 135000"/>
                <a:gd name="connsiteX2" fmla="*/ 27499 w 109999"/>
                <a:gd name="connsiteY2" fmla="*/ 89166 h 135000"/>
                <a:gd name="connsiteX3" fmla="*/ 36666 w 109999"/>
                <a:gd name="connsiteY3" fmla="*/ 90471 h 135000"/>
                <a:gd name="connsiteX4" fmla="*/ 36666 w 109999"/>
                <a:gd name="connsiteY4" fmla="*/ 26874 h 135000"/>
                <a:gd name="connsiteX5" fmla="*/ 43904 w 109999"/>
                <a:gd name="connsiteY5" fmla="*/ 16617 h 135000"/>
                <a:gd name="connsiteX6" fmla="*/ 96612 w 109999"/>
                <a:gd name="connsiteY6" fmla="*/ 497 h 135000"/>
                <a:gd name="connsiteX7" fmla="*/ 109999 w 109999"/>
                <a:gd name="connsiteY7" fmla="*/ 10754 h 135000"/>
                <a:gd name="connsiteX8" fmla="*/ 109999 w 109999"/>
                <a:gd name="connsiteY8" fmla="*/ 26874 h 135000"/>
                <a:gd name="connsiteX9" fmla="*/ 100833 w 109999"/>
                <a:gd name="connsiteY9" fmla="*/ 36666 h 135000"/>
                <a:gd name="connsiteX10" fmla="*/ 55001 w 109999"/>
                <a:gd name="connsiteY10" fmla="*/ 45834 h 135000"/>
                <a:gd name="connsiteX11" fmla="*/ 55001 w 109999"/>
                <a:gd name="connsiteY11" fmla="*/ 112553 h 135000"/>
                <a:gd name="connsiteX12" fmla="*/ 54802 w 109999"/>
                <a:gd name="connsiteY12" fmla="*/ 114840 h 135000"/>
                <a:gd name="connsiteX13" fmla="*/ 27499 w 109999"/>
                <a:gd name="connsiteY13" fmla="*/ 135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999" h="135000">
                  <a:moveTo>
                    <a:pt x="27499" y="135000"/>
                  </a:moveTo>
                  <a:cubicBezTo>
                    <a:pt x="12312" y="135000"/>
                    <a:pt x="0" y="124740"/>
                    <a:pt x="0" y="112083"/>
                  </a:cubicBezTo>
                  <a:cubicBezTo>
                    <a:pt x="0" y="99428"/>
                    <a:pt x="12312" y="89166"/>
                    <a:pt x="27499" y="89166"/>
                  </a:cubicBezTo>
                  <a:cubicBezTo>
                    <a:pt x="30714" y="89166"/>
                    <a:pt x="33799" y="89627"/>
                    <a:pt x="36666" y="90471"/>
                  </a:cubicBezTo>
                  <a:lnTo>
                    <a:pt x="36666" y="26874"/>
                  </a:lnTo>
                  <a:cubicBezTo>
                    <a:pt x="36666" y="22173"/>
                    <a:pt x="39599" y="18018"/>
                    <a:pt x="43904" y="16617"/>
                  </a:cubicBezTo>
                  <a:lnTo>
                    <a:pt x="96612" y="497"/>
                  </a:lnTo>
                  <a:cubicBezTo>
                    <a:pt x="103253" y="-1666"/>
                    <a:pt x="109999" y="3504"/>
                    <a:pt x="109999" y="10754"/>
                  </a:cubicBezTo>
                  <a:lnTo>
                    <a:pt x="109999" y="26874"/>
                  </a:lnTo>
                  <a:cubicBezTo>
                    <a:pt x="109999" y="32247"/>
                    <a:pt x="104969" y="35679"/>
                    <a:pt x="100833" y="36666"/>
                  </a:cubicBezTo>
                  <a:cubicBezTo>
                    <a:pt x="94882" y="38088"/>
                    <a:pt x="79605" y="41144"/>
                    <a:pt x="55001" y="45834"/>
                  </a:cubicBezTo>
                  <a:lnTo>
                    <a:pt x="55001" y="112553"/>
                  </a:lnTo>
                  <a:cubicBezTo>
                    <a:pt x="55001" y="113376"/>
                    <a:pt x="54933" y="114138"/>
                    <a:pt x="54802" y="114840"/>
                  </a:cubicBezTo>
                  <a:cubicBezTo>
                    <a:pt x="53169" y="126197"/>
                    <a:pt x="41568" y="135000"/>
                    <a:pt x="27499" y="13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81" name="Рисунок 231">
            <a:extLst>
              <a:ext uri="{FF2B5EF4-FFF2-40B4-BE49-F238E27FC236}">
                <a16:creationId xmlns:a16="http://schemas.microsoft.com/office/drawing/2014/main" id="{795E5EF3-9E44-7643-8FCE-4624DB99BBD0}"/>
              </a:ext>
            </a:extLst>
          </p:cNvPr>
          <p:cNvGrpSpPr/>
          <p:nvPr/>
        </p:nvGrpSpPr>
        <p:grpSpPr>
          <a:xfrm>
            <a:off x="4455366" y="5805300"/>
            <a:ext cx="360000" cy="360000"/>
            <a:chOff x="4488819" y="6124256"/>
            <a:chExt cx="360000" cy="360000"/>
          </a:xfrm>
        </p:grpSpPr>
        <p:sp>
          <p:nvSpPr>
            <p:cNvPr id="982" name="Полилиния 981">
              <a:extLst>
                <a:ext uri="{FF2B5EF4-FFF2-40B4-BE49-F238E27FC236}">
                  <a16:creationId xmlns:a16="http://schemas.microsoft.com/office/drawing/2014/main" id="{F1A0E148-8599-F448-A022-9330E84E4057}"/>
                </a:ext>
              </a:extLst>
            </p:cNvPr>
            <p:cNvSpPr/>
            <p:nvPr/>
          </p:nvSpPr>
          <p:spPr>
            <a:xfrm>
              <a:off x="448881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3" name="Полилиния 982">
              <a:extLst>
                <a:ext uri="{FF2B5EF4-FFF2-40B4-BE49-F238E27FC236}">
                  <a16:creationId xmlns:a16="http://schemas.microsoft.com/office/drawing/2014/main" id="{2792AFA2-4C7F-9F46-AFA2-C8C711A4C812}"/>
                </a:ext>
              </a:extLst>
            </p:cNvPr>
            <p:cNvSpPr/>
            <p:nvPr/>
          </p:nvSpPr>
          <p:spPr>
            <a:xfrm>
              <a:off x="4563819" y="6169256"/>
              <a:ext cx="210000" cy="270000"/>
            </a:xfrm>
            <a:custGeom>
              <a:avLst/>
              <a:gdLst>
                <a:gd name="connsiteX0" fmla="*/ 210000 w 210000"/>
                <a:gd name="connsiteY0" fmla="*/ 30000 h 270000"/>
                <a:gd name="connsiteX1" fmla="*/ 60000 w 210000"/>
                <a:gd name="connsiteY1" fmla="*/ 30000 h 270000"/>
                <a:gd name="connsiteX2" fmla="*/ 45000 w 210000"/>
                <a:gd name="connsiteY2" fmla="*/ 45000 h 270000"/>
                <a:gd name="connsiteX3" fmla="*/ 60000 w 210000"/>
                <a:gd name="connsiteY3" fmla="*/ 60000 h 270000"/>
                <a:gd name="connsiteX4" fmla="*/ 210000 w 210000"/>
                <a:gd name="connsiteY4" fmla="*/ 60000 h 270000"/>
                <a:gd name="connsiteX5" fmla="*/ 210000 w 210000"/>
                <a:gd name="connsiteY5" fmla="*/ 258750 h 270000"/>
                <a:gd name="connsiteX6" fmla="*/ 199500 w 210000"/>
                <a:gd name="connsiteY6" fmla="*/ 270000 h 270000"/>
                <a:gd name="connsiteX7" fmla="*/ 36750 w 210000"/>
                <a:gd name="connsiteY7" fmla="*/ 270000 h 270000"/>
                <a:gd name="connsiteX8" fmla="*/ 0 w 210000"/>
                <a:gd name="connsiteY8" fmla="*/ 230625 h 270000"/>
                <a:gd name="connsiteX9" fmla="*/ 0 w 210000"/>
                <a:gd name="connsiteY9" fmla="*/ 39375 h 270000"/>
                <a:gd name="connsiteX10" fmla="*/ 36750 w 210000"/>
                <a:gd name="connsiteY10" fmla="*/ 0 h 270000"/>
                <a:gd name="connsiteX11" fmla="*/ 199500 w 210000"/>
                <a:gd name="connsiteY11" fmla="*/ 0 h 270000"/>
                <a:gd name="connsiteX12" fmla="*/ 210000 w 210000"/>
                <a:gd name="connsiteY12" fmla="*/ 11250 h 270000"/>
                <a:gd name="connsiteX13" fmla="*/ 210000 w 210000"/>
                <a:gd name="connsiteY13" fmla="*/ 3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0000" h="270000">
                  <a:moveTo>
                    <a:pt x="210000" y="30000"/>
                  </a:moveTo>
                  <a:lnTo>
                    <a:pt x="60000" y="30000"/>
                  </a:lnTo>
                  <a:cubicBezTo>
                    <a:pt x="51716" y="30000"/>
                    <a:pt x="45000" y="36716"/>
                    <a:pt x="45000" y="45000"/>
                  </a:cubicBezTo>
                  <a:cubicBezTo>
                    <a:pt x="45000" y="53284"/>
                    <a:pt x="51716" y="60000"/>
                    <a:pt x="60000" y="60000"/>
                  </a:cubicBezTo>
                  <a:lnTo>
                    <a:pt x="210000" y="60000"/>
                  </a:lnTo>
                  <a:lnTo>
                    <a:pt x="210000" y="258750"/>
                  </a:lnTo>
                  <a:cubicBezTo>
                    <a:pt x="210000" y="264963"/>
                    <a:pt x="205299" y="270000"/>
                    <a:pt x="199500" y="270000"/>
                  </a:cubicBezTo>
                  <a:lnTo>
                    <a:pt x="36750" y="270000"/>
                  </a:lnTo>
                  <a:cubicBezTo>
                    <a:pt x="16454" y="270000"/>
                    <a:pt x="0" y="252370"/>
                    <a:pt x="0" y="230625"/>
                  </a:cubicBezTo>
                  <a:lnTo>
                    <a:pt x="0" y="39375"/>
                  </a:lnTo>
                  <a:cubicBezTo>
                    <a:pt x="0" y="17629"/>
                    <a:pt x="16454" y="0"/>
                    <a:pt x="36750" y="0"/>
                  </a:cubicBezTo>
                  <a:lnTo>
                    <a:pt x="199500" y="0"/>
                  </a:lnTo>
                  <a:cubicBezTo>
                    <a:pt x="205299" y="0"/>
                    <a:pt x="210000" y="5037"/>
                    <a:pt x="210000" y="11250"/>
                  </a:cubicBezTo>
                  <a:lnTo>
                    <a:pt x="210000" y="3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984" name="Полилиния 983">
              <a:extLst>
                <a:ext uri="{FF2B5EF4-FFF2-40B4-BE49-F238E27FC236}">
                  <a16:creationId xmlns:a16="http://schemas.microsoft.com/office/drawing/2014/main" id="{6600925D-7EBE-0D49-B3D5-708CDFC21640}"/>
                </a:ext>
              </a:extLst>
            </p:cNvPr>
            <p:cNvSpPr/>
            <p:nvPr/>
          </p:nvSpPr>
          <p:spPr>
            <a:xfrm>
              <a:off x="4623819" y="6274255"/>
              <a:ext cx="109999" cy="135000"/>
            </a:xfrm>
            <a:custGeom>
              <a:avLst/>
              <a:gdLst>
                <a:gd name="connsiteX0" fmla="*/ 27499 w 109999"/>
                <a:gd name="connsiteY0" fmla="*/ 135000 h 135000"/>
                <a:gd name="connsiteX1" fmla="*/ 0 w 109999"/>
                <a:gd name="connsiteY1" fmla="*/ 112083 h 135000"/>
                <a:gd name="connsiteX2" fmla="*/ 27499 w 109999"/>
                <a:gd name="connsiteY2" fmla="*/ 89166 h 135000"/>
                <a:gd name="connsiteX3" fmla="*/ 36666 w 109999"/>
                <a:gd name="connsiteY3" fmla="*/ 90471 h 135000"/>
                <a:gd name="connsiteX4" fmla="*/ 36666 w 109999"/>
                <a:gd name="connsiteY4" fmla="*/ 26874 h 135000"/>
                <a:gd name="connsiteX5" fmla="*/ 43904 w 109999"/>
                <a:gd name="connsiteY5" fmla="*/ 16617 h 135000"/>
                <a:gd name="connsiteX6" fmla="*/ 96612 w 109999"/>
                <a:gd name="connsiteY6" fmla="*/ 497 h 135000"/>
                <a:gd name="connsiteX7" fmla="*/ 109999 w 109999"/>
                <a:gd name="connsiteY7" fmla="*/ 10754 h 135000"/>
                <a:gd name="connsiteX8" fmla="*/ 109999 w 109999"/>
                <a:gd name="connsiteY8" fmla="*/ 26874 h 135000"/>
                <a:gd name="connsiteX9" fmla="*/ 100833 w 109999"/>
                <a:gd name="connsiteY9" fmla="*/ 36666 h 135000"/>
                <a:gd name="connsiteX10" fmla="*/ 55001 w 109999"/>
                <a:gd name="connsiteY10" fmla="*/ 45834 h 135000"/>
                <a:gd name="connsiteX11" fmla="*/ 55001 w 109999"/>
                <a:gd name="connsiteY11" fmla="*/ 112553 h 135000"/>
                <a:gd name="connsiteX12" fmla="*/ 54802 w 109999"/>
                <a:gd name="connsiteY12" fmla="*/ 114840 h 135000"/>
                <a:gd name="connsiteX13" fmla="*/ 27499 w 109999"/>
                <a:gd name="connsiteY13" fmla="*/ 135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999" h="135000">
                  <a:moveTo>
                    <a:pt x="27499" y="135000"/>
                  </a:moveTo>
                  <a:cubicBezTo>
                    <a:pt x="12312" y="135000"/>
                    <a:pt x="0" y="124740"/>
                    <a:pt x="0" y="112083"/>
                  </a:cubicBezTo>
                  <a:cubicBezTo>
                    <a:pt x="0" y="99428"/>
                    <a:pt x="12312" y="89166"/>
                    <a:pt x="27499" y="89166"/>
                  </a:cubicBezTo>
                  <a:cubicBezTo>
                    <a:pt x="30714" y="89166"/>
                    <a:pt x="33799" y="89627"/>
                    <a:pt x="36666" y="90471"/>
                  </a:cubicBezTo>
                  <a:lnTo>
                    <a:pt x="36666" y="26874"/>
                  </a:lnTo>
                  <a:cubicBezTo>
                    <a:pt x="36666" y="22173"/>
                    <a:pt x="39599" y="18018"/>
                    <a:pt x="43904" y="16617"/>
                  </a:cubicBezTo>
                  <a:lnTo>
                    <a:pt x="96612" y="497"/>
                  </a:lnTo>
                  <a:cubicBezTo>
                    <a:pt x="103253" y="-1666"/>
                    <a:pt x="109999" y="3504"/>
                    <a:pt x="109999" y="10754"/>
                  </a:cubicBezTo>
                  <a:lnTo>
                    <a:pt x="109999" y="26874"/>
                  </a:lnTo>
                  <a:cubicBezTo>
                    <a:pt x="109999" y="32247"/>
                    <a:pt x="104969" y="35679"/>
                    <a:pt x="100833" y="36666"/>
                  </a:cubicBezTo>
                  <a:cubicBezTo>
                    <a:pt x="94882" y="38088"/>
                    <a:pt x="79605" y="41144"/>
                    <a:pt x="55001" y="45834"/>
                  </a:cubicBezTo>
                  <a:lnTo>
                    <a:pt x="55001" y="112553"/>
                  </a:lnTo>
                  <a:cubicBezTo>
                    <a:pt x="55001" y="113376"/>
                    <a:pt x="54933" y="114138"/>
                    <a:pt x="54802" y="114840"/>
                  </a:cubicBezTo>
                  <a:cubicBezTo>
                    <a:pt x="53169" y="126197"/>
                    <a:pt x="41568" y="135000"/>
                    <a:pt x="27499" y="13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85" name="Рисунок 232">
            <a:extLst>
              <a:ext uri="{FF2B5EF4-FFF2-40B4-BE49-F238E27FC236}">
                <a16:creationId xmlns:a16="http://schemas.microsoft.com/office/drawing/2014/main" id="{D374654D-85DF-9F4A-9C87-AA93FFE718D4}"/>
              </a:ext>
            </a:extLst>
          </p:cNvPr>
          <p:cNvGrpSpPr>
            <a:grpSpLocks noChangeAspect="1"/>
          </p:cNvGrpSpPr>
          <p:nvPr/>
        </p:nvGrpSpPr>
        <p:grpSpPr>
          <a:xfrm>
            <a:off x="5213461" y="5809769"/>
            <a:ext cx="360000" cy="360000"/>
            <a:chOff x="5241971" y="6124256"/>
            <a:chExt cx="360000" cy="360000"/>
          </a:xfrm>
        </p:grpSpPr>
        <p:sp>
          <p:nvSpPr>
            <p:cNvPr id="986" name="Полилиния 985">
              <a:extLst>
                <a:ext uri="{FF2B5EF4-FFF2-40B4-BE49-F238E27FC236}">
                  <a16:creationId xmlns:a16="http://schemas.microsoft.com/office/drawing/2014/main" id="{C5D7D83C-3621-DE48-82E9-8C40948B1B20}"/>
                </a:ext>
              </a:extLst>
            </p:cNvPr>
            <p:cNvSpPr/>
            <p:nvPr/>
          </p:nvSpPr>
          <p:spPr>
            <a:xfrm>
              <a:off x="524197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7" name="Скругленный прямоугольник 986">
              <a:extLst>
                <a:ext uri="{FF2B5EF4-FFF2-40B4-BE49-F238E27FC236}">
                  <a16:creationId xmlns:a16="http://schemas.microsoft.com/office/drawing/2014/main" id="{82F3C1D2-FD78-0244-8025-E1427D4DA038}"/>
                </a:ext>
              </a:extLst>
            </p:cNvPr>
            <p:cNvSpPr/>
            <p:nvPr/>
          </p:nvSpPr>
          <p:spPr>
            <a:xfrm>
              <a:off x="5301971" y="6199256"/>
              <a:ext cx="240000" cy="45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8" name="Полилиния 987">
              <a:extLst>
                <a:ext uri="{FF2B5EF4-FFF2-40B4-BE49-F238E27FC236}">
                  <a16:creationId xmlns:a16="http://schemas.microsoft.com/office/drawing/2014/main" id="{EAB4FA73-8E60-BE44-85C8-102B61A9443E}"/>
                </a:ext>
              </a:extLst>
            </p:cNvPr>
            <p:cNvSpPr/>
            <p:nvPr/>
          </p:nvSpPr>
          <p:spPr>
            <a:xfrm>
              <a:off x="5301971" y="6274256"/>
              <a:ext cx="240000" cy="120000"/>
            </a:xfrm>
            <a:custGeom>
              <a:avLst/>
              <a:gdLst>
                <a:gd name="connsiteX0" fmla="*/ 22500 w 240000"/>
                <a:gd name="connsiteY0" fmla="*/ 75000 h 120000"/>
                <a:gd name="connsiteX1" fmla="*/ 217500 w 240000"/>
                <a:gd name="connsiteY1" fmla="*/ 75000 h 120000"/>
                <a:gd name="connsiteX2" fmla="*/ 240000 w 240000"/>
                <a:gd name="connsiteY2" fmla="*/ 97500 h 120000"/>
                <a:gd name="connsiteX3" fmla="*/ 217500 w 240000"/>
                <a:gd name="connsiteY3" fmla="*/ 120000 h 120000"/>
                <a:gd name="connsiteX4" fmla="*/ 22500 w 240000"/>
                <a:gd name="connsiteY4" fmla="*/ 120000 h 120000"/>
                <a:gd name="connsiteX5" fmla="*/ 0 w 240000"/>
                <a:gd name="connsiteY5" fmla="*/ 97500 h 120000"/>
                <a:gd name="connsiteX6" fmla="*/ 22500 w 240000"/>
                <a:gd name="connsiteY6" fmla="*/ 75000 h 120000"/>
                <a:gd name="connsiteX7" fmla="*/ 22500 w 240000"/>
                <a:gd name="connsiteY7" fmla="*/ 0 h 120000"/>
                <a:gd name="connsiteX8" fmla="*/ 217500 w 240000"/>
                <a:gd name="connsiteY8" fmla="*/ 0 h 120000"/>
                <a:gd name="connsiteX9" fmla="*/ 240000 w 240000"/>
                <a:gd name="connsiteY9" fmla="*/ 22500 h 120000"/>
                <a:gd name="connsiteX10" fmla="*/ 217500 w 240000"/>
                <a:gd name="connsiteY10" fmla="*/ 45000 h 120000"/>
                <a:gd name="connsiteX11" fmla="*/ 22500 w 240000"/>
                <a:gd name="connsiteY11" fmla="*/ 45000 h 120000"/>
                <a:gd name="connsiteX12" fmla="*/ 0 w 240000"/>
                <a:gd name="connsiteY12" fmla="*/ 22500 h 120000"/>
                <a:gd name="connsiteX13" fmla="*/ 22500 w 240000"/>
                <a:gd name="connsiteY13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120000">
                  <a:moveTo>
                    <a:pt x="22500" y="75000"/>
                  </a:moveTo>
                  <a:lnTo>
                    <a:pt x="217500" y="75000"/>
                  </a:lnTo>
                  <a:cubicBezTo>
                    <a:pt x="229926" y="75000"/>
                    <a:pt x="240000" y="85074"/>
                    <a:pt x="240000" y="97500"/>
                  </a:cubicBezTo>
                  <a:cubicBezTo>
                    <a:pt x="240000" y="109926"/>
                    <a:pt x="229926" y="120000"/>
                    <a:pt x="217500" y="120000"/>
                  </a:cubicBezTo>
                  <a:lnTo>
                    <a:pt x="22500" y="120000"/>
                  </a:lnTo>
                  <a:cubicBezTo>
                    <a:pt x="10074" y="120000"/>
                    <a:pt x="0" y="109926"/>
                    <a:pt x="0" y="97500"/>
                  </a:cubicBezTo>
                  <a:cubicBezTo>
                    <a:pt x="0" y="85074"/>
                    <a:pt x="10074" y="75000"/>
                    <a:pt x="22500" y="75000"/>
                  </a:cubicBezTo>
                  <a:close/>
                  <a:moveTo>
                    <a:pt x="22500" y="0"/>
                  </a:moveTo>
                  <a:lnTo>
                    <a:pt x="217500" y="0"/>
                  </a:lnTo>
                  <a:cubicBezTo>
                    <a:pt x="229926" y="0"/>
                    <a:pt x="240000" y="10074"/>
                    <a:pt x="240000" y="22500"/>
                  </a:cubicBezTo>
                  <a:cubicBezTo>
                    <a:pt x="240000" y="34926"/>
                    <a:pt x="229926" y="45000"/>
                    <a:pt x="217500" y="45000"/>
                  </a:cubicBezTo>
                  <a:lnTo>
                    <a:pt x="22500" y="45000"/>
                  </a:ln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89" name="Рисунок 233">
            <a:extLst>
              <a:ext uri="{FF2B5EF4-FFF2-40B4-BE49-F238E27FC236}">
                <a16:creationId xmlns:a16="http://schemas.microsoft.com/office/drawing/2014/main" id="{64B4FCE4-7983-B141-8961-FE2A0EC23ABF}"/>
              </a:ext>
            </a:extLst>
          </p:cNvPr>
          <p:cNvGrpSpPr/>
          <p:nvPr/>
        </p:nvGrpSpPr>
        <p:grpSpPr>
          <a:xfrm>
            <a:off x="5961670" y="5805300"/>
            <a:ext cx="360000" cy="360000"/>
            <a:chOff x="5995123" y="6124256"/>
            <a:chExt cx="360000" cy="360000"/>
          </a:xfrm>
        </p:grpSpPr>
        <p:sp>
          <p:nvSpPr>
            <p:cNvPr id="990" name="Полилиния 989">
              <a:extLst>
                <a:ext uri="{FF2B5EF4-FFF2-40B4-BE49-F238E27FC236}">
                  <a16:creationId xmlns:a16="http://schemas.microsoft.com/office/drawing/2014/main" id="{DF2FA014-929C-3C4A-A259-6FCFA7BC989B}"/>
                </a:ext>
              </a:extLst>
            </p:cNvPr>
            <p:cNvSpPr/>
            <p:nvPr/>
          </p:nvSpPr>
          <p:spPr>
            <a:xfrm>
              <a:off x="599512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1" name="Полилиния 990">
              <a:extLst>
                <a:ext uri="{FF2B5EF4-FFF2-40B4-BE49-F238E27FC236}">
                  <a16:creationId xmlns:a16="http://schemas.microsoft.com/office/drawing/2014/main" id="{2E11ED76-E42F-CA4D-B3AD-7625036FCFA2}"/>
                </a:ext>
              </a:extLst>
            </p:cNvPr>
            <p:cNvSpPr/>
            <p:nvPr/>
          </p:nvSpPr>
          <p:spPr>
            <a:xfrm>
              <a:off x="6070123" y="6289256"/>
              <a:ext cx="210000" cy="165000"/>
            </a:xfrm>
            <a:custGeom>
              <a:avLst/>
              <a:gdLst>
                <a:gd name="connsiteX0" fmla="*/ 119964 w 210000"/>
                <a:gd name="connsiteY0" fmla="*/ 103943 h 165000"/>
                <a:gd name="connsiteX1" fmla="*/ 120000 w 210000"/>
                <a:gd name="connsiteY1" fmla="*/ 105000 h 165000"/>
                <a:gd name="connsiteX2" fmla="*/ 120000 w 210000"/>
                <a:gd name="connsiteY2" fmla="*/ 150000 h 165000"/>
                <a:gd name="connsiteX3" fmla="*/ 105000 w 210000"/>
                <a:gd name="connsiteY3" fmla="*/ 165000 h 165000"/>
                <a:gd name="connsiteX4" fmla="*/ 90000 w 210000"/>
                <a:gd name="connsiteY4" fmla="*/ 150000 h 165000"/>
                <a:gd name="connsiteX5" fmla="*/ 90000 w 210000"/>
                <a:gd name="connsiteY5" fmla="*/ 105000 h 165000"/>
                <a:gd name="connsiteX6" fmla="*/ 90036 w 210000"/>
                <a:gd name="connsiteY6" fmla="*/ 103943 h 165000"/>
                <a:gd name="connsiteX7" fmla="*/ 0 w 210000"/>
                <a:gd name="connsiteY7" fmla="*/ 0 h 165000"/>
                <a:gd name="connsiteX8" fmla="*/ 30000 w 210000"/>
                <a:gd name="connsiteY8" fmla="*/ 0 h 165000"/>
                <a:gd name="connsiteX9" fmla="*/ 105000 w 210000"/>
                <a:gd name="connsiteY9" fmla="*/ 75000 h 165000"/>
                <a:gd name="connsiteX10" fmla="*/ 180000 w 210000"/>
                <a:gd name="connsiteY10" fmla="*/ 0 h 165000"/>
                <a:gd name="connsiteX11" fmla="*/ 210000 w 210000"/>
                <a:gd name="connsiteY11" fmla="*/ 0 h 165000"/>
                <a:gd name="connsiteX12" fmla="*/ 119964 w 210000"/>
                <a:gd name="connsiteY12" fmla="*/ 103943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000" h="165000">
                  <a:moveTo>
                    <a:pt x="119964" y="103943"/>
                  </a:moveTo>
                  <a:cubicBezTo>
                    <a:pt x="119988" y="104292"/>
                    <a:pt x="120000" y="104644"/>
                    <a:pt x="120000" y="105000"/>
                  </a:cubicBezTo>
                  <a:lnTo>
                    <a:pt x="120000" y="150000"/>
                  </a:lnTo>
                  <a:cubicBezTo>
                    <a:pt x="120000" y="158285"/>
                    <a:pt x="113285" y="165000"/>
                    <a:pt x="105000" y="165000"/>
                  </a:cubicBezTo>
                  <a:cubicBezTo>
                    <a:pt x="96715" y="165000"/>
                    <a:pt x="90000" y="158285"/>
                    <a:pt x="90000" y="150000"/>
                  </a:cubicBezTo>
                  <a:lnTo>
                    <a:pt x="90000" y="105000"/>
                  </a:lnTo>
                  <a:cubicBezTo>
                    <a:pt x="90000" y="104644"/>
                    <a:pt x="90012" y="104292"/>
                    <a:pt x="90036" y="103943"/>
                  </a:cubicBezTo>
                  <a:cubicBezTo>
                    <a:pt x="39134" y="96679"/>
                    <a:pt x="0" y="52910"/>
                    <a:pt x="0" y="0"/>
                  </a:cubicBezTo>
                  <a:lnTo>
                    <a:pt x="30000" y="0"/>
                  </a:lnTo>
                  <a:cubicBezTo>
                    <a:pt x="30000" y="41421"/>
                    <a:pt x="63579" y="75000"/>
                    <a:pt x="105000" y="75000"/>
                  </a:cubicBezTo>
                  <a:cubicBezTo>
                    <a:pt x="146421" y="75000"/>
                    <a:pt x="180000" y="41421"/>
                    <a:pt x="180000" y="0"/>
                  </a:cubicBezTo>
                  <a:lnTo>
                    <a:pt x="210000" y="0"/>
                  </a:lnTo>
                  <a:cubicBezTo>
                    <a:pt x="210000" y="52910"/>
                    <a:pt x="170865" y="96679"/>
                    <a:pt x="119964" y="10394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2" name="Скругленный прямоугольник 991">
              <a:extLst>
                <a:ext uri="{FF2B5EF4-FFF2-40B4-BE49-F238E27FC236}">
                  <a16:creationId xmlns:a16="http://schemas.microsoft.com/office/drawing/2014/main" id="{E7DA18D1-C3DA-7040-A843-0A0CDA41E8EB}"/>
                </a:ext>
              </a:extLst>
            </p:cNvPr>
            <p:cNvSpPr/>
            <p:nvPr/>
          </p:nvSpPr>
          <p:spPr>
            <a:xfrm>
              <a:off x="6130123" y="6154256"/>
              <a:ext cx="90000" cy="18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93" name="Рисунок 234">
            <a:extLst>
              <a:ext uri="{FF2B5EF4-FFF2-40B4-BE49-F238E27FC236}">
                <a16:creationId xmlns:a16="http://schemas.microsoft.com/office/drawing/2014/main" id="{937BB566-4BC9-F040-A7DD-16C759F2733D}"/>
              </a:ext>
            </a:extLst>
          </p:cNvPr>
          <p:cNvGrpSpPr/>
          <p:nvPr/>
        </p:nvGrpSpPr>
        <p:grpSpPr>
          <a:xfrm>
            <a:off x="6714822" y="5805300"/>
            <a:ext cx="360000" cy="360000"/>
            <a:chOff x="6748275" y="6124256"/>
            <a:chExt cx="360000" cy="360000"/>
          </a:xfrm>
        </p:grpSpPr>
        <p:sp>
          <p:nvSpPr>
            <p:cNvPr id="994" name="Полилиния 993">
              <a:extLst>
                <a:ext uri="{FF2B5EF4-FFF2-40B4-BE49-F238E27FC236}">
                  <a16:creationId xmlns:a16="http://schemas.microsoft.com/office/drawing/2014/main" id="{51E13ADF-2BE6-5446-8699-00715553718B}"/>
                </a:ext>
              </a:extLst>
            </p:cNvPr>
            <p:cNvSpPr/>
            <p:nvPr/>
          </p:nvSpPr>
          <p:spPr>
            <a:xfrm>
              <a:off x="674827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5" name="Полилиния 994">
              <a:extLst>
                <a:ext uri="{FF2B5EF4-FFF2-40B4-BE49-F238E27FC236}">
                  <a16:creationId xmlns:a16="http://schemas.microsoft.com/office/drawing/2014/main" id="{15EE54FB-6FEA-1047-9240-40BBC4F1C704}"/>
                </a:ext>
              </a:extLst>
            </p:cNvPr>
            <p:cNvSpPr/>
            <p:nvPr/>
          </p:nvSpPr>
          <p:spPr>
            <a:xfrm>
              <a:off x="6793275" y="6214256"/>
              <a:ext cx="285000" cy="195000"/>
            </a:xfrm>
            <a:custGeom>
              <a:avLst/>
              <a:gdLst>
                <a:gd name="connsiteX0" fmla="*/ 15000 w 285000"/>
                <a:gd name="connsiteY0" fmla="*/ 0 h 195000"/>
                <a:gd name="connsiteX1" fmla="*/ 270000 w 285000"/>
                <a:gd name="connsiteY1" fmla="*/ 0 h 195000"/>
                <a:gd name="connsiteX2" fmla="*/ 285000 w 285000"/>
                <a:gd name="connsiteY2" fmla="*/ 15000 h 195000"/>
                <a:gd name="connsiteX3" fmla="*/ 285000 w 285000"/>
                <a:gd name="connsiteY3" fmla="*/ 180000 h 195000"/>
                <a:gd name="connsiteX4" fmla="*/ 270000 w 285000"/>
                <a:gd name="connsiteY4" fmla="*/ 195000 h 195000"/>
                <a:gd name="connsiteX5" fmla="*/ 15000 w 285000"/>
                <a:gd name="connsiteY5" fmla="*/ 195000 h 195000"/>
                <a:gd name="connsiteX6" fmla="*/ 0 w 285000"/>
                <a:gd name="connsiteY6" fmla="*/ 180000 h 195000"/>
                <a:gd name="connsiteX7" fmla="*/ 0 w 285000"/>
                <a:gd name="connsiteY7" fmla="*/ 15000 h 195000"/>
                <a:gd name="connsiteX8" fmla="*/ 15000 w 285000"/>
                <a:gd name="connsiteY8" fmla="*/ 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000" h="195000">
                  <a:moveTo>
                    <a:pt x="15000" y="0"/>
                  </a:moveTo>
                  <a:lnTo>
                    <a:pt x="270000" y="0"/>
                  </a:lnTo>
                  <a:cubicBezTo>
                    <a:pt x="278285" y="0"/>
                    <a:pt x="285000" y="6716"/>
                    <a:pt x="285000" y="15000"/>
                  </a:cubicBezTo>
                  <a:lnTo>
                    <a:pt x="285000" y="180000"/>
                  </a:lnTo>
                  <a:cubicBezTo>
                    <a:pt x="285000" y="188285"/>
                    <a:pt x="278285" y="195000"/>
                    <a:pt x="270000" y="195000"/>
                  </a:cubicBezTo>
                  <a:lnTo>
                    <a:pt x="15000" y="195000"/>
                  </a:lnTo>
                  <a:cubicBezTo>
                    <a:pt x="6716" y="195000"/>
                    <a:pt x="0" y="188285"/>
                    <a:pt x="0" y="180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6" name="Полилиния 995">
              <a:extLst>
                <a:ext uri="{FF2B5EF4-FFF2-40B4-BE49-F238E27FC236}">
                  <a16:creationId xmlns:a16="http://schemas.microsoft.com/office/drawing/2014/main" id="{C6ABC2BF-3D39-A343-A2E8-F445FF48F544}"/>
                </a:ext>
              </a:extLst>
            </p:cNvPr>
            <p:cNvSpPr/>
            <p:nvPr/>
          </p:nvSpPr>
          <p:spPr>
            <a:xfrm>
              <a:off x="6853275" y="6319256"/>
              <a:ext cx="15000" cy="90000"/>
            </a:xfrm>
            <a:custGeom>
              <a:avLst/>
              <a:gdLst>
                <a:gd name="connsiteX0" fmla="*/ 0 w 15000"/>
                <a:gd name="connsiteY0" fmla="*/ 0 h 90000"/>
                <a:gd name="connsiteX1" fmla="*/ 15000 w 15000"/>
                <a:gd name="connsiteY1" fmla="*/ 0 h 90000"/>
                <a:gd name="connsiteX2" fmla="*/ 15000 w 15000"/>
                <a:gd name="connsiteY2" fmla="*/ 90000 h 90000"/>
                <a:gd name="connsiteX3" fmla="*/ 0 w 15000"/>
                <a:gd name="connsiteY3" fmla="*/ 9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00" h="90000">
                  <a:moveTo>
                    <a:pt x="0" y="0"/>
                  </a:moveTo>
                  <a:lnTo>
                    <a:pt x="15000" y="0"/>
                  </a:lnTo>
                  <a:lnTo>
                    <a:pt x="15000" y="90000"/>
                  </a:lnTo>
                  <a:lnTo>
                    <a:pt x="0" y="9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7" name="Полилиния 996">
              <a:extLst>
                <a:ext uri="{FF2B5EF4-FFF2-40B4-BE49-F238E27FC236}">
                  <a16:creationId xmlns:a16="http://schemas.microsoft.com/office/drawing/2014/main" id="{0B0C3D01-4BA3-7E42-A16D-685356CB144C}"/>
                </a:ext>
              </a:extLst>
            </p:cNvPr>
            <p:cNvSpPr/>
            <p:nvPr/>
          </p:nvSpPr>
          <p:spPr>
            <a:xfrm>
              <a:off x="6928275" y="6319256"/>
              <a:ext cx="15000" cy="90000"/>
            </a:xfrm>
            <a:custGeom>
              <a:avLst/>
              <a:gdLst>
                <a:gd name="connsiteX0" fmla="*/ 0 w 15000"/>
                <a:gd name="connsiteY0" fmla="*/ 0 h 90000"/>
                <a:gd name="connsiteX1" fmla="*/ 15000 w 15000"/>
                <a:gd name="connsiteY1" fmla="*/ 0 h 90000"/>
                <a:gd name="connsiteX2" fmla="*/ 15000 w 15000"/>
                <a:gd name="connsiteY2" fmla="*/ 90000 h 90000"/>
                <a:gd name="connsiteX3" fmla="*/ 0 w 15000"/>
                <a:gd name="connsiteY3" fmla="*/ 9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00" h="90000">
                  <a:moveTo>
                    <a:pt x="0" y="0"/>
                  </a:moveTo>
                  <a:lnTo>
                    <a:pt x="15000" y="0"/>
                  </a:lnTo>
                  <a:lnTo>
                    <a:pt x="15000" y="90000"/>
                  </a:lnTo>
                  <a:lnTo>
                    <a:pt x="0" y="9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8" name="Полилиния 997">
              <a:extLst>
                <a:ext uri="{FF2B5EF4-FFF2-40B4-BE49-F238E27FC236}">
                  <a16:creationId xmlns:a16="http://schemas.microsoft.com/office/drawing/2014/main" id="{151A32B9-8DE9-2A42-BE02-65F391012ED6}"/>
                </a:ext>
              </a:extLst>
            </p:cNvPr>
            <p:cNvSpPr/>
            <p:nvPr/>
          </p:nvSpPr>
          <p:spPr>
            <a:xfrm>
              <a:off x="7003275" y="6319256"/>
              <a:ext cx="15000" cy="90000"/>
            </a:xfrm>
            <a:custGeom>
              <a:avLst/>
              <a:gdLst>
                <a:gd name="connsiteX0" fmla="*/ 0 w 15000"/>
                <a:gd name="connsiteY0" fmla="*/ 0 h 90000"/>
                <a:gd name="connsiteX1" fmla="*/ 15000 w 15000"/>
                <a:gd name="connsiteY1" fmla="*/ 0 h 90000"/>
                <a:gd name="connsiteX2" fmla="*/ 15000 w 15000"/>
                <a:gd name="connsiteY2" fmla="*/ 90000 h 90000"/>
                <a:gd name="connsiteX3" fmla="*/ 0 w 15000"/>
                <a:gd name="connsiteY3" fmla="*/ 9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00" h="90000">
                  <a:moveTo>
                    <a:pt x="0" y="0"/>
                  </a:moveTo>
                  <a:lnTo>
                    <a:pt x="15000" y="0"/>
                  </a:lnTo>
                  <a:lnTo>
                    <a:pt x="15000" y="90000"/>
                  </a:lnTo>
                  <a:lnTo>
                    <a:pt x="0" y="9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9" name="Полилиния 998">
              <a:extLst>
                <a:ext uri="{FF2B5EF4-FFF2-40B4-BE49-F238E27FC236}">
                  <a16:creationId xmlns:a16="http://schemas.microsoft.com/office/drawing/2014/main" id="{4A2BCD62-6FB5-1C41-B180-374D7F8E2F18}"/>
                </a:ext>
              </a:extLst>
            </p:cNvPr>
            <p:cNvSpPr/>
            <p:nvPr/>
          </p:nvSpPr>
          <p:spPr>
            <a:xfrm>
              <a:off x="6838275" y="6214256"/>
              <a:ext cx="45000" cy="105000"/>
            </a:xfrm>
            <a:custGeom>
              <a:avLst/>
              <a:gdLst>
                <a:gd name="connsiteX0" fmla="*/ 0 w 45000"/>
                <a:gd name="connsiteY0" fmla="*/ 0 h 105000"/>
                <a:gd name="connsiteX1" fmla="*/ 45000 w 45000"/>
                <a:gd name="connsiteY1" fmla="*/ 0 h 105000"/>
                <a:gd name="connsiteX2" fmla="*/ 45000 w 45000"/>
                <a:gd name="connsiteY2" fmla="*/ 90000 h 105000"/>
                <a:gd name="connsiteX3" fmla="*/ 30000 w 45000"/>
                <a:gd name="connsiteY3" fmla="*/ 105000 h 105000"/>
                <a:gd name="connsiteX4" fmla="*/ 15000 w 45000"/>
                <a:gd name="connsiteY4" fmla="*/ 105000 h 105000"/>
                <a:gd name="connsiteX5" fmla="*/ 0 w 45000"/>
                <a:gd name="connsiteY5" fmla="*/ 90000 h 105000"/>
                <a:gd name="connsiteX6" fmla="*/ 0 w 45000"/>
                <a:gd name="connsiteY6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00" h="105000">
                  <a:moveTo>
                    <a:pt x="0" y="0"/>
                  </a:moveTo>
                  <a:lnTo>
                    <a:pt x="45000" y="0"/>
                  </a:lnTo>
                  <a:lnTo>
                    <a:pt x="45000" y="90000"/>
                  </a:lnTo>
                  <a:cubicBezTo>
                    <a:pt x="45000" y="98285"/>
                    <a:pt x="38284" y="105000"/>
                    <a:pt x="30000" y="105000"/>
                  </a:cubicBezTo>
                  <a:lnTo>
                    <a:pt x="15000" y="105000"/>
                  </a:lnTo>
                  <a:cubicBezTo>
                    <a:pt x="6716" y="105000"/>
                    <a:pt x="0" y="98285"/>
                    <a:pt x="0" y="900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0" name="Полилиния 999">
              <a:extLst>
                <a:ext uri="{FF2B5EF4-FFF2-40B4-BE49-F238E27FC236}">
                  <a16:creationId xmlns:a16="http://schemas.microsoft.com/office/drawing/2014/main" id="{8FE49FED-FACD-3C46-A7BF-B14D2FF79139}"/>
                </a:ext>
              </a:extLst>
            </p:cNvPr>
            <p:cNvSpPr/>
            <p:nvPr/>
          </p:nvSpPr>
          <p:spPr>
            <a:xfrm>
              <a:off x="6913275" y="6214256"/>
              <a:ext cx="45000" cy="105000"/>
            </a:xfrm>
            <a:custGeom>
              <a:avLst/>
              <a:gdLst>
                <a:gd name="connsiteX0" fmla="*/ 0 w 45000"/>
                <a:gd name="connsiteY0" fmla="*/ 0 h 105000"/>
                <a:gd name="connsiteX1" fmla="*/ 45000 w 45000"/>
                <a:gd name="connsiteY1" fmla="*/ 0 h 105000"/>
                <a:gd name="connsiteX2" fmla="*/ 45000 w 45000"/>
                <a:gd name="connsiteY2" fmla="*/ 90000 h 105000"/>
                <a:gd name="connsiteX3" fmla="*/ 30000 w 45000"/>
                <a:gd name="connsiteY3" fmla="*/ 105000 h 105000"/>
                <a:gd name="connsiteX4" fmla="*/ 15000 w 45000"/>
                <a:gd name="connsiteY4" fmla="*/ 105000 h 105000"/>
                <a:gd name="connsiteX5" fmla="*/ 0 w 45000"/>
                <a:gd name="connsiteY5" fmla="*/ 90000 h 105000"/>
                <a:gd name="connsiteX6" fmla="*/ 0 w 45000"/>
                <a:gd name="connsiteY6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00" h="105000">
                  <a:moveTo>
                    <a:pt x="0" y="0"/>
                  </a:moveTo>
                  <a:lnTo>
                    <a:pt x="45000" y="0"/>
                  </a:lnTo>
                  <a:lnTo>
                    <a:pt x="45000" y="90000"/>
                  </a:lnTo>
                  <a:cubicBezTo>
                    <a:pt x="45000" y="98285"/>
                    <a:pt x="38285" y="105000"/>
                    <a:pt x="30000" y="105000"/>
                  </a:cubicBezTo>
                  <a:lnTo>
                    <a:pt x="15000" y="105000"/>
                  </a:lnTo>
                  <a:cubicBezTo>
                    <a:pt x="6715" y="105000"/>
                    <a:pt x="0" y="98285"/>
                    <a:pt x="0" y="900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1" name="Полилиния 1000">
              <a:extLst>
                <a:ext uri="{FF2B5EF4-FFF2-40B4-BE49-F238E27FC236}">
                  <a16:creationId xmlns:a16="http://schemas.microsoft.com/office/drawing/2014/main" id="{722D124F-A0AC-2446-B297-D890D197800A}"/>
                </a:ext>
              </a:extLst>
            </p:cNvPr>
            <p:cNvSpPr/>
            <p:nvPr/>
          </p:nvSpPr>
          <p:spPr>
            <a:xfrm>
              <a:off x="6988275" y="6214256"/>
              <a:ext cx="45000" cy="105000"/>
            </a:xfrm>
            <a:custGeom>
              <a:avLst/>
              <a:gdLst>
                <a:gd name="connsiteX0" fmla="*/ 0 w 45000"/>
                <a:gd name="connsiteY0" fmla="*/ 0 h 105000"/>
                <a:gd name="connsiteX1" fmla="*/ 45000 w 45000"/>
                <a:gd name="connsiteY1" fmla="*/ 0 h 105000"/>
                <a:gd name="connsiteX2" fmla="*/ 45000 w 45000"/>
                <a:gd name="connsiteY2" fmla="*/ 90000 h 105000"/>
                <a:gd name="connsiteX3" fmla="*/ 30000 w 45000"/>
                <a:gd name="connsiteY3" fmla="*/ 105000 h 105000"/>
                <a:gd name="connsiteX4" fmla="*/ 15000 w 45000"/>
                <a:gd name="connsiteY4" fmla="*/ 105000 h 105000"/>
                <a:gd name="connsiteX5" fmla="*/ 0 w 45000"/>
                <a:gd name="connsiteY5" fmla="*/ 90000 h 105000"/>
                <a:gd name="connsiteX6" fmla="*/ 0 w 45000"/>
                <a:gd name="connsiteY6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00" h="105000">
                  <a:moveTo>
                    <a:pt x="0" y="0"/>
                  </a:moveTo>
                  <a:lnTo>
                    <a:pt x="45000" y="0"/>
                  </a:lnTo>
                  <a:lnTo>
                    <a:pt x="45000" y="90000"/>
                  </a:lnTo>
                  <a:cubicBezTo>
                    <a:pt x="45000" y="98285"/>
                    <a:pt x="38284" y="105000"/>
                    <a:pt x="30000" y="105000"/>
                  </a:cubicBezTo>
                  <a:lnTo>
                    <a:pt x="15000" y="105000"/>
                  </a:lnTo>
                  <a:cubicBezTo>
                    <a:pt x="6716" y="105000"/>
                    <a:pt x="0" y="98285"/>
                    <a:pt x="0" y="900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02" name="Рисунок 235">
            <a:extLst>
              <a:ext uri="{FF2B5EF4-FFF2-40B4-BE49-F238E27FC236}">
                <a16:creationId xmlns:a16="http://schemas.microsoft.com/office/drawing/2014/main" id="{533F190E-0840-A148-860A-47411BD48809}"/>
              </a:ext>
            </a:extLst>
          </p:cNvPr>
          <p:cNvGrpSpPr/>
          <p:nvPr/>
        </p:nvGrpSpPr>
        <p:grpSpPr>
          <a:xfrm>
            <a:off x="7467974" y="5805300"/>
            <a:ext cx="360000" cy="360000"/>
            <a:chOff x="7501427" y="6124256"/>
            <a:chExt cx="360000" cy="360000"/>
          </a:xfrm>
        </p:grpSpPr>
        <p:sp>
          <p:nvSpPr>
            <p:cNvPr id="1003" name="Полилиния 1002">
              <a:extLst>
                <a:ext uri="{FF2B5EF4-FFF2-40B4-BE49-F238E27FC236}">
                  <a16:creationId xmlns:a16="http://schemas.microsoft.com/office/drawing/2014/main" id="{6200A34A-3B0F-FD40-A900-9F9346B070CA}"/>
                </a:ext>
              </a:extLst>
            </p:cNvPr>
            <p:cNvSpPr/>
            <p:nvPr/>
          </p:nvSpPr>
          <p:spPr>
            <a:xfrm>
              <a:off x="7501427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4" name="Полилиния 1003">
              <a:extLst>
                <a:ext uri="{FF2B5EF4-FFF2-40B4-BE49-F238E27FC236}">
                  <a16:creationId xmlns:a16="http://schemas.microsoft.com/office/drawing/2014/main" id="{41EDE554-0EDF-7E48-9A33-DC295619CA3E}"/>
                </a:ext>
              </a:extLst>
            </p:cNvPr>
            <p:cNvSpPr/>
            <p:nvPr/>
          </p:nvSpPr>
          <p:spPr>
            <a:xfrm>
              <a:off x="7531427" y="6154256"/>
              <a:ext cx="300000" cy="300000"/>
            </a:xfrm>
            <a:custGeom>
              <a:avLst/>
              <a:gdLst>
                <a:gd name="connsiteX0" fmla="*/ 300000 w 300000"/>
                <a:gd name="connsiteY0" fmla="*/ 150000 h 300000"/>
                <a:gd name="connsiteX1" fmla="*/ 150000 w 300000"/>
                <a:gd name="connsiteY1" fmla="*/ 300000 h 300000"/>
                <a:gd name="connsiteX2" fmla="*/ 0 w 300000"/>
                <a:gd name="connsiteY2" fmla="*/ 150000 h 300000"/>
                <a:gd name="connsiteX3" fmla="*/ 150000 w 300000"/>
                <a:gd name="connsiteY3" fmla="*/ 0 h 300000"/>
                <a:gd name="connsiteX4" fmla="*/ 300000 w 300000"/>
                <a:gd name="connsiteY4" fmla="*/ 15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0" h="300000">
                  <a:moveTo>
                    <a:pt x="300000" y="150000"/>
                  </a:moveTo>
                  <a:cubicBezTo>
                    <a:pt x="300000" y="232843"/>
                    <a:pt x="232843" y="300000"/>
                    <a:pt x="150000" y="300000"/>
                  </a:cubicBezTo>
                  <a:cubicBezTo>
                    <a:pt x="67157" y="300000"/>
                    <a:pt x="0" y="232843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3" y="0"/>
                    <a:pt x="300000" y="67157"/>
                    <a:pt x="300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5" name="Скругленный прямоугольник 1004">
              <a:extLst>
                <a:ext uri="{FF2B5EF4-FFF2-40B4-BE49-F238E27FC236}">
                  <a16:creationId xmlns:a16="http://schemas.microsoft.com/office/drawing/2014/main" id="{1AC98BB3-9FF3-F245-A524-10B709F80F8B}"/>
                </a:ext>
              </a:extLst>
            </p:cNvPr>
            <p:cNvSpPr/>
            <p:nvPr/>
          </p:nvSpPr>
          <p:spPr>
            <a:xfrm>
              <a:off x="7591427" y="6289256"/>
              <a:ext cx="180000" cy="3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06" name="Рисунок 236">
            <a:extLst>
              <a:ext uri="{FF2B5EF4-FFF2-40B4-BE49-F238E27FC236}">
                <a16:creationId xmlns:a16="http://schemas.microsoft.com/office/drawing/2014/main" id="{716A4720-6CD7-EB45-A896-4A29C9B49637}"/>
              </a:ext>
            </a:extLst>
          </p:cNvPr>
          <p:cNvGrpSpPr/>
          <p:nvPr/>
        </p:nvGrpSpPr>
        <p:grpSpPr>
          <a:xfrm>
            <a:off x="8221126" y="5805300"/>
            <a:ext cx="360000" cy="360000"/>
            <a:chOff x="8254579" y="6124256"/>
            <a:chExt cx="360000" cy="360000"/>
          </a:xfrm>
        </p:grpSpPr>
        <p:sp>
          <p:nvSpPr>
            <p:cNvPr id="1007" name="Полилиния 1006">
              <a:extLst>
                <a:ext uri="{FF2B5EF4-FFF2-40B4-BE49-F238E27FC236}">
                  <a16:creationId xmlns:a16="http://schemas.microsoft.com/office/drawing/2014/main" id="{3521979E-63E3-C646-97C6-021E7EB0E639}"/>
                </a:ext>
              </a:extLst>
            </p:cNvPr>
            <p:cNvSpPr/>
            <p:nvPr/>
          </p:nvSpPr>
          <p:spPr>
            <a:xfrm>
              <a:off x="825457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8" name="Полилиния 1007">
              <a:extLst>
                <a:ext uri="{FF2B5EF4-FFF2-40B4-BE49-F238E27FC236}">
                  <a16:creationId xmlns:a16="http://schemas.microsoft.com/office/drawing/2014/main" id="{6C387054-E168-C14C-AB4D-540F8B5A1898}"/>
                </a:ext>
              </a:extLst>
            </p:cNvPr>
            <p:cNvSpPr/>
            <p:nvPr/>
          </p:nvSpPr>
          <p:spPr>
            <a:xfrm>
              <a:off x="8300598" y="6244045"/>
              <a:ext cx="268180" cy="180210"/>
            </a:xfrm>
            <a:custGeom>
              <a:avLst/>
              <a:gdLst>
                <a:gd name="connsiteX0" fmla="*/ 148981 w 268180"/>
                <a:gd name="connsiteY0" fmla="*/ 135936 h 180210"/>
                <a:gd name="connsiteX1" fmla="*/ 148981 w 268180"/>
                <a:gd name="connsiteY1" fmla="*/ 150210 h 180210"/>
                <a:gd name="connsiteX2" fmla="*/ 163981 w 268180"/>
                <a:gd name="connsiteY2" fmla="*/ 150210 h 180210"/>
                <a:gd name="connsiteX3" fmla="*/ 193981 w 268180"/>
                <a:gd name="connsiteY3" fmla="*/ 180210 h 180210"/>
                <a:gd name="connsiteX4" fmla="*/ 73981 w 268180"/>
                <a:gd name="connsiteY4" fmla="*/ 180210 h 180210"/>
                <a:gd name="connsiteX5" fmla="*/ 103981 w 268180"/>
                <a:gd name="connsiteY5" fmla="*/ 150210 h 180210"/>
                <a:gd name="connsiteX6" fmla="*/ 118981 w 268180"/>
                <a:gd name="connsiteY6" fmla="*/ 150210 h 180210"/>
                <a:gd name="connsiteX7" fmla="*/ 118981 w 268180"/>
                <a:gd name="connsiteY7" fmla="*/ 135933 h 180210"/>
                <a:gd name="connsiteX8" fmla="*/ 114 w 268180"/>
                <a:gd name="connsiteY8" fmla="*/ 18516 h 180210"/>
                <a:gd name="connsiteX9" fmla="*/ 13167 w 268180"/>
                <a:gd name="connsiteY9" fmla="*/ 1794 h 180210"/>
                <a:gd name="connsiteX10" fmla="*/ 29889 w 268180"/>
                <a:gd name="connsiteY10" fmla="*/ 14847 h 180210"/>
                <a:gd name="connsiteX11" fmla="*/ 133993 w 268180"/>
                <a:gd name="connsiteY11" fmla="*/ 106763 h 180210"/>
                <a:gd name="connsiteX12" fmla="*/ 238268 w 268180"/>
                <a:gd name="connsiteY12" fmla="*/ 13376 h 180210"/>
                <a:gd name="connsiteX13" fmla="*/ 254804 w 268180"/>
                <a:gd name="connsiteY13" fmla="*/ 90 h 180210"/>
                <a:gd name="connsiteX14" fmla="*/ 268091 w 268180"/>
                <a:gd name="connsiteY14" fmla="*/ 16626 h 180210"/>
                <a:gd name="connsiteX15" fmla="*/ 148981 w 268180"/>
                <a:gd name="connsiteY15" fmla="*/ 135936 h 180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8180" h="180210">
                  <a:moveTo>
                    <a:pt x="148981" y="135936"/>
                  </a:moveTo>
                  <a:lnTo>
                    <a:pt x="148981" y="150210"/>
                  </a:lnTo>
                  <a:lnTo>
                    <a:pt x="163981" y="150210"/>
                  </a:lnTo>
                  <a:cubicBezTo>
                    <a:pt x="180550" y="150210"/>
                    <a:pt x="193981" y="163641"/>
                    <a:pt x="193981" y="180210"/>
                  </a:cubicBezTo>
                  <a:lnTo>
                    <a:pt x="73981" y="180210"/>
                  </a:lnTo>
                  <a:cubicBezTo>
                    <a:pt x="73981" y="163641"/>
                    <a:pt x="87412" y="150210"/>
                    <a:pt x="103981" y="150210"/>
                  </a:cubicBezTo>
                  <a:lnTo>
                    <a:pt x="118981" y="150210"/>
                  </a:lnTo>
                  <a:lnTo>
                    <a:pt x="118981" y="135933"/>
                  </a:lnTo>
                  <a:cubicBezTo>
                    <a:pt x="57458" y="129098"/>
                    <a:pt x="7784" y="80748"/>
                    <a:pt x="114" y="18516"/>
                  </a:cubicBezTo>
                  <a:cubicBezTo>
                    <a:pt x="-899" y="10294"/>
                    <a:pt x="4945" y="2807"/>
                    <a:pt x="13167" y="1794"/>
                  </a:cubicBezTo>
                  <a:cubicBezTo>
                    <a:pt x="21389" y="781"/>
                    <a:pt x="28876" y="6625"/>
                    <a:pt x="29889" y="14847"/>
                  </a:cubicBezTo>
                  <a:cubicBezTo>
                    <a:pt x="36326" y="67077"/>
                    <a:pt x="80888" y="106763"/>
                    <a:pt x="133993" y="106763"/>
                  </a:cubicBezTo>
                  <a:cubicBezTo>
                    <a:pt x="187645" y="106763"/>
                    <a:pt x="232504" y="66275"/>
                    <a:pt x="238268" y="13376"/>
                  </a:cubicBezTo>
                  <a:cubicBezTo>
                    <a:pt x="239165" y="5141"/>
                    <a:pt x="246569" y="-808"/>
                    <a:pt x="254804" y="90"/>
                  </a:cubicBezTo>
                  <a:cubicBezTo>
                    <a:pt x="263041" y="987"/>
                    <a:pt x="268988" y="8391"/>
                    <a:pt x="268091" y="16626"/>
                  </a:cubicBezTo>
                  <a:cubicBezTo>
                    <a:pt x="261217" y="79712"/>
                    <a:pt x="211189" y="129039"/>
                    <a:pt x="148981" y="135936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9" name="Полилиния 1008">
              <a:extLst>
                <a:ext uri="{FF2B5EF4-FFF2-40B4-BE49-F238E27FC236}">
                  <a16:creationId xmlns:a16="http://schemas.microsoft.com/office/drawing/2014/main" id="{01200AEE-BEAA-8E4C-826F-01217DEDFD8A}"/>
                </a:ext>
              </a:extLst>
            </p:cNvPr>
            <p:cNvSpPr/>
            <p:nvPr/>
          </p:nvSpPr>
          <p:spPr>
            <a:xfrm>
              <a:off x="8344579" y="6154256"/>
              <a:ext cx="180000" cy="180000"/>
            </a:xfrm>
            <a:custGeom>
              <a:avLst/>
              <a:gdLst>
                <a:gd name="connsiteX0" fmla="*/ 90000 w 180000"/>
                <a:gd name="connsiteY0" fmla="*/ 180000 h 180000"/>
                <a:gd name="connsiteX1" fmla="*/ 0 w 180000"/>
                <a:gd name="connsiteY1" fmla="*/ 90000 h 180000"/>
                <a:gd name="connsiteX2" fmla="*/ 90000 w 180000"/>
                <a:gd name="connsiteY2" fmla="*/ 0 h 180000"/>
                <a:gd name="connsiteX3" fmla="*/ 180000 w 180000"/>
                <a:gd name="connsiteY3" fmla="*/ 90000 h 180000"/>
                <a:gd name="connsiteX4" fmla="*/ 90000 w 180000"/>
                <a:gd name="connsiteY4" fmla="*/ 180000 h 180000"/>
                <a:gd name="connsiteX5" fmla="*/ 42239 w 180000"/>
                <a:gd name="connsiteY5" fmla="*/ 87012 h 180000"/>
                <a:gd name="connsiteX6" fmla="*/ 31733 w 180000"/>
                <a:gd name="connsiteY6" fmla="*/ 77879 h 180000"/>
                <a:gd name="connsiteX7" fmla="*/ 22600 w 180000"/>
                <a:gd name="connsiteY7" fmla="*/ 88385 h 180000"/>
                <a:gd name="connsiteX8" fmla="*/ 56925 w 180000"/>
                <a:gd name="connsiteY8" fmla="*/ 146507 h 180000"/>
                <a:gd name="connsiteX9" fmla="*/ 70536 w 180000"/>
                <a:gd name="connsiteY9" fmla="*/ 143582 h 180000"/>
                <a:gd name="connsiteX10" fmla="*/ 67611 w 180000"/>
                <a:gd name="connsiteY10" fmla="*/ 129972 h 180000"/>
                <a:gd name="connsiteX11" fmla="*/ 42239 w 180000"/>
                <a:gd name="connsiteY11" fmla="*/ 87012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000" h="180000">
                  <a:moveTo>
                    <a:pt x="90000" y="180000"/>
                  </a:moveTo>
                  <a:cubicBezTo>
                    <a:pt x="40294" y="180000"/>
                    <a:pt x="0" y="139706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9706" y="0"/>
                    <a:pt x="180000" y="40294"/>
                    <a:pt x="180000" y="90000"/>
                  </a:cubicBezTo>
                  <a:cubicBezTo>
                    <a:pt x="180000" y="139706"/>
                    <a:pt x="139706" y="180000"/>
                    <a:pt x="90000" y="180000"/>
                  </a:cubicBezTo>
                  <a:close/>
                  <a:moveTo>
                    <a:pt x="42239" y="87012"/>
                  </a:moveTo>
                  <a:cubicBezTo>
                    <a:pt x="41860" y="81588"/>
                    <a:pt x="37156" y="77499"/>
                    <a:pt x="31733" y="77879"/>
                  </a:cubicBezTo>
                  <a:cubicBezTo>
                    <a:pt x="26310" y="78258"/>
                    <a:pt x="22221" y="82962"/>
                    <a:pt x="22600" y="88385"/>
                  </a:cubicBezTo>
                  <a:cubicBezTo>
                    <a:pt x="24342" y="113298"/>
                    <a:pt x="35950" y="132953"/>
                    <a:pt x="56925" y="146507"/>
                  </a:cubicBezTo>
                  <a:cubicBezTo>
                    <a:pt x="61491" y="149457"/>
                    <a:pt x="67586" y="148148"/>
                    <a:pt x="70536" y="143582"/>
                  </a:cubicBezTo>
                  <a:cubicBezTo>
                    <a:pt x="73487" y="139016"/>
                    <a:pt x="72177" y="132923"/>
                    <a:pt x="67611" y="129972"/>
                  </a:cubicBezTo>
                  <a:cubicBezTo>
                    <a:pt x="51840" y="119781"/>
                    <a:pt x="43549" y="105743"/>
                    <a:pt x="42239" y="87012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10" name="Рисунок 237">
            <a:extLst>
              <a:ext uri="{FF2B5EF4-FFF2-40B4-BE49-F238E27FC236}">
                <a16:creationId xmlns:a16="http://schemas.microsoft.com/office/drawing/2014/main" id="{9D079712-F632-AF4E-B77F-6B21586C5FB3}"/>
              </a:ext>
            </a:extLst>
          </p:cNvPr>
          <p:cNvGrpSpPr/>
          <p:nvPr/>
        </p:nvGrpSpPr>
        <p:grpSpPr>
          <a:xfrm>
            <a:off x="8974278" y="5805300"/>
            <a:ext cx="360000" cy="360000"/>
            <a:chOff x="9007731" y="6124256"/>
            <a:chExt cx="360000" cy="360000"/>
          </a:xfrm>
        </p:grpSpPr>
        <p:sp>
          <p:nvSpPr>
            <p:cNvPr id="1011" name="Полилиния 1010">
              <a:extLst>
                <a:ext uri="{FF2B5EF4-FFF2-40B4-BE49-F238E27FC236}">
                  <a16:creationId xmlns:a16="http://schemas.microsoft.com/office/drawing/2014/main" id="{2C23C5A1-D83D-1F49-AF30-E324DC015B9C}"/>
                </a:ext>
              </a:extLst>
            </p:cNvPr>
            <p:cNvSpPr/>
            <p:nvPr/>
          </p:nvSpPr>
          <p:spPr>
            <a:xfrm>
              <a:off x="900773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2" name="Полилиния 1011">
              <a:extLst>
                <a:ext uri="{FF2B5EF4-FFF2-40B4-BE49-F238E27FC236}">
                  <a16:creationId xmlns:a16="http://schemas.microsoft.com/office/drawing/2014/main" id="{5DA81C7B-1ECF-4643-A438-518114BC1AD9}"/>
                </a:ext>
              </a:extLst>
            </p:cNvPr>
            <p:cNvSpPr/>
            <p:nvPr/>
          </p:nvSpPr>
          <p:spPr>
            <a:xfrm>
              <a:off x="9080911" y="6197436"/>
              <a:ext cx="93640" cy="93640"/>
            </a:xfrm>
            <a:custGeom>
              <a:avLst/>
              <a:gdLst>
                <a:gd name="connsiteX0" fmla="*/ 25607 w 93640"/>
                <a:gd name="connsiteY0" fmla="*/ 46820 h 93640"/>
                <a:gd name="connsiteX1" fmla="*/ 4393 w 93640"/>
                <a:gd name="connsiteY1" fmla="*/ 25607 h 93640"/>
                <a:gd name="connsiteX2" fmla="*/ 4393 w 93640"/>
                <a:gd name="connsiteY2" fmla="*/ 4393 h 93640"/>
                <a:gd name="connsiteX3" fmla="*/ 25607 w 93640"/>
                <a:gd name="connsiteY3" fmla="*/ 4393 h 93640"/>
                <a:gd name="connsiteX4" fmla="*/ 46820 w 93640"/>
                <a:gd name="connsiteY4" fmla="*/ 25607 h 93640"/>
                <a:gd name="connsiteX5" fmla="*/ 68033 w 93640"/>
                <a:gd name="connsiteY5" fmla="*/ 4393 h 93640"/>
                <a:gd name="connsiteX6" fmla="*/ 89246 w 93640"/>
                <a:gd name="connsiteY6" fmla="*/ 4393 h 93640"/>
                <a:gd name="connsiteX7" fmla="*/ 89246 w 93640"/>
                <a:gd name="connsiteY7" fmla="*/ 25607 h 93640"/>
                <a:gd name="connsiteX8" fmla="*/ 68033 w 93640"/>
                <a:gd name="connsiteY8" fmla="*/ 46820 h 93640"/>
                <a:gd name="connsiteX9" fmla="*/ 89246 w 93640"/>
                <a:gd name="connsiteY9" fmla="*/ 68033 h 93640"/>
                <a:gd name="connsiteX10" fmla="*/ 89246 w 93640"/>
                <a:gd name="connsiteY10" fmla="*/ 89246 h 93640"/>
                <a:gd name="connsiteX11" fmla="*/ 68033 w 93640"/>
                <a:gd name="connsiteY11" fmla="*/ 89246 h 93640"/>
                <a:gd name="connsiteX12" fmla="*/ 46820 w 93640"/>
                <a:gd name="connsiteY12" fmla="*/ 68033 h 93640"/>
                <a:gd name="connsiteX13" fmla="*/ 25607 w 93640"/>
                <a:gd name="connsiteY13" fmla="*/ 89246 h 93640"/>
                <a:gd name="connsiteX14" fmla="*/ 4393 w 93640"/>
                <a:gd name="connsiteY14" fmla="*/ 89246 h 93640"/>
                <a:gd name="connsiteX15" fmla="*/ 4393 w 93640"/>
                <a:gd name="connsiteY15" fmla="*/ 68033 h 93640"/>
                <a:gd name="connsiteX16" fmla="*/ 25607 w 93640"/>
                <a:gd name="connsiteY16" fmla="*/ 46820 h 93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3640" h="93640">
                  <a:moveTo>
                    <a:pt x="25607" y="46820"/>
                  </a:moveTo>
                  <a:lnTo>
                    <a:pt x="4393" y="25607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7" y="4393"/>
                  </a:cubicBezTo>
                  <a:lnTo>
                    <a:pt x="46820" y="25607"/>
                  </a:lnTo>
                  <a:lnTo>
                    <a:pt x="68033" y="4393"/>
                  </a:lnTo>
                  <a:cubicBezTo>
                    <a:pt x="73891" y="-1464"/>
                    <a:pt x="83388" y="-1464"/>
                    <a:pt x="89246" y="4393"/>
                  </a:cubicBezTo>
                  <a:cubicBezTo>
                    <a:pt x="95105" y="10251"/>
                    <a:pt x="95105" y="19749"/>
                    <a:pt x="89246" y="25607"/>
                  </a:cubicBezTo>
                  <a:lnTo>
                    <a:pt x="68033" y="46820"/>
                  </a:lnTo>
                  <a:lnTo>
                    <a:pt x="89246" y="68033"/>
                  </a:lnTo>
                  <a:cubicBezTo>
                    <a:pt x="95105" y="73891"/>
                    <a:pt x="95105" y="83388"/>
                    <a:pt x="89246" y="89246"/>
                  </a:cubicBezTo>
                  <a:cubicBezTo>
                    <a:pt x="83388" y="95105"/>
                    <a:pt x="73891" y="95105"/>
                    <a:pt x="68033" y="89246"/>
                  </a:cubicBezTo>
                  <a:lnTo>
                    <a:pt x="46820" y="68033"/>
                  </a:lnTo>
                  <a:lnTo>
                    <a:pt x="25607" y="89246"/>
                  </a:lnTo>
                  <a:cubicBezTo>
                    <a:pt x="19749" y="95105"/>
                    <a:pt x="10251" y="95105"/>
                    <a:pt x="4393" y="89246"/>
                  </a:cubicBezTo>
                  <a:cubicBezTo>
                    <a:pt x="-1464" y="83388"/>
                    <a:pt x="-1464" y="73891"/>
                    <a:pt x="4393" y="68033"/>
                  </a:cubicBezTo>
                  <a:lnTo>
                    <a:pt x="25607" y="4682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3" name="Полилиния 1012">
              <a:extLst>
                <a:ext uri="{FF2B5EF4-FFF2-40B4-BE49-F238E27FC236}">
                  <a16:creationId xmlns:a16="http://schemas.microsoft.com/office/drawing/2014/main" id="{AD208FC5-CD97-B148-BBAA-279FFEB7A165}"/>
                </a:ext>
              </a:extLst>
            </p:cNvPr>
            <p:cNvSpPr/>
            <p:nvPr/>
          </p:nvSpPr>
          <p:spPr>
            <a:xfrm>
              <a:off x="9088957" y="6196761"/>
              <a:ext cx="233912" cy="227060"/>
            </a:xfrm>
            <a:custGeom>
              <a:avLst/>
              <a:gdLst>
                <a:gd name="connsiteX0" fmla="*/ 114974 w 233912"/>
                <a:gd name="connsiteY0" fmla="*/ 149255 h 227060"/>
                <a:gd name="connsiteX1" fmla="*/ 148034 w 233912"/>
                <a:gd name="connsiteY1" fmla="*/ 116195 h 227060"/>
                <a:gd name="connsiteX2" fmla="*/ 153653 w 233912"/>
                <a:gd name="connsiteY2" fmla="*/ 81564 h 227060"/>
                <a:gd name="connsiteX3" fmla="*/ 151781 w 233912"/>
                <a:gd name="connsiteY3" fmla="*/ 77819 h 227060"/>
                <a:gd name="connsiteX4" fmla="*/ 157400 w 233912"/>
                <a:gd name="connsiteY4" fmla="*/ 43189 h 227060"/>
                <a:gd name="connsiteX5" fmla="*/ 198392 w 233912"/>
                <a:gd name="connsiteY5" fmla="*/ 2197 h 227060"/>
                <a:gd name="connsiteX6" fmla="*/ 208998 w 233912"/>
                <a:gd name="connsiteY6" fmla="*/ 2197 h 227060"/>
                <a:gd name="connsiteX7" fmla="*/ 210404 w 233912"/>
                <a:gd name="connsiteY7" fmla="*/ 4146 h 227060"/>
                <a:gd name="connsiteX8" fmla="*/ 226962 w 233912"/>
                <a:gd name="connsiteY8" fmla="*/ 37265 h 227060"/>
                <a:gd name="connsiteX9" fmla="*/ 214635 w 233912"/>
                <a:gd name="connsiteY9" fmla="*/ 113232 h 227060"/>
                <a:gd name="connsiteX10" fmla="*/ 124653 w 233912"/>
                <a:gd name="connsiteY10" fmla="*/ 203214 h 227060"/>
                <a:gd name="connsiteX11" fmla="*/ 41347 w 233912"/>
                <a:gd name="connsiteY11" fmla="*/ 222881 h 227060"/>
                <a:gd name="connsiteX12" fmla="*/ 5130 w 233912"/>
                <a:gd name="connsiteY12" fmla="*/ 210809 h 227060"/>
                <a:gd name="connsiteX13" fmla="*/ 387 w 233912"/>
                <a:gd name="connsiteY13" fmla="*/ 201321 h 227060"/>
                <a:gd name="connsiteX14" fmla="*/ 2199 w 233912"/>
                <a:gd name="connsiteY14" fmla="*/ 198390 h 227060"/>
                <a:gd name="connsiteX15" fmla="*/ 41968 w 233912"/>
                <a:gd name="connsiteY15" fmla="*/ 158621 h 227060"/>
                <a:gd name="connsiteX16" fmla="*/ 76598 w 233912"/>
                <a:gd name="connsiteY16" fmla="*/ 153002 h 227060"/>
                <a:gd name="connsiteX17" fmla="*/ 80343 w 233912"/>
                <a:gd name="connsiteY17" fmla="*/ 154874 h 227060"/>
                <a:gd name="connsiteX18" fmla="*/ 114974 w 233912"/>
                <a:gd name="connsiteY18" fmla="*/ 149255 h 227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3912" h="227060">
                  <a:moveTo>
                    <a:pt x="114974" y="149255"/>
                  </a:moveTo>
                  <a:lnTo>
                    <a:pt x="148034" y="116195"/>
                  </a:lnTo>
                  <a:cubicBezTo>
                    <a:pt x="157164" y="107063"/>
                    <a:pt x="159428" y="93114"/>
                    <a:pt x="153653" y="81564"/>
                  </a:cubicBezTo>
                  <a:lnTo>
                    <a:pt x="151781" y="77819"/>
                  </a:lnTo>
                  <a:cubicBezTo>
                    <a:pt x="146006" y="66269"/>
                    <a:pt x="148269" y="52320"/>
                    <a:pt x="157400" y="43189"/>
                  </a:cubicBezTo>
                  <a:lnTo>
                    <a:pt x="198392" y="2197"/>
                  </a:lnTo>
                  <a:cubicBezTo>
                    <a:pt x="201321" y="-732"/>
                    <a:pt x="206069" y="-732"/>
                    <a:pt x="208998" y="2197"/>
                  </a:cubicBezTo>
                  <a:cubicBezTo>
                    <a:pt x="209568" y="2767"/>
                    <a:pt x="210042" y="3425"/>
                    <a:pt x="210404" y="4146"/>
                  </a:cubicBezTo>
                  <a:lnTo>
                    <a:pt x="226962" y="37265"/>
                  </a:lnTo>
                  <a:cubicBezTo>
                    <a:pt x="239631" y="62602"/>
                    <a:pt x="234665" y="93203"/>
                    <a:pt x="214635" y="113232"/>
                  </a:cubicBezTo>
                  <a:lnTo>
                    <a:pt x="124653" y="203214"/>
                  </a:lnTo>
                  <a:cubicBezTo>
                    <a:pt x="102849" y="225018"/>
                    <a:pt x="70599" y="232631"/>
                    <a:pt x="41347" y="222881"/>
                  </a:cubicBezTo>
                  <a:lnTo>
                    <a:pt x="5130" y="210809"/>
                  </a:lnTo>
                  <a:cubicBezTo>
                    <a:pt x="1201" y="209498"/>
                    <a:pt x="-923" y="205251"/>
                    <a:pt x="387" y="201321"/>
                  </a:cubicBezTo>
                  <a:cubicBezTo>
                    <a:pt x="755" y="200217"/>
                    <a:pt x="1375" y="199214"/>
                    <a:pt x="2199" y="198390"/>
                  </a:cubicBezTo>
                  <a:lnTo>
                    <a:pt x="41968" y="158621"/>
                  </a:lnTo>
                  <a:cubicBezTo>
                    <a:pt x="51099" y="149490"/>
                    <a:pt x="65048" y="147227"/>
                    <a:pt x="76598" y="153002"/>
                  </a:cubicBezTo>
                  <a:lnTo>
                    <a:pt x="80343" y="154874"/>
                  </a:lnTo>
                  <a:cubicBezTo>
                    <a:pt x="91893" y="160649"/>
                    <a:pt x="105842" y="158385"/>
                    <a:pt x="114974" y="14925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14" name="Рисунок 238">
            <a:extLst>
              <a:ext uri="{FF2B5EF4-FFF2-40B4-BE49-F238E27FC236}">
                <a16:creationId xmlns:a16="http://schemas.microsoft.com/office/drawing/2014/main" id="{DF33E8CE-4069-F54C-BA72-77D8E654DAA3}"/>
              </a:ext>
            </a:extLst>
          </p:cNvPr>
          <p:cNvGrpSpPr/>
          <p:nvPr/>
        </p:nvGrpSpPr>
        <p:grpSpPr>
          <a:xfrm>
            <a:off x="9727430" y="5805300"/>
            <a:ext cx="360000" cy="360000"/>
            <a:chOff x="9760883" y="6124256"/>
            <a:chExt cx="360000" cy="360000"/>
          </a:xfrm>
        </p:grpSpPr>
        <p:sp>
          <p:nvSpPr>
            <p:cNvPr id="1015" name="Полилиния 1014">
              <a:extLst>
                <a:ext uri="{FF2B5EF4-FFF2-40B4-BE49-F238E27FC236}">
                  <a16:creationId xmlns:a16="http://schemas.microsoft.com/office/drawing/2014/main" id="{DB501622-D6ED-3D47-B8BF-D75F605EEE04}"/>
                </a:ext>
              </a:extLst>
            </p:cNvPr>
            <p:cNvSpPr/>
            <p:nvPr/>
          </p:nvSpPr>
          <p:spPr>
            <a:xfrm>
              <a:off x="976088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6" name="Полилиния 1015">
              <a:extLst>
                <a:ext uri="{FF2B5EF4-FFF2-40B4-BE49-F238E27FC236}">
                  <a16:creationId xmlns:a16="http://schemas.microsoft.com/office/drawing/2014/main" id="{E88DDEDF-08B0-F046-A2E6-40957000021F}"/>
                </a:ext>
              </a:extLst>
            </p:cNvPr>
            <p:cNvSpPr/>
            <p:nvPr/>
          </p:nvSpPr>
          <p:spPr>
            <a:xfrm>
              <a:off x="9884962" y="6169256"/>
              <a:ext cx="230464" cy="216688"/>
            </a:xfrm>
            <a:custGeom>
              <a:avLst/>
              <a:gdLst>
                <a:gd name="connsiteX0" fmla="*/ 2261 w 230464"/>
                <a:gd name="connsiteY0" fmla="*/ 62938 h 216688"/>
                <a:gd name="connsiteX1" fmla="*/ 264 w 230464"/>
                <a:gd name="connsiteY1" fmla="*/ 55598 h 216688"/>
                <a:gd name="connsiteX2" fmla="*/ 8563 w 230464"/>
                <a:gd name="connsiteY2" fmla="*/ 25170 h 216688"/>
                <a:gd name="connsiteX3" fmla="*/ 28573 w 230464"/>
                <a:gd name="connsiteY3" fmla="*/ 8655 h 216688"/>
                <a:gd name="connsiteX4" fmla="*/ 142913 w 230464"/>
                <a:gd name="connsiteY4" fmla="*/ 0 h 216688"/>
                <a:gd name="connsiteX5" fmla="*/ 158824 w 230464"/>
                <a:gd name="connsiteY5" fmla="*/ 15910 h 216688"/>
                <a:gd name="connsiteX6" fmla="*/ 223583 w 230464"/>
                <a:gd name="connsiteY6" fmla="*/ 89181 h 216688"/>
                <a:gd name="connsiteX7" fmla="*/ 227678 w 230464"/>
                <a:gd name="connsiteY7" fmla="*/ 120922 h 216688"/>
                <a:gd name="connsiteX8" fmla="*/ 189301 w 230464"/>
                <a:gd name="connsiteY8" fmla="*/ 203657 h 216688"/>
                <a:gd name="connsiteX9" fmla="*/ 184988 w 230464"/>
                <a:gd name="connsiteY9" fmla="*/ 209907 h 216688"/>
                <a:gd name="connsiteX10" fmla="*/ 153170 w 230464"/>
                <a:gd name="connsiteY10" fmla="*/ 210287 h 216688"/>
                <a:gd name="connsiteX11" fmla="*/ 2261 w 230464"/>
                <a:gd name="connsiteY11" fmla="*/ 62938 h 216688"/>
                <a:gd name="connsiteX12" fmla="*/ 184052 w 230464"/>
                <a:gd name="connsiteY12" fmla="*/ 93312 h 216688"/>
                <a:gd name="connsiteX13" fmla="*/ 142913 w 230464"/>
                <a:gd name="connsiteY13" fmla="*/ 38459 h 216688"/>
                <a:gd name="connsiteX14" fmla="*/ 115594 w 230464"/>
                <a:gd name="connsiteY14" fmla="*/ 34557 h 216688"/>
                <a:gd name="connsiteX15" fmla="*/ 113503 w 230464"/>
                <a:gd name="connsiteY15" fmla="*/ 36369 h 216688"/>
                <a:gd name="connsiteX16" fmla="*/ 113503 w 230464"/>
                <a:gd name="connsiteY16" fmla="*/ 68189 h 216688"/>
                <a:gd name="connsiteX17" fmla="*/ 161233 w 230464"/>
                <a:gd name="connsiteY17" fmla="*/ 115918 h 216688"/>
                <a:gd name="connsiteX18" fmla="*/ 182446 w 230464"/>
                <a:gd name="connsiteY18" fmla="*/ 115918 h 216688"/>
                <a:gd name="connsiteX19" fmla="*/ 184052 w 230464"/>
                <a:gd name="connsiteY19" fmla="*/ 93312 h 216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0464" h="216688">
                  <a:moveTo>
                    <a:pt x="2261" y="62938"/>
                  </a:moveTo>
                  <a:cubicBezTo>
                    <a:pt x="312" y="61035"/>
                    <a:pt x="-452" y="58226"/>
                    <a:pt x="264" y="55598"/>
                  </a:cubicBezTo>
                  <a:lnTo>
                    <a:pt x="8563" y="25170"/>
                  </a:lnTo>
                  <a:cubicBezTo>
                    <a:pt x="11068" y="15987"/>
                    <a:pt x="19080" y="9373"/>
                    <a:pt x="28573" y="8655"/>
                  </a:cubicBezTo>
                  <a:lnTo>
                    <a:pt x="142913" y="0"/>
                  </a:lnTo>
                  <a:lnTo>
                    <a:pt x="158824" y="15910"/>
                  </a:lnTo>
                  <a:cubicBezTo>
                    <a:pt x="174896" y="31983"/>
                    <a:pt x="196483" y="56407"/>
                    <a:pt x="223583" y="89181"/>
                  </a:cubicBezTo>
                  <a:cubicBezTo>
                    <a:pt x="230950" y="98089"/>
                    <a:pt x="232543" y="110436"/>
                    <a:pt x="227678" y="120922"/>
                  </a:cubicBezTo>
                  <a:lnTo>
                    <a:pt x="189301" y="203657"/>
                  </a:lnTo>
                  <a:cubicBezTo>
                    <a:pt x="188228" y="205970"/>
                    <a:pt x="186770" y="208083"/>
                    <a:pt x="184988" y="209907"/>
                  </a:cubicBezTo>
                  <a:cubicBezTo>
                    <a:pt x="176308" y="218798"/>
                    <a:pt x="162062" y="218969"/>
                    <a:pt x="153170" y="210287"/>
                  </a:cubicBezTo>
                  <a:lnTo>
                    <a:pt x="2261" y="62938"/>
                  </a:lnTo>
                  <a:close/>
                  <a:moveTo>
                    <a:pt x="184052" y="93312"/>
                  </a:moveTo>
                  <a:lnTo>
                    <a:pt x="142913" y="38459"/>
                  </a:lnTo>
                  <a:cubicBezTo>
                    <a:pt x="136447" y="29838"/>
                    <a:pt x="124216" y="28090"/>
                    <a:pt x="115594" y="34557"/>
                  </a:cubicBezTo>
                  <a:cubicBezTo>
                    <a:pt x="114854" y="35111"/>
                    <a:pt x="114157" y="35716"/>
                    <a:pt x="113503" y="36369"/>
                  </a:cubicBezTo>
                  <a:cubicBezTo>
                    <a:pt x="104716" y="45156"/>
                    <a:pt x="104716" y="59402"/>
                    <a:pt x="113503" y="68189"/>
                  </a:cubicBezTo>
                  <a:lnTo>
                    <a:pt x="161233" y="115918"/>
                  </a:lnTo>
                  <a:cubicBezTo>
                    <a:pt x="167090" y="121776"/>
                    <a:pt x="176588" y="121776"/>
                    <a:pt x="182446" y="115918"/>
                  </a:cubicBezTo>
                  <a:cubicBezTo>
                    <a:pt x="188533" y="109833"/>
                    <a:pt x="189217" y="100198"/>
                    <a:pt x="184052" y="93312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7" name="Полилиния 1016">
              <a:extLst>
                <a:ext uri="{FF2B5EF4-FFF2-40B4-BE49-F238E27FC236}">
                  <a16:creationId xmlns:a16="http://schemas.microsoft.com/office/drawing/2014/main" id="{8622DDD1-C48B-9341-9397-975EC77B6FC9}"/>
                </a:ext>
              </a:extLst>
            </p:cNvPr>
            <p:cNvSpPr/>
            <p:nvPr/>
          </p:nvSpPr>
          <p:spPr>
            <a:xfrm>
              <a:off x="9784882" y="6289256"/>
              <a:ext cx="163492" cy="163491"/>
            </a:xfrm>
            <a:custGeom>
              <a:avLst/>
              <a:gdLst>
                <a:gd name="connsiteX0" fmla="*/ 131651 w 163492"/>
                <a:gd name="connsiteY0" fmla="*/ 48477 h 163491"/>
                <a:gd name="connsiteX1" fmla="*/ 156602 w 163492"/>
                <a:gd name="connsiteY1" fmla="*/ 73429 h 163491"/>
                <a:gd name="connsiteX2" fmla="*/ 156602 w 163492"/>
                <a:gd name="connsiteY2" fmla="*/ 106698 h 163491"/>
                <a:gd name="connsiteX3" fmla="*/ 106698 w 163492"/>
                <a:gd name="connsiteY3" fmla="*/ 156601 h 163491"/>
                <a:gd name="connsiteX4" fmla="*/ 73429 w 163492"/>
                <a:gd name="connsiteY4" fmla="*/ 156601 h 163491"/>
                <a:gd name="connsiteX5" fmla="*/ 6890 w 163492"/>
                <a:gd name="connsiteY5" fmla="*/ 90063 h 163491"/>
                <a:gd name="connsiteX6" fmla="*/ 6890 w 163492"/>
                <a:gd name="connsiteY6" fmla="*/ 56794 h 163491"/>
                <a:gd name="connsiteX7" fmla="*/ 56794 w 163492"/>
                <a:gd name="connsiteY7" fmla="*/ 6891 h 163491"/>
                <a:gd name="connsiteX8" fmla="*/ 90064 w 163492"/>
                <a:gd name="connsiteY8" fmla="*/ 6891 h 163491"/>
                <a:gd name="connsiteX9" fmla="*/ 115016 w 163492"/>
                <a:gd name="connsiteY9" fmla="*/ 31842 h 163491"/>
                <a:gd name="connsiteX10" fmla="*/ 139968 w 163492"/>
                <a:gd name="connsiteY10" fmla="*/ 6891 h 163491"/>
                <a:gd name="connsiteX11" fmla="*/ 156602 w 163492"/>
                <a:gd name="connsiteY11" fmla="*/ 23524 h 163491"/>
                <a:gd name="connsiteX12" fmla="*/ 131651 w 163492"/>
                <a:gd name="connsiteY12" fmla="*/ 48477 h 163491"/>
                <a:gd name="connsiteX13" fmla="*/ 85905 w 163492"/>
                <a:gd name="connsiteY13" fmla="*/ 135808 h 163491"/>
                <a:gd name="connsiteX14" fmla="*/ 135809 w 163492"/>
                <a:gd name="connsiteY14" fmla="*/ 85905 h 163491"/>
                <a:gd name="connsiteX15" fmla="*/ 127491 w 163492"/>
                <a:gd name="connsiteY15" fmla="*/ 77587 h 163491"/>
                <a:gd name="connsiteX16" fmla="*/ 77588 w 163492"/>
                <a:gd name="connsiteY16" fmla="*/ 127491 h 163491"/>
                <a:gd name="connsiteX17" fmla="*/ 85905 w 163492"/>
                <a:gd name="connsiteY17" fmla="*/ 135808 h 163491"/>
                <a:gd name="connsiteX18" fmla="*/ 60953 w 163492"/>
                <a:gd name="connsiteY18" fmla="*/ 110857 h 163491"/>
                <a:gd name="connsiteX19" fmla="*/ 110857 w 163492"/>
                <a:gd name="connsiteY19" fmla="*/ 60952 h 163491"/>
                <a:gd name="connsiteX20" fmla="*/ 102540 w 163492"/>
                <a:gd name="connsiteY20" fmla="*/ 52635 h 163491"/>
                <a:gd name="connsiteX21" fmla="*/ 52636 w 163492"/>
                <a:gd name="connsiteY21" fmla="*/ 102540 h 163491"/>
                <a:gd name="connsiteX22" fmla="*/ 60953 w 163492"/>
                <a:gd name="connsiteY22" fmla="*/ 110857 h 163491"/>
                <a:gd name="connsiteX23" fmla="*/ 36001 w 163492"/>
                <a:gd name="connsiteY23" fmla="*/ 85905 h 163491"/>
                <a:gd name="connsiteX24" fmla="*/ 85905 w 163492"/>
                <a:gd name="connsiteY24" fmla="*/ 36001 h 163491"/>
                <a:gd name="connsiteX25" fmla="*/ 77588 w 163492"/>
                <a:gd name="connsiteY25" fmla="*/ 27684 h 163491"/>
                <a:gd name="connsiteX26" fmla="*/ 27684 w 163492"/>
                <a:gd name="connsiteY26" fmla="*/ 77587 h 163491"/>
                <a:gd name="connsiteX27" fmla="*/ 36001 w 163492"/>
                <a:gd name="connsiteY27" fmla="*/ 85905 h 163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3492" h="163491">
                  <a:moveTo>
                    <a:pt x="131651" y="48477"/>
                  </a:moveTo>
                  <a:lnTo>
                    <a:pt x="156602" y="73429"/>
                  </a:lnTo>
                  <a:cubicBezTo>
                    <a:pt x="165789" y="82615"/>
                    <a:pt x="165789" y="97510"/>
                    <a:pt x="156602" y="106698"/>
                  </a:cubicBezTo>
                  <a:lnTo>
                    <a:pt x="106698" y="156601"/>
                  </a:lnTo>
                  <a:cubicBezTo>
                    <a:pt x="97511" y="165789"/>
                    <a:pt x="82616" y="165789"/>
                    <a:pt x="73429" y="156601"/>
                  </a:cubicBezTo>
                  <a:lnTo>
                    <a:pt x="6890" y="90063"/>
                  </a:lnTo>
                  <a:cubicBezTo>
                    <a:pt x="-2297" y="80877"/>
                    <a:pt x="-2297" y="65982"/>
                    <a:pt x="6890" y="56794"/>
                  </a:cubicBezTo>
                  <a:lnTo>
                    <a:pt x="56794" y="6891"/>
                  </a:lnTo>
                  <a:cubicBezTo>
                    <a:pt x="65981" y="-2297"/>
                    <a:pt x="80877" y="-2297"/>
                    <a:pt x="90064" y="6891"/>
                  </a:cubicBezTo>
                  <a:lnTo>
                    <a:pt x="115016" y="31842"/>
                  </a:lnTo>
                  <a:lnTo>
                    <a:pt x="139968" y="6891"/>
                  </a:lnTo>
                  <a:lnTo>
                    <a:pt x="156602" y="23524"/>
                  </a:lnTo>
                  <a:lnTo>
                    <a:pt x="131651" y="48477"/>
                  </a:lnTo>
                  <a:close/>
                  <a:moveTo>
                    <a:pt x="85905" y="135808"/>
                  </a:moveTo>
                  <a:lnTo>
                    <a:pt x="135809" y="85905"/>
                  </a:lnTo>
                  <a:lnTo>
                    <a:pt x="127491" y="77587"/>
                  </a:lnTo>
                  <a:lnTo>
                    <a:pt x="77588" y="127491"/>
                  </a:lnTo>
                  <a:lnTo>
                    <a:pt x="85905" y="135808"/>
                  </a:lnTo>
                  <a:close/>
                  <a:moveTo>
                    <a:pt x="60953" y="110857"/>
                  </a:moveTo>
                  <a:lnTo>
                    <a:pt x="110857" y="60952"/>
                  </a:lnTo>
                  <a:lnTo>
                    <a:pt x="102540" y="52635"/>
                  </a:lnTo>
                  <a:lnTo>
                    <a:pt x="52636" y="102540"/>
                  </a:lnTo>
                  <a:lnTo>
                    <a:pt x="60953" y="110857"/>
                  </a:lnTo>
                  <a:close/>
                  <a:moveTo>
                    <a:pt x="36001" y="85905"/>
                  </a:moveTo>
                  <a:lnTo>
                    <a:pt x="85905" y="36001"/>
                  </a:lnTo>
                  <a:lnTo>
                    <a:pt x="77588" y="27684"/>
                  </a:lnTo>
                  <a:lnTo>
                    <a:pt x="27684" y="77587"/>
                  </a:lnTo>
                  <a:lnTo>
                    <a:pt x="36001" y="85905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18" name="Рисунок 239">
            <a:extLst>
              <a:ext uri="{FF2B5EF4-FFF2-40B4-BE49-F238E27FC236}">
                <a16:creationId xmlns:a16="http://schemas.microsoft.com/office/drawing/2014/main" id="{BDA2C988-E3B2-C948-8DA1-4BE41DFDD68D}"/>
              </a:ext>
            </a:extLst>
          </p:cNvPr>
          <p:cNvGrpSpPr/>
          <p:nvPr/>
        </p:nvGrpSpPr>
        <p:grpSpPr>
          <a:xfrm>
            <a:off x="10477654" y="5805300"/>
            <a:ext cx="362927" cy="360000"/>
            <a:chOff x="10511107" y="6124256"/>
            <a:chExt cx="362927" cy="360000"/>
          </a:xfrm>
        </p:grpSpPr>
        <p:sp>
          <p:nvSpPr>
            <p:cNvPr id="1019" name="Полилиния 1018">
              <a:extLst>
                <a:ext uri="{FF2B5EF4-FFF2-40B4-BE49-F238E27FC236}">
                  <a16:creationId xmlns:a16="http://schemas.microsoft.com/office/drawing/2014/main" id="{CD5B6DF7-C571-E34A-B627-4390DD22671C}"/>
                </a:ext>
              </a:extLst>
            </p:cNvPr>
            <p:cNvSpPr/>
            <p:nvPr/>
          </p:nvSpPr>
          <p:spPr>
            <a:xfrm>
              <a:off x="1051403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0" name="Полилиния 1019">
              <a:extLst>
                <a:ext uri="{FF2B5EF4-FFF2-40B4-BE49-F238E27FC236}">
                  <a16:creationId xmlns:a16="http://schemas.microsoft.com/office/drawing/2014/main" id="{1A7F57D4-AE5C-C342-8960-C18EA61894B0}"/>
                </a:ext>
              </a:extLst>
            </p:cNvPr>
            <p:cNvSpPr/>
            <p:nvPr/>
          </p:nvSpPr>
          <p:spPr>
            <a:xfrm rot="900000">
              <a:off x="10529034" y="6214255"/>
              <a:ext cx="315000" cy="180000"/>
            </a:xfrm>
            <a:custGeom>
              <a:avLst/>
              <a:gdLst>
                <a:gd name="connsiteX0" fmla="*/ 15000 w 315000"/>
                <a:gd name="connsiteY0" fmla="*/ 0 h 180000"/>
                <a:gd name="connsiteX1" fmla="*/ 300000 w 315000"/>
                <a:gd name="connsiteY1" fmla="*/ 0 h 180000"/>
                <a:gd name="connsiteX2" fmla="*/ 315000 w 315000"/>
                <a:gd name="connsiteY2" fmla="*/ 15000 h 180000"/>
                <a:gd name="connsiteX3" fmla="*/ 315000 w 315000"/>
                <a:gd name="connsiteY3" fmla="*/ 165000 h 180000"/>
                <a:gd name="connsiteX4" fmla="*/ 300000 w 315000"/>
                <a:gd name="connsiteY4" fmla="*/ 180000 h 180000"/>
                <a:gd name="connsiteX5" fmla="*/ 15000 w 315000"/>
                <a:gd name="connsiteY5" fmla="*/ 180000 h 180000"/>
                <a:gd name="connsiteX6" fmla="*/ 0 w 315000"/>
                <a:gd name="connsiteY6" fmla="*/ 165000 h 180000"/>
                <a:gd name="connsiteX7" fmla="*/ 0 w 315000"/>
                <a:gd name="connsiteY7" fmla="*/ 15000 h 180000"/>
                <a:gd name="connsiteX8" fmla="*/ 15000 w 315000"/>
                <a:gd name="connsiteY8" fmla="*/ 0 h 180000"/>
                <a:gd name="connsiteX9" fmla="*/ 157500 w 315000"/>
                <a:gd name="connsiteY9" fmla="*/ 150000 h 180000"/>
                <a:gd name="connsiteX10" fmla="*/ 217500 w 315000"/>
                <a:gd name="connsiteY10" fmla="*/ 90000 h 180000"/>
                <a:gd name="connsiteX11" fmla="*/ 157500 w 315000"/>
                <a:gd name="connsiteY11" fmla="*/ 30000 h 180000"/>
                <a:gd name="connsiteX12" fmla="*/ 97500 w 315000"/>
                <a:gd name="connsiteY12" fmla="*/ 90000 h 180000"/>
                <a:gd name="connsiteX13" fmla="*/ 157500 w 315000"/>
                <a:gd name="connsiteY13" fmla="*/ 15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5000" h="180000">
                  <a:moveTo>
                    <a:pt x="15000" y="0"/>
                  </a:moveTo>
                  <a:lnTo>
                    <a:pt x="300000" y="0"/>
                  </a:lnTo>
                  <a:cubicBezTo>
                    <a:pt x="308285" y="0"/>
                    <a:pt x="315000" y="6716"/>
                    <a:pt x="315000" y="15000"/>
                  </a:cubicBezTo>
                  <a:lnTo>
                    <a:pt x="315000" y="165000"/>
                  </a:lnTo>
                  <a:cubicBezTo>
                    <a:pt x="315000" y="173285"/>
                    <a:pt x="308285" y="180000"/>
                    <a:pt x="300000" y="180000"/>
                  </a:cubicBezTo>
                  <a:lnTo>
                    <a:pt x="15000" y="180000"/>
                  </a:lnTo>
                  <a:cubicBezTo>
                    <a:pt x="6716" y="180000"/>
                    <a:pt x="0" y="173285"/>
                    <a:pt x="0" y="16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7500" y="150000"/>
                  </a:moveTo>
                  <a:cubicBezTo>
                    <a:pt x="190637" y="150000"/>
                    <a:pt x="217500" y="123137"/>
                    <a:pt x="217500" y="90000"/>
                  </a:cubicBezTo>
                  <a:cubicBezTo>
                    <a:pt x="217500" y="56863"/>
                    <a:pt x="190637" y="30000"/>
                    <a:pt x="157500" y="30000"/>
                  </a:cubicBezTo>
                  <a:cubicBezTo>
                    <a:pt x="124363" y="30000"/>
                    <a:pt x="97500" y="56863"/>
                    <a:pt x="97500" y="90000"/>
                  </a:cubicBezTo>
                  <a:cubicBezTo>
                    <a:pt x="97500" y="123137"/>
                    <a:pt x="124363" y="150000"/>
                    <a:pt x="157500" y="150000"/>
                  </a:cubicBez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1" name="Полилиния 1020">
              <a:extLst>
                <a:ext uri="{FF2B5EF4-FFF2-40B4-BE49-F238E27FC236}">
                  <a16:creationId xmlns:a16="http://schemas.microsoft.com/office/drawing/2014/main" id="{D39D305B-2726-424D-9976-02B0E66442ED}"/>
                </a:ext>
              </a:extLst>
            </p:cNvPr>
            <p:cNvSpPr/>
            <p:nvPr/>
          </p:nvSpPr>
          <p:spPr>
            <a:xfrm>
              <a:off x="10529035" y="6214256"/>
              <a:ext cx="315000" cy="180000"/>
            </a:xfrm>
            <a:custGeom>
              <a:avLst/>
              <a:gdLst>
                <a:gd name="connsiteX0" fmla="*/ 15000 w 315000"/>
                <a:gd name="connsiteY0" fmla="*/ 0 h 180000"/>
                <a:gd name="connsiteX1" fmla="*/ 300000 w 315000"/>
                <a:gd name="connsiteY1" fmla="*/ 0 h 180000"/>
                <a:gd name="connsiteX2" fmla="*/ 315000 w 315000"/>
                <a:gd name="connsiteY2" fmla="*/ 15000 h 180000"/>
                <a:gd name="connsiteX3" fmla="*/ 315000 w 315000"/>
                <a:gd name="connsiteY3" fmla="*/ 165000 h 180000"/>
                <a:gd name="connsiteX4" fmla="*/ 300000 w 315000"/>
                <a:gd name="connsiteY4" fmla="*/ 180000 h 180000"/>
                <a:gd name="connsiteX5" fmla="*/ 15000 w 315000"/>
                <a:gd name="connsiteY5" fmla="*/ 180000 h 180000"/>
                <a:gd name="connsiteX6" fmla="*/ 0 w 315000"/>
                <a:gd name="connsiteY6" fmla="*/ 165000 h 180000"/>
                <a:gd name="connsiteX7" fmla="*/ 0 w 315000"/>
                <a:gd name="connsiteY7" fmla="*/ 15000 h 180000"/>
                <a:gd name="connsiteX8" fmla="*/ 15000 w 315000"/>
                <a:gd name="connsiteY8" fmla="*/ 0 h 180000"/>
                <a:gd name="connsiteX9" fmla="*/ 157500 w 315000"/>
                <a:gd name="connsiteY9" fmla="*/ 150000 h 180000"/>
                <a:gd name="connsiteX10" fmla="*/ 217500 w 315000"/>
                <a:gd name="connsiteY10" fmla="*/ 90000 h 180000"/>
                <a:gd name="connsiteX11" fmla="*/ 157500 w 315000"/>
                <a:gd name="connsiteY11" fmla="*/ 30000 h 180000"/>
                <a:gd name="connsiteX12" fmla="*/ 97500 w 315000"/>
                <a:gd name="connsiteY12" fmla="*/ 90000 h 180000"/>
                <a:gd name="connsiteX13" fmla="*/ 157500 w 315000"/>
                <a:gd name="connsiteY13" fmla="*/ 150000 h 180000"/>
                <a:gd name="connsiteX14" fmla="*/ 157500 w 315000"/>
                <a:gd name="connsiteY14" fmla="*/ 120000 h 180000"/>
                <a:gd name="connsiteX15" fmla="*/ 187500 w 315000"/>
                <a:gd name="connsiteY15" fmla="*/ 90000 h 180000"/>
                <a:gd name="connsiteX16" fmla="*/ 157500 w 315000"/>
                <a:gd name="connsiteY16" fmla="*/ 60000 h 180000"/>
                <a:gd name="connsiteX17" fmla="*/ 127500 w 315000"/>
                <a:gd name="connsiteY17" fmla="*/ 90000 h 180000"/>
                <a:gd name="connsiteX18" fmla="*/ 157500 w 315000"/>
                <a:gd name="connsiteY18" fmla="*/ 12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15000" h="180000">
                  <a:moveTo>
                    <a:pt x="15000" y="0"/>
                  </a:moveTo>
                  <a:lnTo>
                    <a:pt x="300000" y="0"/>
                  </a:lnTo>
                  <a:cubicBezTo>
                    <a:pt x="308285" y="0"/>
                    <a:pt x="315000" y="6716"/>
                    <a:pt x="315000" y="15000"/>
                  </a:cubicBezTo>
                  <a:lnTo>
                    <a:pt x="315000" y="165000"/>
                  </a:lnTo>
                  <a:cubicBezTo>
                    <a:pt x="315000" y="173285"/>
                    <a:pt x="308285" y="180000"/>
                    <a:pt x="300000" y="180000"/>
                  </a:cubicBezTo>
                  <a:lnTo>
                    <a:pt x="15000" y="180000"/>
                  </a:lnTo>
                  <a:cubicBezTo>
                    <a:pt x="6716" y="180000"/>
                    <a:pt x="0" y="173285"/>
                    <a:pt x="0" y="16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57500" y="150000"/>
                  </a:moveTo>
                  <a:cubicBezTo>
                    <a:pt x="190637" y="150000"/>
                    <a:pt x="217500" y="123137"/>
                    <a:pt x="217500" y="90000"/>
                  </a:cubicBezTo>
                  <a:cubicBezTo>
                    <a:pt x="217500" y="56863"/>
                    <a:pt x="190637" y="30000"/>
                    <a:pt x="157500" y="30000"/>
                  </a:cubicBezTo>
                  <a:cubicBezTo>
                    <a:pt x="124363" y="30000"/>
                    <a:pt x="97500" y="56863"/>
                    <a:pt x="97500" y="90000"/>
                  </a:cubicBezTo>
                  <a:cubicBezTo>
                    <a:pt x="97500" y="123137"/>
                    <a:pt x="124363" y="150000"/>
                    <a:pt x="157500" y="150000"/>
                  </a:cubicBezTo>
                  <a:close/>
                  <a:moveTo>
                    <a:pt x="157500" y="120000"/>
                  </a:moveTo>
                  <a:cubicBezTo>
                    <a:pt x="174069" y="120000"/>
                    <a:pt x="187500" y="106569"/>
                    <a:pt x="187500" y="90000"/>
                  </a:cubicBezTo>
                  <a:cubicBezTo>
                    <a:pt x="187500" y="73431"/>
                    <a:pt x="174069" y="60000"/>
                    <a:pt x="157500" y="60000"/>
                  </a:cubicBezTo>
                  <a:cubicBezTo>
                    <a:pt x="140931" y="60000"/>
                    <a:pt x="127500" y="73431"/>
                    <a:pt x="127500" y="90000"/>
                  </a:cubicBezTo>
                  <a:cubicBezTo>
                    <a:pt x="127500" y="106569"/>
                    <a:pt x="140931" y="120000"/>
                    <a:pt x="1575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22" name="Рисунок 240">
            <a:extLst>
              <a:ext uri="{FF2B5EF4-FFF2-40B4-BE49-F238E27FC236}">
                <a16:creationId xmlns:a16="http://schemas.microsoft.com/office/drawing/2014/main" id="{48E9B189-2337-D240-9408-208B32AB5980}"/>
              </a:ext>
            </a:extLst>
          </p:cNvPr>
          <p:cNvGrpSpPr/>
          <p:nvPr/>
        </p:nvGrpSpPr>
        <p:grpSpPr>
          <a:xfrm>
            <a:off x="11233735" y="5805300"/>
            <a:ext cx="360000" cy="360000"/>
            <a:chOff x="11267188" y="6124256"/>
            <a:chExt cx="360000" cy="360000"/>
          </a:xfrm>
        </p:grpSpPr>
        <p:sp>
          <p:nvSpPr>
            <p:cNvPr id="1023" name="Полилиния 1022">
              <a:extLst>
                <a:ext uri="{FF2B5EF4-FFF2-40B4-BE49-F238E27FC236}">
                  <a16:creationId xmlns:a16="http://schemas.microsoft.com/office/drawing/2014/main" id="{6AD9322F-7CC7-BC41-B431-CAD8439A9EED}"/>
                </a:ext>
              </a:extLst>
            </p:cNvPr>
            <p:cNvSpPr/>
            <p:nvPr/>
          </p:nvSpPr>
          <p:spPr>
            <a:xfrm>
              <a:off x="11267188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4" name="Полилиния 1023">
              <a:extLst>
                <a:ext uri="{FF2B5EF4-FFF2-40B4-BE49-F238E27FC236}">
                  <a16:creationId xmlns:a16="http://schemas.microsoft.com/office/drawing/2014/main" id="{008BBD7A-908A-DD40-AA52-BA2378A05213}"/>
                </a:ext>
              </a:extLst>
            </p:cNvPr>
            <p:cNvSpPr/>
            <p:nvPr/>
          </p:nvSpPr>
          <p:spPr>
            <a:xfrm>
              <a:off x="11327188" y="6184256"/>
              <a:ext cx="223948" cy="240000"/>
            </a:xfrm>
            <a:custGeom>
              <a:avLst/>
              <a:gdLst>
                <a:gd name="connsiteX0" fmla="*/ 121052 w 223948"/>
                <a:gd name="connsiteY0" fmla="*/ 4 h 240000"/>
                <a:gd name="connsiteX1" fmla="*/ 105000 w 223948"/>
                <a:gd name="connsiteY1" fmla="*/ 60000 h 240000"/>
                <a:gd name="connsiteX2" fmla="*/ 223948 w 223948"/>
                <a:gd name="connsiteY2" fmla="*/ 179996 h 240000"/>
                <a:gd name="connsiteX3" fmla="*/ 120000 w 223948"/>
                <a:gd name="connsiteY3" fmla="*/ 240000 h 240000"/>
                <a:gd name="connsiteX4" fmla="*/ 0 w 223948"/>
                <a:gd name="connsiteY4" fmla="*/ 120000 h 240000"/>
                <a:gd name="connsiteX5" fmla="*/ 120000 w 223948"/>
                <a:gd name="connsiteY5" fmla="*/ 0 h 240000"/>
                <a:gd name="connsiteX6" fmla="*/ 121052 w 223948"/>
                <a:gd name="connsiteY6" fmla="*/ 4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948" h="240000">
                  <a:moveTo>
                    <a:pt x="121052" y="4"/>
                  </a:moveTo>
                  <a:cubicBezTo>
                    <a:pt x="110842" y="17654"/>
                    <a:pt x="105000" y="38145"/>
                    <a:pt x="105000" y="60000"/>
                  </a:cubicBezTo>
                  <a:cubicBezTo>
                    <a:pt x="105000" y="125924"/>
                    <a:pt x="158159" y="179432"/>
                    <a:pt x="223948" y="179996"/>
                  </a:cubicBezTo>
                  <a:cubicBezTo>
                    <a:pt x="203201" y="215867"/>
                    <a:pt x="164420" y="240000"/>
                    <a:pt x="120000" y="240000"/>
                  </a:cubicBezTo>
                  <a:cubicBezTo>
                    <a:pt x="53726" y="240000"/>
                    <a:pt x="0" y="186275"/>
                    <a:pt x="0" y="120000"/>
                  </a:cubicBezTo>
                  <a:cubicBezTo>
                    <a:pt x="0" y="53726"/>
                    <a:pt x="53726" y="0"/>
                    <a:pt x="120000" y="0"/>
                  </a:cubicBezTo>
                  <a:cubicBezTo>
                    <a:pt x="120351" y="0"/>
                    <a:pt x="120700" y="2"/>
                    <a:pt x="121052" y="4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25" name="Рисунок 241">
            <a:extLst>
              <a:ext uri="{FF2B5EF4-FFF2-40B4-BE49-F238E27FC236}">
                <a16:creationId xmlns:a16="http://schemas.microsoft.com/office/drawing/2014/main" id="{8DDE5951-BD8C-9E49-AE67-375FC5EC4FF9}"/>
              </a:ext>
            </a:extLst>
          </p:cNvPr>
          <p:cNvGrpSpPr/>
          <p:nvPr/>
        </p:nvGrpSpPr>
        <p:grpSpPr>
          <a:xfrm>
            <a:off x="689606" y="5805300"/>
            <a:ext cx="360000" cy="360000"/>
            <a:chOff x="723059" y="6124256"/>
            <a:chExt cx="360000" cy="360000"/>
          </a:xfrm>
        </p:grpSpPr>
        <p:sp>
          <p:nvSpPr>
            <p:cNvPr id="1026" name="Полилиния 1025">
              <a:extLst>
                <a:ext uri="{FF2B5EF4-FFF2-40B4-BE49-F238E27FC236}">
                  <a16:creationId xmlns:a16="http://schemas.microsoft.com/office/drawing/2014/main" id="{6F8B0A97-C178-C642-89A2-58A976954A80}"/>
                </a:ext>
              </a:extLst>
            </p:cNvPr>
            <p:cNvSpPr/>
            <p:nvPr/>
          </p:nvSpPr>
          <p:spPr>
            <a:xfrm>
              <a:off x="72305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7" name="Скругленный прямоугольник 1026">
              <a:extLst>
                <a:ext uri="{FF2B5EF4-FFF2-40B4-BE49-F238E27FC236}">
                  <a16:creationId xmlns:a16="http://schemas.microsoft.com/office/drawing/2014/main" id="{64FD1459-0BEE-E042-8FFF-9997F5D10F2C}"/>
                </a:ext>
              </a:extLst>
            </p:cNvPr>
            <p:cNvSpPr/>
            <p:nvPr/>
          </p:nvSpPr>
          <p:spPr>
            <a:xfrm>
              <a:off x="813059" y="6199256"/>
              <a:ext cx="180000" cy="27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8" name="Полилиния 1027">
              <a:extLst>
                <a:ext uri="{FF2B5EF4-FFF2-40B4-BE49-F238E27FC236}">
                  <a16:creationId xmlns:a16="http://schemas.microsoft.com/office/drawing/2014/main" id="{43EBA0A8-24D2-774E-90D5-5C0A21CFA956}"/>
                </a:ext>
              </a:extLst>
            </p:cNvPr>
            <p:cNvSpPr/>
            <p:nvPr/>
          </p:nvSpPr>
          <p:spPr>
            <a:xfrm>
              <a:off x="888059" y="6154256"/>
              <a:ext cx="30000" cy="45000"/>
            </a:xfrm>
            <a:custGeom>
              <a:avLst/>
              <a:gdLst>
                <a:gd name="connsiteX0" fmla="*/ 7500 w 30000"/>
                <a:gd name="connsiteY0" fmla="*/ 0 h 45000"/>
                <a:gd name="connsiteX1" fmla="*/ 22500 w 30000"/>
                <a:gd name="connsiteY1" fmla="*/ 0 h 45000"/>
                <a:gd name="connsiteX2" fmla="*/ 30000 w 30000"/>
                <a:gd name="connsiteY2" fmla="*/ 7500 h 45000"/>
                <a:gd name="connsiteX3" fmla="*/ 30000 w 30000"/>
                <a:gd name="connsiteY3" fmla="*/ 45000 h 45000"/>
                <a:gd name="connsiteX4" fmla="*/ 0 w 30000"/>
                <a:gd name="connsiteY4" fmla="*/ 45000 h 45000"/>
                <a:gd name="connsiteX5" fmla="*/ 0 w 30000"/>
                <a:gd name="connsiteY5" fmla="*/ 7500 h 45000"/>
                <a:gd name="connsiteX6" fmla="*/ 7500 w 30000"/>
                <a:gd name="connsiteY6" fmla="*/ 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00" h="45000">
                  <a:moveTo>
                    <a:pt x="7500" y="0"/>
                  </a:moveTo>
                  <a:lnTo>
                    <a:pt x="22500" y="0"/>
                  </a:lnTo>
                  <a:cubicBezTo>
                    <a:pt x="26642" y="0"/>
                    <a:pt x="30000" y="3358"/>
                    <a:pt x="30000" y="7500"/>
                  </a:cubicBezTo>
                  <a:lnTo>
                    <a:pt x="30000" y="45000"/>
                  </a:lnTo>
                  <a:lnTo>
                    <a:pt x="0" y="45000"/>
                  </a:lnTo>
                  <a:lnTo>
                    <a:pt x="0" y="7500"/>
                  </a:lnTo>
                  <a:cubicBezTo>
                    <a:pt x="0" y="3358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9" name="Полилиния 1028">
              <a:extLst>
                <a:ext uri="{FF2B5EF4-FFF2-40B4-BE49-F238E27FC236}">
                  <a16:creationId xmlns:a16="http://schemas.microsoft.com/office/drawing/2014/main" id="{958C82D1-5C5F-1B42-8223-41ABABF8A9FB}"/>
                </a:ext>
              </a:extLst>
            </p:cNvPr>
            <p:cNvSpPr/>
            <p:nvPr/>
          </p:nvSpPr>
          <p:spPr>
            <a:xfrm>
              <a:off x="888059" y="6364256"/>
              <a:ext cx="30000" cy="75000"/>
            </a:xfrm>
            <a:custGeom>
              <a:avLst/>
              <a:gdLst>
                <a:gd name="connsiteX0" fmla="*/ 15000 w 30000"/>
                <a:gd name="connsiteY0" fmla="*/ 0 h 75000"/>
                <a:gd name="connsiteX1" fmla="*/ 30000 w 30000"/>
                <a:gd name="connsiteY1" fmla="*/ 0 h 75000"/>
                <a:gd name="connsiteX2" fmla="*/ 30000 w 30000"/>
                <a:gd name="connsiteY2" fmla="*/ 75000 h 75000"/>
                <a:gd name="connsiteX3" fmla="*/ 15000 w 30000"/>
                <a:gd name="connsiteY3" fmla="*/ 75000 h 75000"/>
                <a:gd name="connsiteX4" fmla="*/ 15000 w 30000"/>
                <a:gd name="connsiteY4" fmla="*/ 75000 h 75000"/>
                <a:gd name="connsiteX5" fmla="*/ 0 w 30000"/>
                <a:gd name="connsiteY5" fmla="*/ 75000 h 75000"/>
                <a:gd name="connsiteX6" fmla="*/ 0 w 30000"/>
                <a:gd name="connsiteY6" fmla="*/ 0 h 75000"/>
                <a:gd name="connsiteX7" fmla="*/ 15000 w 30000"/>
                <a:gd name="connsiteY7" fmla="*/ 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75000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75000"/>
                  </a:lnTo>
                  <a:cubicBezTo>
                    <a:pt x="30000" y="75000"/>
                    <a:pt x="23284" y="75000"/>
                    <a:pt x="15000" y="75000"/>
                  </a:cubicBezTo>
                  <a:lnTo>
                    <a:pt x="15000" y="75000"/>
                  </a:lnTo>
                  <a:cubicBezTo>
                    <a:pt x="6716" y="75000"/>
                    <a:pt x="0" y="75000"/>
                    <a:pt x="0" y="75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34" name="Номер слайда 1">
            <a:extLst>
              <a:ext uri="{FF2B5EF4-FFF2-40B4-BE49-F238E27FC236}">
                <a16:creationId xmlns:a16="http://schemas.microsoft.com/office/drawing/2014/main" id="{9E8B39D4-9FC8-4E47-B93C-DEA3B5000B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19694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литые иконки</a:t>
            </a:r>
          </a:p>
        </p:txBody>
      </p:sp>
      <p:grpSp>
        <p:nvGrpSpPr>
          <p:cNvPr id="534" name="Рисунок 242">
            <a:extLst>
              <a:ext uri="{FF2B5EF4-FFF2-40B4-BE49-F238E27FC236}">
                <a16:creationId xmlns:a16="http://schemas.microsoft.com/office/drawing/2014/main" id="{3894035B-52D6-EB40-A276-3304A48D38B8}"/>
              </a:ext>
            </a:extLst>
          </p:cNvPr>
          <p:cNvGrpSpPr/>
          <p:nvPr/>
        </p:nvGrpSpPr>
        <p:grpSpPr>
          <a:xfrm>
            <a:off x="11233735" y="5134477"/>
            <a:ext cx="360000" cy="360000"/>
            <a:chOff x="11267188" y="5451199"/>
            <a:chExt cx="360000" cy="360000"/>
          </a:xfrm>
        </p:grpSpPr>
        <p:sp>
          <p:nvSpPr>
            <p:cNvPr id="535" name="Полилиния 534">
              <a:extLst>
                <a:ext uri="{FF2B5EF4-FFF2-40B4-BE49-F238E27FC236}">
                  <a16:creationId xmlns:a16="http://schemas.microsoft.com/office/drawing/2014/main" id="{1C28695D-0E04-8E4D-BB9C-A6E3031C456F}"/>
                </a:ext>
              </a:extLst>
            </p:cNvPr>
            <p:cNvSpPr/>
            <p:nvPr/>
          </p:nvSpPr>
          <p:spPr>
            <a:xfrm>
              <a:off x="11267188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6" name="Полилиния 535">
              <a:extLst>
                <a:ext uri="{FF2B5EF4-FFF2-40B4-BE49-F238E27FC236}">
                  <a16:creationId xmlns:a16="http://schemas.microsoft.com/office/drawing/2014/main" id="{45745CB2-DACE-4548-883D-B219E5456411}"/>
                </a:ext>
              </a:extLst>
            </p:cNvPr>
            <p:cNvSpPr/>
            <p:nvPr/>
          </p:nvSpPr>
          <p:spPr>
            <a:xfrm>
              <a:off x="11387188" y="5721199"/>
              <a:ext cx="108381" cy="45000"/>
            </a:xfrm>
            <a:custGeom>
              <a:avLst/>
              <a:gdLst>
                <a:gd name="connsiteX0" fmla="*/ 9189 w 108381"/>
                <a:gd name="connsiteY0" fmla="*/ 0 h 45000"/>
                <a:gd name="connsiteX1" fmla="*/ 99189 w 108381"/>
                <a:gd name="connsiteY1" fmla="*/ 0 h 45000"/>
                <a:gd name="connsiteX2" fmla="*/ 107607 w 108381"/>
                <a:gd name="connsiteY2" fmla="*/ 25257 h 45000"/>
                <a:gd name="connsiteX3" fmla="*/ 98121 w 108381"/>
                <a:gd name="connsiteY3" fmla="*/ 44231 h 45000"/>
                <a:gd name="connsiteX4" fmla="*/ 93376 w 108381"/>
                <a:gd name="connsiteY4" fmla="*/ 45000 h 45000"/>
                <a:gd name="connsiteX5" fmla="*/ 15000 w 108381"/>
                <a:gd name="connsiteY5" fmla="*/ 45000 h 45000"/>
                <a:gd name="connsiteX6" fmla="*/ 0 w 108381"/>
                <a:gd name="connsiteY6" fmla="*/ 30000 h 45000"/>
                <a:gd name="connsiteX7" fmla="*/ 770 w 108381"/>
                <a:gd name="connsiteY7" fmla="*/ 25257 h 45000"/>
                <a:gd name="connsiteX8" fmla="*/ 9189 w 108381"/>
                <a:gd name="connsiteY8" fmla="*/ 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381" h="45000">
                  <a:moveTo>
                    <a:pt x="9189" y="0"/>
                  </a:moveTo>
                  <a:lnTo>
                    <a:pt x="99189" y="0"/>
                  </a:lnTo>
                  <a:lnTo>
                    <a:pt x="107607" y="25257"/>
                  </a:lnTo>
                  <a:cubicBezTo>
                    <a:pt x="110228" y="33116"/>
                    <a:pt x="105980" y="41610"/>
                    <a:pt x="98121" y="44231"/>
                  </a:cubicBezTo>
                  <a:cubicBezTo>
                    <a:pt x="96591" y="44741"/>
                    <a:pt x="94989" y="45000"/>
                    <a:pt x="93376" y="45000"/>
                  </a:cubicBezTo>
                  <a:lnTo>
                    <a:pt x="15000" y="45000"/>
                  </a:lnTo>
                  <a:cubicBezTo>
                    <a:pt x="6716" y="45000"/>
                    <a:pt x="0" y="38284"/>
                    <a:pt x="0" y="30000"/>
                  </a:cubicBezTo>
                  <a:cubicBezTo>
                    <a:pt x="0" y="28387"/>
                    <a:pt x="260" y="26785"/>
                    <a:pt x="770" y="25257"/>
                  </a:cubicBezTo>
                  <a:lnTo>
                    <a:pt x="9189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537" name="Полилиния 536">
              <a:extLst>
                <a:ext uri="{FF2B5EF4-FFF2-40B4-BE49-F238E27FC236}">
                  <a16:creationId xmlns:a16="http://schemas.microsoft.com/office/drawing/2014/main" id="{87EEF592-9630-DB4F-AC56-C28FD46AC1F7}"/>
                </a:ext>
              </a:extLst>
            </p:cNvPr>
            <p:cNvSpPr/>
            <p:nvPr/>
          </p:nvSpPr>
          <p:spPr>
            <a:xfrm>
              <a:off x="11282188" y="5556199"/>
              <a:ext cx="330000" cy="180000"/>
            </a:xfrm>
            <a:custGeom>
              <a:avLst/>
              <a:gdLst>
                <a:gd name="connsiteX0" fmla="*/ 300000 w 330000"/>
                <a:gd name="connsiteY0" fmla="*/ 30000 h 180000"/>
                <a:gd name="connsiteX1" fmla="*/ 300000 w 330000"/>
                <a:gd name="connsiteY1" fmla="*/ 45000 h 180000"/>
                <a:gd name="connsiteX2" fmla="*/ 165000 w 330000"/>
                <a:gd name="connsiteY2" fmla="*/ 180000 h 180000"/>
                <a:gd name="connsiteX3" fmla="*/ 30000 w 330000"/>
                <a:gd name="connsiteY3" fmla="*/ 45000 h 180000"/>
                <a:gd name="connsiteX4" fmla="*/ 30000 w 330000"/>
                <a:gd name="connsiteY4" fmla="*/ 30000 h 180000"/>
                <a:gd name="connsiteX5" fmla="*/ 15000 w 330000"/>
                <a:gd name="connsiteY5" fmla="*/ 30000 h 180000"/>
                <a:gd name="connsiteX6" fmla="*/ 0 w 330000"/>
                <a:gd name="connsiteY6" fmla="*/ 15000 h 180000"/>
                <a:gd name="connsiteX7" fmla="*/ 15000 w 330000"/>
                <a:gd name="connsiteY7" fmla="*/ 0 h 180000"/>
                <a:gd name="connsiteX8" fmla="*/ 315000 w 330000"/>
                <a:gd name="connsiteY8" fmla="*/ 0 h 180000"/>
                <a:gd name="connsiteX9" fmla="*/ 330000 w 330000"/>
                <a:gd name="connsiteY9" fmla="*/ 15000 h 180000"/>
                <a:gd name="connsiteX10" fmla="*/ 315000 w 330000"/>
                <a:gd name="connsiteY10" fmla="*/ 30000 h 180000"/>
                <a:gd name="connsiteX11" fmla="*/ 300000 w 330000"/>
                <a:gd name="connsiteY11" fmla="*/ 30000 h 180000"/>
                <a:gd name="connsiteX12" fmla="*/ 75000 w 330000"/>
                <a:gd name="connsiteY12" fmla="*/ 60000 h 180000"/>
                <a:gd name="connsiteX13" fmla="*/ 90000 w 330000"/>
                <a:gd name="connsiteY13" fmla="*/ 45000 h 180000"/>
                <a:gd name="connsiteX14" fmla="*/ 75000 w 330000"/>
                <a:gd name="connsiteY14" fmla="*/ 30000 h 180000"/>
                <a:gd name="connsiteX15" fmla="*/ 60000 w 330000"/>
                <a:gd name="connsiteY15" fmla="*/ 45000 h 180000"/>
                <a:gd name="connsiteX16" fmla="*/ 75000 w 330000"/>
                <a:gd name="connsiteY16" fmla="*/ 60000 h 180000"/>
                <a:gd name="connsiteX17" fmla="*/ 105000 w 330000"/>
                <a:gd name="connsiteY17" fmla="*/ 105000 h 180000"/>
                <a:gd name="connsiteX18" fmla="*/ 120000 w 330000"/>
                <a:gd name="connsiteY18" fmla="*/ 90000 h 180000"/>
                <a:gd name="connsiteX19" fmla="*/ 105000 w 330000"/>
                <a:gd name="connsiteY19" fmla="*/ 75000 h 180000"/>
                <a:gd name="connsiteX20" fmla="*/ 90000 w 330000"/>
                <a:gd name="connsiteY20" fmla="*/ 90000 h 180000"/>
                <a:gd name="connsiteX21" fmla="*/ 105000 w 330000"/>
                <a:gd name="connsiteY21" fmla="*/ 105000 h 180000"/>
                <a:gd name="connsiteX22" fmla="*/ 135000 w 330000"/>
                <a:gd name="connsiteY22" fmla="*/ 150000 h 180000"/>
                <a:gd name="connsiteX23" fmla="*/ 150000 w 330000"/>
                <a:gd name="connsiteY23" fmla="*/ 135000 h 180000"/>
                <a:gd name="connsiteX24" fmla="*/ 135000 w 330000"/>
                <a:gd name="connsiteY24" fmla="*/ 120000 h 180000"/>
                <a:gd name="connsiteX25" fmla="*/ 120000 w 330000"/>
                <a:gd name="connsiteY25" fmla="*/ 135000 h 180000"/>
                <a:gd name="connsiteX26" fmla="*/ 135000 w 330000"/>
                <a:gd name="connsiteY26" fmla="*/ 150000 h 180000"/>
                <a:gd name="connsiteX27" fmla="*/ 195000 w 330000"/>
                <a:gd name="connsiteY27" fmla="*/ 150000 h 180000"/>
                <a:gd name="connsiteX28" fmla="*/ 210000 w 330000"/>
                <a:gd name="connsiteY28" fmla="*/ 135000 h 180000"/>
                <a:gd name="connsiteX29" fmla="*/ 195000 w 330000"/>
                <a:gd name="connsiteY29" fmla="*/ 120000 h 180000"/>
                <a:gd name="connsiteX30" fmla="*/ 180000 w 330000"/>
                <a:gd name="connsiteY30" fmla="*/ 135000 h 180000"/>
                <a:gd name="connsiteX31" fmla="*/ 195000 w 330000"/>
                <a:gd name="connsiteY31" fmla="*/ 150000 h 180000"/>
                <a:gd name="connsiteX32" fmla="*/ 165000 w 330000"/>
                <a:gd name="connsiteY32" fmla="*/ 105000 h 180000"/>
                <a:gd name="connsiteX33" fmla="*/ 180000 w 330000"/>
                <a:gd name="connsiteY33" fmla="*/ 90000 h 180000"/>
                <a:gd name="connsiteX34" fmla="*/ 165000 w 330000"/>
                <a:gd name="connsiteY34" fmla="*/ 75000 h 180000"/>
                <a:gd name="connsiteX35" fmla="*/ 150000 w 330000"/>
                <a:gd name="connsiteY35" fmla="*/ 90000 h 180000"/>
                <a:gd name="connsiteX36" fmla="*/ 165000 w 330000"/>
                <a:gd name="connsiteY36" fmla="*/ 105000 h 180000"/>
                <a:gd name="connsiteX37" fmla="*/ 225000 w 330000"/>
                <a:gd name="connsiteY37" fmla="*/ 105000 h 180000"/>
                <a:gd name="connsiteX38" fmla="*/ 240000 w 330000"/>
                <a:gd name="connsiteY38" fmla="*/ 90000 h 180000"/>
                <a:gd name="connsiteX39" fmla="*/ 225000 w 330000"/>
                <a:gd name="connsiteY39" fmla="*/ 75000 h 180000"/>
                <a:gd name="connsiteX40" fmla="*/ 210000 w 330000"/>
                <a:gd name="connsiteY40" fmla="*/ 90000 h 180000"/>
                <a:gd name="connsiteX41" fmla="*/ 225000 w 330000"/>
                <a:gd name="connsiteY41" fmla="*/ 105000 h 180000"/>
                <a:gd name="connsiteX42" fmla="*/ 135000 w 330000"/>
                <a:gd name="connsiteY42" fmla="*/ 60000 h 180000"/>
                <a:gd name="connsiteX43" fmla="*/ 150000 w 330000"/>
                <a:gd name="connsiteY43" fmla="*/ 45000 h 180000"/>
                <a:gd name="connsiteX44" fmla="*/ 135000 w 330000"/>
                <a:gd name="connsiteY44" fmla="*/ 30000 h 180000"/>
                <a:gd name="connsiteX45" fmla="*/ 120000 w 330000"/>
                <a:gd name="connsiteY45" fmla="*/ 45000 h 180000"/>
                <a:gd name="connsiteX46" fmla="*/ 135000 w 330000"/>
                <a:gd name="connsiteY46" fmla="*/ 60000 h 180000"/>
                <a:gd name="connsiteX47" fmla="*/ 195000 w 330000"/>
                <a:gd name="connsiteY47" fmla="*/ 60000 h 180000"/>
                <a:gd name="connsiteX48" fmla="*/ 210000 w 330000"/>
                <a:gd name="connsiteY48" fmla="*/ 45000 h 180000"/>
                <a:gd name="connsiteX49" fmla="*/ 195000 w 330000"/>
                <a:gd name="connsiteY49" fmla="*/ 30000 h 180000"/>
                <a:gd name="connsiteX50" fmla="*/ 180000 w 330000"/>
                <a:gd name="connsiteY50" fmla="*/ 45000 h 180000"/>
                <a:gd name="connsiteX51" fmla="*/ 195000 w 330000"/>
                <a:gd name="connsiteY51" fmla="*/ 60000 h 180000"/>
                <a:gd name="connsiteX52" fmla="*/ 255000 w 330000"/>
                <a:gd name="connsiteY52" fmla="*/ 60000 h 180000"/>
                <a:gd name="connsiteX53" fmla="*/ 270000 w 330000"/>
                <a:gd name="connsiteY53" fmla="*/ 45000 h 180000"/>
                <a:gd name="connsiteX54" fmla="*/ 255000 w 330000"/>
                <a:gd name="connsiteY54" fmla="*/ 30000 h 180000"/>
                <a:gd name="connsiteX55" fmla="*/ 240000 w 330000"/>
                <a:gd name="connsiteY55" fmla="*/ 45000 h 180000"/>
                <a:gd name="connsiteX56" fmla="*/ 255000 w 330000"/>
                <a:gd name="connsiteY56" fmla="*/ 6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30000" h="180000">
                  <a:moveTo>
                    <a:pt x="300000" y="30000"/>
                  </a:moveTo>
                  <a:lnTo>
                    <a:pt x="300000" y="45000"/>
                  </a:lnTo>
                  <a:cubicBezTo>
                    <a:pt x="300000" y="119559"/>
                    <a:pt x="239559" y="180000"/>
                    <a:pt x="165000" y="180000"/>
                  </a:cubicBezTo>
                  <a:cubicBezTo>
                    <a:pt x="90442" y="180000"/>
                    <a:pt x="30000" y="119559"/>
                    <a:pt x="30000" y="45000"/>
                  </a:cubicBezTo>
                  <a:lnTo>
                    <a:pt x="30000" y="30000"/>
                  </a:ln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lnTo>
                    <a:pt x="315000" y="0"/>
                  </a:lnTo>
                  <a:cubicBezTo>
                    <a:pt x="323285" y="0"/>
                    <a:pt x="330000" y="6716"/>
                    <a:pt x="330000" y="15000"/>
                  </a:cubicBezTo>
                  <a:cubicBezTo>
                    <a:pt x="330000" y="23284"/>
                    <a:pt x="323285" y="30000"/>
                    <a:pt x="315000" y="30000"/>
                  </a:cubicBezTo>
                  <a:lnTo>
                    <a:pt x="300000" y="30000"/>
                  </a:lnTo>
                  <a:close/>
                  <a:moveTo>
                    <a:pt x="75000" y="60000"/>
                  </a:moveTo>
                  <a:cubicBezTo>
                    <a:pt x="83284" y="60000"/>
                    <a:pt x="90000" y="53285"/>
                    <a:pt x="90000" y="45000"/>
                  </a:cubicBezTo>
                  <a:cubicBezTo>
                    <a:pt x="90000" y="36716"/>
                    <a:pt x="83284" y="30000"/>
                    <a:pt x="75000" y="30000"/>
                  </a:cubicBezTo>
                  <a:cubicBezTo>
                    <a:pt x="66716" y="30000"/>
                    <a:pt x="60000" y="36716"/>
                    <a:pt x="60000" y="45000"/>
                  </a:cubicBezTo>
                  <a:cubicBezTo>
                    <a:pt x="60000" y="53285"/>
                    <a:pt x="66716" y="60000"/>
                    <a:pt x="75000" y="60000"/>
                  </a:cubicBezTo>
                  <a:close/>
                  <a:moveTo>
                    <a:pt x="105000" y="105000"/>
                  </a:moveTo>
                  <a:cubicBezTo>
                    <a:pt x="113284" y="105000"/>
                    <a:pt x="120000" y="98285"/>
                    <a:pt x="120000" y="90000"/>
                  </a:cubicBezTo>
                  <a:cubicBezTo>
                    <a:pt x="120000" y="81715"/>
                    <a:pt x="113284" y="75000"/>
                    <a:pt x="105000" y="75000"/>
                  </a:cubicBezTo>
                  <a:cubicBezTo>
                    <a:pt x="96716" y="75000"/>
                    <a:pt x="90000" y="81715"/>
                    <a:pt x="90000" y="90000"/>
                  </a:cubicBezTo>
                  <a:cubicBezTo>
                    <a:pt x="90000" y="98285"/>
                    <a:pt x="96716" y="105000"/>
                    <a:pt x="105000" y="105000"/>
                  </a:cubicBezTo>
                  <a:close/>
                  <a:moveTo>
                    <a:pt x="135000" y="150000"/>
                  </a:moveTo>
                  <a:cubicBezTo>
                    <a:pt x="143285" y="150000"/>
                    <a:pt x="150000" y="143285"/>
                    <a:pt x="150000" y="135000"/>
                  </a:cubicBezTo>
                  <a:cubicBezTo>
                    <a:pt x="150000" y="126715"/>
                    <a:pt x="143285" y="120000"/>
                    <a:pt x="135000" y="120000"/>
                  </a:cubicBezTo>
                  <a:cubicBezTo>
                    <a:pt x="126716" y="120000"/>
                    <a:pt x="120000" y="126715"/>
                    <a:pt x="120000" y="135000"/>
                  </a:cubicBezTo>
                  <a:cubicBezTo>
                    <a:pt x="120000" y="143285"/>
                    <a:pt x="126716" y="150000"/>
                    <a:pt x="135000" y="150000"/>
                  </a:cubicBezTo>
                  <a:close/>
                  <a:moveTo>
                    <a:pt x="195000" y="150000"/>
                  </a:moveTo>
                  <a:cubicBezTo>
                    <a:pt x="203285" y="150000"/>
                    <a:pt x="210000" y="143285"/>
                    <a:pt x="210000" y="135000"/>
                  </a:cubicBezTo>
                  <a:cubicBezTo>
                    <a:pt x="210000" y="126715"/>
                    <a:pt x="203285" y="120000"/>
                    <a:pt x="195000" y="120000"/>
                  </a:cubicBezTo>
                  <a:cubicBezTo>
                    <a:pt x="186716" y="120000"/>
                    <a:pt x="180000" y="126715"/>
                    <a:pt x="180000" y="135000"/>
                  </a:cubicBezTo>
                  <a:cubicBezTo>
                    <a:pt x="180000" y="143285"/>
                    <a:pt x="186716" y="150000"/>
                    <a:pt x="195000" y="150000"/>
                  </a:cubicBezTo>
                  <a:close/>
                  <a:moveTo>
                    <a:pt x="165000" y="105000"/>
                  </a:moveTo>
                  <a:cubicBezTo>
                    <a:pt x="173285" y="105000"/>
                    <a:pt x="180000" y="98285"/>
                    <a:pt x="180000" y="90000"/>
                  </a:cubicBezTo>
                  <a:cubicBezTo>
                    <a:pt x="180000" y="81715"/>
                    <a:pt x="173285" y="75000"/>
                    <a:pt x="165000" y="75000"/>
                  </a:cubicBezTo>
                  <a:cubicBezTo>
                    <a:pt x="156716" y="75000"/>
                    <a:pt x="150000" y="81715"/>
                    <a:pt x="150000" y="90000"/>
                  </a:cubicBezTo>
                  <a:cubicBezTo>
                    <a:pt x="150000" y="98285"/>
                    <a:pt x="156716" y="105000"/>
                    <a:pt x="165000" y="105000"/>
                  </a:cubicBezTo>
                  <a:close/>
                  <a:moveTo>
                    <a:pt x="225000" y="105000"/>
                  </a:moveTo>
                  <a:cubicBezTo>
                    <a:pt x="233285" y="105000"/>
                    <a:pt x="240000" y="98285"/>
                    <a:pt x="240000" y="90000"/>
                  </a:cubicBezTo>
                  <a:cubicBezTo>
                    <a:pt x="240000" y="81715"/>
                    <a:pt x="233285" y="75000"/>
                    <a:pt x="225000" y="75000"/>
                  </a:cubicBezTo>
                  <a:cubicBezTo>
                    <a:pt x="216716" y="75000"/>
                    <a:pt x="210000" y="81715"/>
                    <a:pt x="210000" y="90000"/>
                  </a:cubicBezTo>
                  <a:cubicBezTo>
                    <a:pt x="210000" y="98285"/>
                    <a:pt x="216716" y="105000"/>
                    <a:pt x="225000" y="105000"/>
                  </a:cubicBezTo>
                  <a:close/>
                  <a:moveTo>
                    <a:pt x="135000" y="60000"/>
                  </a:moveTo>
                  <a:cubicBezTo>
                    <a:pt x="143285" y="60000"/>
                    <a:pt x="150000" y="53285"/>
                    <a:pt x="150000" y="45000"/>
                  </a:cubicBezTo>
                  <a:cubicBezTo>
                    <a:pt x="150000" y="36716"/>
                    <a:pt x="143285" y="30000"/>
                    <a:pt x="135000" y="30000"/>
                  </a:cubicBezTo>
                  <a:cubicBezTo>
                    <a:pt x="126716" y="30000"/>
                    <a:pt x="120000" y="36716"/>
                    <a:pt x="120000" y="45000"/>
                  </a:cubicBezTo>
                  <a:cubicBezTo>
                    <a:pt x="120000" y="53285"/>
                    <a:pt x="126716" y="60000"/>
                    <a:pt x="135000" y="60000"/>
                  </a:cubicBezTo>
                  <a:close/>
                  <a:moveTo>
                    <a:pt x="195000" y="60000"/>
                  </a:moveTo>
                  <a:cubicBezTo>
                    <a:pt x="203285" y="60000"/>
                    <a:pt x="210000" y="53285"/>
                    <a:pt x="210000" y="45000"/>
                  </a:cubicBezTo>
                  <a:cubicBezTo>
                    <a:pt x="210000" y="36716"/>
                    <a:pt x="203285" y="30000"/>
                    <a:pt x="195000" y="30000"/>
                  </a:cubicBezTo>
                  <a:cubicBezTo>
                    <a:pt x="186716" y="30000"/>
                    <a:pt x="180000" y="36716"/>
                    <a:pt x="180000" y="45000"/>
                  </a:cubicBezTo>
                  <a:cubicBezTo>
                    <a:pt x="180000" y="53285"/>
                    <a:pt x="186716" y="60000"/>
                    <a:pt x="195000" y="60000"/>
                  </a:cubicBezTo>
                  <a:close/>
                  <a:moveTo>
                    <a:pt x="255000" y="60000"/>
                  </a:moveTo>
                  <a:cubicBezTo>
                    <a:pt x="263285" y="60000"/>
                    <a:pt x="270000" y="53285"/>
                    <a:pt x="270000" y="45000"/>
                  </a:cubicBezTo>
                  <a:cubicBezTo>
                    <a:pt x="270000" y="36716"/>
                    <a:pt x="263285" y="30000"/>
                    <a:pt x="255000" y="30000"/>
                  </a:cubicBezTo>
                  <a:cubicBezTo>
                    <a:pt x="246716" y="30000"/>
                    <a:pt x="240000" y="36716"/>
                    <a:pt x="240000" y="45000"/>
                  </a:cubicBezTo>
                  <a:cubicBezTo>
                    <a:pt x="240000" y="53285"/>
                    <a:pt x="246716" y="60000"/>
                    <a:pt x="255000" y="6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38" name="Рисунок 243">
            <a:extLst>
              <a:ext uri="{FF2B5EF4-FFF2-40B4-BE49-F238E27FC236}">
                <a16:creationId xmlns:a16="http://schemas.microsoft.com/office/drawing/2014/main" id="{D6F73E8B-4322-9640-B4E0-90F87FFD31B1}"/>
              </a:ext>
            </a:extLst>
          </p:cNvPr>
          <p:cNvGrpSpPr/>
          <p:nvPr/>
        </p:nvGrpSpPr>
        <p:grpSpPr>
          <a:xfrm>
            <a:off x="8968334" y="5134477"/>
            <a:ext cx="360000" cy="360000"/>
            <a:chOff x="9001787" y="5451199"/>
            <a:chExt cx="360000" cy="360000"/>
          </a:xfrm>
        </p:grpSpPr>
        <p:sp>
          <p:nvSpPr>
            <p:cNvPr id="539" name="Полилиния 538">
              <a:extLst>
                <a:ext uri="{FF2B5EF4-FFF2-40B4-BE49-F238E27FC236}">
                  <a16:creationId xmlns:a16="http://schemas.microsoft.com/office/drawing/2014/main" id="{E0350175-B89A-9748-AC0D-F893F753A55D}"/>
                </a:ext>
              </a:extLst>
            </p:cNvPr>
            <p:cNvSpPr/>
            <p:nvPr/>
          </p:nvSpPr>
          <p:spPr>
            <a:xfrm>
              <a:off x="9001787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0" name="Скругленный прямоугольник 539">
              <a:extLst>
                <a:ext uri="{FF2B5EF4-FFF2-40B4-BE49-F238E27FC236}">
                  <a16:creationId xmlns:a16="http://schemas.microsoft.com/office/drawing/2014/main" id="{C1367229-002A-CE49-8103-6AE4E9B1EF08}"/>
                </a:ext>
              </a:extLst>
            </p:cNvPr>
            <p:cNvSpPr/>
            <p:nvPr/>
          </p:nvSpPr>
          <p:spPr>
            <a:xfrm rot="5400000">
              <a:off x="9121787" y="5541199"/>
              <a:ext cx="30000" cy="18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1" name="Полилиния 540">
              <a:extLst>
                <a:ext uri="{FF2B5EF4-FFF2-40B4-BE49-F238E27FC236}">
                  <a16:creationId xmlns:a16="http://schemas.microsoft.com/office/drawing/2014/main" id="{228AE6BD-9300-AC49-BDA7-A4330822F407}"/>
                </a:ext>
              </a:extLst>
            </p:cNvPr>
            <p:cNvSpPr/>
            <p:nvPr/>
          </p:nvSpPr>
          <p:spPr>
            <a:xfrm rot="-5400000">
              <a:off x="9076787" y="5526199"/>
              <a:ext cx="300000" cy="210000"/>
            </a:xfrm>
            <a:custGeom>
              <a:avLst/>
              <a:gdLst>
                <a:gd name="connsiteX0" fmla="*/ 225000 w 300000"/>
                <a:gd name="connsiteY0" fmla="*/ 30091 h 210000"/>
                <a:gd name="connsiteX1" fmla="*/ 210000 w 300000"/>
                <a:gd name="connsiteY1" fmla="*/ 15098 h 210000"/>
                <a:gd name="connsiteX2" fmla="*/ 225000 w 300000"/>
                <a:gd name="connsiteY2" fmla="*/ 104 h 210000"/>
                <a:gd name="connsiteX3" fmla="*/ 240000 w 300000"/>
                <a:gd name="connsiteY3" fmla="*/ 104 h 210000"/>
                <a:gd name="connsiteX4" fmla="*/ 300000 w 300000"/>
                <a:gd name="connsiteY4" fmla="*/ 60078 h 210000"/>
                <a:gd name="connsiteX5" fmla="*/ 300000 w 300000"/>
                <a:gd name="connsiteY5" fmla="*/ 150026 h 210000"/>
                <a:gd name="connsiteX6" fmla="*/ 240000 w 300000"/>
                <a:gd name="connsiteY6" fmla="*/ 210000 h 210000"/>
                <a:gd name="connsiteX7" fmla="*/ 60000 w 300000"/>
                <a:gd name="connsiteY7" fmla="*/ 210000 h 210000"/>
                <a:gd name="connsiteX8" fmla="*/ 0 w 300000"/>
                <a:gd name="connsiteY8" fmla="*/ 150026 h 210000"/>
                <a:gd name="connsiteX9" fmla="*/ 0 w 300000"/>
                <a:gd name="connsiteY9" fmla="*/ 59974 h 210000"/>
                <a:gd name="connsiteX10" fmla="*/ 60000 w 300000"/>
                <a:gd name="connsiteY10" fmla="*/ 0 h 210000"/>
                <a:gd name="connsiteX11" fmla="*/ 75000 w 300000"/>
                <a:gd name="connsiteY11" fmla="*/ 0 h 210000"/>
                <a:gd name="connsiteX12" fmla="*/ 90000 w 300000"/>
                <a:gd name="connsiteY12" fmla="*/ 14994 h 210000"/>
                <a:gd name="connsiteX13" fmla="*/ 75000 w 300000"/>
                <a:gd name="connsiteY13" fmla="*/ 29987 h 210000"/>
                <a:gd name="connsiteX14" fmla="*/ 60000 w 300000"/>
                <a:gd name="connsiteY14" fmla="*/ 29987 h 210000"/>
                <a:gd name="connsiteX15" fmla="*/ 30000 w 300000"/>
                <a:gd name="connsiteY15" fmla="*/ 59974 h 210000"/>
                <a:gd name="connsiteX16" fmla="*/ 30000 w 300000"/>
                <a:gd name="connsiteY16" fmla="*/ 150026 h 210000"/>
                <a:gd name="connsiteX17" fmla="*/ 60000 w 300000"/>
                <a:gd name="connsiteY17" fmla="*/ 180014 h 210000"/>
                <a:gd name="connsiteX18" fmla="*/ 240000 w 300000"/>
                <a:gd name="connsiteY18" fmla="*/ 180014 h 210000"/>
                <a:gd name="connsiteX19" fmla="*/ 270000 w 300000"/>
                <a:gd name="connsiteY19" fmla="*/ 150026 h 210000"/>
                <a:gd name="connsiteX20" fmla="*/ 270000 w 300000"/>
                <a:gd name="connsiteY20" fmla="*/ 60078 h 210000"/>
                <a:gd name="connsiteX21" fmla="*/ 240000 w 300000"/>
                <a:gd name="connsiteY21" fmla="*/ 30091 h 210000"/>
                <a:gd name="connsiteX22" fmla="*/ 225000 w 300000"/>
                <a:gd name="connsiteY22" fmla="*/ 30091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0000" h="210000">
                  <a:moveTo>
                    <a:pt x="225000" y="30091"/>
                  </a:moveTo>
                  <a:cubicBezTo>
                    <a:pt x="216716" y="30091"/>
                    <a:pt x="210000" y="23378"/>
                    <a:pt x="210000" y="15098"/>
                  </a:cubicBezTo>
                  <a:cubicBezTo>
                    <a:pt x="210000" y="6817"/>
                    <a:pt x="216716" y="104"/>
                    <a:pt x="225000" y="104"/>
                  </a:cubicBezTo>
                  <a:lnTo>
                    <a:pt x="240000" y="104"/>
                  </a:lnTo>
                  <a:cubicBezTo>
                    <a:pt x="273137" y="104"/>
                    <a:pt x="300000" y="26955"/>
                    <a:pt x="300000" y="60078"/>
                  </a:cubicBezTo>
                  <a:lnTo>
                    <a:pt x="300000" y="150026"/>
                  </a:lnTo>
                  <a:cubicBezTo>
                    <a:pt x="300000" y="183149"/>
                    <a:pt x="273137" y="210000"/>
                    <a:pt x="240000" y="210000"/>
                  </a:cubicBezTo>
                  <a:lnTo>
                    <a:pt x="60000" y="210000"/>
                  </a:lnTo>
                  <a:cubicBezTo>
                    <a:pt x="26863" y="210000"/>
                    <a:pt x="0" y="183149"/>
                    <a:pt x="0" y="150026"/>
                  </a:cubicBezTo>
                  <a:lnTo>
                    <a:pt x="0" y="59974"/>
                  </a:lnTo>
                  <a:cubicBezTo>
                    <a:pt x="0" y="26851"/>
                    <a:pt x="26863" y="0"/>
                    <a:pt x="60000" y="0"/>
                  </a:cubicBezTo>
                  <a:lnTo>
                    <a:pt x="75000" y="0"/>
                  </a:lnTo>
                  <a:cubicBezTo>
                    <a:pt x="83285" y="0"/>
                    <a:pt x="90000" y="6713"/>
                    <a:pt x="90000" y="14994"/>
                  </a:cubicBezTo>
                  <a:cubicBezTo>
                    <a:pt x="90000" y="23274"/>
                    <a:pt x="83285" y="29987"/>
                    <a:pt x="75000" y="29987"/>
                  </a:cubicBezTo>
                  <a:lnTo>
                    <a:pt x="60000" y="29987"/>
                  </a:lnTo>
                  <a:cubicBezTo>
                    <a:pt x="43431" y="29987"/>
                    <a:pt x="30000" y="43413"/>
                    <a:pt x="30000" y="59974"/>
                  </a:cubicBezTo>
                  <a:lnTo>
                    <a:pt x="30000" y="150026"/>
                  </a:lnTo>
                  <a:cubicBezTo>
                    <a:pt x="30000" y="166587"/>
                    <a:pt x="43431" y="180014"/>
                    <a:pt x="60000" y="180014"/>
                  </a:cubicBezTo>
                  <a:lnTo>
                    <a:pt x="240000" y="180014"/>
                  </a:lnTo>
                  <a:cubicBezTo>
                    <a:pt x="256569" y="180014"/>
                    <a:pt x="270000" y="166587"/>
                    <a:pt x="270000" y="150026"/>
                  </a:cubicBezTo>
                  <a:lnTo>
                    <a:pt x="270000" y="60078"/>
                  </a:lnTo>
                  <a:cubicBezTo>
                    <a:pt x="270000" y="43517"/>
                    <a:pt x="256569" y="30091"/>
                    <a:pt x="240000" y="30091"/>
                  </a:cubicBezTo>
                  <a:lnTo>
                    <a:pt x="225000" y="3009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2" name="Полилиния 541">
              <a:extLst>
                <a:ext uri="{FF2B5EF4-FFF2-40B4-BE49-F238E27FC236}">
                  <a16:creationId xmlns:a16="http://schemas.microsoft.com/office/drawing/2014/main" id="{0E93DA74-272E-2046-BBD7-8A9C253227E3}"/>
                </a:ext>
              </a:extLst>
            </p:cNvPr>
            <p:cNvSpPr/>
            <p:nvPr/>
          </p:nvSpPr>
          <p:spPr>
            <a:xfrm rot="-5400000">
              <a:off x="9159287" y="5593699"/>
              <a:ext cx="119999" cy="74999"/>
            </a:xfrm>
            <a:custGeom>
              <a:avLst/>
              <a:gdLst>
                <a:gd name="connsiteX0" fmla="*/ 94393 w 119999"/>
                <a:gd name="connsiteY0" fmla="*/ 4393 h 74999"/>
                <a:gd name="connsiteX1" fmla="*/ 115606 w 119999"/>
                <a:gd name="connsiteY1" fmla="*/ 4393 h 74999"/>
                <a:gd name="connsiteX2" fmla="*/ 115606 w 119999"/>
                <a:gd name="connsiteY2" fmla="*/ 25606 h 74999"/>
                <a:gd name="connsiteX3" fmla="*/ 70606 w 119999"/>
                <a:gd name="connsiteY3" fmla="*/ 70606 h 74999"/>
                <a:gd name="connsiteX4" fmla="*/ 49393 w 119999"/>
                <a:gd name="connsiteY4" fmla="*/ 70606 h 74999"/>
                <a:gd name="connsiteX5" fmla="*/ 4393 w 119999"/>
                <a:gd name="connsiteY5" fmla="*/ 25606 h 74999"/>
                <a:gd name="connsiteX6" fmla="*/ 4393 w 119999"/>
                <a:gd name="connsiteY6" fmla="*/ 4393 h 74999"/>
                <a:gd name="connsiteX7" fmla="*/ 25606 w 119999"/>
                <a:gd name="connsiteY7" fmla="*/ 4393 h 74999"/>
                <a:gd name="connsiteX8" fmla="*/ 60000 w 119999"/>
                <a:gd name="connsiteY8" fmla="*/ 38787 h 74999"/>
                <a:gd name="connsiteX9" fmla="*/ 94393 w 119999"/>
                <a:gd name="connsiteY9" fmla="*/ 4393 h 7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74999">
                  <a:moveTo>
                    <a:pt x="94393" y="4393"/>
                  </a:moveTo>
                  <a:cubicBezTo>
                    <a:pt x="100251" y="-1464"/>
                    <a:pt x="109749" y="-1464"/>
                    <a:pt x="115606" y="4393"/>
                  </a:cubicBezTo>
                  <a:cubicBezTo>
                    <a:pt x="121464" y="10251"/>
                    <a:pt x="121464" y="19749"/>
                    <a:pt x="115606" y="25606"/>
                  </a:cubicBezTo>
                  <a:lnTo>
                    <a:pt x="70606" y="70606"/>
                  </a:lnTo>
                  <a:cubicBezTo>
                    <a:pt x="64749" y="76464"/>
                    <a:pt x="55251" y="76464"/>
                    <a:pt x="49393" y="70606"/>
                  </a:cubicBezTo>
                  <a:lnTo>
                    <a:pt x="4393" y="25606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6" y="4393"/>
                  </a:cubicBezTo>
                  <a:lnTo>
                    <a:pt x="60000" y="38787"/>
                  </a:lnTo>
                  <a:lnTo>
                    <a:pt x="94393" y="439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43" name="Рисунок 244">
            <a:extLst>
              <a:ext uri="{FF2B5EF4-FFF2-40B4-BE49-F238E27FC236}">
                <a16:creationId xmlns:a16="http://schemas.microsoft.com/office/drawing/2014/main" id="{68B6C3E0-BB53-1341-AA76-9B90162FEA6A}"/>
              </a:ext>
            </a:extLst>
          </p:cNvPr>
          <p:cNvGrpSpPr/>
          <p:nvPr/>
        </p:nvGrpSpPr>
        <p:grpSpPr>
          <a:xfrm>
            <a:off x="10478600" y="5134477"/>
            <a:ext cx="360000" cy="360000"/>
            <a:chOff x="10512053" y="5451199"/>
            <a:chExt cx="360000" cy="360000"/>
          </a:xfrm>
        </p:grpSpPr>
        <p:sp>
          <p:nvSpPr>
            <p:cNvPr id="544" name="Полилиния 543">
              <a:extLst>
                <a:ext uri="{FF2B5EF4-FFF2-40B4-BE49-F238E27FC236}">
                  <a16:creationId xmlns:a16="http://schemas.microsoft.com/office/drawing/2014/main" id="{D0BC05D4-BD49-EE45-A72A-E6DB889DD930}"/>
                </a:ext>
              </a:extLst>
            </p:cNvPr>
            <p:cNvSpPr/>
            <p:nvPr/>
          </p:nvSpPr>
          <p:spPr>
            <a:xfrm>
              <a:off x="10512053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5" name="Полилиния 544">
              <a:extLst>
                <a:ext uri="{FF2B5EF4-FFF2-40B4-BE49-F238E27FC236}">
                  <a16:creationId xmlns:a16="http://schemas.microsoft.com/office/drawing/2014/main" id="{DC645594-C3CC-5F4E-BDA0-8F68AA7B9660}"/>
                </a:ext>
              </a:extLst>
            </p:cNvPr>
            <p:cNvSpPr/>
            <p:nvPr/>
          </p:nvSpPr>
          <p:spPr>
            <a:xfrm rot="-5400000" flipV="1">
              <a:off x="10497156" y="5526198"/>
              <a:ext cx="299999" cy="210000"/>
            </a:xfrm>
            <a:custGeom>
              <a:avLst/>
              <a:gdLst>
                <a:gd name="connsiteX0" fmla="*/ 224999 w 299999"/>
                <a:gd name="connsiteY0" fmla="*/ 30091 h 210000"/>
                <a:gd name="connsiteX1" fmla="*/ 209999 w 299999"/>
                <a:gd name="connsiteY1" fmla="*/ 15098 h 210000"/>
                <a:gd name="connsiteX2" fmla="*/ 224999 w 299999"/>
                <a:gd name="connsiteY2" fmla="*/ 104 h 210000"/>
                <a:gd name="connsiteX3" fmla="*/ 239999 w 299999"/>
                <a:gd name="connsiteY3" fmla="*/ 104 h 210000"/>
                <a:gd name="connsiteX4" fmla="*/ 299999 w 299999"/>
                <a:gd name="connsiteY4" fmla="*/ 60078 h 210000"/>
                <a:gd name="connsiteX5" fmla="*/ 299999 w 299999"/>
                <a:gd name="connsiteY5" fmla="*/ 150026 h 210000"/>
                <a:gd name="connsiteX6" fmla="*/ 239999 w 299999"/>
                <a:gd name="connsiteY6" fmla="*/ 210000 h 210000"/>
                <a:gd name="connsiteX7" fmla="*/ 60000 w 299999"/>
                <a:gd name="connsiteY7" fmla="*/ 210000 h 210000"/>
                <a:gd name="connsiteX8" fmla="*/ 0 w 299999"/>
                <a:gd name="connsiteY8" fmla="*/ 150026 h 210000"/>
                <a:gd name="connsiteX9" fmla="*/ 0 w 299999"/>
                <a:gd name="connsiteY9" fmla="*/ 59974 h 210000"/>
                <a:gd name="connsiteX10" fmla="*/ 60000 w 299999"/>
                <a:gd name="connsiteY10" fmla="*/ 0 h 210000"/>
                <a:gd name="connsiteX11" fmla="*/ 75000 w 299999"/>
                <a:gd name="connsiteY11" fmla="*/ 0 h 210000"/>
                <a:gd name="connsiteX12" fmla="*/ 90000 w 299999"/>
                <a:gd name="connsiteY12" fmla="*/ 14994 h 210000"/>
                <a:gd name="connsiteX13" fmla="*/ 75000 w 299999"/>
                <a:gd name="connsiteY13" fmla="*/ 29987 h 210000"/>
                <a:gd name="connsiteX14" fmla="*/ 60000 w 299999"/>
                <a:gd name="connsiteY14" fmla="*/ 29987 h 210000"/>
                <a:gd name="connsiteX15" fmla="*/ 30000 w 299999"/>
                <a:gd name="connsiteY15" fmla="*/ 59974 h 210000"/>
                <a:gd name="connsiteX16" fmla="*/ 30000 w 299999"/>
                <a:gd name="connsiteY16" fmla="*/ 150026 h 210000"/>
                <a:gd name="connsiteX17" fmla="*/ 60000 w 299999"/>
                <a:gd name="connsiteY17" fmla="*/ 180014 h 210000"/>
                <a:gd name="connsiteX18" fmla="*/ 239999 w 299999"/>
                <a:gd name="connsiteY18" fmla="*/ 180014 h 210000"/>
                <a:gd name="connsiteX19" fmla="*/ 269999 w 299999"/>
                <a:gd name="connsiteY19" fmla="*/ 150026 h 210000"/>
                <a:gd name="connsiteX20" fmla="*/ 269999 w 299999"/>
                <a:gd name="connsiteY20" fmla="*/ 60078 h 210000"/>
                <a:gd name="connsiteX21" fmla="*/ 239999 w 299999"/>
                <a:gd name="connsiteY21" fmla="*/ 30091 h 210000"/>
                <a:gd name="connsiteX22" fmla="*/ 224999 w 299999"/>
                <a:gd name="connsiteY22" fmla="*/ 30091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99999" h="210000">
                  <a:moveTo>
                    <a:pt x="224999" y="30091"/>
                  </a:moveTo>
                  <a:cubicBezTo>
                    <a:pt x="216716" y="30091"/>
                    <a:pt x="209999" y="23378"/>
                    <a:pt x="209999" y="15098"/>
                  </a:cubicBezTo>
                  <a:cubicBezTo>
                    <a:pt x="209999" y="6817"/>
                    <a:pt x="216716" y="104"/>
                    <a:pt x="224999" y="104"/>
                  </a:cubicBezTo>
                  <a:lnTo>
                    <a:pt x="239999" y="104"/>
                  </a:lnTo>
                  <a:cubicBezTo>
                    <a:pt x="273137" y="104"/>
                    <a:pt x="299999" y="26955"/>
                    <a:pt x="299999" y="60078"/>
                  </a:cubicBezTo>
                  <a:lnTo>
                    <a:pt x="299999" y="150026"/>
                  </a:lnTo>
                  <a:cubicBezTo>
                    <a:pt x="299999" y="183149"/>
                    <a:pt x="273137" y="210000"/>
                    <a:pt x="239999" y="210000"/>
                  </a:cubicBezTo>
                  <a:lnTo>
                    <a:pt x="60000" y="210000"/>
                  </a:lnTo>
                  <a:cubicBezTo>
                    <a:pt x="26863" y="210000"/>
                    <a:pt x="0" y="183149"/>
                    <a:pt x="0" y="150026"/>
                  </a:cubicBezTo>
                  <a:lnTo>
                    <a:pt x="0" y="59974"/>
                  </a:lnTo>
                  <a:cubicBezTo>
                    <a:pt x="0" y="26851"/>
                    <a:pt x="26863" y="0"/>
                    <a:pt x="60000" y="0"/>
                  </a:cubicBezTo>
                  <a:lnTo>
                    <a:pt x="75000" y="0"/>
                  </a:lnTo>
                  <a:cubicBezTo>
                    <a:pt x="83284" y="0"/>
                    <a:pt x="90000" y="6713"/>
                    <a:pt x="90000" y="14994"/>
                  </a:cubicBezTo>
                  <a:cubicBezTo>
                    <a:pt x="90000" y="23274"/>
                    <a:pt x="83284" y="29987"/>
                    <a:pt x="75000" y="29987"/>
                  </a:cubicBezTo>
                  <a:lnTo>
                    <a:pt x="60000" y="29987"/>
                  </a:lnTo>
                  <a:cubicBezTo>
                    <a:pt x="43431" y="29987"/>
                    <a:pt x="30000" y="43413"/>
                    <a:pt x="30000" y="59974"/>
                  </a:cubicBezTo>
                  <a:lnTo>
                    <a:pt x="30000" y="150026"/>
                  </a:lnTo>
                  <a:cubicBezTo>
                    <a:pt x="30000" y="166587"/>
                    <a:pt x="43431" y="180014"/>
                    <a:pt x="60000" y="180014"/>
                  </a:cubicBezTo>
                  <a:lnTo>
                    <a:pt x="239999" y="180014"/>
                  </a:lnTo>
                  <a:cubicBezTo>
                    <a:pt x="256568" y="180014"/>
                    <a:pt x="269999" y="166587"/>
                    <a:pt x="269999" y="150026"/>
                  </a:cubicBezTo>
                  <a:lnTo>
                    <a:pt x="269999" y="60078"/>
                  </a:lnTo>
                  <a:cubicBezTo>
                    <a:pt x="269999" y="43517"/>
                    <a:pt x="256568" y="30091"/>
                    <a:pt x="239999" y="30091"/>
                  </a:cubicBezTo>
                  <a:lnTo>
                    <a:pt x="224999" y="3009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6" name="Скругленный прямоугольник 545">
              <a:extLst>
                <a:ext uri="{FF2B5EF4-FFF2-40B4-BE49-F238E27FC236}">
                  <a16:creationId xmlns:a16="http://schemas.microsoft.com/office/drawing/2014/main" id="{5DC2E156-6493-6347-AE43-D21CF5B58670}"/>
                </a:ext>
              </a:extLst>
            </p:cNvPr>
            <p:cNvSpPr/>
            <p:nvPr/>
          </p:nvSpPr>
          <p:spPr>
            <a:xfrm rot="5400000">
              <a:off x="10707053" y="5541199"/>
              <a:ext cx="30000" cy="18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7" name="Полилиния 546">
              <a:extLst>
                <a:ext uri="{FF2B5EF4-FFF2-40B4-BE49-F238E27FC236}">
                  <a16:creationId xmlns:a16="http://schemas.microsoft.com/office/drawing/2014/main" id="{17F69FB8-1A60-3342-ADD8-8D54F6B97402}"/>
                </a:ext>
              </a:extLst>
            </p:cNvPr>
            <p:cNvSpPr/>
            <p:nvPr/>
          </p:nvSpPr>
          <p:spPr>
            <a:xfrm rot="-5400000">
              <a:off x="10744553" y="5593699"/>
              <a:ext cx="119999" cy="74999"/>
            </a:xfrm>
            <a:custGeom>
              <a:avLst/>
              <a:gdLst>
                <a:gd name="connsiteX0" fmla="*/ 94393 w 119999"/>
                <a:gd name="connsiteY0" fmla="*/ 4393 h 74999"/>
                <a:gd name="connsiteX1" fmla="*/ 115606 w 119999"/>
                <a:gd name="connsiteY1" fmla="*/ 4393 h 74999"/>
                <a:gd name="connsiteX2" fmla="*/ 115606 w 119999"/>
                <a:gd name="connsiteY2" fmla="*/ 25606 h 74999"/>
                <a:gd name="connsiteX3" fmla="*/ 70606 w 119999"/>
                <a:gd name="connsiteY3" fmla="*/ 70606 h 74999"/>
                <a:gd name="connsiteX4" fmla="*/ 49393 w 119999"/>
                <a:gd name="connsiteY4" fmla="*/ 70606 h 74999"/>
                <a:gd name="connsiteX5" fmla="*/ 4393 w 119999"/>
                <a:gd name="connsiteY5" fmla="*/ 25606 h 74999"/>
                <a:gd name="connsiteX6" fmla="*/ 4393 w 119999"/>
                <a:gd name="connsiteY6" fmla="*/ 4393 h 74999"/>
                <a:gd name="connsiteX7" fmla="*/ 25606 w 119999"/>
                <a:gd name="connsiteY7" fmla="*/ 4393 h 74999"/>
                <a:gd name="connsiteX8" fmla="*/ 60000 w 119999"/>
                <a:gd name="connsiteY8" fmla="*/ 38787 h 74999"/>
                <a:gd name="connsiteX9" fmla="*/ 94393 w 119999"/>
                <a:gd name="connsiteY9" fmla="*/ 4393 h 7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74999">
                  <a:moveTo>
                    <a:pt x="94393" y="4393"/>
                  </a:moveTo>
                  <a:cubicBezTo>
                    <a:pt x="100251" y="-1464"/>
                    <a:pt x="109749" y="-1464"/>
                    <a:pt x="115606" y="4393"/>
                  </a:cubicBezTo>
                  <a:cubicBezTo>
                    <a:pt x="121464" y="10251"/>
                    <a:pt x="121464" y="19749"/>
                    <a:pt x="115606" y="25606"/>
                  </a:cubicBezTo>
                  <a:lnTo>
                    <a:pt x="70606" y="70606"/>
                  </a:lnTo>
                  <a:cubicBezTo>
                    <a:pt x="64749" y="76464"/>
                    <a:pt x="55251" y="76464"/>
                    <a:pt x="49393" y="70606"/>
                  </a:cubicBezTo>
                  <a:lnTo>
                    <a:pt x="4393" y="25606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6" y="4393"/>
                  </a:cubicBezTo>
                  <a:lnTo>
                    <a:pt x="60000" y="38787"/>
                  </a:lnTo>
                  <a:lnTo>
                    <a:pt x="94393" y="439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48" name="Рисунок 245">
            <a:extLst>
              <a:ext uri="{FF2B5EF4-FFF2-40B4-BE49-F238E27FC236}">
                <a16:creationId xmlns:a16="http://schemas.microsoft.com/office/drawing/2014/main" id="{913EF277-A68A-E64E-97F5-126DF508BC50}"/>
              </a:ext>
            </a:extLst>
          </p:cNvPr>
          <p:cNvGrpSpPr/>
          <p:nvPr/>
        </p:nvGrpSpPr>
        <p:grpSpPr>
          <a:xfrm>
            <a:off x="6702935" y="5134477"/>
            <a:ext cx="360000" cy="360000"/>
            <a:chOff x="6736388" y="5451199"/>
            <a:chExt cx="360000" cy="360000"/>
          </a:xfrm>
        </p:grpSpPr>
        <p:sp>
          <p:nvSpPr>
            <p:cNvPr id="549" name="Полилиния 548">
              <a:extLst>
                <a:ext uri="{FF2B5EF4-FFF2-40B4-BE49-F238E27FC236}">
                  <a16:creationId xmlns:a16="http://schemas.microsoft.com/office/drawing/2014/main" id="{A37BD052-E152-E541-B8D9-F52A7B04A1EC}"/>
                </a:ext>
              </a:extLst>
            </p:cNvPr>
            <p:cNvSpPr/>
            <p:nvPr/>
          </p:nvSpPr>
          <p:spPr>
            <a:xfrm>
              <a:off x="6736388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0" name="Полилиния 549">
              <a:extLst>
                <a:ext uri="{FF2B5EF4-FFF2-40B4-BE49-F238E27FC236}">
                  <a16:creationId xmlns:a16="http://schemas.microsoft.com/office/drawing/2014/main" id="{27124D54-3FDF-7345-A6CC-7789D0B15D3D}"/>
                </a:ext>
              </a:extLst>
            </p:cNvPr>
            <p:cNvSpPr/>
            <p:nvPr/>
          </p:nvSpPr>
          <p:spPr>
            <a:xfrm>
              <a:off x="6796388" y="5511199"/>
              <a:ext cx="240000" cy="240000"/>
            </a:xfrm>
            <a:custGeom>
              <a:avLst/>
              <a:gdLst>
                <a:gd name="connsiteX0" fmla="*/ 210000 w 240000"/>
                <a:gd name="connsiteY0" fmla="*/ 30000 h 240000"/>
                <a:gd name="connsiteX1" fmla="*/ 105000 w 240000"/>
                <a:gd name="connsiteY1" fmla="*/ 30000 h 240000"/>
                <a:gd name="connsiteX2" fmla="*/ 90000 w 240000"/>
                <a:gd name="connsiteY2" fmla="*/ 15000 h 240000"/>
                <a:gd name="connsiteX3" fmla="*/ 105000 w 240000"/>
                <a:gd name="connsiteY3" fmla="*/ 0 h 240000"/>
                <a:gd name="connsiteX4" fmla="*/ 240000 w 240000"/>
                <a:gd name="connsiteY4" fmla="*/ 0 h 240000"/>
                <a:gd name="connsiteX5" fmla="*/ 240000 w 240000"/>
                <a:gd name="connsiteY5" fmla="*/ 135000 h 240000"/>
                <a:gd name="connsiteX6" fmla="*/ 225000 w 240000"/>
                <a:gd name="connsiteY6" fmla="*/ 150000 h 240000"/>
                <a:gd name="connsiteX7" fmla="*/ 210000 w 240000"/>
                <a:gd name="connsiteY7" fmla="*/ 135000 h 240000"/>
                <a:gd name="connsiteX8" fmla="*/ 210000 w 240000"/>
                <a:gd name="connsiteY8" fmla="*/ 30000 h 240000"/>
                <a:gd name="connsiteX9" fmla="*/ 30000 w 240000"/>
                <a:gd name="connsiteY9" fmla="*/ 210000 h 240000"/>
                <a:gd name="connsiteX10" fmla="*/ 135000 w 240000"/>
                <a:gd name="connsiteY10" fmla="*/ 210000 h 240000"/>
                <a:gd name="connsiteX11" fmla="*/ 150000 w 240000"/>
                <a:gd name="connsiteY11" fmla="*/ 225000 h 240000"/>
                <a:gd name="connsiteX12" fmla="*/ 135000 w 240000"/>
                <a:gd name="connsiteY12" fmla="*/ 240000 h 240000"/>
                <a:gd name="connsiteX13" fmla="*/ 0 w 240000"/>
                <a:gd name="connsiteY13" fmla="*/ 240000 h 240000"/>
                <a:gd name="connsiteX14" fmla="*/ 0 w 240000"/>
                <a:gd name="connsiteY14" fmla="*/ 105000 h 240000"/>
                <a:gd name="connsiteX15" fmla="*/ 15000 w 240000"/>
                <a:gd name="connsiteY15" fmla="*/ 90000 h 240000"/>
                <a:gd name="connsiteX16" fmla="*/ 30000 w 240000"/>
                <a:gd name="connsiteY16" fmla="*/ 105000 h 240000"/>
                <a:gd name="connsiteX17" fmla="*/ 30000 w 240000"/>
                <a:gd name="connsiteY17" fmla="*/ 21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000" h="240000">
                  <a:moveTo>
                    <a:pt x="210000" y="30000"/>
                  </a:moveTo>
                  <a:lnTo>
                    <a:pt x="105000" y="30000"/>
                  </a:lnTo>
                  <a:cubicBezTo>
                    <a:pt x="94999" y="28284"/>
                    <a:pt x="90000" y="23284"/>
                    <a:pt x="90000" y="15000"/>
                  </a:cubicBezTo>
                  <a:cubicBezTo>
                    <a:pt x="90000" y="6716"/>
                    <a:pt x="94999" y="1716"/>
                    <a:pt x="105000" y="0"/>
                  </a:cubicBezTo>
                  <a:lnTo>
                    <a:pt x="240000" y="0"/>
                  </a:lnTo>
                  <a:lnTo>
                    <a:pt x="240000" y="135000"/>
                  </a:lnTo>
                  <a:cubicBezTo>
                    <a:pt x="240000" y="145001"/>
                    <a:pt x="235001" y="150000"/>
                    <a:pt x="225000" y="150000"/>
                  </a:cubicBezTo>
                  <a:cubicBezTo>
                    <a:pt x="215000" y="150000"/>
                    <a:pt x="210000" y="145001"/>
                    <a:pt x="210000" y="135000"/>
                  </a:cubicBezTo>
                  <a:lnTo>
                    <a:pt x="210000" y="30000"/>
                  </a:lnTo>
                  <a:close/>
                  <a:moveTo>
                    <a:pt x="30000" y="210000"/>
                  </a:moveTo>
                  <a:lnTo>
                    <a:pt x="135000" y="210000"/>
                  </a:lnTo>
                  <a:cubicBezTo>
                    <a:pt x="145001" y="211716"/>
                    <a:pt x="150000" y="216716"/>
                    <a:pt x="150000" y="225000"/>
                  </a:cubicBezTo>
                  <a:cubicBezTo>
                    <a:pt x="150000" y="233285"/>
                    <a:pt x="145001" y="238284"/>
                    <a:pt x="135000" y="240000"/>
                  </a:cubicBezTo>
                  <a:lnTo>
                    <a:pt x="0" y="240000"/>
                  </a:lnTo>
                  <a:lnTo>
                    <a:pt x="0" y="105000"/>
                  </a:lnTo>
                  <a:cubicBezTo>
                    <a:pt x="0" y="94999"/>
                    <a:pt x="5000" y="90000"/>
                    <a:pt x="15000" y="90000"/>
                  </a:cubicBezTo>
                  <a:cubicBezTo>
                    <a:pt x="25000" y="90000"/>
                    <a:pt x="30000" y="94999"/>
                    <a:pt x="30000" y="105000"/>
                  </a:cubicBezTo>
                  <a:lnTo>
                    <a:pt x="30000" y="21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1" name="Скругленный прямоугольник 550">
              <a:extLst>
                <a:ext uri="{FF2B5EF4-FFF2-40B4-BE49-F238E27FC236}">
                  <a16:creationId xmlns:a16="http://schemas.microsoft.com/office/drawing/2014/main" id="{E5FCE244-3057-1240-9204-8D4F4981D5C2}"/>
                </a:ext>
              </a:extLst>
            </p:cNvPr>
            <p:cNvSpPr/>
            <p:nvPr/>
          </p:nvSpPr>
          <p:spPr>
            <a:xfrm rot="-2700000">
              <a:off x="6841388" y="5616198"/>
              <a:ext cx="15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52" name="Рисунок 246">
            <a:extLst>
              <a:ext uri="{FF2B5EF4-FFF2-40B4-BE49-F238E27FC236}">
                <a16:creationId xmlns:a16="http://schemas.microsoft.com/office/drawing/2014/main" id="{F1811782-D339-154B-9EBF-DB6F0106432A}"/>
              </a:ext>
            </a:extLst>
          </p:cNvPr>
          <p:cNvGrpSpPr/>
          <p:nvPr/>
        </p:nvGrpSpPr>
        <p:grpSpPr>
          <a:xfrm>
            <a:off x="7458068" y="5134477"/>
            <a:ext cx="360000" cy="360000"/>
            <a:chOff x="7491521" y="5451199"/>
            <a:chExt cx="360000" cy="360000"/>
          </a:xfrm>
        </p:grpSpPr>
        <p:sp>
          <p:nvSpPr>
            <p:cNvPr id="553" name="Полилиния 552">
              <a:extLst>
                <a:ext uri="{FF2B5EF4-FFF2-40B4-BE49-F238E27FC236}">
                  <a16:creationId xmlns:a16="http://schemas.microsoft.com/office/drawing/2014/main" id="{5F633E39-D8B2-1B4D-916A-F74B91B0B61A}"/>
                </a:ext>
              </a:extLst>
            </p:cNvPr>
            <p:cNvSpPr/>
            <p:nvPr/>
          </p:nvSpPr>
          <p:spPr>
            <a:xfrm>
              <a:off x="7491521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4" name="Полилиния 553">
              <a:extLst>
                <a:ext uri="{FF2B5EF4-FFF2-40B4-BE49-F238E27FC236}">
                  <a16:creationId xmlns:a16="http://schemas.microsoft.com/office/drawing/2014/main" id="{C6503455-4B7C-564C-AAD3-CF3BD0FA2ED4}"/>
                </a:ext>
              </a:extLst>
            </p:cNvPr>
            <p:cNvSpPr/>
            <p:nvPr/>
          </p:nvSpPr>
          <p:spPr>
            <a:xfrm>
              <a:off x="7506521" y="5496199"/>
              <a:ext cx="330000" cy="75000"/>
            </a:xfrm>
            <a:custGeom>
              <a:avLst/>
              <a:gdLst>
                <a:gd name="connsiteX0" fmla="*/ 60000 w 330000"/>
                <a:gd name="connsiteY0" fmla="*/ 0 h 75000"/>
                <a:gd name="connsiteX1" fmla="*/ 270000 w 330000"/>
                <a:gd name="connsiteY1" fmla="*/ 0 h 75000"/>
                <a:gd name="connsiteX2" fmla="*/ 330000 w 330000"/>
                <a:gd name="connsiteY2" fmla="*/ 75000 h 75000"/>
                <a:gd name="connsiteX3" fmla="*/ 0 w 330000"/>
                <a:gd name="connsiteY3" fmla="*/ 750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000" h="75000">
                  <a:moveTo>
                    <a:pt x="60000" y="0"/>
                  </a:moveTo>
                  <a:lnTo>
                    <a:pt x="270000" y="0"/>
                  </a:lnTo>
                  <a:lnTo>
                    <a:pt x="330000" y="75000"/>
                  </a:lnTo>
                  <a:lnTo>
                    <a:pt x="0" y="7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5" name="Полилиния 554">
              <a:extLst>
                <a:ext uri="{FF2B5EF4-FFF2-40B4-BE49-F238E27FC236}">
                  <a16:creationId xmlns:a16="http://schemas.microsoft.com/office/drawing/2014/main" id="{D3D67C09-6493-694A-8DA5-0805E116AD02}"/>
                </a:ext>
              </a:extLst>
            </p:cNvPr>
            <p:cNvSpPr/>
            <p:nvPr/>
          </p:nvSpPr>
          <p:spPr>
            <a:xfrm>
              <a:off x="7506521" y="5571199"/>
              <a:ext cx="330000" cy="180000"/>
            </a:xfrm>
            <a:custGeom>
              <a:avLst/>
              <a:gdLst>
                <a:gd name="connsiteX0" fmla="*/ 330000 w 330000"/>
                <a:gd name="connsiteY0" fmla="*/ 0 h 180000"/>
                <a:gd name="connsiteX1" fmla="*/ 165000 w 330000"/>
                <a:gd name="connsiteY1" fmla="*/ 180000 h 180000"/>
                <a:gd name="connsiteX2" fmla="*/ 0 w 330000"/>
                <a:gd name="connsiteY2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000" h="180000">
                  <a:moveTo>
                    <a:pt x="330000" y="0"/>
                  </a:moveTo>
                  <a:lnTo>
                    <a:pt x="16500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56" name="Рисунок 247">
            <a:extLst>
              <a:ext uri="{FF2B5EF4-FFF2-40B4-BE49-F238E27FC236}">
                <a16:creationId xmlns:a16="http://schemas.microsoft.com/office/drawing/2014/main" id="{50306869-8DD6-8B49-B84E-0B00450A14AF}"/>
              </a:ext>
            </a:extLst>
          </p:cNvPr>
          <p:cNvGrpSpPr/>
          <p:nvPr/>
        </p:nvGrpSpPr>
        <p:grpSpPr>
          <a:xfrm>
            <a:off x="9723467" y="5134477"/>
            <a:ext cx="360000" cy="360000"/>
            <a:chOff x="9756920" y="5451199"/>
            <a:chExt cx="360000" cy="360000"/>
          </a:xfrm>
        </p:grpSpPr>
        <p:sp>
          <p:nvSpPr>
            <p:cNvPr id="557" name="Полилиния 556">
              <a:extLst>
                <a:ext uri="{FF2B5EF4-FFF2-40B4-BE49-F238E27FC236}">
                  <a16:creationId xmlns:a16="http://schemas.microsoft.com/office/drawing/2014/main" id="{83E7E7CC-0DF1-E64B-84C2-84AAF9F41BB7}"/>
                </a:ext>
              </a:extLst>
            </p:cNvPr>
            <p:cNvSpPr/>
            <p:nvPr/>
          </p:nvSpPr>
          <p:spPr>
            <a:xfrm>
              <a:off x="9756920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8" name="Скругленный прямоугольник 557">
              <a:extLst>
                <a:ext uri="{FF2B5EF4-FFF2-40B4-BE49-F238E27FC236}">
                  <a16:creationId xmlns:a16="http://schemas.microsoft.com/office/drawing/2014/main" id="{C2F65F42-8903-1246-922C-358A2C055CCB}"/>
                </a:ext>
              </a:extLst>
            </p:cNvPr>
            <p:cNvSpPr/>
            <p:nvPr/>
          </p:nvSpPr>
          <p:spPr>
            <a:xfrm>
              <a:off x="9786920" y="5481199"/>
              <a:ext cx="300000" cy="30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9" name="Полилиния 558">
              <a:extLst>
                <a:ext uri="{FF2B5EF4-FFF2-40B4-BE49-F238E27FC236}">
                  <a16:creationId xmlns:a16="http://schemas.microsoft.com/office/drawing/2014/main" id="{9E89F42D-5AD5-1E41-B5FE-0596FC47C3B2}"/>
                </a:ext>
              </a:extLst>
            </p:cNvPr>
            <p:cNvSpPr/>
            <p:nvPr/>
          </p:nvSpPr>
          <p:spPr>
            <a:xfrm>
              <a:off x="9846918" y="5646197"/>
              <a:ext cx="180003" cy="75001"/>
            </a:xfrm>
            <a:custGeom>
              <a:avLst/>
              <a:gdLst>
                <a:gd name="connsiteX0" fmla="*/ 2521 w 180003"/>
                <a:gd name="connsiteY0" fmla="*/ 23322 h 75001"/>
                <a:gd name="connsiteX1" fmla="*/ 6681 w 180003"/>
                <a:gd name="connsiteY1" fmla="*/ 2520 h 75001"/>
                <a:gd name="connsiteX2" fmla="*/ 27482 w 180003"/>
                <a:gd name="connsiteY2" fmla="*/ 6681 h 75001"/>
                <a:gd name="connsiteX3" fmla="*/ 90002 w 180003"/>
                <a:gd name="connsiteY3" fmla="*/ 45002 h 75001"/>
                <a:gd name="connsiteX4" fmla="*/ 152520 w 180003"/>
                <a:gd name="connsiteY4" fmla="*/ 6681 h 75001"/>
                <a:gd name="connsiteX5" fmla="*/ 173322 w 180003"/>
                <a:gd name="connsiteY5" fmla="*/ 2520 h 75001"/>
                <a:gd name="connsiteX6" fmla="*/ 177483 w 180003"/>
                <a:gd name="connsiteY6" fmla="*/ 23322 h 75001"/>
                <a:gd name="connsiteX7" fmla="*/ 90002 w 180003"/>
                <a:gd name="connsiteY7" fmla="*/ 75002 h 75001"/>
                <a:gd name="connsiteX8" fmla="*/ 2521 w 180003"/>
                <a:gd name="connsiteY8" fmla="*/ 23322 h 75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003" h="75001">
                  <a:moveTo>
                    <a:pt x="2521" y="23322"/>
                  </a:moveTo>
                  <a:cubicBezTo>
                    <a:pt x="-2074" y="16430"/>
                    <a:pt x="-212" y="7116"/>
                    <a:pt x="6681" y="2520"/>
                  </a:cubicBezTo>
                  <a:cubicBezTo>
                    <a:pt x="13574" y="-2074"/>
                    <a:pt x="22887" y="-211"/>
                    <a:pt x="27482" y="6681"/>
                  </a:cubicBezTo>
                  <a:cubicBezTo>
                    <a:pt x="44838" y="32715"/>
                    <a:pt x="65316" y="45002"/>
                    <a:pt x="90002" y="45002"/>
                  </a:cubicBezTo>
                  <a:cubicBezTo>
                    <a:pt x="114687" y="45002"/>
                    <a:pt x="135165" y="32715"/>
                    <a:pt x="152520" y="6681"/>
                  </a:cubicBezTo>
                  <a:cubicBezTo>
                    <a:pt x="157116" y="-211"/>
                    <a:pt x="166430" y="-2074"/>
                    <a:pt x="173322" y="2520"/>
                  </a:cubicBezTo>
                  <a:cubicBezTo>
                    <a:pt x="180215" y="7116"/>
                    <a:pt x="182078" y="16430"/>
                    <a:pt x="177483" y="23322"/>
                  </a:cubicBezTo>
                  <a:cubicBezTo>
                    <a:pt x="154838" y="57288"/>
                    <a:pt x="125316" y="75002"/>
                    <a:pt x="90002" y="75002"/>
                  </a:cubicBezTo>
                  <a:cubicBezTo>
                    <a:pt x="54687" y="75002"/>
                    <a:pt x="25165" y="57288"/>
                    <a:pt x="2521" y="23322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60" name="Рисунок 248">
            <a:extLst>
              <a:ext uri="{FF2B5EF4-FFF2-40B4-BE49-F238E27FC236}">
                <a16:creationId xmlns:a16="http://schemas.microsoft.com/office/drawing/2014/main" id="{BF5A9561-C12A-3443-8E72-1BADA372F320}"/>
              </a:ext>
            </a:extLst>
          </p:cNvPr>
          <p:cNvGrpSpPr/>
          <p:nvPr/>
        </p:nvGrpSpPr>
        <p:grpSpPr>
          <a:xfrm>
            <a:off x="3682403" y="5134477"/>
            <a:ext cx="360000" cy="360000"/>
            <a:chOff x="3715856" y="5451199"/>
            <a:chExt cx="360000" cy="360000"/>
          </a:xfrm>
        </p:grpSpPr>
        <p:sp>
          <p:nvSpPr>
            <p:cNvPr id="561" name="Полилиния 560">
              <a:extLst>
                <a:ext uri="{FF2B5EF4-FFF2-40B4-BE49-F238E27FC236}">
                  <a16:creationId xmlns:a16="http://schemas.microsoft.com/office/drawing/2014/main" id="{E27DE8E5-F9B6-1245-A353-4F0262EB5461}"/>
                </a:ext>
              </a:extLst>
            </p:cNvPr>
            <p:cNvSpPr/>
            <p:nvPr/>
          </p:nvSpPr>
          <p:spPr>
            <a:xfrm>
              <a:off x="3715856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2" name="Полилиния 561">
              <a:extLst>
                <a:ext uri="{FF2B5EF4-FFF2-40B4-BE49-F238E27FC236}">
                  <a16:creationId xmlns:a16="http://schemas.microsoft.com/office/drawing/2014/main" id="{3075ACB0-8C36-7542-9459-0EE11D8F13CC}"/>
                </a:ext>
              </a:extLst>
            </p:cNvPr>
            <p:cNvSpPr/>
            <p:nvPr/>
          </p:nvSpPr>
          <p:spPr>
            <a:xfrm>
              <a:off x="3745856" y="5496199"/>
              <a:ext cx="105000" cy="210000"/>
            </a:xfrm>
            <a:custGeom>
              <a:avLst/>
              <a:gdLst>
                <a:gd name="connsiteX0" fmla="*/ 90000 w 105000"/>
                <a:gd name="connsiteY0" fmla="*/ 0 h 210000"/>
                <a:gd name="connsiteX1" fmla="*/ 105000 w 105000"/>
                <a:gd name="connsiteY1" fmla="*/ 0 h 210000"/>
                <a:gd name="connsiteX2" fmla="*/ 105000 w 105000"/>
                <a:gd name="connsiteY2" fmla="*/ 210000 h 210000"/>
                <a:gd name="connsiteX3" fmla="*/ 90000 w 105000"/>
                <a:gd name="connsiteY3" fmla="*/ 210000 h 210000"/>
                <a:gd name="connsiteX4" fmla="*/ 15000 w 105000"/>
                <a:gd name="connsiteY4" fmla="*/ 210000 h 210000"/>
                <a:gd name="connsiteX5" fmla="*/ 0 w 105000"/>
                <a:gd name="connsiteY5" fmla="*/ 210000 h 210000"/>
                <a:gd name="connsiteX6" fmla="*/ 0 w 105000"/>
                <a:gd name="connsiteY6" fmla="*/ 0 h 210000"/>
                <a:gd name="connsiteX7" fmla="*/ 15000 w 105000"/>
                <a:gd name="connsiteY7" fmla="*/ 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000" h="210000">
                  <a:moveTo>
                    <a:pt x="90000" y="0"/>
                  </a:moveTo>
                  <a:cubicBezTo>
                    <a:pt x="98284" y="0"/>
                    <a:pt x="105000" y="0"/>
                    <a:pt x="105000" y="0"/>
                  </a:cubicBezTo>
                  <a:lnTo>
                    <a:pt x="105000" y="210000"/>
                  </a:lnTo>
                  <a:cubicBezTo>
                    <a:pt x="105000" y="210000"/>
                    <a:pt x="98284" y="210000"/>
                    <a:pt x="90000" y="210000"/>
                  </a:cubicBezTo>
                  <a:lnTo>
                    <a:pt x="15000" y="210000"/>
                  </a:lnTo>
                  <a:cubicBezTo>
                    <a:pt x="6716" y="210000"/>
                    <a:pt x="0" y="210000"/>
                    <a:pt x="0" y="21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3" name="Полилиния 562">
              <a:extLst>
                <a:ext uri="{FF2B5EF4-FFF2-40B4-BE49-F238E27FC236}">
                  <a16:creationId xmlns:a16="http://schemas.microsoft.com/office/drawing/2014/main" id="{1A462ED4-3DE6-094A-A781-22AB20EE62CD}"/>
                </a:ext>
              </a:extLst>
            </p:cNvPr>
            <p:cNvSpPr/>
            <p:nvPr/>
          </p:nvSpPr>
          <p:spPr>
            <a:xfrm>
              <a:off x="3730855" y="5576760"/>
              <a:ext cx="331975" cy="159438"/>
            </a:xfrm>
            <a:custGeom>
              <a:avLst/>
              <a:gdLst>
                <a:gd name="connsiteX0" fmla="*/ 234355 w 331975"/>
                <a:gd name="connsiteY0" fmla="*/ 70246 h 159438"/>
                <a:gd name="connsiteX1" fmla="*/ 300001 w 331975"/>
                <a:gd name="connsiteY1" fmla="*/ 84439 h 159438"/>
                <a:gd name="connsiteX2" fmla="*/ 323420 w 331975"/>
                <a:gd name="connsiteY2" fmla="*/ 98230 h 159438"/>
                <a:gd name="connsiteX3" fmla="*/ 331258 w 331975"/>
                <a:gd name="connsiteY3" fmla="*/ 112706 h 159438"/>
                <a:gd name="connsiteX4" fmla="*/ 308465 w 331975"/>
                <a:gd name="connsiteY4" fmla="*/ 148490 h 159438"/>
                <a:gd name="connsiteX5" fmla="*/ 239584 w 331975"/>
                <a:gd name="connsiteY5" fmla="*/ 157348 h 159438"/>
                <a:gd name="connsiteX6" fmla="*/ 8788 w 331975"/>
                <a:gd name="connsiteY6" fmla="*/ 157559 h 159438"/>
                <a:gd name="connsiteX7" fmla="*/ 0 w 331975"/>
                <a:gd name="connsiteY7" fmla="*/ 148561 h 159438"/>
                <a:gd name="connsiteX8" fmla="*/ 1 w 331975"/>
                <a:gd name="connsiteY8" fmla="*/ 148561 h 159438"/>
                <a:gd name="connsiteX9" fmla="*/ 1 w 331975"/>
                <a:gd name="connsiteY9" fmla="*/ 55529 h 159438"/>
                <a:gd name="connsiteX10" fmla="*/ 128162 w 331975"/>
                <a:gd name="connsiteY10" fmla="*/ 3549 h 159438"/>
                <a:gd name="connsiteX11" fmla="*/ 129194 w 331975"/>
                <a:gd name="connsiteY11" fmla="*/ 2410 h 159438"/>
                <a:gd name="connsiteX12" fmla="*/ 141914 w 331975"/>
                <a:gd name="connsiteY12" fmla="*/ 2871 h 159438"/>
                <a:gd name="connsiteX13" fmla="*/ 159517 w 331975"/>
                <a:gd name="connsiteY13" fmla="*/ 21168 h 159438"/>
                <a:gd name="connsiteX14" fmla="*/ 158506 w 331975"/>
                <a:gd name="connsiteY14" fmla="*/ 22698 h 159438"/>
                <a:gd name="connsiteX15" fmla="*/ 136006 w 331975"/>
                <a:gd name="connsiteY15" fmla="*/ 61670 h 159438"/>
                <a:gd name="connsiteX16" fmla="*/ 141496 w 331975"/>
                <a:gd name="connsiteY16" fmla="*/ 82160 h 159438"/>
                <a:gd name="connsiteX17" fmla="*/ 161986 w 331975"/>
                <a:gd name="connsiteY17" fmla="*/ 76670 h 159438"/>
                <a:gd name="connsiteX18" fmla="*/ 182005 w 331975"/>
                <a:gd name="connsiteY18" fmla="*/ 41998 h 159438"/>
                <a:gd name="connsiteX19" fmla="*/ 201251 w 331975"/>
                <a:gd name="connsiteY19" fmla="*/ 55529 h 159438"/>
                <a:gd name="connsiteX20" fmla="*/ 206633 w 331975"/>
                <a:gd name="connsiteY20" fmla="*/ 58264 h 159438"/>
                <a:gd name="connsiteX21" fmla="*/ 196006 w 331975"/>
                <a:gd name="connsiteY21" fmla="*/ 76670 h 159438"/>
                <a:gd name="connsiteX22" fmla="*/ 201496 w 331975"/>
                <a:gd name="connsiteY22" fmla="*/ 97160 h 159438"/>
                <a:gd name="connsiteX23" fmla="*/ 221986 w 331975"/>
                <a:gd name="connsiteY23" fmla="*/ 91670 h 159438"/>
                <a:gd name="connsiteX24" fmla="*/ 234355 w 331975"/>
                <a:gd name="connsiteY24" fmla="*/ 70246 h 15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31975" h="159438">
                  <a:moveTo>
                    <a:pt x="234355" y="70246"/>
                  </a:moveTo>
                  <a:cubicBezTo>
                    <a:pt x="267410" y="82307"/>
                    <a:pt x="287740" y="81374"/>
                    <a:pt x="300001" y="84439"/>
                  </a:cubicBezTo>
                  <a:cubicBezTo>
                    <a:pt x="308768" y="86630"/>
                    <a:pt x="316574" y="91228"/>
                    <a:pt x="323420" y="98230"/>
                  </a:cubicBezTo>
                  <a:cubicBezTo>
                    <a:pt x="327331" y="102230"/>
                    <a:pt x="330046" y="107245"/>
                    <a:pt x="331258" y="112706"/>
                  </a:cubicBezTo>
                  <a:cubicBezTo>
                    <a:pt x="334846" y="128882"/>
                    <a:pt x="324641" y="144902"/>
                    <a:pt x="308465" y="148490"/>
                  </a:cubicBezTo>
                  <a:cubicBezTo>
                    <a:pt x="289111" y="152783"/>
                    <a:pt x="266150" y="155735"/>
                    <a:pt x="239584" y="157348"/>
                  </a:cubicBezTo>
                  <a:cubicBezTo>
                    <a:pt x="194867" y="160063"/>
                    <a:pt x="117935" y="160133"/>
                    <a:pt x="8788" y="157559"/>
                  </a:cubicBezTo>
                  <a:cubicBezTo>
                    <a:pt x="3902" y="157444"/>
                    <a:pt x="0" y="153449"/>
                    <a:pt x="0" y="148561"/>
                  </a:cubicBezTo>
                  <a:lnTo>
                    <a:pt x="1" y="148561"/>
                  </a:lnTo>
                  <a:cubicBezTo>
                    <a:pt x="1" y="105626"/>
                    <a:pt x="1" y="74615"/>
                    <a:pt x="1" y="55529"/>
                  </a:cubicBezTo>
                  <a:cubicBezTo>
                    <a:pt x="63748" y="49373"/>
                    <a:pt x="106468" y="32045"/>
                    <a:pt x="128162" y="3549"/>
                  </a:cubicBezTo>
                  <a:cubicBezTo>
                    <a:pt x="128473" y="3140"/>
                    <a:pt x="128818" y="2759"/>
                    <a:pt x="129194" y="2410"/>
                  </a:cubicBezTo>
                  <a:cubicBezTo>
                    <a:pt x="132834" y="-975"/>
                    <a:pt x="138529" y="-769"/>
                    <a:pt x="141914" y="2871"/>
                  </a:cubicBezTo>
                  <a:cubicBezTo>
                    <a:pt x="148144" y="9570"/>
                    <a:pt x="154012" y="15669"/>
                    <a:pt x="159517" y="21168"/>
                  </a:cubicBezTo>
                  <a:cubicBezTo>
                    <a:pt x="159154" y="21651"/>
                    <a:pt x="158815" y="22162"/>
                    <a:pt x="158506" y="22698"/>
                  </a:cubicBezTo>
                  <a:lnTo>
                    <a:pt x="136006" y="61670"/>
                  </a:lnTo>
                  <a:cubicBezTo>
                    <a:pt x="131863" y="68843"/>
                    <a:pt x="134322" y="78017"/>
                    <a:pt x="141496" y="82160"/>
                  </a:cubicBezTo>
                  <a:cubicBezTo>
                    <a:pt x="148670" y="86302"/>
                    <a:pt x="157844" y="83843"/>
                    <a:pt x="161986" y="76670"/>
                  </a:cubicBezTo>
                  <a:lnTo>
                    <a:pt x="182005" y="41998"/>
                  </a:lnTo>
                  <a:cubicBezTo>
                    <a:pt x="189458" y="48226"/>
                    <a:pt x="195874" y="52736"/>
                    <a:pt x="201251" y="55529"/>
                  </a:cubicBezTo>
                  <a:cubicBezTo>
                    <a:pt x="203072" y="56476"/>
                    <a:pt x="204866" y="57386"/>
                    <a:pt x="206633" y="58264"/>
                  </a:cubicBezTo>
                  <a:lnTo>
                    <a:pt x="196006" y="76670"/>
                  </a:lnTo>
                  <a:cubicBezTo>
                    <a:pt x="191863" y="83843"/>
                    <a:pt x="194321" y="93017"/>
                    <a:pt x="201496" y="97160"/>
                  </a:cubicBezTo>
                  <a:cubicBezTo>
                    <a:pt x="208670" y="101302"/>
                    <a:pt x="217844" y="98843"/>
                    <a:pt x="221986" y="91670"/>
                  </a:cubicBezTo>
                  <a:lnTo>
                    <a:pt x="234355" y="70246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64" name="Рисунок 249">
            <a:extLst>
              <a:ext uri="{FF2B5EF4-FFF2-40B4-BE49-F238E27FC236}">
                <a16:creationId xmlns:a16="http://schemas.microsoft.com/office/drawing/2014/main" id="{1330B4BA-916F-604C-9C39-1A96C03514E3}"/>
              </a:ext>
            </a:extLst>
          </p:cNvPr>
          <p:cNvGrpSpPr/>
          <p:nvPr/>
        </p:nvGrpSpPr>
        <p:grpSpPr>
          <a:xfrm>
            <a:off x="8213201" y="5134477"/>
            <a:ext cx="360000" cy="360000"/>
            <a:chOff x="8246654" y="5451199"/>
            <a:chExt cx="360000" cy="360000"/>
          </a:xfrm>
        </p:grpSpPr>
        <p:sp>
          <p:nvSpPr>
            <p:cNvPr id="565" name="Полилиния 564">
              <a:extLst>
                <a:ext uri="{FF2B5EF4-FFF2-40B4-BE49-F238E27FC236}">
                  <a16:creationId xmlns:a16="http://schemas.microsoft.com/office/drawing/2014/main" id="{5150A1D6-100E-A043-8431-7B450598EDB7}"/>
                </a:ext>
              </a:extLst>
            </p:cNvPr>
            <p:cNvSpPr/>
            <p:nvPr/>
          </p:nvSpPr>
          <p:spPr>
            <a:xfrm>
              <a:off x="8246654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6" name="Полилиния 565">
              <a:extLst>
                <a:ext uri="{FF2B5EF4-FFF2-40B4-BE49-F238E27FC236}">
                  <a16:creationId xmlns:a16="http://schemas.microsoft.com/office/drawing/2014/main" id="{676E5233-9760-F346-82BD-EE4BD87A99BF}"/>
                </a:ext>
              </a:extLst>
            </p:cNvPr>
            <p:cNvSpPr/>
            <p:nvPr/>
          </p:nvSpPr>
          <p:spPr>
            <a:xfrm>
              <a:off x="8306654" y="5526199"/>
              <a:ext cx="270000" cy="195000"/>
            </a:xfrm>
            <a:custGeom>
              <a:avLst/>
              <a:gdLst>
                <a:gd name="connsiteX0" fmla="*/ 134754 w 270000"/>
                <a:gd name="connsiteY0" fmla="*/ 195000 h 195000"/>
                <a:gd name="connsiteX1" fmla="*/ 22500 w 270000"/>
                <a:gd name="connsiteY1" fmla="*/ 90000 h 195000"/>
                <a:gd name="connsiteX2" fmla="*/ 0 w 270000"/>
                <a:gd name="connsiteY2" fmla="*/ 92250 h 195000"/>
                <a:gd name="connsiteX3" fmla="*/ 0 w 270000"/>
                <a:gd name="connsiteY3" fmla="*/ 30000 h 195000"/>
                <a:gd name="connsiteX4" fmla="*/ 30000 w 270000"/>
                <a:gd name="connsiteY4" fmla="*/ 0 h 195000"/>
                <a:gd name="connsiteX5" fmla="*/ 240000 w 270000"/>
                <a:gd name="connsiteY5" fmla="*/ 0 h 195000"/>
                <a:gd name="connsiteX6" fmla="*/ 270000 w 270000"/>
                <a:gd name="connsiteY6" fmla="*/ 30000 h 195000"/>
                <a:gd name="connsiteX7" fmla="*/ 270000 w 270000"/>
                <a:gd name="connsiteY7" fmla="*/ 165000 h 195000"/>
                <a:gd name="connsiteX8" fmla="*/ 240000 w 270000"/>
                <a:gd name="connsiteY8" fmla="*/ 195000 h 195000"/>
                <a:gd name="connsiteX9" fmla="*/ 134754 w 270000"/>
                <a:gd name="connsiteY9" fmla="*/ 195000 h 195000"/>
                <a:gd name="connsiteX10" fmla="*/ 227166 w 270000"/>
                <a:gd name="connsiteY10" fmla="*/ 27595 h 195000"/>
                <a:gd name="connsiteX11" fmla="*/ 135000 w 270000"/>
                <a:gd name="connsiteY11" fmla="*/ 77223 h 195000"/>
                <a:gd name="connsiteX12" fmla="*/ 42834 w 270000"/>
                <a:gd name="connsiteY12" fmla="*/ 27595 h 195000"/>
                <a:gd name="connsiteX13" fmla="*/ 27595 w 270000"/>
                <a:gd name="connsiteY13" fmla="*/ 32166 h 195000"/>
                <a:gd name="connsiteX14" fmla="*/ 32166 w 270000"/>
                <a:gd name="connsiteY14" fmla="*/ 47405 h 195000"/>
                <a:gd name="connsiteX15" fmla="*/ 129666 w 270000"/>
                <a:gd name="connsiteY15" fmla="*/ 99906 h 195000"/>
                <a:gd name="connsiteX16" fmla="*/ 140334 w 270000"/>
                <a:gd name="connsiteY16" fmla="*/ 99906 h 195000"/>
                <a:gd name="connsiteX17" fmla="*/ 237834 w 270000"/>
                <a:gd name="connsiteY17" fmla="*/ 47405 h 195000"/>
                <a:gd name="connsiteX18" fmla="*/ 242406 w 270000"/>
                <a:gd name="connsiteY18" fmla="*/ 32166 h 195000"/>
                <a:gd name="connsiteX19" fmla="*/ 227166 w 270000"/>
                <a:gd name="connsiteY19" fmla="*/ 27595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0000" h="195000">
                  <a:moveTo>
                    <a:pt x="134754" y="195000"/>
                  </a:moveTo>
                  <a:cubicBezTo>
                    <a:pt x="130895" y="136365"/>
                    <a:pt x="82112" y="90000"/>
                    <a:pt x="22500" y="90000"/>
                  </a:cubicBezTo>
                  <a:cubicBezTo>
                    <a:pt x="14795" y="90000"/>
                    <a:pt x="7270" y="90774"/>
                    <a:pt x="0" y="9225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165000"/>
                  </a:lnTo>
                  <a:cubicBezTo>
                    <a:pt x="270000" y="181569"/>
                    <a:pt x="256569" y="195000"/>
                    <a:pt x="240000" y="195000"/>
                  </a:cubicBezTo>
                  <a:lnTo>
                    <a:pt x="134754" y="195000"/>
                  </a:lnTo>
                  <a:close/>
                  <a:moveTo>
                    <a:pt x="227166" y="27595"/>
                  </a:moveTo>
                  <a:lnTo>
                    <a:pt x="135000" y="77223"/>
                  </a:lnTo>
                  <a:lnTo>
                    <a:pt x="42834" y="27595"/>
                  </a:lnTo>
                  <a:cubicBezTo>
                    <a:pt x="37363" y="24649"/>
                    <a:pt x="30540" y="26696"/>
                    <a:pt x="27595" y="32166"/>
                  </a:cubicBezTo>
                  <a:cubicBezTo>
                    <a:pt x="24649" y="37637"/>
                    <a:pt x="26696" y="44460"/>
                    <a:pt x="32166" y="47405"/>
                  </a:cubicBezTo>
                  <a:lnTo>
                    <a:pt x="129666" y="99906"/>
                  </a:lnTo>
                  <a:cubicBezTo>
                    <a:pt x="132996" y="101698"/>
                    <a:pt x="137004" y="101698"/>
                    <a:pt x="140334" y="99906"/>
                  </a:cubicBezTo>
                  <a:lnTo>
                    <a:pt x="237834" y="47405"/>
                  </a:lnTo>
                  <a:cubicBezTo>
                    <a:pt x="243305" y="44460"/>
                    <a:pt x="245351" y="37637"/>
                    <a:pt x="242406" y="32166"/>
                  </a:cubicBezTo>
                  <a:cubicBezTo>
                    <a:pt x="239460" y="26696"/>
                    <a:pt x="232637" y="24649"/>
                    <a:pt x="227166" y="2759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7" name="Полилиния 566">
              <a:extLst>
                <a:ext uri="{FF2B5EF4-FFF2-40B4-BE49-F238E27FC236}">
                  <a16:creationId xmlns:a16="http://schemas.microsoft.com/office/drawing/2014/main" id="{748EB55C-54DC-EF4A-9A41-CE16006BA35F}"/>
                </a:ext>
              </a:extLst>
            </p:cNvPr>
            <p:cNvSpPr/>
            <p:nvPr/>
          </p:nvSpPr>
          <p:spPr>
            <a:xfrm>
              <a:off x="8321654" y="5653699"/>
              <a:ext cx="60003" cy="97503"/>
            </a:xfrm>
            <a:custGeom>
              <a:avLst/>
              <a:gdLst>
                <a:gd name="connsiteX0" fmla="*/ 51708 w 60003"/>
                <a:gd name="connsiteY0" fmla="*/ 69084 h 97503"/>
                <a:gd name="connsiteX1" fmla="*/ 58416 w 60003"/>
                <a:gd name="connsiteY1" fmla="*/ 89208 h 97503"/>
                <a:gd name="connsiteX2" fmla="*/ 38292 w 60003"/>
                <a:gd name="connsiteY2" fmla="*/ 95916 h 97503"/>
                <a:gd name="connsiteX3" fmla="*/ 0 w 60003"/>
                <a:gd name="connsiteY3" fmla="*/ 76770 h 97503"/>
                <a:gd name="connsiteX4" fmla="*/ 0 w 60003"/>
                <a:gd name="connsiteY4" fmla="*/ 15000 h 97503"/>
                <a:gd name="connsiteX5" fmla="*/ 15000 w 60003"/>
                <a:gd name="connsiteY5" fmla="*/ 0 h 97503"/>
                <a:gd name="connsiteX6" fmla="*/ 30000 w 60003"/>
                <a:gd name="connsiteY6" fmla="*/ 15000 h 97503"/>
                <a:gd name="connsiteX7" fmla="*/ 30000 w 60003"/>
                <a:gd name="connsiteY7" fmla="*/ 58230 h 97503"/>
                <a:gd name="connsiteX8" fmla="*/ 51708 w 60003"/>
                <a:gd name="connsiteY8" fmla="*/ 69084 h 97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003" h="97503">
                  <a:moveTo>
                    <a:pt x="51708" y="69084"/>
                  </a:moveTo>
                  <a:cubicBezTo>
                    <a:pt x="59118" y="72789"/>
                    <a:pt x="62121" y="81798"/>
                    <a:pt x="58416" y="89208"/>
                  </a:cubicBezTo>
                  <a:cubicBezTo>
                    <a:pt x="54712" y="96618"/>
                    <a:pt x="45702" y="99621"/>
                    <a:pt x="38292" y="95916"/>
                  </a:cubicBezTo>
                  <a:lnTo>
                    <a:pt x="0" y="76770"/>
                  </a:lnTo>
                  <a:lnTo>
                    <a:pt x="0" y="15000"/>
                  </a:lnTo>
                  <a:cubicBezTo>
                    <a:pt x="0" y="6715"/>
                    <a:pt x="6716" y="0"/>
                    <a:pt x="15000" y="0"/>
                  </a:cubicBezTo>
                  <a:cubicBezTo>
                    <a:pt x="23284" y="0"/>
                    <a:pt x="30000" y="6715"/>
                    <a:pt x="30000" y="15000"/>
                  </a:cubicBezTo>
                  <a:lnTo>
                    <a:pt x="30000" y="58230"/>
                  </a:lnTo>
                  <a:lnTo>
                    <a:pt x="51708" y="69084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68" name="Рисунок 250">
            <a:extLst>
              <a:ext uri="{FF2B5EF4-FFF2-40B4-BE49-F238E27FC236}">
                <a16:creationId xmlns:a16="http://schemas.microsoft.com/office/drawing/2014/main" id="{2CD4DFB6-9FD5-6542-9071-96E28034A0B2}"/>
              </a:ext>
            </a:extLst>
          </p:cNvPr>
          <p:cNvGrpSpPr/>
          <p:nvPr/>
        </p:nvGrpSpPr>
        <p:grpSpPr>
          <a:xfrm>
            <a:off x="2927270" y="5134477"/>
            <a:ext cx="360000" cy="360000"/>
            <a:chOff x="2960723" y="5451199"/>
            <a:chExt cx="360000" cy="360000"/>
          </a:xfrm>
        </p:grpSpPr>
        <p:sp>
          <p:nvSpPr>
            <p:cNvPr id="1030" name="Полилиния 1029">
              <a:extLst>
                <a:ext uri="{FF2B5EF4-FFF2-40B4-BE49-F238E27FC236}">
                  <a16:creationId xmlns:a16="http://schemas.microsoft.com/office/drawing/2014/main" id="{FEFAB809-F8B0-DC4B-8158-7B861CB84371}"/>
                </a:ext>
              </a:extLst>
            </p:cNvPr>
            <p:cNvSpPr/>
            <p:nvPr/>
          </p:nvSpPr>
          <p:spPr>
            <a:xfrm>
              <a:off x="2960723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1" name="Полилиния 1030">
              <a:extLst>
                <a:ext uri="{FF2B5EF4-FFF2-40B4-BE49-F238E27FC236}">
                  <a16:creationId xmlns:a16="http://schemas.microsoft.com/office/drawing/2014/main" id="{61795EE0-B8E9-E546-B9F7-00D4EA3FD885}"/>
                </a:ext>
              </a:extLst>
            </p:cNvPr>
            <p:cNvSpPr/>
            <p:nvPr/>
          </p:nvSpPr>
          <p:spPr>
            <a:xfrm>
              <a:off x="3005723" y="5496199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9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2" name="Полилиния 1031">
              <a:extLst>
                <a:ext uri="{FF2B5EF4-FFF2-40B4-BE49-F238E27FC236}">
                  <a16:creationId xmlns:a16="http://schemas.microsoft.com/office/drawing/2014/main" id="{741C0BFA-FB6F-E44D-B7B6-5EDF63CE5241}"/>
                </a:ext>
              </a:extLst>
            </p:cNvPr>
            <p:cNvSpPr/>
            <p:nvPr/>
          </p:nvSpPr>
          <p:spPr>
            <a:xfrm>
              <a:off x="3075424" y="5692473"/>
              <a:ext cx="150007" cy="75007"/>
            </a:xfrm>
            <a:custGeom>
              <a:avLst/>
              <a:gdLst>
                <a:gd name="connsiteX0" fmla="*/ 18886 w 150007"/>
                <a:gd name="connsiteY0" fmla="*/ 515 h 75007"/>
                <a:gd name="connsiteX1" fmla="*/ 29493 w 150007"/>
                <a:gd name="connsiteY1" fmla="*/ 18886 h 75007"/>
                <a:gd name="connsiteX2" fmla="*/ 11121 w 150007"/>
                <a:gd name="connsiteY2" fmla="*/ 29492 h 75007"/>
                <a:gd name="connsiteX3" fmla="*/ 515 w 150007"/>
                <a:gd name="connsiteY3" fmla="*/ 11122 h 75007"/>
                <a:gd name="connsiteX4" fmla="*/ 18886 w 150007"/>
                <a:gd name="connsiteY4" fmla="*/ 515 h 75007"/>
                <a:gd name="connsiteX5" fmla="*/ 138887 w 150007"/>
                <a:gd name="connsiteY5" fmla="*/ 515 h 75007"/>
                <a:gd name="connsiteX6" fmla="*/ 149493 w 150007"/>
                <a:gd name="connsiteY6" fmla="*/ 18886 h 75007"/>
                <a:gd name="connsiteX7" fmla="*/ 131121 w 150007"/>
                <a:gd name="connsiteY7" fmla="*/ 29492 h 75007"/>
                <a:gd name="connsiteX8" fmla="*/ 120515 w 150007"/>
                <a:gd name="connsiteY8" fmla="*/ 11122 h 75007"/>
                <a:gd name="connsiteX9" fmla="*/ 138887 w 150007"/>
                <a:gd name="connsiteY9" fmla="*/ 515 h 75007"/>
                <a:gd name="connsiteX10" fmla="*/ 78887 w 150007"/>
                <a:gd name="connsiteY10" fmla="*/ 515 h 75007"/>
                <a:gd name="connsiteX11" fmla="*/ 89493 w 150007"/>
                <a:gd name="connsiteY11" fmla="*/ 18886 h 75007"/>
                <a:gd name="connsiteX12" fmla="*/ 71121 w 150007"/>
                <a:gd name="connsiteY12" fmla="*/ 29492 h 75007"/>
                <a:gd name="connsiteX13" fmla="*/ 60515 w 150007"/>
                <a:gd name="connsiteY13" fmla="*/ 11122 h 75007"/>
                <a:gd name="connsiteX14" fmla="*/ 78887 w 150007"/>
                <a:gd name="connsiteY14" fmla="*/ 515 h 75007"/>
                <a:gd name="connsiteX15" fmla="*/ 108887 w 150007"/>
                <a:gd name="connsiteY15" fmla="*/ 45515 h 75007"/>
                <a:gd name="connsiteX16" fmla="*/ 119493 w 150007"/>
                <a:gd name="connsiteY16" fmla="*/ 63886 h 75007"/>
                <a:gd name="connsiteX17" fmla="*/ 101121 w 150007"/>
                <a:gd name="connsiteY17" fmla="*/ 74492 h 75007"/>
                <a:gd name="connsiteX18" fmla="*/ 90515 w 150007"/>
                <a:gd name="connsiteY18" fmla="*/ 56122 h 75007"/>
                <a:gd name="connsiteX19" fmla="*/ 108887 w 150007"/>
                <a:gd name="connsiteY19" fmla="*/ 45515 h 75007"/>
                <a:gd name="connsiteX20" fmla="*/ 48887 w 150007"/>
                <a:gd name="connsiteY20" fmla="*/ 45515 h 75007"/>
                <a:gd name="connsiteX21" fmla="*/ 59493 w 150007"/>
                <a:gd name="connsiteY21" fmla="*/ 63886 h 75007"/>
                <a:gd name="connsiteX22" fmla="*/ 41121 w 150007"/>
                <a:gd name="connsiteY22" fmla="*/ 74492 h 75007"/>
                <a:gd name="connsiteX23" fmla="*/ 30515 w 150007"/>
                <a:gd name="connsiteY23" fmla="*/ 56122 h 75007"/>
                <a:gd name="connsiteX24" fmla="*/ 48887 w 150007"/>
                <a:gd name="connsiteY24" fmla="*/ 45515 h 75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0007" h="75007">
                  <a:moveTo>
                    <a:pt x="18886" y="515"/>
                  </a:moveTo>
                  <a:cubicBezTo>
                    <a:pt x="26888" y="2659"/>
                    <a:pt x="31637" y="10883"/>
                    <a:pt x="29493" y="18886"/>
                  </a:cubicBezTo>
                  <a:cubicBezTo>
                    <a:pt x="27348" y="26888"/>
                    <a:pt x="19123" y="31637"/>
                    <a:pt x="11121" y="29492"/>
                  </a:cubicBezTo>
                  <a:cubicBezTo>
                    <a:pt x="3119" y="27349"/>
                    <a:pt x="-1629" y="19123"/>
                    <a:pt x="515" y="11122"/>
                  </a:cubicBezTo>
                  <a:cubicBezTo>
                    <a:pt x="2659" y="3119"/>
                    <a:pt x="10884" y="-1630"/>
                    <a:pt x="18886" y="515"/>
                  </a:cubicBezTo>
                  <a:close/>
                  <a:moveTo>
                    <a:pt x="138887" y="515"/>
                  </a:moveTo>
                  <a:cubicBezTo>
                    <a:pt x="146888" y="2659"/>
                    <a:pt x="151637" y="10883"/>
                    <a:pt x="149493" y="18886"/>
                  </a:cubicBezTo>
                  <a:cubicBezTo>
                    <a:pt x="147348" y="26888"/>
                    <a:pt x="139124" y="31637"/>
                    <a:pt x="131121" y="29492"/>
                  </a:cubicBezTo>
                  <a:cubicBezTo>
                    <a:pt x="123120" y="27349"/>
                    <a:pt x="118371" y="19123"/>
                    <a:pt x="120515" y="11122"/>
                  </a:cubicBezTo>
                  <a:cubicBezTo>
                    <a:pt x="122660" y="3119"/>
                    <a:pt x="130884" y="-1630"/>
                    <a:pt x="138887" y="515"/>
                  </a:cubicBezTo>
                  <a:close/>
                  <a:moveTo>
                    <a:pt x="78887" y="515"/>
                  </a:moveTo>
                  <a:cubicBezTo>
                    <a:pt x="86888" y="2659"/>
                    <a:pt x="91637" y="10883"/>
                    <a:pt x="89493" y="18886"/>
                  </a:cubicBezTo>
                  <a:cubicBezTo>
                    <a:pt x="87348" y="26888"/>
                    <a:pt x="79124" y="31637"/>
                    <a:pt x="71121" y="29492"/>
                  </a:cubicBezTo>
                  <a:cubicBezTo>
                    <a:pt x="63120" y="27349"/>
                    <a:pt x="58371" y="19123"/>
                    <a:pt x="60515" y="11122"/>
                  </a:cubicBezTo>
                  <a:cubicBezTo>
                    <a:pt x="62660" y="3119"/>
                    <a:pt x="70884" y="-1630"/>
                    <a:pt x="78887" y="515"/>
                  </a:cubicBezTo>
                  <a:close/>
                  <a:moveTo>
                    <a:pt x="108887" y="45515"/>
                  </a:moveTo>
                  <a:cubicBezTo>
                    <a:pt x="116888" y="47659"/>
                    <a:pt x="121637" y="55883"/>
                    <a:pt x="119493" y="63886"/>
                  </a:cubicBezTo>
                  <a:cubicBezTo>
                    <a:pt x="117348" y="71888"/>
                    <a:pt x="109124" y="76637"/>
                    <a:pt x="101121" y="74492"/>
                  </a:cubicBezTo>
                  <a:cubicBezTo>
                    <a:pt x="93120" y="72349"/>
                    <a:pt x="88371" y="64123"/>
                    <a:pt x="90515" y="56122"/>
                  </a:cubicBezTo>
                  <a:cubicBezTo>
                    <a:pt x="92660" y="48119"/>
                    <a:pt x="100884" y="43370"/>
                    <a:pt x="108887" y="45515"/>
                  </a:cubicBezTo>
                  <a:close/>
                  <a:moveTo>
                    <a:pt x="48887" y="45515"/>
                  </a:moveTo>
                  <a:cubicBezTo>
                    <a:pt x="56888" y="47659"/>
                    <a:pt x="61637" y="55883"/>
                    <a:pt x="59493" y="63886"/>
                  </a:cubicBezTo>
                  <a:cubicBezTo>
                    <a:pt x="57348" y="71888"/>
                    <a:pt x="49124" y="76637"/>
                    <a:pt x="41121" y="74492"/>
                  </a:cubicBezTo>
                  <a:cubicBezTo>
                    <a:pt x="33119" y="72349"/>
                    <a:pt x="28371" y="64123"/>
                    <a:pt x="30515" y="56122"/>
                  </a:cubicBezTo>
                  <a:cubicBezTo>
                    <a:pt x="32659" y="48119"/>
                    <a:pt x="40884" y="43370"/>
                    <a:pt x="48887" y="45515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33" name="Рисунок 251">
            <a:extLst>
              <a:ext uri="{FF2B5EF4-FFF2-40B4-BE49-F238E27FC236}">
                <a16:creationId xmlns:a16="http://schemas.microsoft.com/office/drawing/2014/main" id="{BFB414CF-316B-3944-9601-60542A64298D}"/>
              </a:ext>
            </a:extLst>
          </p:cNvPr>
          <p:cNvGrpSpPr/>
          <p:nvPr/>
        </p:nvGrpSpPr>
        <p:grpSpPr>
          <a:xfrm>
            <a:off x="4437536" y="5134477"/>
            <a:ext cx="360000" cy="360000"/>
            <a:chOff x="4470989" y="5451199"/>
            <a:chExt cx="360000" cy="360000"/>
          </a:xfrm>
        </p:grpSpPr>
        <p:sp>
          <p:nvSpPr>
            <p:cNvPr id="1034" name="Полилиния 1033">
              <a:extLst>
                <a:ext uri="{FF2B5EF4-FFF2-40B4-BE49-F238E27FC236}">
                  <a16:creationId xmlns:a16="http://schemas.microsoft.com/office/drawing/2014/main" id="{93990F47-9B90-A947-8362-D93A6BD1A213}"/>
                </a:ext>
              </a:extLst>
            </p:cNvPr>
            <p:cNvSpPr/>
            <p:nvPr/>
          </p:nvSpPr>
          <p:spPr>
            <a:xfrm>
              <a:off x="4470989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5" name="Полилиния 1034">
              <a:extLst>
                <a:ext uri="{FF2B5EF4-FFF2-40B4-BE49-F238E27FC236}">
                  <a16:creationId xmlns:a16="http://schemas.microsoft.com/office/drawing/2014/main" id="{42608278-AE22-5D47-A38C-A0FAAAA5679D}"/>
                </a:ext>
              </a:extLst>
            </p:cNvPr>
            <p:cNvSpPr/>
            <p:nvPr/>
          </p:nvSpPr>
          <p:spPr>
            <a:xfrm>
              <a:off x="4515989" y="5496199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9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6" name="Полилиния 1035">
              <a:extLst>
                <a:ext uri="{FF2B5EF4-FFF2-40B4-BE49-F238E27FC236}">
                  <a16:creationId xmlns:a16="http://schemas.microsoft.com/office/drawing/2014/main" id="{193BA6BD-CB7A-314C-B07F-B99276B7BE94}"/>
                </a:ext>
              </a:extLst>
            </p:cNvPr>
            <p:cNvSpPr/>
            <p:nvPr/>
          </p:nvSpPr>
          <p:spPr>
            <a:xfrm>
              <a:off x="4570690" y="5722473"/>
              <a:ext cx="150007" cy="30007"/>
            </a:xfrm>
            <a:custGeom>
              <a:avLst/>
              <a:gdLst>
                <a:gd name="connsiteX0" fmla="*/ 78887 w 150007"/>
                <a:gd name="connsiteY0" fmla="*/ 515 h 30007"/>
                <a:gd name="connsiteX1" fmla="*/ 89493 w 150007"/>
                <a:gd name="connsiteY1" fmla="*/ 18886 h 30007"/>
                <a:gd name="connsiteX2" fmla="*/ 71121 w 150007"/>
                <a:gd name="connsiteY2" fmla="*/ 29492 h 30007"/>
                <a:gd name="connsiteX3" fmla="*/ 60515 w 150007"/>
                <a:gd name="connsiteY3" fmla="*/ 11122 h 30007"/>
                <a:gd name="connsiteX4" fmla="*/ 78887 w 150007"/>
                <a:gd name="connsiteY4" fmla="*/ 515 h 30007"/>
                <a:gd name="connsiteX5" fmla="*/ 138887 w 150007"/>
                <a:gd name="connsiteY5" fmla="*/ 515 h 30007"/>
                <a:gd name="connsiteX6" fmla="*/ 149493 w 150007"/>
                <a:gd name="connsiteY6" fmla="*/ 18886 h 30007"/>
                <a:gd name="connsiteX7" fmla="*/ 131121 w 150007"/>
                <a:gd name="connsiteY7" fmla="*/ 29492 h 30007"/>
                <a:gd name="connsiteX8" fmla="*/ 120515 w 150007"/>
                <a:gd name="connsiteY8" fmla="*/ 11122 h 30007"/>
                <a:gd name="connsiteX9" fmla="*/ 138887 w 150007"/>
                <a:gd name="connsiteY9" fmla="*/ 515 h 30007"/>
                <a:gd name="connsiteX10" fmla="*/ 18886 w 150007"/>
                <a:gd name="connsiteY10" fmla="*/ 515 h 30007"/>
                <a:gd name="connsiteX11" fmla="*/ 29493 w 150007"/>
                <a:gd name="connsiteY11" fmla="*/ 18886 h 30007"/>
                <a:gd name="connsiteX12" fmla="*/ 11121 w 150007"/>
                <a:gd name="connsiteY12" fmla="*/ 29492 h 30007"/>
                <a:gd name="connsiteX13" fmla="*/ 515 w 150007"/>
                <a:gd name="connsiteY13" fmla="*/ 11122 h 30007"/>
                <a:gd name="connsiteX14" fmla="*/ 18886 w 150007"/>
                <a:gd name="connsiteY14" fmla="*/ 515 h 3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0007" h="30007">
                  <a:moveTo>
                    <a:pt x="78887" y="515"/>
                  </a:moveTo>
                  <a:cubicBezTo>
                    <a:pt x="86888" y="2659"/>
                    <a:pt x="91637" y="10883"/>
                    <a:pt x="89493" y="18886"/>
                  </a:cubicBezTo>
                  <a:cubicBezTo>
                    <a:pt x="87348" y="26888"/>
                    <a:pt x="79124" y="31637"/>
                    <a:pt x="71121" y="29492"/>
                  </a:cubicBezTo>
                  <a:cubicBezTo>
                    <a:pt x="63120" y="27349"/>
                    <a:pt x="58371" y="19123"/>
                    <a:pt x="60515" y="11122"/>
                  </a:cubicBezTo>
                  <a:cubicBezTo>
                    <a:pt x="62660" y="3119"/>
                    <a:pt x="70884" y="-1630"/>
                    <a:pt x="78887" y="515"/>
                  </a:cubicBezTo>
                  <a:close/>
                  <a:moveTo>
                    <a:pt x="138887" y="515"/>
                  </a:moveTo>
                  <a:cubicBezTo>
                    <a:pt x="146888" y="2659"/>
                    <a:pt x="151637" y="10883"/>
                    <a:pt x="149493" y="18886"/>
                  </a:cubicBezTo>
                  <a:cubicBezTo>
                    <a:pt x="147348" y="26888"/>
                    <a:pt x="139124" y="31637"/>
                    <a:pt x="131121" y="29492"/>
                  </a:cubicBezTo>
                  <a:cubicBezTo>
                    <a:pt x="123120" y="27349"/>
                    <a:pt x="118371" y="19123"/>
                    <a:pt x="120515" y="11122"/>
                  </a:cubicBezTo>
                  <a:cubicBezTo>
                    <a:pt x="122660" y="3119"/>
                    <a:pt x="130884" y="-1630"/>
                    <a:pt x="138887" y="515"/>
                  </a:cubicBezTo>
                  <a:close/>
                  <a:moveTo>
                    <a:pt x="18886" y="515"/>
                  </a:moveTo>
                  <a:cubicBezTo>
                    <a:pt x="26888" y="2659"/>
                    <a:pt x="31637" y="10883"/>
                    <a:pt x="29493" y="18886"/>
                  </a:cubicBezTo>
                  <a:cubicBezTo>
                    <a:pt x="27348" y="26888"/>
                    <a:pt x="19123" y="31637"/>
                    <a:pt x="11121" y="29492"/>
                  </a:cubicBezTo>
                  <a:cubicBezTo>
                    <a:pt x="3119" y="27349"/>
                    <a:pt x="-1629" y="19123"/>
                    <a:pt x="515" y="11122"/>
                  </a:cubicBezTo>
                  <a:cubicBezTo>
                    <a:pt x="2659" y="3119"/>
                    <a:pt x="10884" y="-1630"/>
                    <a:pt x="18886" y="515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37" name="Рисунок 252">
            <a:extLst>
              <a:ext uri="{FF2B5EF4-FFF2-40B4-BE49-F238E27FC236}">
                <a16:creationId xmlns:a16="http://schemas.microsoft.com/office/drawing/2014/main" id="{92047BEB-71A3-234D-BEFD-A08C725729DF}"/>
              </a:ext>
            </a:extLst>
          </p:cNvPr>
          <p:cNvGrpSpPr/>
          <p:nvPr/>
        </p:nvGrpSpPr>
        <p:grpSpPr>
          <a:xfrm>
            <a:off x="5192669" y="5134477"/>
            <a:ext cx="360000" cy="361281"/>
            <a:chOff x="5226122" y="5451199"/>
            <a:chExt cx="360000" cy="361281"/>
          </a:xfrm>
        </p:grpSpPr>
        <p:sp>
          <p:nvSpPr>
            <p:cNvPr id="1038" name="Полилиния 1037">
              <a:extLst>
                <a:ext uri="{FF2B5EF4-FFF2-40B4-BE49-F238E27FC236}">
                  <a16:creationId xmlns:a16="http://schemas.microsoft.com/office/drawing/2014/main" id="{C39D5BDC-8D01-0941-97B4-360CEC392368}"/>
                </a:ext>
              </a:extLst>
            </p:cNvPr>
            <p:cNvSpPr/>
            <p:nvPr/>
          </p:nvSpPr>
          <p:spPr>
            <a:xfrm>
              <a:off x="5226122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9" name="Полилиния 1038">
              <a:extLst>
                <a:ext uri="{FF2B5EF4-FFF2-40B4-BE49-F238E27FC236}">
                  <a16:creationId xmlns:a16="http://schemas.microsoft.com/office/drawing/2014/main" id="{B717C3C0-3543-B842-9109-94E5BA1738D9}"/>
                </a:ext>
              </a:extLst>
            </p:cNvPr>
            <p:cNvSpPr/>
            <p:nvPr/>
          </p:nvSpPr>
          <p:spPr>
            <a:xfrm>
              <a:off x="5306691" y="5458699"/>
              <a:ext cx="271930" cy="353781"/>
            </a:xfrm>
            <a:custGeom>
              <a:avLst/>
              <a:gdLst>
                <a:gd name="connsiteX0" fmla="*/ 98019 w 271930"/>
                <a:gd name="connsiteY0" fmla="*/ 324290 h 353781"/>
                <a:gd name="connsiteX1" fmla="*/ 108625 w 271930"/>
                <a:gd name="connsiteY1" fmla="*/ 342660 h 353781"/>
                <a:gd name="connsiteX2" fmla="*/ 90253 w 271930"/>
                <a:gd name="connsiteY2" fmla="*/ 353267 h 353781"/>
                <a:gd name="connsiteX3" fmla="*/ 79647 w 271930"/>
                <a:gd name="connsiteY3" fmla="*/ 334896 h 353781"/>
                <a:gd name="connsiteX4" fmla="*/ 98019 w 271930"/>
                <a:gd name="connsiteY4" fmla="*/ 324290 h 353781"/>
                <a:gd name="connsiteX5" fmla="*/ 158019 w 271930"/>
                <a:gd name="connsiteY5" fmla="*/ 324290 h 353781"/>
                <a:gd name="connsiteX6" fmla="*/ 168625 w 271930"/>
                <a:gd name="connsiteY6" fmla="*/ 342660 h 353781"/>
                <a:gd name="connsiteX7" fmla="*/ 150253 w 271930"/>
                <a:gd name="connsiteY7" fmla="*/ 353267 h 353781"/>
                <a:gd name="connsiteX8" fmla="*/ 139647 w 271930"/>
                <a:gd name="connsiteY8" fmla="*/ 334896 h 353781"/>
                <a:gd name="connsiteX9" fmla="*/ 158019 w 271930"/>
                <a:gd name="connsiteY9" fmla="*/ 324290 h 353781"/>
                <a:gd name="connsiteX10" fmla="*/ 38018 w 271930"/>
                <a:gd name="connsiteY10" fmla="*/ 324290 h 353781"/>
                <a:gd name="connsiteX11" fmla="*/ 48625 w 271930"/>
                <a:gd name="connsiteY11" fmla="*/ 342660 h 353781"/>
                <a:gd name="connsiteX12" fmla="*/ 30254 w 271930"/>
                <a:gd name="connsiteY12" fmla="*/ 353267 h 353781"/>
                <a:gd name="connsiteX13" fmla="*/ 19647 w 271930"/>
                <a:gd name="connsiteY13" fmla="*/ 334896 h 353781"/>
                <a:gd name="connsiteX14" fmla="*/ 38018 w 271930"/>
                <a:gd name="connsiteY14" fmla="*/ 324290 h 353781"/>
                <a:gd name="connsiteX15" fmla="*/ 114430 w 271930"/>
                <a:gd name="connsiteY15" fmla="*/ 217500 h 353781"/>
                <a:gd name="connsiteX16" fmla="*/ 54430 w 271930"/>
                <a:gd name="connsiteY16" fmla="*/ 157500 h 353781"/>
                <a:gd name="connsiteX17" fmla="*/ 114430 w 271930"/>
                <a:gd name="connsiteY17" fmla="*/ 97500 h 353781"/>
                <a:gd name="connsiteX18" fmla="*/ 174430 w 271930"/>
                <a:gd name="connsiteY18" fmla="*/ 157500 h 353781"/>
                <a:gd name="connsiteX19" fmla="*/ 114430 w 271930"/>
                <a:gd name="connsiteY19" fmla="*/ 217500 h 353781"/>
                <a:gd name="connsiteX20" fmla="*/ 226930 w 271930"/>
                <a:gd name="connsiteY20" fmla="*/ 135000 h 353781"/>
                <a:gd name="connsiteX21" fmla="*/ 249430 w 271930"/>
                <a:gd name="connsiteY21" fmla="*/ 135000 h 353781"/>
                <a:gd name="connsiteX22" fmla="*/ 271930 w 271930"/>
                <a:gd name="connsiteY22" fmla="*/ 157500 h 353781"/>
                <a:gd name="connsiteX23" fmla="*/ 249430 w 271930"/>
                <a:gd name="connsiteY23" fmla="*/ 180000 h 353781"/>
                <a:gd name="connsiteX24" fmla="*/ 226930 w 271930"/>
                <a:gd name="connsiteY24" fmla="*/ 180000 h 353781"/>
                <a:gd name="connsiteX25" fmla="*/ 204430 w 271930"/>
                <a:gd name="connsiteY25" fmla="*/ 157500 h 353781"/>
                <a:gd name="connsiteX26" fmla="*/ 226930 w 271930"/>
                <a:gd name="connsiteY26" fmla="*/ 135000 h 353781"/>
                <a:gd name="connsiteX27" fmla="*/ 175341 w 271930"/>
                <a:gd name="connsiteY27" fmla="*/ 65570 h 353781"/>
                <a:gd name="connsiteX28" fmla="*/ 191250 w 271930"/>
                <a:gd name="connsiteY28" fmla="*/ 49660 h 353781"/>
                <a:gd name="connsiteX29" fmla="*/ 223069 w 271930"/>
                <a:gd name="connsiteY29" fmla="*/ 49660 h 353781"/>
                <a:gd name="connsiteX30" fmla="*/ 223069 w 271930"/>
                <a:gd name="connsiteY30" fmla="*/ 81480 h 353781"/>
                <a:gd name="connsiteX31" fmla="*/ 207160 w 271930"/>
                <a:gd name="connsiteY31" fmla="*/ 97390 h 353781"/>
                <a:gd name="connsiteX32" fmla="*/ 175341 w 271930"/>
                <a:gd name="connsiteY32" fmla="*/ 97390 h 353781"/>
                <a:gd name="connsiteX33" fmla="*/ 175341 w 271930"/>
                <a:gd name="connsiteY33" fmla="*/ 65570 h 353781"/>
                <a:gd name="connsiteX34" fmla="*/ 114430 w 271930"/>
                <a:gd name="connsiteY34" fmla="*/ 0 h 353781"/>
                <a:gd name="connsiteX35" fmla="*/ 136930 w 271930"/>
                <a:gd name="connsiteY35" fmla="*/ 22500 h 353781"/>
                <a:gd name="connsiteX36" fmla="*/ 136930 w 271930"/>
                <a:gd name="connsiteY36" fmla="*/ 45000 h 353781"/>
                <a:gd name="connsiteX37" fmla="*/ 114430 w 271930"/>
                <a:gd name="connsiteY37" fmla="*/ 67500 h 353781"/>
                <a:gd name="connsiteX38" fmla="*/ 91930 w 271930"/>
                <a:gd name="connsiteY38" fmla="*/ 45000 h 353781"/>
                <a:gd name="connsiteX39" fmla="*/ 91930 w 271930"/>
                <a:gd name="connsiteY39" fmla="*/ 22500 h 353781"/>
                <a:gd name="connsiteX40" fmla="*/ 114430 w 271930"/>
                <a:gd name="connsiteY40" fmla="*/ 0 h 353781"/>
                <a:gd name="connsiteX41" fmla="*/ 6590 w 271930"/>
                <a:gd name="connsiteY41" fmla="*/ 49660 h 353781"/>
                <a:gd name="connsiteX42" fmla="*/ 38410 w 271930"/>
                <a:gd name="connsiteY42" fmla="*/ 49660 h 353781"/>
                <a:gd name="connsiteX43" fmla="*/ 54320 w 271930"/>
                <a:gd name="connsiteY43" fmla="*/ 65570 h 353781"/>
                <a:gd name="connsiteX44" fmla="*/ 54320 w 271930"/>
                <a:gd name="connsiteY44" fmla="*/ 97390 h 353781"/>
                <a:gd name="connsiteX45" fmla="*/ 22500 w 271930"/>
                <a:gd name="connsiteY45" fmla="*/ 97390 h 353781"/>
                <a:gd name="connsiteX46" fmla="*/ 6590 w 271930"/>
                <a:gd name="connsiteY46" fmla="*/ 81480 h 353781"/>
                <a:gd name="connsiteX47" fmla="*/ 6590 w 271930"/>
                <a:gd name="connsiteY47" fmla="*/ 49660 h 35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71930" h="353781">
                  <a:moveTo>
                    <a:pt x="98019" y="324290"/>
                  </a:moveTo>
                  <a:cubicBezTo>
                    <a:pt x="106020" y="326433"/>
                    <a:pt x="110769" y="334658"/>
                    <a:pt x="108625" y="342660"/>
                  </a:cubicBezTo>
                  <a:cubicBezTo>
                    <a:pt x="106480" y="350663"/>
                    <a:pt x="98256" y="355412"/>
                    <a:pt x="90253" y="353267"/>
                  </a:cubicBezTo>
                  <a:cubicBezTo>
                    <a:pt x="82252" y="351123"/>
                    <a:pt x="77503" y="342897"/>
                    <a:pt x="79647" y="334896"/>
                  </a:cubicBezTo>
                  <a:cubicBezTo>
                    <a:pt x="81792" y="326894"/>
                    <a:pt x="90016" y="322145"/>
                    <a:pt x="98019" y="324290"/>
                  </a:cubicBezTo>
                  <a:close/>
                  <a:moveTo>
                    <a:pt x="158019" y="324290"/>
                  </a:moveTo>
                  <a:cubicBezTo>
                    <a:pt x="166020" y="326433"/>
                    <a:pt x="170769" y="334658"/>
                    <a:pt x="168625" y="342660"/>
                  </a:cubicBezTo>
                  <a:cubicBezTo>
                    <a:pt x="166480" y="350663"/>
                    <a:pt x="158256" y="355412"/>
                    <a:pt x="150253" y="353267"/>
                  </a:cubicBezTo>
                  <a:cubicBezTo>
                    <a:pt x="142252" y="351123"/>
                    <a:pt x="137503" y="342897"/>
                    <a:pt x="139647" y="334896"/>
                  </a:cubicBezTo>
                  <a:cubicBezTo>
                    <a:pt x="141792" y="326894"/>
                    <a:pt x="150016" y="322145"/>
                    <a:pt x="158019" y="324290"/>
                  </a:cubicBezTo>
                  <a:close/>
                  <a:moveTo>
                    <a:pt x="38018" y="324290"/>
                  </a:moveTo>
                  <a:cubicBezTo>
                    <a:pt x="46020" y="326433"/>
                    <a:pt x="50769" y="334658"/>
                    <a:pt x="48625" y="342660"/>
                  </a:cubicBezTo>
                  <a:cubicBezTo>
                    <a:pt x="46481" y="350663"/>
                    <a:pt x="38256" y="355412"/>
                    <a:pt x="30254" y="353267"/>
                  </a:cubicBezTo>
                  <a:cubicBezTo>
                    <a:pt x="22252" y="351123"/>
                    <a:pt x="17503" y="342897"/>
                    <a:pt x="19647" y="334896"/>
                  </a:cubicBezTo>
                  <a:cubicBezTo>
                    <a:pt x="21791" y="326894"/>
                    <a:pt x="30016" y="322145"/>
                    <a:pt x="38018" y="324290"/>
                  </a:cubicBezTo>
                  <a:close/>
                  <a:moveTo>
                    <a:pt x="114430" y="217500"/>
                  </a:moveTo>
                  <a:cubicBezTo>
                    <a:pt x="81294" y="217500"/>
                    <a:pt x="54430" y="190637"/>
                    <a:pt x="54430" y="157500"/>
                  </a:cubicBezTo>
                  <a:cubicBezTo>
                    <a:pt x="54430" y="124363"/>
                    <a:pt x="81294" y="97500"/>
                    <a:pt x="114430" y="97500"/>
                  </a:cubicBezTo>
                  <a:cubicBezTo>
                    <a:pt x="147567" y="97500"/>
                    <a:pt x="174430" y="124363"/>
                    <a:pt x="174430" y="157500"/>
                  </a:cubicBezTo>
                  <a:cubicBezTo>
                    <a:pt x="174430" y="190637"/>
                    <a:pt x="147567" y="217500"/>
                    <a:pt x="114430" y="217500"/>
                  </a:cubicBezTo>
                  <a:close/>
                  <a:moveTo>
                    <a:pt x="226930" y="135000"/>
                  </a:moveTo>
                  <a:lnTo>
                    <a:pt x="249430" y="135000"/>
                  </a:lnTo>
                  <a:cubicBezTo>
                    <a:pt x="261856" y="135000"/>
                    <a:pt x="271930" y="145074"/>
                    <a:pt x="271930" y="157500"/>
                  </a:cubicBezTo>
                  <a:cubicBezTo>
                    <a:pt x="271930" y="169926"/>
                    <a:pt x="261856" y="180000"/>
                    <a:pt x="249430" y="180000"/>
                  </a:cubicBezTo>
                  <a:lnTo>
                    <a:pt x="226930" y="180000"/>
                  </a:lnTo>
                  <a:cubicBezTo>
                    <a:pt x="214504" y="180000"/>
                    <a:pt x="204430" y="169926"/>
                    <a:pt x="204430" y="157500"/>
                  </a:cubicBezTo>
                  <a:cubicBezTo>
                    <a:pt x="204430" y="145074"/>
                    <a:pt x="214504" y="135000"/>
                    <a:pt x="226930" y="135000"/>
                  </a:cubicBezTo>
                  <a:close/>
                  <a:moveTo>
                    <a:pt x="175341" y="65570"/>
                  </a:moveTo>
                  <a:lnTo>
                    <a:pt x="191250" y="49660"/>
                  </a:lnTo>
                  <a:cubicBezTo>
                    <a:pt x="200037" y="40873"/>
                    <a:pt x="214284" y="40873"/>
                    <a:pt x="223069" y="49660"/>
                  </a:cubicBezTo>
                  <a:cubicBezTo>
                    <a:pt x="231856" y="58447"/>
                    <a:pt x="231856" y="72693"/>
                    <a:pt x="223069" y="81480"/>
                  </a:cubicBezTo>
                  <a:lnTo>
                    <a:pt x="207160" y="97390"/>
                  </a:lnTo>
                  <a:cubicBezTo>
                    <a:pt x="198373" y="106176"/>
                    <a:pt x="184126" y="106176"/>
                    <a:pt x="175341" y="97390"/>
                  </a:cubicBezTo>
                  <a:cubicBezTo>
                    <a:pt x="166554" y="88603"/>
                    <a:pt x="166554" y="74357"/>
                    <a:pt x="175341" y="65570"/>
                  </a:cubicBezTo>
                  <a:close/>
                  <a:moveTo>
                    <a:pt x="114430" y="0"/>
                  </a:moveTo>
                  <a:cubicBezTo>
                    <a:pt x="126856" y="0"/>
                    <a:pt x="136930" y="10074"/>
                    <a:pt x="136930" y="22500"/>
                  </a:cubicBezTo>
                  <a:lnTo>
                    <a:pt x="136930" y="45000"/>
                  </a:lnTo>
                  <a:cubicBezTo>
                    <a:pt x="136930" y="57426"/>
                    <a:pt x="126856" y="67500"/>
                    <a:pt x="114430" y="67500"/>
                  </a:cubicBezTo>
                  <a:cubicBezTo>
                    <a:pt x="102004" y="67500"/>
                    <a:pt x="91930" y="57426"/>
                    <a:pt x="91930" y="45000"/>
                  </a:cubicBezTo>
                  <a:lnTo>
                    <a:pt x="91930" y="22500"/>
                  </a:lnTo>
                  <a:cubicBezTo>
                    <a:pt x="91930" y="10074"/>
                    <a:pt x="102004" y="0"/>
                    <a:pt x="114430" y="0"/>
                  </a:cubicBezTo>
                  <a:close/>
                  <a:moveTo>
                    <a:pt x="6590" y="49660"/>
                  </a:moveTo>
                  <a:cubicBezTo>
                    <a:pt x="15377" y="40873"/>
                    <a:pt x="29623" y="40873"/>
                    <a:pt x="38410" y="49660"/>
                  </a:cubicBezTo>
                  <a:lnTo>
                    <a:pt x="54320" y="65570"/>
                  </a:lnTo>
                  <a:cubicBezTo>
                    <a:pt x="63107" y="74357"/>
                    <a:pt x="63107" y="88603"/>
                    <a:pt x="54320" y="97390"/>
                  </a:cubicBezTo>
                  <a:cubicBezTo>
                    <a:pt x="45533" y="106176"/>
                    <a:pt x="31287" y="106176"/>
                    <a:pt x="22500" y="97390"/>
                  </a:cubicBezTo>
                  <a:lnTo>
                    <a:pt x="6590" y="81480"/>
                  </a:lnTo>
                  <a:cubicBezTo>
                    <a:pt x="-2197" y="72693"/>
                    <a:pt x="-2197" y="58447"/>
                    <a:pt x="6590" y="4966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0" name="Полилиния 1039">
              <a:extLst>
                <a:ext uri="{FF2B5EF4-FFF2-40B4-BE49-F238E27FC236}">
                  <a16:creationId xmlns:a16="http://schemas.microsoft.com/office/drawing/2014/main" id="{9E3C3813-F4F9-6247-8679-CC825F8B921E}"/>
                </a:ext>
              </a:extLst>
            </p:cNvPr>
            <p:cNvSpPr/>
            <p:nvPr/>
          </p:nvSpPr>
          <p:spPr>
            <a:xfrm>
              <a:off x="5256122" y="5571199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5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8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41" name="Рисунок 253">
            <a:extLst>
              <a:ext uri="{FF2B5EF4-FFF2-40B4-BE49-F238E27FC236}">
                <a16:creationId xmlns:a16="http://schemas.microsoft.com/office/drawing/2014/main" id="{324CB522-8A28-6E4B-A404-5E9F0941C5AB}"/>
              </a:ext>
            </a:extLst>
          </p:cNvPr>
          <p:cNvGrpSpPr/>
          <p:nvPr/>
        </p:nvGrpSpPr>
        <p:grpSpPr>
          <a:xfrm>
            <a:off x="5947802" y="5134477"/>
            <a:ext cx="360000" cy="360000"/>
            <a:chOff x="5981255" y="5451199"/>
            <a:chExt cx="360000" cy="360000"/>
          </a:xfrm>
        </p:grpSpPr>
        <p:sp>
          <p:nvSpPr>
            <p:cNvPr id="1042" name="Полилиния 1041">
              <a:extLst>
                <a:ext uri="{FF2B5EF4-FFF2-40B4-BE49-F238E27FC236}">
                  <a16:creationId xmlns:a16="http://schemas.microsoft.com/office/drawing/2014/main" id="{3E84DA25-0518-E948-BEA8-66FAC3417629}"/>
                </a:ext>
              </a:extLst>
            </p:cNvPr>
            <p:cNvSpPr/>
            <p:nvPr/>
          </p:nvSpPr>
          <p:spPr>
            <a:xfrm>
              <a:off x="5981255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3" name="Полилиния 1042">
              <a:extLst>
                <a:ext uri="{FF2B5EF4-FFF2-40B4-BE49-F238E27FC236}">
                  <a16:creationId xmlns:a16="http://schemas.microsoft.com/office/drawing/2014/main" id="{33F6A9EC-6A4C-1F46-8092-BDFC3786054C}"/>
                </a:ext>
              </a:extLst>
            </p:cNvPr>
            <p:cNvSpPr/>
            <p:nvPr/>
          </p:nvSpPr>
          <p:spPr>
            <a:xfrm>
              <a:off x="6040399" y="5496199"/>
              <a:ext cx="239137" cy="270000"/>
            </a:xfrm>
            <a:custGeom>
              <a:avLst/>
              <a:gdLst>
                <a:gd name="connsiteX0" fmla="*/ 105856 w 239137"/>
                <a:gd name="connsiteY0" fmla="*/ 111248 h 270000"/>
                <a:gd name="connsiteX1" fmla="*/ 105856 w 239137"/>
                <a:gd name="connsiteY1" fmla="*/ 15000 h 270000"/>
                <a:gd name="connsiteX2" fmla="*/ 120856 w 239137"/>
                <a:gd name="connsiteY2" fmla="*/ 0 h 270000"/>
                <a:gd name="connsiteX3" fmla="*/ 135856 w 239137"/>
                <a:gd name="connsiteY3" fmla="*/ 15000 h 270000"/>
                <a:gd name="connsiteX4" fmla="*/ 135856 w 239137"/>
                <a:gd name="connsiteY4" fmla="*/ 109763 h 270000"/>
                <a:gd name="connsiteX5" fmla="*/ 216635 w 239137"/>
                <a:gd name="connsiteY5" fmla="*/ 63124 h 270000"/>
                <a:gd name="connsiteX6" fmla="*/ 237125 w 239137"/>
                <a:gd name="connsiteY6" fmla="*/ 68614 h 270000"/>
                <a:gd name="connsiteX7" fmla="*/ 231635 w 239137"/>
                <a:gd name="connsiteY7" fmla="*/ 89105 h 270000"/>
                <a:gd name="connsiteX8" fmla="*/ 149569 w 239137"/>
                <a:gd name="connsiteY8" fmla="*/ 136487 h 270000"/>
                <a:gd name="connsiteX9" fmla="*/ 230348 w 239137"/>
                <a:gd name="connsiteY9" fmla="*/ 183125 h 270000"/>
                <a:gd name="connsiteX10" fmla="*/ 235838 w 239137"/>
                <a:gd name="connsiteY10" fmla="*/ 203615 h 270000"/>
                <a:gd name="connsiteX11" fmla="*/ 215348 w 239137"/>
                <a:gd name="connsiteY11" fmla="*/ 209105 h 270000"/>
                <a:gd name="connsiteX12" fmla="*/ 135856 w 239137"/>
                <a:gd name="connsiteY12" fmla="*/ 163209 h 270000"/>
                <a:gd name="connsiteX13" fmla="*/ 135856 w 239137"/>
                <a:gd name="connsiteY13" fmla="*/ 255000 h 270000"/>
                <a:gd name="connsiteX14" fmla="*/ 120856 w 239137"/>
                <a:gd name="connsiteY14" fmla="*/ 270000 h 270000"/>
                <a:gd name="connsiteX15" fmla="*/ 105856 w 239137"/>
                <a:gd name="connsiteY15" fmla="*/ 255000 h 270000"/>
                <a:gd name="connsiteX16" fmla="*/ 105856 w 239137"/>
                <a:gd name="connsiteY16" fmla="*/ 161724 h 270000"/>
                <a:gd name="connsiteX17" fmla="*/ 23789 w 239137"/>
                <a:gd name="connsiteY17" fmla="*/ 209105 h 270000"/>
                <a:gd name="connsiteX18" fmla="*/ 3299 w 239137"/>
                <a:gd name="connsiteY18" fmla="*/ 203615 h 270000"/>
                <a:gd name="connsiteX19" fmla="*/ 8789 w 239137"/>
                <a:gd name="connsiteY19" fmla="*/ 183125 h 270000"/>
                <a:gd name="connsiteX20" fmla="*/ 89569 w 239137"/>
                <a:gd name="connsiteY20" fmla="*/ 136487 h 270000"/>
                <a:gd name="connsiteX21" fmla="*/ 7503 w 239137"/>
                <a:gd name="connsiteY21" fmla="*/ 89105 h 270000"/>
                <a:gd name="connsiteX22" fmla="*/ 2012 w 239137"/>
                <a:gd name="connsiteY22" fmla="*/ 68614 h 270000"/>
                <a:gd name="connsiteX23" fmla="*/ 22503 w 239137"/>
                <a:gd name="connsiteY23" fmla="*/ 63124 h 270000"/>
                <a:gd name="connsiteX24" fmla="*/ 105856 w 239137"/>
                <a:gd name="connsiteY24" fmla="*/ 111248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39137" h="270000">
                  <a:moveTo>
                    <a:pt x="105856" y="111248"/>
                  </a:moveTo>
                  <a:lnTo>
                    <a:pt x="105856" y="15000"/>
                  </a:lnTo>
                  <a:cubicBezTo>
                    <a:pt x="105856" y="6716"/>
                    <a:pt x="112571" y="0"/>
                    <a:pt x="120856" y="0"/>
                  </a:cubicBezTo>
                  <a:cubicBezTo>
                    <a:pt x="129140" y="0"/>
                    <a:pt x="135856" y="6716"/>
                    <a:pt x="135856" y="15000"/>
                  </a:cubicBezTo>
                  <a:lnTo>
                    <a:pt x="135856" y="109763"/>
                  </a:lnTo>
                  <a:lnTo>
                    <a:pt x="216635" y="63124"/>
                  </a:lnTo>
                  <a:cubicBezTo>
                    <a:pt x="223810" y="58982"/>
                    <a:pt x="232984" y="61440"/>
                    <a:pt x="237125" y="68614"/>
                  </a:cubicBezTo>
                  <a:cubicBezTo>
                    <a:pt x="241268" y="75789"/>
                    <a:pt x="238810" y="84963"/>
                    <a:pt x="231635" y="89105"/>
                  </a:cubicBezTo>
                  <a:lnTo>
                    <a:pt x="149569" y="136487"/>
                  </a:lnTo>
                  <a:lnTo>
                    <a:pt x="230348" y="183125"/>
                  </a:lnTo>
                  <a:cubicBezTo>
                    <a:pt x="237523" y="187266"/>
                    <a:pt x="239981" y="196440"/>
                    <a:pt x="235838" y="203615"/>
                  </a:cubicBezTo>
                  <a:cubicBezTo>
                    <a:pt x="231697" y="210789"/>
                    <a:pt x="222523" y="213247"/>
                    <a:pt x="215348" y="209105"/>
                  </a:cubicBezTo>
                  <a:lnTo>
                    <a:pt x="135856" y="163209"/>
                  </a:lnTo>
                  <a:lnTo>
                    <a:pt x="135856" y="255000"/>
                  </a:lnTo>
                  <a:cubicBezTo>
                    <a:pt x="135856" y="263285"/>
                    <a:pt x="129140" y="270000"/>
                    <a:pt x="120856" y="270000"/>
                  </a:cubicBezTo>
                  <a:cubicBezTo>
                    <a:pt x="112571" y="270000"/>
                    <a:pt x="105856" y="263285"/>
                    <a:pt x="105856" y="255000"/>
                  </a:cubicBezTo>
                  <a:lnTo>
                    <a:pt x="105856" y="161724"/>
                  </a:lnTo>
                  <a:lnTo>
                    <a:pt x="23789" y="209105"/>
                  </a:lnTo>
                  <a:cubicBezTo>
                    <a:pt x="16615" y="213247"/>
                    <a:pt x="7441" y="210789"/>
                    <a:pt x="3299" y="203615"/>
                  </a:cubicBezTo>
                  <a:cubicBezTo>
                    <a:pt x="-843" y="196440"/>
                    <a:pt x="1615" y="187266"/>
                    <a:pt x="8789" y="183125"/>
                  </a:cubicBezTo>
                  <a:lnTo>
                    <a:pt x="89569" y="136487"/>
                  </a:lnTo>
                  <a:lnTo>
                    <a:pt x="7503" y="89105"/>
                  </a:lnTo>
                  <a:cubicBezTo>
                    <a:pt x="328" y="84963"/>
                    <a:pt x="-2130" y="75789"/>
                    <a:pt x="2012" y="68614"/>
                  </a:cubicBezTo>
                  <a:cubicBezTo>
                    <a:pt x="6154" y="61440"/>
                    <a:pt x="15328" y="58982"/>
                    <a:pt x="22503" y="63124"/>
                  </a:cubicBezTo>
                  <a:lnTo>
                    <a:pt x="105856" y="111248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4" name="Полилиния 1043">
              <a:extLst>
                <a:ext uri="{FF2B5EF4-FFF2-40B4-BE49-F238E27FC236}">
                  <a16:creationId xmlns:a16="http://schemas.microsoft.com/office/drawing/2014/main" id="{03BA3BF6-CB3D-1142-A68F-65253FCC02AF}"/>
                </a:ext>
              </a:extLst>
            </p:cNvPr>
            <p:cNvSpPr/>
            <p:nvPr/>
          </p:nvSpPr>
          <p:spPr>
            <a:xfrm>
              <a:off x="6041283" y="5517412"/>
              <a:ext cx="237369" cy="231213"/>
            </a:xfrm>
            <a:custGeom>
              <a:avLst/>
              <a:gdLst>
                <a:gd name="connsiteX0" fmla="*/ 57846 w 237369"/>
                <a:gd name="connsiteY0" fmla="*/ 80482 h 231213"/>
                <a:gd name="connsiteX1" fmla="*/ 58470 w 237369"/>
                <a:gd name="connsiteY1" fmla="*/ 82328 h 231213"/>
                <a:gd name="connsiteX2" fmla="*/ 47864 w 237369"/>
                <a:gd name="connsiteY2" fmla="*/ 100699 h 231213"/>
                <a:gd name="connsiteX3" fmla="*/ 18886 w 237369"/>
                <a:gd name="connsiteY3" fmla="*/ 108463 h 231213"/>
                <a:gd name="connsiteX4" fmla="*/ 515 w 237369"/>
                <a:gd name="connsiteY4" fmla="*/ 97857 h 231213"/>
                <a:gd name="connsiteX5" fmla="*/ 11121 w 237369"/>
                <a:gd name="connsiteY5" fmla="*/ 79486 h 231213"/>
                <a:gd name="connsiteX6" fmla="*/ 40099 w 237369"/>
                <a:gd name="connsiteY6" fmla="*/ 71721 h 231213"/>
                <a:gd name="connsiteX7" fmla="*/ 42010 w 237369"/>
                <a:gd name="connsiteY7" fmla="*/ 71338 h 231213"/>
                <a:gd name="connsiteX8" fmla="*/ 41386 w 237369"/>
                <a:gd name="connsiteY8" fmla="*/ 69492 h 231213"/>
                <a:gd name="connsiteX9" fmla="*/ 33621 w 237369"/>
                <a:gd name="connsiteY9" fmla="*/ 40515 h 231213"/>
                <a:gd name="connsiteX10" fmla="*/ 44228 w 237369"/>
                <a:gd name="connsiteY10" fmla="*/ 22143 h 231213"/>
                <a:gd name="connsiteX11" fmla="*/ 62599 w 237369"/>
                <a:gd name="connsiteY11" fmla="*/ 32750 h 231213"/>
                <a:gd name="connsiteX12" fmla="*/ 70364 w 237369"/>
                <a:gd name="connsiteY12" fmla="*/ 61728 h 231213"/>
                <a:gd name="connsiteX13" fmla="*/ 59757 w 237369"/>
                <a:gd name="connsiteY13" fmla="*/ 80099 h 231213"/>
                <a:gd name="connsiteX14" fmla="*/ 57846 w 237369"/>
                <a:gd name="connsiteY14" fmla="*/ 80482 h 231213"/>
                <a:gd name="connsiteX15" fmla="*/ 195360 w 237369"/>
                <a:gd name="connsiteY15" fmla="*/ 159874 h 231213"/>
                <a:gd name="connsiteX16" fmla="*/ 195984 w 237369"/>
                <a:gd name="connsiteY16" fmla="*/ 161721 h 231213"/>
                <a:gd name="connsiteX17" fmla="*/ 203748 w 237369"/>
                <a:gd name="connsiteY17" fmla="*/ 190699 h 231213"/>
                <a:gd name="connsiteX18" fmla="*/ 193142 w 237369"/>
                <a:gd name="connsiteY18" fmla="*/ 209070 h 231213"/>
                <a:gd name="connsiteX19" fmla="*/ 174771 w 237369"/>
                <a:gd name="connsiteY19" fmla="*/ 198463 h 231213"/>
                <a:gd name="connsiteX20" fmla="*/ 167006 w 237369"/>
                <a:gd name="connsiteY20" fmla="*/ 169486 h 231213"/>
                <a:gd name="connsiteX21" fmla="*/ 177612 w 237369"/>
                <a:gd name="connsiteY21" fmla="*/ 151114 h 231213"/>
                <a:gd name="connsiteX22" fmla="*/ 179523 w 237369"/>
                <a:gd name="connsiteY22" fmla="*/ 150732 h 231213"/>
                <a:gd name="connsiteX23" fmla="*/ 178899 w 237369"/>
                <a:gd name="connsiteY23" fmla="*/ 148885 h 231213"/>
                <a:gd name="connsiteX24" fmla="*/ 189506 w 237369"/>
                <a:gd name="connsiteY24" fmla="*/ 130515 h 231213"/>
                <a:gd name="connsiteX25" fmla="*/ 218484 w 237369"/>
                <a:gd name="connsiteY25" fmla="*/ 122749 h 231213"/>
                <a:gd name="connsiteX26" fmla="*/ 236855 w 237369"/>
                <a:gd name="connsiteY26" fmla="*/ 133356 h 231213"/>
                <a:gd name="connsiteX27" fmla="*/ 226248 w 237369"/>
                <a:gd name="connsiteY27" fmla="*/ 151728 h 231213"/>
                <a:gd name="connsiteX28" fmla="*/ 197271 w 237369"/>
                <a:gd name="connsiteY28" fmla="*/ 159492 h 231213"/>
                <a:gd name="connsiteX29" fmla="*/ 195360 w 237369"/>
                <a:gd name="connsiteY29" fmla="*/ 159874 h 231213"/>
                <a:gd name="connsiteX30" fmla="*/ 179523 w 237369"/>
                <a:gd name="connsiteY30" fmla="*/ 80482 h 231213"/>
                <a:gd name="connsiteX31" fmla="*/ 177612 w 237369"/>
                <a:gd name="connsiteY31" fmla="*/ 80099 h 231213"/>
                <a:gd name="connsiteX32" fmla="*/ 167006 w 237369"/>
                <a:gd name="connsiteY32" fmla="*/ 61728 h 231213"/>
                <a:gd name="connsiteX33" fmla="*/ 174771 w 237369"/>
                <a:gd name="connsiteY33" fmla="*/ 32750 h 231213"/>
                <a:gd name="connsiteX34" fmla="*/ 193142 w 237369"/>
                <a:gd name="connsiteY34" fmla="*/ 22143 h 231213"/>
                <a:gd name="connsiteX35" fmla="*/ 203748 w 237369"/>
                <a:gd name="connsiteY35" fmla="*/ 40515 h 231213"/>
                <a:gd name="connsiteX36" fmla="*/ 195984 w 237369"/>
                <a:gd name="connsiteY36" fmla="*/ 69492 h 231213"/>
                <a:gd name="connsiteX37" fmla="*/ 195360 w 237369"/>
                <a:gd name="connsiteY37" fmla="*/ 71338 h 231213"/>
                <a:gd name="connsiteX38" fmla="*/ 197271 w 237369"/>
                <a:gd name="connsiteY38" fmla="*/ 71721 h 231213"/>
                <a:gd name="connsiteX39" fmla="*/ 226248 w 237369"/>
                <a:gd name="connsiteY39" fmla="*/ 79486 h 231213"/>
                <a:gd name="connsiteX40" fmla="*/ 236855 w 237369"/>
                <a:gd name="connsiteY40" fmla="*/ 97857 h 231213"/>
                <a:gd name="connsiteX41" fmla="*/ 218484 w 237369"/>
                <a:gd name="connsiteY41" fmla="*/ 108463 h 231213"/>
                <a:gd name="connsiteX42" fmla="*/ 189506 w 237369"/>
                <a:gd name="connsiteY42" fmla="*/ 100699 h 231213"/>
                <a:gd name="connsiteX43" fmla="*/ 178899 w 237369"/>
                <a:gd name="connsiteY43" fmla="*/ 82328 h 231213"/>
                <a:gd name="connsiteX44" fmla="*/ 179523 w 237369"/>
                <a:gd name="connsiteY44" fmla="*/ 80482 h 231213"/>
                <a:gd name="connsiteX45" fmla="*/ 42010 w 237369"/>
                <a:gd name="connsiteY45" fmla="*/ 159874 h 231213"/>
                <a:gd name="connsiteX46" fmla="*/ 40099 w 237369"/>
                <a:gd name="connsiteY46" fmla="*/ 159492 h 231213"/>
                <a:gd name="connsiteX47" fmla="*/ 11121 w 237369"/>
                <a:gd name="connsiteY47" fmla="*/ 151728 h 231213"/>
                <a:gd name="connsiteX48" fmla="*/ 515 w 237369"/>
                <a:gd name="connsiteY48" fmla="*/ 133356 h 231213"/>
                <a:gd name="connsiteX49" fmla="*/ 18886 w 237369"/>
                <a:gd name="connsiteY49" fmla="*/ 122749 h 231213"/>
                <a:gd name="connsiteX50" fmla="*/ 47864 w 237369"/>
                <a:gd name="connsiteY50" fmla="*/ 130515 h 231213"/>
                <a:gd name="connsiteX51" fmla="*/ 58470 w 237369"/>
                <a:gd name="connsiteY51" fmla="*/ 148885 h 231213"/>
                <a:gd name="connsiteX52" fmla="*/ 57846 w 237369"/>
                <a:gd name="connsiteY52" fmla="*/ 150732 h 231213"/>
                <a:gd name="connsiteX53" fmla="*/ 59757 w 237369"/>
                <a:gd name="connsiteY53" fmla="*/ 151114 h 231213"/>
                <a:gd name="connsiteX54" fmla="*/ 70364 w 237369"/>
                <a:gd name="connsiteY54" fmla="*/ 169486 h 231213"/>
                <a:gd name="connsiteX55" fmla="*/ 62599 w 237369"/>
                <a:gd name="connsiteY55" fmla="*/ 198463 h 231213"/>
                <a:gd name="connsiteX56" fmla="*/ 44228 w 237369"/>
                <a:gd name="connsiteY56" fmla="*/ 209070 h 231213"/>
                <a:gd name="connsiteX57" fmla="*/ 33621 w 237369"/>
                <a:gd name="connsiteY57" fmla="*/ 190699 h 231213"/>
                <a:gd name="connsiteX58" fmla="*/ 41386 w 237369"/>
                <a:gd name="connsiteY58" fmla="*/ 161721 h 231213"/>
                <a:gd name="connsiteX59" fmla="*/ 42010 w 237369"/>
                <a:gd name="connsiteY59" fmla="*/ 159874 h 231213"/>
                <a:gd name="connsiteX60" fmla="*/ 118685 w 237369"/>
                <a:gd name="connsiteY60" fmla="*/ 45356 h 231213"/>
                <a:gd name="connsiteX61" fmla="*/ 117398 w 237369"/>
                <a:gd name="connsiteY61" fmla="*/ 46820 h 231213"/>
                <a:gd name="connsiteX62" fmla="*/ 96185 w 237369"/>
                <a:gd name="connsiteY62" fmla="*/ 46820 h 231213"/>
                <a:gd name="connsiteX63" fmla="*/ 74972 w 237369"/>
                <a:gd name="connsiteY63" fmla="*/ 25607 h 231213"/>
                <a:gd name="connsiteX64" fmla="*/ 74972 w 237369"/>
                <a:gd name="connsiteY64" fmla="*/ 4393 h 231213"/>
                <a:gd name="connsiteX65" fmla="*/ 96185 w 237369"/>
                <a:gd name="connsiteY65" fmla="*/ 4393 h 231213"/>
                <a:gd name="connsiteX66" fmla="*/ 117398 w 237369"/>
                <a:gd name="connsiteY66" fmla="*/ 25607 h 231213"/>
                <a:gd name="connsiteX67" fmla="*/ 118685 w 237369"/>
                <a:gd name="connsiteY67" fmla="*/ 27070 h 231213"/>
                <a:gd name="connsiteX68" fmla="*/ 119972 w 237369"/>
                <a:gd name="connsiteY68" fmla="*/ 25607 h 231213"/>
                <a:gd name="connsiteX69" fmla="*/ 141185 w 237369"/>
                <a:gd name="connsiteY69" fmla="*/ 4393 h 231213"/>
                <a:gd name="connsiteX70" fmla="*/ 162398 w 237369"/>
                <a:gd name="connsiteY70" fmla="*/ 4393 h 231213"/>
                <a:gd name="connsiteX71" fmla="*/ 162398 w 237369"/>
                <a:gd name="connsiteY71" fmla="*/ 25607 h 231213"/>
                <a:gd name="connsiteX72" fmla="*/ 141185 w 237369"/>
                <a:gd name="connsiteY72" fmla="*/ 46820 h 231213"/>
                <a:gd name="connsiteX73" fmla="*/ 119972 w 237369"/>
                <a:gd name="connsiteY73" fmla="*/ 46820 h 231213"/>
                <a:gd name="connsiteX74" fmla="*/ 118685 w 237369"/>
                <a:gd name="connsiteY74" fmla="*/ 45356 h 231213"/>
                <a:gd name="connsiteX75" fmla="*/ 118685 w 237369"/>
                <a:gd name="connsiteY75" fmla="*/ 204144 h 231213"/>
                <a:gd name="connsiteX76" fmla="*/ 117398 w 237369"/>
                <a:gd name="connsiteY76" fmla="*/ 205606 h 231213"/>
                <a:gd name="connsiteX77" fmla="*/ 96185 w 237369"/>
                <a:gd name="connsiteY77" fmla="*/ 226819 h 231213"/>
                <a:gd name="connsiteX78" fmla="*/ 74972 w 237369"/>
                <a:gd name="connsiteY78" fmla="*/ 226819 h 231213"/>
                <a:gd name="connsiteX79" fmla="*/ 74972 w 237369"/>
                <a:gd name="connsiteY79" fmla="*/ 205606 h 231213"/>
                <a:gd name="connsiteX80" fmla="*/ 96185 w 237369"/>
                <a:gd name="connsiteY80" fmla="*/ 184393 h 231213"/>
                <a:gd name="connsiteX81" fmla="*/ 117398 w 237369"/>
                <a:gd name="connsiteY81" fmla="*/ 184393 h 231213"/>
                <a:gd name="connsiteX82" fmla="*/ 118685 w 237369"/>
                <a:gd name="connsiteY82" fmla="*/ 185857 h 231213"/>
                <a:gd name="connsiteX83" fmla="*/ 119972 w 237369"/>
                <a:gd name="connsiteY83" fmla="*/ 184393 h 231213"/>
                <a:gd name="connsiteX84" fmla="*/ 141185 w 237369"/>
                <a:gd name="connsiteY84" fmla="*/ 184393 h 231213"/>
                <a:gd name="connsiteX85" fmla="*/ 162398 w 237369"/>
                <a:gd name="connsiteY85" fmla="*/ 205606 h 231213"/>
                <a:gd name="connsiteX86" fmla="*/ 162398 w 237369"/>
                <a:gd name="connsiteY86" fmla="*/ 226819 h 231213"/>
                <a:gd name="connsiteX87" fmla="*/ 141185 w 237369"/>
                <a:gd name="connsiteY87" fmla="*/ 226819 h 231213"/>
                <a:gd name="connsiteX88" fmla="*/ 119972 w 237369"/>
                <a:gd name="connsiteY88" fmla="*/ 205606 h 231213"/>
                <a:gd name="connsiteX89" fmla="*/ 118685 w 237369"/>
                <a:gd name="connsiteY89" fmla="*/ 204144 h 23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237369" h="231213">
                  <a:moveTo>
                    <a:pt x="57846" y="80482"/>
                  </a:moveTo>
                  <a:cubicBezTo>
                    <a:pt x="58091" y="81075"/>
                    <a:pt x="58300" y="81691"/>
                    <a:pt x="58470" y="82328"/>
                  </a:cubicBezTo>
                  <a:cubicBezTo>
                    <a:pt x="60614" y="90330"/>
                    <a:pt x="55866" y="98554"/>
                    <a:pt x="47864" y="100699"/>
                  </a:cubicBezTo>
                  <a:lnTo>
                    <a:pt x="18886" y="108463"/>
                  </a:lnTo>
                  <a:cubicBezTo>
                    <a:pt x="10884" y="110607"/>
                    <a:pt x="2659" y="105859"/>
                    <a:pt x="515" y="97857"/>
                  </a:cubicBezTo>
                  <a:cubicBezTo>
                    <a:pt x="-1629" y="89854"/>
                    <a:pt x="3119" y="81630"/>
                    <a:pt x="11121" y="79486"/>
                  </a:cubicBezTo>
                  <a:lnTo>
                    <a:pt x="40099" y="71721"/>
                  </a:lnTo>
                  <a:cubicBezTo>
                    <a:pt x="40736" y="71550"/>
                    <a:pt x="41374" y="71424"/>
                    <a:pt x="42010" y="71338"/>
                  </a:cubicBezTo>
                  <a:cubicBezTo>
                    <a:pt x="41766" y="70745"/>
                    <a:pt x="41557" y="70129"/>
                    <a:pt x="41386" y="69492"/>
                  </a:cubicBezTo>
                  <a:lnTo>
                    <a:pt x="33621" y="40515"/>
                  </a:lnTo>
                  <a:cubicBezTo>
                    <a:pt x="31477" y="32512"/>
                    <a:pt x="36226" y="24287"/>
                    <a:pt x="44228" y="22143"/>
                  </a:cubicBezTo>
                  <a:cubicBezTo>
                    <a:pt x="52230" y="19999"/>
                    <a:pt x="60455" y="24748"/>
                    <a:pt x="62599" y="32750"/>
                  </a:cubicBezTo>
                  <a:lnTo>
                    <a:pt x="70364" y="61728"/>
                  </a:lnTo>
                  <a:cubicBezTo>
                    <a:pt x="72508" y="69730"/>
                    <a:pt x="67759" y="77955"/>
                    <a:pt x="59757" y="80099"/>
                  </a:cubicBezTo>
                  <a:cubicBezTo>
                    <a:pt x="59121" y="80269"/>
                    <a:pt x="58483" y="80396"/>
                    <a:pt x="57846" y="80482"/>
                  </a:cubicBezTo>
                  <a:close/>
                  <a:moveTo>
                    <a:pt x="195360" y="159874"/>
                  </a:moveTo>
                  <a:cubicBezTo>
                    <a:pt x="195605" y="160468"/>
                    <a:pt x="195813" y="161085"/>
                    <a:pt x="195984" y="161721"/>
                  </a:cubicBezTo>
                  <a:lnTo>
                    <a:pt x="203748" y="190699"/>
                  </a:lnTo>
                  <a:cubicBezTo>
                    <a:pt x="205893" y="198700"/>
                    <a:pt x="201144" y="206926"/>
                    <a:pt x="193142" y="209070"/>
                  </a:cubicBezTo>
                  <a:cubicBezTo>
                    <a:pt x="185139" y="211215"/>
                    <a:pt x="176915" y="206466"/>
                    <a:pt x="174771" y="198463"/>
                  </a:cubicBezTo>
                  <a:lnTo>
                    <a:pt x="167006" y="169486"/>
                  </a:lnTo>
                  <a:cubicBezTo>
                    <a:pt x="164862" y="161484"/>
                    <a:pt x="169611" y="153258"/>
                    <a:pt x="177612" y="151114"/>
                  </a:cubicBezTo>
                  <a:cubicBezTo>
                    <a:pt x="178250" y="150943"/>
                    <a:pt x="178887" y="150817"/>
                    <a:pt x="179523" y="150732"/>
                  </a:cubicBezTo>
                  <a:cubicBezTo>
                    <a:pt x="179279" y="150138"/>
                    <a:pt x="179070" y="149523"/>
                    <a:pt x="178899" y="148885"/>
                  </a:cubicBezTo>
                  <a:cubicBezTo>
                    <a:pt x="176756" y="140884"/>
                    <a:pt x="181505" y="132658"/>
                    <a:pt x="189506" y="130515"/>
                  </a:cubicBezTo>
                  <a:lnTo>
                    <a:pt x="218484" y="122749"/>
                  </a:lnTo>
                  <a:cubicBezTo>
                    <a:pt x="226485" y="120606"/>
                    <a:pt x="234711" y="125355"/>
                    <a:pt x="236855" y="133356"/>
                  </a:cubicBezTo>
                  <a:cubicBezTo>
                    <a:pt x="239000" y="141358"/>
                    <a:pt x="234251" y="149583"/>
                    <a:pt x="226248" y="151728"/>
                  </a:cubicBezTo>
                  <a:lnTo>
                    <a:pt x="197271" y="159492"/>
                  </a:lnTo>
                  <a:cubicBezTo>
                    <a:pt x="196634" y="159663"/>
                    <a:pt x="195996" y="159790"/>
                    <a:pt x="195360" y="159874"/>
                  </a:cubicBezTo>
                  <a:close/>
                  <a:moveTo>
                    <a:pt x="179523" y="80482"/>
                  </a:moveTo>
                  <a:cubicBezTo>
                    <a:pt x="178887" y="80396"/>
                    <a:pt x="178250" y="80269"/>
                    <a:pt x="177612" y="80099"/>
                  </a:cubicBezTo>
                  <a:cubicBezTo>
                    <a:pt x="169611" y="77955"/>
                    <a:pt x="164862" y="69730"/>
                    <a:pt x="167006" y="61728"/>
                  </a:cubicBezTo>
                  <a:lnTo>
                    <a:pt x="174771" y="32750"/>
                  </a:lnTo>
                  <a:cubicBezTo>
                    <a:pt x="176915" y="24748"/>
                    <a:pt x="185139" y="19999"/>
                    <a:pt x="193142" y="22143"/>
                  </a:cubicBezTo>
                  <a:cubicBezTo>
                    <a:pt x="201144" y="24287"/>
                    <a:pt x="205893" y="32512"/>
                    <a:pt x="203748" y="40515"/>
                  </a:cubicBezTo>
                  <a:lnTo>
                    <a:pt x="195984" y="69492"/>
                  </a:lnTo>
                  <a:cubicBezTo>
                    <a:pt x="195813" y="70129"/>
                    <a:pt x="195605" y="70745"/>
                    <a:pt x="195360" y="71338"/>
                  </a:cubicBezTo>
                  <a:cubicBezTo>
                    <a:pt x="195996" y="71424"/>
                    <a:pt x="196634" y="71550"/>
                    <a:pt x="197271" y="71721"/>
                  </a:cubicBezTo>
                  <a:lnTo>
                    <a:pt x="226248" y="79486"/>
                  </a:lnTo>
                  <a:cubicBezTo>
                    <a:pt x="234251" y="81630"/>
                    <a:pt x="239000" y="89854"/>
                    <a:pt x="236855" y="97857"/>
                  </a:cubicBezTo>
                  <a:cubicBezTo>
                    <a:pt x="234711" y="105859"/>
                    <a:pt x="226485" y="110607"/>
                    <a:pt x="218484" y="108463"/>
                  </a:cubicBezTo>
                  <a:lnTo>
                    <a:pt x="189506" y="100699"/>
                  </a:lnTo>
                  <a:cubicBezTo>
                    <a:pt x="181505" y="98554"/>
                    <a:pt x="176756" y="90330"/>
                    <a:pt x="178899" y="82328"/>
                  </a:cubicBezTo>
                  <a:cubicBezTo>
                    <a:pt x="179070" y="81691"/>
                    <a:pt x="179279" y="81075"/>
                    <a:pt x="179523" y="80482"/>
                  </a:cubicBezTo>
                  <a:close/>
                  <a:moveTo>
                    <a:pt x="42010" y="159874"/>
                  </a:moveTo>
                  <a:cubicBezTo>
                    <a:pt x="41374" y="159790"/>
                    <a:pt x="40736" y="159663"/>
                    <a:pt x="40099" y="159492"/>
                  </a:cubicBezTo>
                  <a:lnTo>
                    <a:pt x="11121" y="151728"/>
                  </a:lnTo>
                  <a:cubicBezTo>
                    <a:pt x="3119" y="149583"/>
                    <a:pt x="-1629" y="141358"/>
                    <a:pt x="515" y="133356"/>
                  </a:cubicBezTo>
                  <a:cubicBezTo>
                    <a:pt x="2659" y="125355"/>
                    <a:pt x="10884" y="120606"/>
                    <a:pt x="18886" y="122749"/>
                  </a:cubicBezTo>
                  <a:lnTo>
                    <a:pt x="47864" y="130515"/>
                  </a:lnTo>
                  <a:cubicBezTo>
                    <a:pt x="55866" y="132658"/>
                    <a:pt x="60614" y="140884"/>
                    <a:pt x="58470" y="148885"/>
                  </a:cubicBezTo>
                  <a:cubicBezTo>
                    <a:pt x="58300" y="149523"/>
                    <a:pt x="58091" y="150138"/>
                    <a:pt x="57846" y="150732"/>
                  </a:cubicBezTo>
                  <a:cubicBezTo>
                    <a:pt x="58483" y="150817"/>
                    <a:pt x="59121" y="150943"/>
                    <a:pt x="59757" y="151114"/>
                  </a:cubicBezTo>
                  <a:cubicBezTo>
                    <a:pt x="67759" y="153258"/>
                    <a:pt x="72508" y="161484"/>
                    <a:pt x="70364" y="169486"/>
                  </a:cubicBezTo>
                  <a:lnTo>
                    <a:pt x="62599" y="198463"/>
                  </a:lnTo>
                  <a:cubicBezTo>
                    <a:pt x="60455" y="206466"/>
                    <a:pt x="52230" y="211215"/>
                    <a:pt x="44228" y="209070"/>
                  </a:cubicBezTo>
                  <a:cubicBezTo>
                    <a:pt x="36226" y="206926"/>
                    <a:pt x="31477" y="198700"/>
                    <a:pt x="33621" y="190699"/>
                  </a:cubicBezTo>
                  <a:lnTo>
                    <a:pt x="41386" y="161721"/>
                  </a:lnTo>
                  <a:cubicBezTo>
                    <a:pt x="41557" y="161085"/>
                    <a:pt x="41766" y="160468"/>
                    <a:pt x="42010" y="159874"/>
                  </a:cubicBezTo>
                  <a:close/>
                  <a:moveTo>
                    <a:pt x="118685" y="45356"/>
                  </a:moveTo>
                  <a:cubicBezTo>
                    <a:pt x="118293" y="45865"/>
                    <a:pt x="117864" y="46354"/>
                    <a:pt x="117398" y="46820"/>
                  </a:cubicBezTo>
                  <a:cubicBezTo>
                    <a:pt x="111540" y="52678"/>
                    <a:pt x="102042" y="52678"/>
                    <a:pt x="96185" y="46820"/>
                  </a:cubicBezTo>
                  <a:lnTo>
                    <a:pt x="74972" y="25607"/>
                  </a:lnTo>
                  <a:cubicBezTo>
                    <a:pt x="69114" y="19749"/>
                    <a:pt x="69114" y="10251"/>
                    <a:pt x="74972" y="4393"/>
                  </a:cubicBezTo>
                  <a:cubicBezTo>
                    <a:pt x="80829" y="-1464"/>
                    <a:pt x="90327" y="-1464"/>
                    <a:pt x="96185" y="4393"/>
                  </a:cubicBezTo>
                  <a:lnTo>
                    <a:pt x="117398" y="25607"/>
                  </a:lnTo>
                  <a:cubicBezTo>
                    <a:pt x="117864" y="26073"/>
                    <a:pt x="118293" y="26562"/>
                    <a:pt x="118685" y="27070"/>
                  </a:cubicBezTo>
                  <a:cubicBezTo>
                    <a:pt x="119076" y="26562"/>
                    <a:pt x="119505" y="26073"/>
                    <a:pt x="119972" y="25607"/>
                  </a:cubicBezTo>
                  <a:lnTo>
                    <a:pt x="141185" y="4393"/>
                  </a:lnTo>
                  <a:cubicBezTo>
                    <a:pt x="147042" y="-1464"/>
                    <a:pt x="156540" y="-1464"/>
                    <a:pt x="162398" y="4393"/>
                  </a:cubicBezTo>
                  <a:cubicBezTo>
                    <a:pt x="168257" y="10251"/>
                    <a:pt x="168257" y="19749"/>
                    <a:pt x="162398" y="25607"/>
                  </a:cubicBezTo>
                  <a:lnTo>
                    <a:pt x="141185" y="46820"/>
                  </a:lnTo>
                  <a:cubicBezTo>
                    <a:pt x="135327" y="52678"/>
                    <a:pt x="125829" y="52678"/>
                    <a:pt x="119972" y="46820"/>
                  </a:cubicBezTo>
                  <a:cubicBezTo>
                    <a:pt x="119505" y="46354"/>
                    <a:pt x="119076" y="45865"/>
                    <a:pt x="118685" y="45356"/>
                  </a:cubicBezTo>
                  <a:close/>
                  <a:moveTo>
                    <a:pt x="118685" y="204144"/>
                  </a:moveTo>
                  <a:cubicBezTo>
                    <a:pt x="118293" y="204652"/>
                    <a:pt x="117864" y="205141"/>
                    <a:pt x="117398" y="205606"/>
                  </a:cubicBezTo>
                  <a:lnTo>
                    <a:pt x="96185" y="226819"/>
                  </a:lnTo>
                  <a:cubicBezTo>
                    <a:pt x="90327" y="232678"/>
                    <a:pt x="80829" y="232678"/>
                    <a:pt x="74972" y="226819"/>
                  </a:cubicBezTo>
                  <a:cubicBezTo>
                    <a:pt x="69114" y="220962"/>
                    <a:pt x="69114" y="211464"/>
                    <a:pt x="74972" y="205606"/>
                  </a:cubicBezTo>
                  <a:lnTo>
                    <a:pt x="96185" y="184393"/>
                  </a:lnTo>
                  <a:cubicBezTo>
                    <a:pt x="102042" y="178536"/>
                    <a:pt x="111540" y="178536"/>
                    <a:pt x="117398" y="184393"/>
                  </a:cubicBezTo>
                  <a:cubicBezTo>
                    <a:pt x="117864" y="184860"/>
                    <a:pt x="118293" y="185349"/>
                    <a:pt x="118685" y="185857"/>
                  </a:cubicBezTo>
                  <a:cubicBezTo>
                    <a:pt x="119076" y="185349"/>
                    <a:pt x="119505" y="184860"/>
                    <a:pt x="119972" y="184393"/>
                  </a:cubicBezTo>
                  <a:cubicBezTo>
                    <a:pt x="125829" y="178536"/>
                    <a:pt x="135327" y="178536"/>
                    <a:pt x="141185" y="184393"/>
                  </a:cubicBezTo>
                  <a:lnTo>
                    <a:pt x="162398" y="205606"/>
                  </a:lnTo>
                  <a:cubicBezTo>
                    <a:pt x="168257" y="211464"/>
                    <a:pt x="168257" y="220962"/>
                    <a:pt x="162398" y="226819"/>
                  </a:cubicBezTo>
                  <a:cubicBezTo>
                    <a:pt x="156540" y="232678"/>
                    <a:pt x="147042" y="232678"/>
                    <a:pt x="141185" y="226819"/>
                  </a:cubicBezTo>
                  <a:lnTo>
                    <a:pt x="119972" y="205606"/>
                  </a:lnTo>
                  <a:cubicBezTo>
                    <a:pt x="119505" y="205141"/>
                    <a:pt x="119076" y="204652"/>
                    <a:pt x="118685" y="204144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45" name="Рисунок 254">
            <a:extLst>
              <a:ext uri="{FF2B5EF4-FFF2-40B4-BE49-F238E27FC236}">
                <a16:creationId xmlns:a16="http://schemas.microsoft.com/office/drawing/2014/main" id="{6CD1531B-E461-DD47-9B5D-043EEF51F250}"/>
              </a:ext>
            </a:extLst>
          </p:cNvPr>
          <p:cNvGrpSpPr/>
          <p:nvPr/>
        </p:nvGrpSpPr>
        <p:grpSpPr>
          <a:xfrm>
            <a:off x="1417004" y="5134477"/>
            <a:ext cx="360000" cy="360000"/>
            <a:chOff x="1450457" y="5451199"/>
            <a:chExt cx="360000" cy="360000"/>
          </a:xfrm>
        </p:grpSpPr>
        <p:sp>
          <p:nvSpPr>
            <p:cNvPr id="1046" name="Полилиния 1045">
              <a:extLst>
                <a:ext uri="{FF2B5EF4-FFF2-40B4-BE49-F238E27FC236}">
                  <a16:creationId xmlns:a16="http://schemas.microsoft.com/office/drawing/2014/main" id="{1564014C-B44D-504B-B049-D681537A4D4C}"/>
                </a:ext>
              </a:extLst>
            </p:cNvPr>
            <p:cNvSpPr/>
            <p:nvPr/>
          </p:nvSpPr>
          <p:spPr>
            <a:xfrm>
              <a:off x="1450457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7" name="Полилиния 1046">
              <a:extLst>
                <a:ext uri="{FF2B5EF4-FFF2-40B4-BE49-F238E27FC236}">
                  <a16:creationId xmlns:a16="http://schemas.microsoft.com/office/drawing/2014/main" id="{27A7D4D6-D67F-CD44-A2CB-F16CAA804AAD}"/>
                </a:ext>
              </a:extLst>
            </p:cNvPr>
            <p:cNvSpPr/>
            <p:nvPr/>
          </p:nvSpPr>
          <p:spPr>
            <a:xfrm>
              <a:off x="1495457" y="5497022"/>
              <a:ext cx="270000" cy="268352"/>
            </a:xfrm>
            <a:custGeom>
              <a:avLst/>
              <a:gdLst>
                <a:gd name="connsiteX0" fmla="*/ 120000 w 270000"/>
                <a:gd name="connsiteY0" fmla="*/ 0 h 268352"/>
                <a:gd name="connsiteX1" fmla="*/ 120000 w 270000"/>
                <a:gd name="connsiteY1" fmla="*/ 29176 h 268352"/>
                <a:gd name="connsiteX2" fmla="*/ 135000 w 270000"/>
                <a:gd name="connsiteY2" fmla="*/ 44176 h 268352"/>
                <a:gd name="connsiteX3" fmla="*/ 150000 w 270000"/>
                <a:gd name="connsiteY3" fmla="*/ 29176 h 268352"/>
                <a:gd name="connsiteX4" fmla="*/ 150000 w 270000"/>
                <a:gd name="connsiteY4" fmla="*/ 0 h 268352"/>
                <a:gd name="connsiteX5" fmla="*/ 270000 w 270000"/>
                <a:gd name="connsiteY5" fmla="*/ 134176 h 268352"/>
                <a:gd name="connsiteX6" fmla="*/ 150000 w 270000"/>
                <a:gd name="connsiteY6" fmla="*/ 268353 h 268352"/>
                <a:gd name="connsiteX7" fmla="*/ 150000 w 270000"/>
                <a:gd name="connsiteY7" fmla="*/ 239176 h 268352"/>
                <a:gd name="connsiteX8" fmla="*/ 135000 w 270000"/>
                <a:gd name="connsiteY8" fmla="*/ 224176 h 268352"/>
                <a:gd name="connsiteX9" fmla="*/ 120000 w 270000"/>
                <a:gd name="connsiteY9" fmla="*/ 239176 h 268352"/>
                <a:gd name="connsiteX10" fmla="*/ 120000 w 270000"/>
                <a:gd name="connsiteY10" fmla="*/ 268353 h 268352"/>
                <a:gd name="connsiteX11" fmla="*/ 0 w 270000"/>
                <a:gd name="connsiteY11" fmla="*/ 134176 h 268352"/>
                <a:gd name="connsiteX12" fmla="*/ 120000 w 270000"/>
                <a:gd name="connsiteY12" fmla="*/ 0 h 268352"/>
                <a:gd name="connsiteX13" fmla="*/ 82500 w 270000"/>
                <a:gd name="connsiteY13" fmla="*/ 149176 h 268352"/>
                <a:gd name="connsiteX14" fmla="*/ 105000 w 270000"/>
                <a:gd name="connsiteY14" fmla="*/ 126676 h 268352"/>
                <a:gd name="connsiteX15" fmla="*/ 82500 w 270000"/>
                <a:gd name="connsiteY15" fmla="*/ 104176 h 268352"/>
                <a:gd name="connsiteX16" fmla="*/ 60000 w 270000"/>
                <a:gd name="connsiteY16" fmla="*/ 126676 h 268352"/>
                <a:gd name="connsiteX17" fmla="*/ 82500 w 270000"/>
                <a:gd name="connsiteY17" fmla="*/ 149176 h 268352"/>
                <a:gd name="connsiteX18" fmla="*/ 187500 w 270000"/>
                <a:gd name="connsiteY18" fmla="*/ 149176 h 268352"/>
                <a:gd name="connsiteX19" fmla="*/ 210000 w 270000"/>
                <a:gd name="connsiteY19" fmla="*/ 126676 h 268352"/>
                <a:gd name="connsiteX20" fmla="*/ 187500 w 270000"/>
                <a:gd name="connsiteY20" fmla="*/ 104176 h 268352"/>
                <a:gd name="connsiteX21" fmla="*/ 165000 w 270000"/>
                <a:gd name="connsiteY21" fmla="*/ 126676 h 268352"/>
                <a:gd name="connsiteX22" fmla="*/ 187500 w 270000"/>
                <a:gd name="connsiteY22" fmla="*/ 149176 h 268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0000" h="268352">
                  <a:moveTo>
                    <a:pt x="120000" y="0"/>
                  </a:moveTo>
                  <a:lnTo>
                    <a:pt x="120000" y="29176"/>
                  </a:lnTo>
                  <a:cubicBezTo>
                    <a:pt x="120000" y="37460"/>
                    <a:pt x="126715" y="44176"/>
                    <a:pt x="135000" y="44176"/>
                  </a:cubicBezTo>
                  <a:cubicBezTo>
                    <a:pt x="143285" y="44176"/>
                    <a:pt x="150000" y="37460"/>
                    <a:pt x="150000" y="29176"/>
                  </a:cubicBezTo>
                  <a:lnTo>
                    <a:pt x="150000" y="0"/>
                  </a:lnTo>
                  <a:cubicBezTo>
                    <a:pt x="217500" y="7462"/>
                    <a:pt x="270000" y="64688"/>
                    <a:pt x="270000" y="134176"/>
                  </a:cubicBezTo>
                  <a:cubicBezTo>
                    <a:pt x="270000" y="203665"/>
                    <a:pt x="217500" y="260890"/>
                    <a:pt x="150000" y="268353"/>
                  </a:cubicBezTo>
                  <a:lnTo>
                    <a:pt x="150000" y="239176"/>
                  </a:lnTo>
                  <a:cubicBezTo>
                    <a:pt x="150000" y="230892"/>
                    <a:pt x="143285" y="224176"/>
                    <a:pt x="135000" y="224176"/>
                  </a:cubicBezTo>
                  <a:cubicBezTo>
                    <a:pt x="126715" y="224176"/>
                    <a:pt x="120000" y="230892"/>
                    <a:pt x="120000" y="239176"/>
                  </a:cubicBezTo>
                  <a:lnTo>
                    <a:pt x="120000" y="268353"/>
                  </a:lnTo>
                  <a:cubicBezTo>
                    <a:pt x="52501" y="260890"/>
                    <a:pt x="0" y="203665"/>
                    <a:pt x="0" y="134176"/>
                  </a:cubicBezTo>
                  <a:cubicBezTo>
                    <a:pt x="0" y="64688"/>
                    <a:pt x="52501" y="7462"/>
                    <a:pt x="120000" y="0"/>
                  </a:cubicBezTo>
                  <a:close/>
                  <a:moveTo>
                    <a:pt x="82500" y="149176"/>
                  </a:moveTo>
                  <a:cubicBezTo>
                    <a:pt x="94926" y="149176"/>
                    <a:pt x="105000" y="139102"/>
                    <a:pt x="105000" y="126676"/>
                  </a:cubicBezTo>
                  <a:cubicBezTo>
                    <a:pt x="105000" y="114250"/>
                    <a:pt x="94926" y="104176"/>
                    <a:pt x="82500" y="104176"/>
                  </a:cubicBezTo>
                  <a:cubicBezTo>
                    <a:pt x="70074" y="104176"/>
                    <a:pt x="60000" y="114250"/>
                    <a:pt x="60000" y="126676"/>
                  </a:cubicBezTo>
                  <a:cubicBezTo>
                    <a:pt x="60000" y="139102"/>
                    <a:pt x="70074" y="149176"/>
                    <a:pt x="82500" y="149176"/>
                  </a:cubicBezTo>
                  <a:close/>
                  <a:moveTo>
                    <a:pt x="187500" y="149176"/>
                  </a:moveTo>
                  <a:cubicBezTo>
                    <a:pt x="199926" y="149176"/>
                    <a:pt x="210000" y="139102"/>
                    <a:pt x="210000" y="126676"/>
                  </a:cubicBezTo>
                  <a:cubicBezTo>
                    <a:pt x="210000" y="114250"/>
                    <a:pt x="199926" y="104176"/>
                    <a:pt x="187500" y="104176"/>
                  </a:cubicBezTo>
                  <a:cubicBezTo>
                    <a:pt x="175074" y="104176"/>
                    <a:pt x="165000" y="114250"/>
                    <a:pt x="165000" y="126676"/>
                  </a:cubicBezTo>
                  <a:cubicBezTo>
                    <a:pt x="165000" y="139102"/>
                    <a:pt x="175074" y="149176"/>
                    <a:pt x="187500" y="149176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48" name="Рисунок 255">
            <a:extLst>
              <a:ext uri="{FF2B5EF4-FFF2-40B4-BE49-F238E27FC236}">
                <a16:creationId xmlns:a16="http://schemas.microsoft.com/office/drawing/2014/main" id="{7C399345-8855-F742-B5EF-7C5864A152E2}"/>
              </a:ext>
            </a:extLst>
          </p:cNvPr>
          <p:cNvGrpSpPr/>
          <p:nvPr/>
        </p:nvGrpSpPr>
        <p:grpSpPr>
          <a:xfrm>
            <a:off x="2172137" y="5134477"/>
            <a:ext cx="360000" cy="360000"/>
            <a:chOff x="2205590" y="5451199"/>
            <a:chExt cx="360000" cy="360000"/>
          </a:xfrm>
        </p:grpSpPr>
        <p:sp>
          <p:nvSpPr>
            <p:cNvPr id="1049" name="Полилиния 1048">
              <a:extLst>
                <a:ext uri="{FF2B5EF4-FFF2-40B4-BE49-F238E27FC236}">
                  <a16:creationId xmlns:a16="http://schemas.microsoft.com/office/drawing/2014/main" id="{90DECDB2-2CE2-1B44-B2EB-CDAD3F0E3B80}"/>
                </a:ext>
              </a:extLst>
            </p:cNvPr>
            <p:cNvSpPr/>
            <p:nvPr/>
          </p:nvSpPr>
          <p:spPr>
            <a:xfrm>
              <a:off x="2205590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0" name="Полилиния 1049">
              <a:extLst>
                <a:ext uri="{FF2B5EF4-FFF2-40B4-BE49-F238E27FC236}">
                  <a16:creationId xmlns:a16="http://schemas.microsoft.com/office/drawing/2014/main" id="{8DCAEE4F-5080-3646-9961-B65E9042F845}"/>
                </a:ext>
              </a:extLst>
            </p:cNvPr>
            <p:cNvSpPr/>
            <p:nvPr/>
          </p:nvSpPr>
          <p:spPr>
            <a:xfrm>
              <a:off x="2265590" y="5511199"/>
              <a:ext cx="240000" cy="240000"/>
            </a:xfrm>
            <a:custGeom>
              <a:avLst/>
              <a:gdLst>
                <a:gd name="connsiteX0" fmla="*/ 15000 w 240000"/>
                <a:gd name="connsiteY0" fmla="*/ 0 h 240000"/>
                <a:gd name="connsiteX1" fmla="*/ 225000 w 240000"/>
                <a:gd name="connsiteY1" fmla="*/ 0 h 240000"/>
                <a:gd name="connsiteX2" fmla="*/ 240000 w 240000"/>
                <a:gd name="connsiteY2" fmla="*/ 15000 h 240000"/>
                <a:gd name="connsiteX3" fmla="*/ 240000 w 240000"/>
                <a:gd name="connsiteY3" fmla="*/ 225000 h 240000"/>
                <a:gd name="connsiteX4" fmla="*/ 225000 w 240000"/>
                <a:gd name="connsiteY4" fmla="*/ 240000 h 240000"/>
                <a:gd name="connsiteX5" fmla="*/ 15000 w 240000"/>
                <a:gd name="connsiteY5" fmla="*/ 240000 h 240000"/>
                <a:gd name="connsiteX6" fmla="*/ 0 w 240000"/>
                <a:gd name="connsiteY6" fmla="*/ 225000 h 240000"/>
                <a:gd name="connsiteX7" fmla="*/ 0 w 240000"/>
                <a:gd name="connsiteY7" fmla="*/ 15000 h 240000"/>
                <a:gd name="connsiteX8" fmla="*/ 15000 w 240000"/>
                <a:gd name="connsiteY8" fmla="*/ 0 h 240000"/>
                <a:gd name="connsiteX9" fmla="*/ 75000 w 240000"/>
                <a:gd name="connsiteY9" fmla="*/ 45000 h 240000"/>
                <a:gd name="connsiteX10" fmla="*/ 60000 w 240000"/>
                <a:gd name="connsiteY10" fmla="*/ 60000 h 240000"/>
                <a:gd name="connsiteX11" fmla="*/ 60000 w 240000"/>
                <a:gd name="connsiteY11" fmla="*/ 105000 h 240000"/>
                <a:gd name="connsiteX12" fmla="*/ 75000 w 240000"/>
                <a:gd name="connsiteY12" fmla="*/ 120000 h 240000"/>
                <a:gd name="connsiteX13" fmla="*/ 90000 w 240000"/>
                <a:gd name="connsiteY13" fmla="*/ 105000 h 240000"/>
                <a:gd name="connsiteX14" fmla="*/ 90000 w 240000"/>
                <a:gd name="connsiteY14" fmla="*/ 60000 h 240000"/>
                <a:gd name="connsiteX15" fmla="*/ 75000 w 240000"/>
                <a:gd name="connsiteY15" fmla="*/ 45000 h 240000"/>
                <a:gd name="connsiteX16" fmla="*/ 120000 w 240000"/>
                <a:gd name="connsiteY16" fmla="*/ 165000 h 240000"/>
                <a:gd name="connsiteX17" fmla="*/ 97500 w 240000"/>
                <a:gd name="connsiteY17" fmla="*/ 187500 h 240000"/>
                <a:gd name="connsiteX18" fmla="*/ 97500 w 240000"/>
                <a:gd name="connsiteY18" fmla="*/ 210000 h 240000"/>
                <a:gd name="connsiteX19" fmla="*/ 142500 w 240000"/>
                <a:gd name="connsiteY19" fmla="*/ 210000 h 240000"/>
                <a:gd name="connsiteX20" fmla="*/ 142500 w 240000"/>
                <a:gd name="connsiteY20" fmla="*/ 187500 h 240000"/>
                <a:gd name="connsiteX21" fmla="*/ 120000 w 240000"/>
                <a:gd name="connsiteY21" fmla="*/ 165000 h 240000"/>
                <a:gd name="connsiteX22" fmla="*/ 165000 w 240000"/>
                <a:gd name="connsiteY22" fmla="*/ 45000 h 240000"/>
                <a:gd name="connsiteX23" fmla="*/ 150000 w 240000"/>
                <a:gd name="connsiteY23" fmla="*/ 60000 h 240000"/>
                <a:gd name="connsiteX24" fmla="*/ 150000 w 240000"/>
                <a:gd name="connsiteY24" fmla="*/ 105000 h 240000"/>
                <a:gd name="connsiteX25" fmla="*/ 165000 w 240000"/>
                <a:gd name="connsiteY25" fmla="*/ 120000 h 240000"/>
                <a:gd name="connsiteX26" fmla="*/ 180000 w 240000"/>
                <a:gd name="connsiteY26" fmla="*/ 105000 h 240000"/>
                <a:gd name="connsiteX27" fmla="*/ 180000 w 240000"/>
                <a:gd name="connsiteY27" fmla="*/ 60000 h 240000"/>
                <a:gd name="connsiteX28" fmla="*/ 165000 w 240000"/>
                <a:gd name="connsiteY28" fmla="*/ 45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0000" h="240000">
                  <a:moveTo>
                    <a:pt x="15000" y="0"/>
                  </a:moveTo>
                  <a:lnTo>
                    <a:pt x="225000" y="0"/>
                  </a:lnTo>
                  <a:cubicBezTo>
                    <a:pt x="233285" y="0"/>
                    <a:pt x="240000" y="6716"/>
                    <a:pt x="240000" y="15000"/>
                  </a:cubicBezTo>
                  <a:lnTo>
                    <a:pt x="240000" y="225000"/>
                  </a:lnTo>
                  <a:cubicBezTo>
                    <a:pt x="240000" y="233285"/>
                    <a:pt x="233285" y="240000"/>
                    <a:pt x="225000" y="240000"/>
                  </a:cubicBezTo>
                  <a:lnTo>
                    <a:pt x="15000" y="240000"/>
                  </a:lnTo>
                  <a:cubicBezTo>
                    <a:pt x="6716" y="240000"/>
                    <a:pt x="0" y="233285"/>
                    <a:pt x="0" y="22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75000" y="45000"/>
                  </a:moveTo>
                  <a:cubicBezTo>
                    <a:pt x="66716" y="45000"/>
                    <a:pt x="60000" y="51716"/>
                    <a:pt x="60000" y="60000"/>
                  </a:cubicBezTo>
                  <a:lnTo>
                    <a:pt x="60000" y="105000"/>
                  </a:lnTo>
                  <a:cubicBezTo>
                    <a:pt x="60000" y="113285"/>
                    <a:pt x="66716" y="120000"/>
                    <a:pt x="75000" y="120000"/>
                  </a:cubicBezTo>
                  <a:cubicBezTo>
                    <a:pt x="83284" y="120000"/>
                    <a:pt x="90000" y="113285"/>
                    <a:pt x="90000" y="105000"/>
                  </a:cubicBezTo>
                  <a:lnTo>
                    <a:pt x="90000" y="60000"/>
                  </a:lnTo>
                  <a:cubicBezTo>
                    <a:pt x="90000" y="51716"/>
                    <a:pt x="83284" y="45000"/>
                    <a:pt x="75000" y="45000"/>
                  </a:cubicBezTo>
                  <a:close/>
                  <a:moveTo>
                    <a:pt x="120000" y="165000"/>
                  </a:moveTo>
                  <a:cubicBezTo>
                    <a:pt x="107574" y="165000"/>
                    <a:pt x="97500" y="175074"/>
                    <a:pt x="97500" y="187500"/>
                  </a:cubicBezTo>
                  <a:lnTo>
                    <a:pt x="97500" y="210000"/>
                  </a:lnTo>
                  <a:lnTo>
                    <a:pt x="142500" y="210000"/>
                  </a:lnTo>
                  <a:lnTo>
                    <a:pt x="142500" y="187500"/>
                  </a:lnTo>
                  <a:cubicBezTo>
                    <a:pt x="142500" y="175074"/>
                    <a:pt x="132426" y="165000"/>
                    <a:pt x="120000" y="165000"/>
                  </a:cubicBezTo>
                  <a:close/>
                  <a:moveTo>
                    <a:pt x="165000" y="45000"/>
                  </a:moveTo>
                  <a:cubicBezTo>
                    <a:pt x="156716" y="45000"/>
                    <a:pt x="150000" y="51716"/>
                    <a:pt x="150000" y="60000"/>
                  </a:cubicBezTo>
                  <a:lnTo>
                    <a:pt x="150000" y="105000"/>
                  </a:lnTo>
                  <a:cubicBezTo>
                    <a:pt x="150000" y="113285"/>
                    <a:pt x="156716" y="120000"/>
                    <a:pt x="165000" y="120000"/>
                  </a:cubicBezTo>
                  <a:cubicBezTo>
                    <a:pt x="173285" y="120000"/>
                    <a:pt x="180000" y="113285"/>
                    <a:pt x="180000" y="105000"/>
                  </a:cubicBezTo>
                  <a:lnTo>
                    <a:pt x="180000" y="60000"/>
                  </a:lnTo>
                  <a:cubicBezTo>
                    <a:pt x="180000" y="51716"/>
                    <a:pt x="173285" y="45000"/>
                    <a:pt x="165000" y="4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51" name="Рисунок 256">
            <a:extLst>
              <a:ext uri="{FF2B5EF4-FFF2-40B4-BE49-F238E27FC236}">
                <a16:creationId xmlns:a16="http://schemas.microsoft.com/office/drawing/2014/main" id="{AB55240D-6473-5242-952C-039CD6295AAC}"/>
              </a:ext>
            </a:extLst>
          </p:cNvPr>
          <p:cNvGrpSpPr/>
          <p:nvPr/>
        </p:nvGrpSpPr>
        <p:grpSpPr>
          <a:xfrm>
            <a:off x="661871" y="5134477"/>
            <a:ext cx="360000" cy="360000"/>
            <a:chOff x="695324" y="5451199"/>
            <a:chExt cx="360000" cy="360000"/>
          </a:xfrm>
        </p:grpSpPr>
        <p:sp>
          <p:nvSpPr>
            <p:cNvPr id="1052" name="Полилиния 1051">
              <a:extLst>
                <a:ext uri="{FF2B5EF4-FFF2-40B4-BE49-F238E27FC236}">
                  <a16:creationId xmlns:a16="http://schemas.microsoft.com/office/drawing/2014/main" id="{A705A6D3-3B47-5543-884C-6710B0FB3C9C}"/>
                </a:ext>
              </a:extLst>
            </p:cNvPr>
            <p:cNvSpPr/>
            <p:nvPr/>
          </p:nvSpPr>
          <p:spPr>
            <a:xfrm>
              <a:off x="695324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3" name="Полилиния 1052">
              <a:extLst>
                <a:ext uri="{FF2B5EF4-FFF2-40B4-BE49-F238E27FC236}">
                  <a16:creationId xmlns:a16="http://schemas.microsoft.com/office/drawing/2014/main" id="{3525F591-13B5-914D-925C-09EF5C8366F7}"/>
                </a:ext>
              </a:extLst>
            </p:cNvPr>
            <p:cNvSpPr/>
            <p:nvPr/>
          </p:nvSpPr>
          <p:spPr>
            <a:xfrm rot="599999">
              <a:off x="742873" y="5518547"/>
              <a:ext cx="152114" cy="194337"/>
            </a:xfrm>
            <a:custGeom>
              <a:avLst/>
              <a:gdLst>
                <a:gd name="connsiteX0" fmla="*/ 114949 w 152114"/>
                <a:gd name="connsiteY0" fmla="*/ 158480 h 194337"/>
                <a:gd name="connsiteX1" fmla="*/ 62526 w 152114"/>
                <a:gd name="connsiteY1" fmla="*/ 188746 h 194337"/>
                <a:gd name="connsiteX2" fmla="*/ 5591 w 152114"/>
                <a:gd name="connsiteY2" fmla="*/ 173491 h 194337"/>
                <a:gd name="connsiteX3" fmla="*/ 20847 w 152114"/>
                <a:gd name="connsiteY3" fmla="*/ 116555 h 194337"/>
                <a:gd name="connsiteX4" fmla="*/ 75317 w 152114"/>
                <a:gd name="connsiteY4" fmla="*/ 85106 h 194337"/>
                <a:gd name="connsiteX5" fmla="*/ 75317 w 152114"/>
                <a:gd name="connsiteY5" fmla="*/ 11250 h 194337"/>
                <a:gd name="connsiteX6" fmla="*/ 86567 w 152114"/>
                <a:gd name="connsiteY6" fmla="*/ 0 h 194337"/>
                <a:gd name="connsiteX7" fmla="*/ 140864 w 152114"/>
                <a:gd name="connsiteY7" fmla="*/ 0 h 194337"/>
                <a:gd name="connsiteX8" fmla="*/ 152114 w 152114"/>
                <a:gd name="connsiteY8" fmla="*/ 11250 h 194337"/>
                <a:gd name="connsiteX9" fmla="*/ 152114 w 152114"/>
                <a:gd name="connsiteY9" fmla="*/ 135980 h 194337"/>
                <a:gd name="connsiteX10" fmla="*/ 129614 w 152114"/>
                <a:gd name="connsiteY10" fmla="*/ 158480 h 194337"/>
                <a:gd name="connsiteX11" fmla="*/ 114949 w 152114"/>
                <a:gd name="connsiteY11" fmla="*/ 158480 h 19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114" h="194337">
                  <a:moveTo>
                    <a:pt x="114949" y="158480"/>
                  </a:moveTo>
                  <a:lnTo>
                    <a:pt x="62526" y="188746"/>
                  </a:lnTo>
                  <a:cubicBezTo>
                    <a:pt x="42591" y="200255"/>
                    <a:pt x="17100" y="193426"/>
                    <a:pt x="5591" y="173491"/>
                  </a:cubicBezTo>
                  <a:cubicBezTo>
                    <a:pt x="-5919" y="153556"/>
                    <a:pt x="912" y="128065"/>
                    <a:pt x="20847" y="116555"/>
                  </a:cubicBezTo>
                  <a:lnTo>
                    <a:pt x="75317" y="85106"/>
                  </a:lnTo>
                  <a:lnTo>
                    <a:pt x="75317" y="11250"/>
                  </a:lnTo>
                  <a:cubicBezTo>
                    <a:pt x="75317" y="5037"/>
                    <a:pt x="80354" y="0"/>
                    <a:pt x="86567" y="0"/>
                  </a:cubicBezTo>
                  <a:lnTo>
                    <a:pt x="140864" y="0"/>
                  </a:lnTo>
                  <a:cubicBezTo>
                    <a:pt x="147079" y="0"/>
                    <a:pt x="152114" y="5037"/>
                    <a:pt x="152114" y="11250"/>
                  </a:cubicBezTo>
                  <a:lnTo>
                    <a:pt x="152114" y="135980"/>
                  </a:lnTo>
                  <a:cubicBezTo>
                    <a:pt x="152114" y="148406"/>
                    <a:pt x="142042" y="158480"/>
                    <a:pt x="129614" y="158480"/>
                  </a:cubicBezTo>
                  <a:lnTo>
                    <a:pt x="114949" y="15848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4" name="Полилиния 1053">
              <a:extLst>
                <a:ext uri="{FF2B5EF4-FFF2-40B4-BE49-F238E27FC236}">
                  <a16:creationId xmlns:a16="http://schemas.microsoft.com/office/drawing/2014/main" id="{605DC0F1-17D6-264A-8BD5-B0600AE4B589}"/>
                </a:ext>
              </a:extLst>
            </p:cNvPr>
            <p:cNvSpPr/>
            <p:nvPr/>
          </p:nvSpPr>
          <p:spPr>
            <a:xfrm rot="599999">
              <a:off x="771141" y="5513465"/>
              <a:ext cx="205084" cy="258392"/>
            </a:xfrm>
            <a:custGeom>
              <a:avLst/>
              <a:gdLst>
                <a:gd name="connsiteX0" fmla="*/ 156065 w 205084"/>
                <a:gd name="connsiteY0" fmla="*/ 210001 h 258392"/>
                <a:gd name="connsiteX1" fmla="*/ 85488 w 205084"/>
                <a:gd name="connsiteY1" fmla="*/ 250748 h 258392"/>
                <a:gd name="connsiteX2" fmla="*/ 7644 w 205084"/>
                <a:gd name="connsiteY2" fmla="*/ 229889 h 258392"/>
                <a:gd name="connsiteX3" fmla="*/ 28502 w 205084"/>
                <a:gd name="connsiteY3" fmla="*/ 152046 h 258392"/>
                <a:gd name="connsiteX4" fmla="*/ 100085 w 205084"/>
                <a:gd name="connsiteY4" fmla="*/ 110718 h 258392"/>
                <a:gd name="connsiteX5" fmla="*/ 100085 w 205084"/>
                <a:gd name="connsiteY5" fmla="*/ 15000 h 258392"/>
                <a:gd name="connsiteX6" fmla="*/ 115085 w 205084"/>
                <a:gd name="connsiteY6" fmla="*/ 0 h 258392"/>
                <a:gd name="connsiteX7" fmla="*/ 190085 w 205084"/>
                <a:gd name="connsiteY7" fmla="*/ 0 h 258392"/>
                <a:gd name="connsiteX8" fmla="*/ 205085 w 205084"/>
                <a:gd name="connsiteY8" fmla="*/ 15000 h 258392"/>
                <a:gd name="connsiteX9" fmla="*/ 205085 w 205084"/>
                <a:gd name="connsiteY9" fmla="*/ 180000 h 258392"/>
                <a:gd name="connsiteX10" fmla="*/ 175085 w 205084"/>
                <a:gd name="connsiteY10" fmla="*/ 210001 h 258392"/>
                <a:gd name="connsiteX11" fmla="*/ 156065 w 205084"/>
                <a:gd name="connsiteY11" fmla="*/ 210001 h 25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5084" h="258392">
                  <a:moveTo>
                    <a:pt x="156065" y="210001"/>
                  </a:moveTo>
                  <a:lnTo>
                    <a:pt x="85488" y="250748"/>
                  </a:lnTo>
                  <a:cubicBezTo>
                    <a:pt x="58232" y="266485"/>
                    <a:pt x="23380" y="257146"/>
                    <a:pt x="7644" y="229889"/>
                  </a:cubicBezTo>
                  <a:cubicBezTo>
                    <a:pt x="-8092" y="202634"/>
                    <a:pt x="1247" y="167781"/>
                    <a:pt x="28502" y="152046"/>
                  </a:cubicBezTo>
                  <a:lnTo>
                    <a:pt x="100085" y="110718"/>
                  </a:lnTo>
                  <a:lnTo>
                    <a:pt x="100085" y="15000"/>
                  </a:lnTo>
                  <a:cubicBezTo>
                    <a:pt x="100085" y="6716"/>
                    <a:pt x="106800" y="0"/>
                    <a:pt x="115085" y="0"/>
                  </a:cubicBezTo>
                  <a:lnTo>
                    <a:pt x="190085" y="0"/>
                  </a:lnTo>
                  <a:cubicBezTo>
                    <a:pt x="198368" y="0"/>
                    <a:pt x="205085" y="6716"/>
                    <a:pt x="205085" y="15000"/>
                  </a:cubicBezTo>
                  <a:lnTo>
                    <a:pt x="205085" y="180000"/>
                  </a:lnTo>
                  <a:cubicBezTo>
                    <a:pt x="205085" y="196568"/>
                    <a:pt x="191652" y="210001"/>
                    <a:pt x="175085" y="210001"/>
                  </a:cubicBezTo>
                  <a:lnTo>
                    <a:pt x="156065" y="210001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55" name="Рисунок 257">
            <a:extLst>
              <a:ext uri="{FF2B5EF4-FFF2-40B4-BE49-F238E27FC236}">
                <a16:creationId xmlns:a16="http://schemas.microsoft.com/office/drawing/2014/main" id="{7838BFF9-7CCD-D447-8EF0-468B6CB280DB}"/>
              </a:ext>
            </a:extLst>
          </p:cNvPr>
          <p:cNvGrpSpPr/>
          <p:nvPr/>
        </p:nvGrpSpPr>
        <p:grpSpPr>
          <a:xfrm>
            <a:off x="11233735" y="4461423"/>
            <a:ext cx="360000" cy="360000"/>
            <a:chOff x="11267188" y="4778145"/>
            <a:chExt cx="360000" cy="360000"/>
          </a:xfrm>
        </p:grpSpPr>
        <p:sp>
          <p:nvSpPr>
            <p:cNvPr id="1056" name="Полилиния 1055">
              <a:extLst>
                <a:ext uri="{FF2B5EF4-FFF2-40B4-BE49-F238E27FC236}">
                  <a16:creationId xmlns:a16="http://schemas.microsoft.com/office/drawing/2014/main" id="{38CEDD42-E28A-994D-8A22-49F3835F2198}"/>
                </a:ext>
              </a:extLst>
            </p:cNvPr>
            <p:cNvSpPr/>
            <p:nvPr/>
          </p:nvSpPr>
          <p:spPr>
            <a:xfrm>
              <a:off x="11267188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7" name="Скругленный прямоугольник 1056">
              <a:extLst>
                <a:ext uri="{FF2B5EF4-FFF2-40B4-BE49-F238E27FC236}">
                  <a16:creationId xmlns:a16="http://schemas.microsoft.com/office/drawing/2014/main" id="{172D3311-A045-904A-B85B-1CDE07EEDC96}"/>
                </a:ext>
              </a:extLst>
            </p:cNvPr>
            <p:cNvSpPr/>
            <p:nvPr/>
          </p:nvSpPr>
          <p:spPr>
            <a:xfrm>
              <a:off x="11327188" y="4853145"/>
              <a:ext cx="240000" cy="45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8" name="Полилиния 1057">
              <a:extLst>
                <a:ext uri="{FF2B5EF4-FFF2-40B4-BE49-F238E27FC236}">
                  <a16:creationId xmlns:a16="http://schemas.microsoft.com/office/drawing/2014/main" id="{AC2780E4-55A2-8D48-B429-150E6849BB98}"/>
                </a:ext>
              </a:extLst>
            </p:cNvPr>
            <p:cNvSpPr/>
            <p:nvPr/>
          </p:nvSpPr>
          <p:spPr>
            <a:xfrm>
              <a:off x="11357188" y="4943145"/>
              <a:ext cx="180000" cy="135000"/>
            </a:xfrm>
            <a:custGeom>
              <a:avLst/>
              <a:gdLst>
                <a:gd name="connsiteX0" fmla="*/ 22500 w 180000"/>
                <a:gd name="connsiteY0" fmla="*/ 0 h 135000"/>
                <a:gd name="connsiteX1" fmla="*/ 157500 w 180000"/>
                <a:gd name="connsiteY1" fmla="*/ 0 h 135000"/>
                <a:gd name="connsiteX2" fmla="*/ 180000 w 180000"/>
                <a:gd name="connsiteY2" fmla="*/ 22500 h 135000"/>
                <a:gd name="connsiteX3" fmla="*/ 157500 w 180000"/>
                <a:gd name="connsiteY3" fmla="*/ 45000 h 135000"/>
                <a:gd name="connsiteX4" fmla="*/ 22500 w 180000"/>
                <a:gd name="connsiteY4" fmla="*/ 45000 h 135000"/>
                <a:gd name="connsiteX5" fmla="*/ 0 w 180000"/>
                <a:gd name="connsiteY5" fmla="*/ 22500 h 135000"/>
                <a:gd name="connsiteX6" fmla="*/ 22500 w 180000"/>
                <a:gd name="connsiteY6" fmla="*/ 0 h 135000"/>
                <a:gd name="connsiteX7" fmla="*/ 67500 w 180000"/>
                <a:gd name="connsiteY7" fmla="*/ 90000 h 135000"/>
                <a:gd name="connsiteX8" fmla="*/ 112500 w 180000"/>
                <a:gd name="connsiteY8" fmla="*/ 90000 h 135000"/>
                <a:gd name="connsiteX9" fmla="*/ 135000 w 180000"/>
                <a:gd name="connsiteY9" fmla="*/ 112500 h 135000"/>
                <a:gd name="connsiteX10" fmla="*/ 112500 w 180000"/>
                <a:gd name="connsiteY10" fmla="*/ 135000 h 135000"/>
                <a:gd name="connsiteX11" fmla="*/ 67500 w 180000"/>
                <a:gd name="connsiteY11" fmla="*/ 135000 h 135000"/>
                <a:gd name="connsiteX12" fmla="*/ 45000 w 180000"/>
                <a:gd name="connsiteY12" fmla="*/ 112500 h 135000"/>
                <a:gd name="connsiteX13" fmla="*/ 67500 w 180000"/>
                <a:gd name="connsiteY13" fmla="*/ 90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0000" h="135000">
                  <a:moveTo>
                    <a:pt x="22500" y="0"/>
                  </a:moveTo>
                  <a:lnTo>
                    <a:pt x="157500" y="0"/>
                  </a:lnTo>
                  <a:cubicBezTo>
                    <a:pt x="169926" y="0"/>
                    <a:pt x="180000" y="10074"/>
                    <a:pt x="180000" y="22500"/>
                  </a:cubicBezTo>
                  <a:cubicBezTo>
                    <a:pt x="180000" y="34926"/>
                    <a:pt x="169926" y="45000"/>
                    <a:pt x="157500" y="45000"/>
                  </a:cubicBezTo>
                  <a:lnTo>
                    <a:pt x="22500" y="45000"/>
                  </a:ln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67500" y="90000"/>
                  </a:moveTo>
                  <a:lnTo>
                    <a:pt x="112500" y="90000"/>
                  </a:lnTo>
                  <a:cubicBezTo>
                    <a:pt x="124926" y="90000"/>
                    <a:pt x="135000" y="100074"/>
                    <a:pt x="135000" y="112500"/>
                  </a:cubicBezTo>
                  <a:cubicBezTo>
                    <a:pt x="135000" y="124926"/>
                    <a:pt x="124926" y="135000"/>
                    <a:pt x="112500" y="135000"/>
                  </a:cubicBezTo>
                  <a:lnTo>
                    <a:pt x="67500" y="135000"/>
                  </a:lnTo>
                  <a:cubicBezTo>
                    <a:pt x="55074" y="135000"/>
                    <a:pt x="45000" y="124926"/>
                    <a:pt x="45000" y="112500"/>
                  </a:cubicBezTo>
                  <a:cubicBezTo>
                    <a:pt x="45000" y="100074"/>
                    <a:pt x="55074" y="90000"/>
                    <a:pt x="67500" y="9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59" name="Рисунок 258">
            <a:extLst>
              <a:ext uri="{FF2B5EF4-FFF2-40B4-BE49-F238E27FC236}">
                <a16:creationId xmlns:a16="http://schemas.microsoft.com/office/drawing/2014/main" id="{7907C916-9C2D-2E49-B3D7-E4DA2CBB3FAA}"/>
              </a:ext>
            </a:extLst>
          </p:cNvPr>
          <p:cNvGrpSpPr/>
          <p:nvPr/>
        </p:nvGrpSpPr>
        <p:grpSpPr>
          <a:xfrm>
            <a:off x="8213201" y="4461423"/>
            <a:ext cx="360000" cy="360000"/>
            <a:chOff x="8246654" y="4778145"/>
            <a:chExt cx="360000" cy="360000"/>
          </a:xfrm>
        </p:grpSpPr>
        <p:sp>
          <p:nvSpPr>
            <p:cNvPr id="1060" name="Полилиния 1059">
              <a:extLst>
                <a:ext uri="{FF2B5EF4-FFF2-40B4-BE49-F238E27FC236}">
                  <a16:creationId xmlns:a16="http://schemas.microsoft.com/office/drawing/2014/main" id="{AC1568F7-62FF-3D49-A402-7E6426F72F2F}"/>
                </a:ext>
              </a:extLst>
            </p:cNvPr>
            <p:cNvSpPr/>
            <p:nvPr/>
          </p:nvSpPr>
          <p:spPr>
            <a:xfrm>
              <a:off x="8246654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1" name="Полилиния 1060">
              <a:extLst>
                <a:ext uri="{FF2B5EF4-FFF2-40B4-BE49-F238E27FC236}">
                  <a16:creationId xmlns:a16="http://schemas.microsoft.com/office/drawing/2014/main" id="{4E4BE92D-525C-2342-A202-D922B591531B}"/>
                </a:ext>
              </a:extLst>
            </p:cNvPr>
            <p:cNvSpPr/>
            <p:nvPr/>
          </p:nvSpPr>
          <p:spPr>
            <a:xfrm>
              <a:off x="8306654" y="4868145"/>
              <a:ext cx="225000" cy="210000"/>
            </a:xfrm>
            <a:custGeom>
              <a:avLst/>
              <a:gdLst>
                <a:gd name="connsiteX0" fmla="*/ 22500 w 225000"/>
                <a:gd name="connsiteY0" fmla="*/ 0 h 210000"/>
                <a:gd name="connsiteX1" fmla="*/ 45000 w 225000"/>
                <a:gd name="connsiteY1" fmla="*/ 22500 h 210000"/>
                <a:gd name="connsiteX2" fmla="*/ 45000 w 225000"/>
                <a:gd name="connsiteY2" fmla="*/ 187500 h 210000"/>
                <a:gd name="connsiteX3" fmla="*/ 22500 w 225000"/>
                <a:gd name="connsiteY3" fmla="*/ 210000 h 210000"/>
                <a:gd name="connsiteX4" fmla="*/ 0 w 225000"/>
                <a:gd name="connsiteY4" fmla="*/ 187500 h 210000"/>
                <a:gd name="connsiteX5" fmla="*/ 0 w 225000"/>
                <a:gd name="connsiteY5" fmla="*/ 22500 h 210000"/>
                <a:gd name="connsiteX6" fmla="*/ 22500 w 225000"/>
                <a:gd name="connsiteY6" fmla="*/ 0 h 210000"/>
                <a:gd name="connsiteX7" fmla="*/ 112500 w 225000"/>
                <a:gd name="connsiteY7" fmla="*/ 75000 h 210000"/>
                <a:gd name="connsiteX8" fmla="*/ 135000 w 225000"/>
                <a:gd name="connsiteY8" fmla="*/ 97500 h 210000"/>
                <a:gd name="connsiteX9" fmla="*/ 135000 w 225000"/>
                <a:gd name="connsiteY9" fmla="*/ 187500 h 210000"/>
                <a:gd name="connsiteX10" fmla="*/ 112500 w 225000"/>
                <a:gd name="connsiteY10" fmla="*/ 210000 h 210000"/>
                <a:gd name="connsiteX11" fmla="*/ 90000 w 225000"/>
                <a:gd name="connsiteY11" fmla="*/ 187500 h 210000"/>
                <a:gd name="connsiteX12" fmla="*/ 90000 w 225000"/>
                <a:gd name="connsiteY12" fmla="*/ 97500 h 210000"/>
                <a:gd name="connsiteX13" fmla="*/ 112500 w 225000"/>
                <a:gd name="connsiteY13" fmla="*/ 75000 h 210000"/>
                <a:gd name="connsiteX14" fmla="*/ 202500 w 225000"/>
                <a:gd name="connsiteY14" fmla="*/ 135000 h 210000"/>
                <a:gd name="connsiteX15" fmla="*/ 225000 w 225000"/>
                <a:gd name="connsiteY15" fmla="*/ 157500 h 210000"/>
                <a:gd name="connsiteX16" fmla="*/ 225000 w 225000"/>
                <a:gd name="connsiteY16" fmla="*/ 187500 h 210000"/>
                <a:gd name="connsiteX17" fmla="*/ 202500 w 225000"/>
                <a:gd name="connsiteY17" fmla="*/ 210000 h 210000"/>
                <a:gd name="connsiteX18" fmla="*/ 180000 w 225000"/>
                <a:gd name="connsiteY18" fmla="*/ 187500 h 210000"/>
                <a:gd name="connsiteX19" fmla="*/ 180000 w 225000"/>
                <a:gd name="connsiteY19" fmla="*/ 157500 h 210000"/>
                <a:gd name="connsiteX20" fmla="*/ 202500 w 225000"/>
                <a:gd name="connsiteY20" fmla="*/ 135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5000" h="210000">
                  <a:moveTo>
                    <a:pt x="22500" y="0"/>
                  </a:moveTo>
                  <a:cubicBezTo>
                    <a:pt x="34926" y="0"/>
                    <a:pt x="45000" y="10074"/>
                    <a:pt x="45000" y="22500"/>
                  </a:cubicBezTo>
                  <a:lnTo>
                    <a:pt x="45000" y="187500"/>
                  </a:lnTo>
                  <a:cubicBezTo>
                    <a:pt x="45000" y="199926"/>
                    <a:pt x="34926" y="210000"/>
                    <a:pt x="22500" y="210000"/>
                  </a:cubicBezTo>
                  <a:cubicBezTo>
                    <a:pt x="10074" y="210000"/>
                    <a:pt x="0" y="199926"/>
                    <a:pt x="0" y="187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112500" y="75000"/>
                  </a:moveTo>
                  <a:cubicBezTo>
                    <a:pt x="124926" y="75000"/>
                    <a:pt x="135000" y="85074"/>
                    <a:pt x="135000" y="97500"/>
                  </a:cubicBezTo>
                  <a:lnTo>
                    <a:pt x="135000" y="187500"/>
                  </a:lnTo>
                  <a:cubicBezTo>
                    <a:pt x="135000" y="199926"/>
                    <a:pt x="124926" y="210000"/>
                    <a:pt x="112500" y="210000"/>
                  </a:cubicBezTo>
                  <a:cubicBezTo>
                    <a:pt x="100074" y="210000"/>
                    <a:pt x="90000" y="199926"/>
                    <a:pt x="90000" y="187500"/>
                  </a:cubicBezTo>
                  <a:lnTo>
                    <a:pt x="90000" y="97500"/>
                  </a:lnTo>
                  <a:cubicBezTo>
                    <a:pt x="90000" y="85074"/>
                    <a:pt x="100074" y="75000"/>
                    <a:pt x="112500" y="75000"/>
                  </a:cubicBezTo>
                  <a:close/>
                  <a:moveTo>
                    <a:pt x="202500" y="135000"/>
                  </a:moveTo>
                  <a:cubicBezTo>
                    <a:pt x="214926" y="135000"/>
                    <a:pt x="225000" y="145074"/>
                    <a:pt x="225000" y="157500"/>
                  </a:cubicBezTo>
                  <a:lnTo>
                    <a:pt x="225000" y="187500"/>
                  </a:lnTo>
                  <a:cubicBezTo>
                    <a:pt x="225000" y="199926"/>
                    <a:pt x="214926" y="210000"/>
                    <a:pt x="202500" y="210000"/>
                  </a:cubicBezTo>
                  <a:cubicBezTo>
                    <a:pt x="190074" y="210000"/>
                    <a:pt x="180000" y="199926"/>
                    <a:pt x="180000" y="187500"/>
                  </a:cubicBezTo>
                  <a:lnTo>
                    <a:pt x="180000" y="157500"/>
                  </a:lnTo>
                  <a:cubicBezTo>
                    <a:pt x="180000" y="145074"/>
                    <a:pt x="190074" y="135000"/>
                    <a:pt x="202500" y="13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62" name="Рисунок 259">
            <a:extLst>
              <a:ext uri="{FF2B5EF4-FFF2-40B4-BE49-F238E27FC236}">
                <a16:creationId xmlns:a16="http://schemas.microsoft.com/office/drawing/2014/main" id="{C6E8156A-1922-4D44-AB65-DB24A5B78396}"/>
              </a:ext>
            </a:extLst>
          </p:cNvPr>
          <p:cNvGrpSpPr/>
          <p:nvPr/>
        </p:nvGrpSpPr>
        <p:grpSpPr>
          <a:xfrm>
            <a:off x="9723467" y="4461423"/>
            <a:ext cx="360000" cy="360000"/>
            <a:chOff x="9756920" y="4778145"/>
            <a:chExt cx="360000" cy="360000"/>
          </a:xfrm>
        </p:grpSpPr>
        <p:sp>
          <p:nvSpPr>
            <p:cNvPr id="1063" name="Полилиния 1062">
              <a:extLst>
                <a:ext uri="{FF2B5EF4-FFF2-40B4-BE49-F238E27FC236}">
                  <a16:creationId xmlns:a16="http://schemas.microsoft.com/office/drawing/2014/main" id="{97AEE8E4-ABC7-AB4B-80E1-5076C7D7D37D}"/>
                </a:ext>
              </a:extLst>
            </p:cNvPr>
            <p:cNvSpPr/>
            <p:nvPr/>
          </p:nvSpPr>
          <p:spPr>
            <a:xfrm>
              <a:off x="9756920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4" name="Полилиния 1063">
              <a:extLst>
                <a:ext uri="{FF2B5EF4-FFF2-40B4-BE49-F238E27FC236}">
                  <a16:creationId xmlns:a16="http://schemas.microsoft.com/office/drawing/2014/main" id="{CAB36333-A72F-A146-8F4F-620B8AAA3288}"/>
                </a:ext>
              </a:extLst>
            </p:cNvPr>
            <p:cNvSpPr/>
            <p:nvPr/>
          </p:nvSpPr>
          <p:spPr>
            <a:xfrm>
              <a:off x="9831920" y="4868145"/>
              <a:ext cx="225000" cy="210000"/>
            </a:xfrm>
            <a:custGeom>
              <a:avLst/>
              <a:gdLst>
                <a:gd name="connsiteX0" fmla="*/ 202500 w 225000"/>
                <a:gd name="connsiteY0" fmla="*/ 0 h 210000"/>
                <a:gd name="connsiteX1" fmla="*/ 225000 w 225000"/>
                <a:gd name="connsiteY1" fmla="*/ 22500 h 210000"/>
                <a:gd name="connsiteX2" fmla="*/ 225000 w 225000"/>
                <a:gd name="connsiteY2" fmla="*/ 187500 h 210000"/>
                <a:gd name="connsiteX3" fmla="*/ 202500 w 225000"/>
                <a:gd name="connsiteY3" fmla="*/ 210000 h 210000"/>
                <a:gd name="connsiteX4" fmla="*/ 180000 w 225000"/>
                <a:gd name="connsiteY4" fmla="*/ 187500 h 210000"/>
                <a:gd name="connsiteX5" fmla="*/ 180000 w 225000"/>
                <a:gd name="connsiteY5" fmla="*/ 22500 h 210000"/>
                <a:gd name="connsiteX6" fmla="*/ 202500 w 225000"/>
                <a:gd name="connsiteY6" fmla="*/ 0 h 210000"/>
                <a:gd name="connsiteX7" fmla="*/ 112500 w 225000"/>
                <a:gd name="connsiteY7" fmla="*/ 75000 h 210000"/>
                <a:gd name="connsiteX8" fmla="*/ 135000 w 225000"/>
                <a:gd name="connsiteY8" fmla="*/ 97500 h 210000"/>
                <a:gd name="connsiteX9" fmla="*/ 135000 w 225000"/>
                <a:gd name="connsiteY9" fmla="*/ 187500 h 210000"/>
                <a:gd name="connsiteX10" fmla="*/ 112500 w 225000"/>
                <a:gd name="connsiteY10" fmla="*/ 210000 h 210000"/>
                <a:gd name="connsiteX11" fmla="*/ 90000 w 225000"/>
                <a:gd name="connsiteY11" fmla="*/ 187500 h 210000"/>
                <a:gd name="connsiteX12" fmla="*/ 90000 w 225000"/>
                <a:gd name="connsiteY12" fmla="*/ 97500 h 210000"/>
                <a:gd name="connsiteX13" fmla="*/ 112500 w 225000"/>
                <a:gd name="connsiteY13" fmla="*/ 75000 h 210000"/>
                <a:gd name="connsiteX14" fmla="*/ 22500 w 225000"/>
                <a:gd name="connsiteY14" fmla="*/ 135000 h 210000"/>
                <a:gd name="connsiteX15" fmla="*/ 45000 w 225000"/>
                <a:gd name="connsiteY15" fmla="*/ 157500 h 210000"/>
                <a:gd name="connsiteX16" fmla="*/ 45000 w 225000"/>
                <a:gd name="connsiteY16" fmla="*/ 187500 h 210000"/>
                <a:gd name="connsiteX17" fmla="*/ 22500 w 225000"/>
                <a:gd name="connsiteY17" fmla="*/ 210000 h 210000"/>
                <a:gd name="connsiteX18" fmla="*/ 0 w 225000"/>
                <a:gd name="connsiteY18" fmla="*/ 187500 h 210000"/>
                <a:gd name="connsiteX19" fmla="*/ 0 w 225000"/>
                <a:gd name="connsiteY19" fmla="*/ 157500 h 210000"/>
                <a:gd name="connsiteX20" fmla="*/ 22500 w 225000"/>
                <a:gd name="connsiteY20" fmla="*/ 135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5000" h="210000">
                  <a:moveTo>
                    <a:pt x="202500" y="0"/>
                  </a:moveTo>
                  <a:cubicBezTo>
                    <a:pt x="214926" y="0"/>
                    <a:pt x="225000" y="10074"/>
                    <a:pt x="225000" y="22500"/>
                  </a:cubicBezTo>
                  <a:lnTo>
                    <a:pt x="225000" y="187500"/>
                  </a:lnTo>
                  <a:cubicBezTo>
                    <a:pt x="225000" y="199926"/>
                    <a:pt x="214926" y="210000"/>
                    <a:pt x="202500" y="210000"/>
                  </a:cubicBezTo>
                  <a:cubicBezTo>
                    <a:pt x="190074" y="210000"/>
                    <a:pt x="180000" y="199926"/>
                    <a:pt x="180000" y="187500"/>
                  </a:cubicBezTo>
                  <a:lnTo>
                    <a:pt x="180000" y="22500"/>
                  </a:lnTo>
                  <a:cubicBezTo>
                    <a:pt x="180000" y="10074"/>
                    <a:pt x="190074" y="0"/>
                    <a:pt x="202500" y="0"/>
                  </a:cubicBezTo>
                  <a:close/>
                  <a:moveTo>
                    <a:pt x="112500" y="75000"/>
                  </a:moveTo>
                  <a:cubicBezTo>
                    <a:pt x="124926" y="75000"/>
                    <a:pt x="135000" y="85074"/>
                    <a:pt x="135000" y="97500"/>
                  </a:cubicBezTo>
                  <a:lnTo>
                    <a:pt x="135000" y="187500"/>
                  </a:lnTo>
                  <a:cubicBezTo>
                    <a:pt x="135000" y="199926"/>
                    <a:pt x="124926" y="210000"/>
                    <a:pt x="112500" y="210000"/>
                  </a:cubicBezTo>
                  <a:cubicBezTo>
                    <a:pt x="100074" y="210000"/>
                    <a:pt x="90000" y="199926"/>
                    <a:pt x="90000" y="187500"/>
                  </a:cubicBezTo>
                  <a:lnTo>
                    <a:pt x="90000" y="97500"/>
                  </a:lnTo>
                  <a:cubicBezTo>
                    <a:pt x="90000" y="85074"/>
                    <a:pt x="100074" y="75000"/>
                    <a:pt x="112500" y="75000"/>
                  </a:cubicBezTo>
                  <a:close/>
                  <a:moveTo>
                    <a:pt x="22500" y="135000"/>
                  </a:moveTo>
                  <a:cubicBezTo>
                    <a:pt x="34926" y="135000"/>
                    <a:pt x="45000" y="145074"/>
                    <a:pt x="45000" y="157500"/>
                  </a:cubicBezTo>
                  <a:lnTo>
                    <a:pt x="45000" y="187500"/>
                  </a:lnTo>
                  <a:cubicBezTo>
                    <a:pt x="45000" y="199926"/>
                    <a:pt x="34926" y="210000"/>
                    <a:pt x="22500" y="210000"/>
                  </a:cubicBezTo>
                  <a:cubicBezTo>
                    <a:pt x="10074" y="210000"/>
                    <a:pt x="0" y="199926"/>
                    <a:pt x="0" y="187500"/>
                  </a:cubicBezTo>
                  <a:lnTo>
                    <a:pt x="0" y="157500"/>
                  </a:lnTo>
                  <a:cubicBezTo>
                    <a:pt x="0" y="145074"/>
                    <a:pt x="10074" y="135000"/>
                    <a:pt x="22500" y="13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65" name="Рисунок 260">
            <a:extLst>
              <a:ext uri="{FF2B5EF4-FFF2-40B4-BE49-F238E27FC236}">
                <a16:creationId xmlns:a16="http://schemas.microsoft.com/office/drawing/2014/main" id="{FB498A29-5F5C-9E45-AB9A-128DC7C06676}"/>
              </a:ext>
            </a:extLst>
          </p:cNvPr>
          <p:cNvGrpSpPr/>
          <p:nvPr/>
        </p:nvGrpSpPr>
        <p:grpSpPr>
          <a:xfrm>
            <a:off x="8968334" y="4461423"/>
            <a:ext cx="360000" cy="360000"/>
            <a:chOff x="9001787" y="4778145"/>
            <a:chExt cx="360000" cy="360000"/>
          </a:xfrm>
        </p:grpSpPr>
        <p:sp>
          <p:nvSpPr>
            <p:cNvPr id="1066" name="Полилиния 1065">
              <a:extLst>
                <a:ext uri="{FF2B5EF4-FFF2-40B4-BE49-F238E27FC236}">
                  <a16:creationId xmlns:a16="http://schemas.microsoft.com/office/drawing/2014/main" id="{3E97F421-C7E4-B740-BEE0-27D002F57DDB}"/>
                </a:ext>
              </a:extLst>
            </p:cNvPr>
            <p:cNvSpPr/>
            <p:nvPr/>
          </p:nvSpPr>
          <p:spPr>
            <a:xfrm>
              <a:off x="9001787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7" name="Полилиния 1066">
              <a:extLst>
                <a:ext uri="{FF2B5EF4-FFF2-40B4-BE49-F238E27FC236}">
                  <a16:creationId xmlns:a16="http://schemas.microsoft.com/office/drawing/2014/main" id="{12AC72E8-6658-2A4D-8C3D-7E82FF537C88}"/>
                </a:ext>
              </a:extLst>
            </p:cNvPr>
            <p:cNvSpPr/>
            <p:nvPr/>
          </p:nvSpPr>
          <p:spPr>
            <a:xfrm>
              <a:off x="9046787" y="4823145"/>
              <a:ext cx="270000" cy="270000"/>
            </a:xfrm>
            <a:custGeom>
              <a:avLst/>
              <a:gdLst>
                <a:gd name="connsiteX0" fmla="*/ 22500 w 270000"/>
                <a:gd name="connsiteY0" fmla="*/ 0 h 270000"/>
                <a:gd name="connsiteX1" fmla="*/ 247500 w 270000"/>
                <a:gd name="connsiteY1" fmla="*/ 0 h 270000"/>
                <a:gd name="connsiteX2" fmla="*/ 270000 w 270000"/>
                <a:gd name="connsiteY2" fmla="*/ 22500 h 270000"/>
                <a:gd name="connsiteX3" fmla="*/ 270000 w 270000"/>
                <a:gd name="connsiteY3" fmla="*/ 247500 h 270000"/>
                <a:gd name="connsiteX4" fmla="*/ 247500 w 270000"/>
                <a:gd name="connsiteY4" fmla="*/ 270000 h 270000"/>
                <a:gd name="connsiteX5" fmla="*/ 22500 w 270000"/>
                <a:gd name="connsiteY5" fmla="*/ 270000 h 270000"/>
                <a:gd name="connsiteX6" fmla="*/ 0 w 270000"/>
                <a:gd name="connsiteY6" fmla="*/ 247500 h 270000"/>
                <a:gd name="connsiteX7" fmla="*/ 0 w 270000"/>
                <a:gd name="connsiteY7" fmla="*/ 22500 h 270000"/>
                <a:gd name="connsiteX8" fmla="*/ 22500 w 270000"/>
                <a:gd name="connsiteY8" fmla="*/ 0 h 270000"/>
                <a:gd name="connsiteX9" fmla="*/ 75000 w 270000"/>
                <a:gd name="connsiteY9" fmla="*/ 30000 h 270000"/>
                <a:gd name="connsiteX10" fmla="*/ 60000 w 270000"/>
                <a:gd name="connsiteY10" fmla="*/ 45000 h 270000"/>
                <a:gd name="connsiteX11" fmla="*/ 75000 w 270000"/>
                <a:gd name="connsiteY11" fmla="*/ 60000 h 270000"/>
                <a:gd name="connsiteX12" fmla="*/ 195000 w 270000"/>
                <a:gd name="connsiteY12" fmla="*/ 60000 h 270000"/>
                <a:gd name="connsiteX13" fmla="*/ 210000 w 270000"/>
                <a:gd name="connsiteY13" fmla="*/ 45000 h 270000"/>
                <a:gd name="connsiteX14" fmla="*/ 195000 w 270000"/>
                <a:gd name="connsiteY14" fmla="*/ 30000 h 270000"/>
                <a:gd name="connsiteX15" fmla="*/ 75000 w 270000"/>
                <a:gd name="connsiteY15" fmla="*/ 30000 h 270000"/>
                <a:gd name="connsiteX16" fmla="*/ 113787 w 270000"/>
                <a:gd name="connsiteY16" fmla="*/ 165000 h 270000"/>
                <a:gd name="connsiteX17" fmla="*/ 92574 w 270000"/>
                <a:gd name="connsiteY17" fmla="*/ 186213 h 270000"/>
                <a:gd name="connsiteX18" fmla="*/ 92574 w 270000"/>
                <a:gd name="connsiteY18" fmla="*/ 207426 h 270000"/>
                <a:gd name="connsiteX19" fmla="*/ 113787 w 270000"/>
                <a:gd name="connsiteY19" fmla="*/ 207426 h 270000"/>
                <a:gd name="connsiteX20" fmla="*/ 135000 w 270000"/>
                <a:gd name="connsiteY20" fmla="*/ 186213 h 270000"/>
                <a:gd name="connsiteX21" fmla="*/ 156213 w 270000"/>
                <a:gd name="connsiteY21" fmla="*/ 207426 h 270000"/>
                <a:gd name="connsiteX22" fmla="*/ 177426 w 270000"/>
                <a:gd name="connsiteY22" fmla="*/ 207426 h 270000"/>
                <a:gd name="connsiteX23" fmla="*/ 177426 w 270000"/>
                <a:gd name="connsiteY23" fmla="*/ 186213 h 270000"/>
                <a:gd name="connsiteX24" fmla="*/ 156213 w 270000"/>
                <a:gd name="connsiteY24" fmla="*/ 165000 h 270000"/>
                <a:gd name="connsiteX25" fmla="*/ 177426 w 270000"/>
                <a:gd name="connsiteY25" fmla="*/ 143787 h 270000"/>
                <a:gd name="connsiteX26" fmla="*/ 177426 w 270000"/>
                <a:gd name="connsiteY26" fmla="*/ 122574 h 270000"/>
                <a:gd name="connsiteX27" fmla="*/ 156213 w 270000"/>
                <a:gd name="connsiteY27" fmla="*/ 122574 h 270000"/>
                <a:gd name="connsiteX28" fmla="*/ 135000 w 270000"/>
                <a:gd name="connsiteY28" fmla="*/ 143787 h 270000"/>
                <a:gd name="connsiteX29" fmla="*/ 113787 w 270000"/>
                <a:gd name="connsiteY29" fmla="*/ 122574 h 270000"/>
                <a:gd name="connsiteX30" fmla="*/ 92574 w 270000"/>
                <a:gd name="connsiteY30" fmla="*/ 122574 h 270000"/>
                <a:gd name="connsiteX31" fmla="*/ 92574 w 270000"/>
                <a:gd name="connsiteY31" fmla="*/ 143787 h 270000"/>
                <a:gd name="connsiteX32" fmla="*/ 113787 w 270000"/>
                <a:gd name="connsiteY32" fmla="*/ 165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70000" h="270000">
                  <a:moveTo>
                    <a:pt x="22500" y="0"/>
                  </a:moveTo>
                  <a:lnTo>
                    <a:pt x="247500" y="0"/>
                  </a:lnTo>
                  <a:cubicBezTo>
                    <a:pt x="259926" y="0"/>
                    <a:pt x="270000" y="10074"/>
                    <a:pt x="270000" y="22500"/>
                  </a:cubicBezTo>
                  <a:lnTo>
                    <a:pt x="270000" y="247500"/>
                  </a:lnTo>
                  <a:cubicBezTo>
                    <a:pt x="270000" y="259926"/>
                    <a:pt x="259926" y="270000"/>
                    <a:pt x="247500" y="270000"/>
                  </a:cubicBezTo>
                  <a:lnTo>
                    <a:pt x="22500" y="270000"/>
                  </a:lnTo>
                  <a:cubicBezTo>
                    <a:pt x="10074" y="270000"/>
                    <a:pt x="0" y="259926"/>
                    <a:pt x="0" y="247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75000" y="30000"/>
                  </a:moveTo>
                  <a:cubicBezTo>
                    <a:pt x="66716" y="30000"/>
                    <a:pt x="60000" y="36716"/>
                    <a:pt x="60000" y="45000"/>
                  </a:cubicBezTo>
                  <a:cubicBezTo>
                    <a:pt x="60000" y="53284"/>
                    <a:pt x="66716" y="60000"/>
                    <a:pt x="75000" y="60000"/>
                  </a:cubicBezTo>
                  <a:lnTo>
                    <a:pt x="195000" y="60000"/>
                  </a:lnTo>
                  <a:cubicBezTo>
                    <a:pt x="203285" y="60000"/>
                    <a:pt x="210000" y="53284"/>
                    <a:pt x="210000" y="45000"/>
                  </a:cubicBezTo>
                  <a:cubicBezTo>
                    <a:pt x="210000" y="36716"/>
                    <a:pt x="203285" y="30000"/>
                    <a:pt x="195000" y="30000"/>
                  </a:cubicBezTo>
                  <a:lnTo>
                    <a:pt x="75000" y="30000"/>
                  </a:lnTo>
                  <a:close/>
                  <a:moveTo>
                    <a:pt x="113787" y="165000"/>
                  </a:moveTo>
                  <a:lnTo>
                    <a:pt x="92574" y="186213"/>
                  </a:lnTo>
                  <a:cubicBezTo>
                    <a:pt x="86716" y="192071"/>
                    <a:pt x="86716" y="201569"/>
                    <a:pt x="92574" y="207426"/>
                  </a:cubicBezTo>
                  <a:cubicBezTo>
                    <a:pt x="98432" y="213285"/>
                    <a:pt x="107930" y="213285"/>
                    <a:pt x="113787" y="207426"/>
                  </a:cubicBezTo>
                  <a:lnTo>
                    <a:pt x="135000" y="186213"/>
                  </a:lnTo>
                  <a:lnTo>
                    <a:pt x="156213" y="207426"/>
                  </a:lnTo>
                  <a:cubicBezTo>
                    <a:pt x="162071" y="213285"/>
                    <a:pt x="171569" y="213285"/>
                    <a:pt x="177426" y="207426"/>
                  </a:cubicBezTo>
                  <a:cubicBezTo>
                    <a:pt x="183285" y="201569"/>
                    <a:pt x="183285" y="192071"/>
                    <a:pt x="177426" y="186213"/>
                  </a:cubicBezTo>
                  <a:lnTo>
                    <a:pt x="156213" y="165000"/>
                  </a:lnTo>
                  <a:lnTo>
                    <a:pt x="177426" y="143787"/>
                  </a:lnTo>
                  <a:cubicBezTo>
                    <a:pt x="183285" y="137930"/>
                    <a:pt x="183285" y="128432"/>
                    <a:pt x="177426" y="122574"/>
                  </a:cubicBezTo>
                  <a:cubicBezTo>
                    <a:pt x="171569" y="116715"/>
                    <a:pt x="162071" y="116715"/>
                    <a:pt x="156213" y="122574"/>
                  </a:cubicBezTo>
                  <a:lnTo>
                    <a:pt x="135000" y="143787"/>
                  </a:lnTo>
                  <a:lnTo>
                    <a:pt x="113787" y="122574"/>
                  </a:lnTo>
                  <a:cubicBezTo>
                    <a:pt x="107930" y="116715"/>
                    <a:pt x="98432" y="116715"/>
                    <a:pt x="92574" y="122574"/>
                  </a:cubicBezTo>
                  <a:cubicBezTo>
                    <a:pt x="86716" y="128432"/>
                    <a:pt x="86716" y="137930"/>
                    <a:pt x="92574" y="143787"/>
                  </a:cubicBezTo>
                  <a:lnTo>
                    <a:pt x="113787" y="16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68" name="Рисунок 261">
            <a:extLst>
              <a:ext uri="{FF2B5EF4-FFF2-40B4-BE49-F238E27FC236}">
                <a16:creationId xmlns:a16="http://schemas.microsoft.com/office/drawing/2014/main" id="{1CA5D323-6ABE-EF4B-9859-7109ACD4AF7C}"/>
              </a:ext>
            </a:extLst>
          </p:cNvPr>
          <p:cNvGrpSpPr/>
          <p:nvPr/>
        </p:nvGrpSpPr>
        <p:grpSpPr>
          <a:xfrm>
            <a:off x="5947802" y="4461423"/>
            <a:ext cx="360000" cy="360000"/>
            <a:chOff x="5981255" y="4778145"/>
            <a:chExt cx="360000" cy="360000"/>
          </a:xfrm>
        </p:grpSpPr>
        <p:sp>
          <p:nvSpPr>
            <p:cNvPr id="1069" name="Полилиния 1068">
              <a:extLst>
                <a:ext uri="{FF2B5EF4-FFF2-40B4-BE49-F238E27FC236}">
                  <a16:creationId xmlns:a16="http://schemas.microsoft.com/office/drawing/2014/main" id="{25753FC7-B400-9940-98DF-C15D43A20776}"/>
                </a:ext>
              </a:extLst>
            </p:cNvPr>
            <p:cNvSpPr/>
            <p:nvPr/>
          </p:nvSpPr>
          <p:spPr>
            <a:xfrm>
              <a:off x="5981255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0" name="Полилиния 1069">
              <a:extLst>
                <a:ext uri="{FF2B5EF4-FFF2-40B4-BE49-F238E27FC236}">
                  <a16:creationId xmlns:a16="http://schemas.microsoft.com/office/drawing/2014/main" id="{712D9995-72B6-7246-BC4C-5352A054016B}"/>
                </a:ext>
              </a:extLst>
            </p:cNvPr>
            <p:cNvSpPr/>
            <p:nvPr/>
          </p:nvSpPr>
          <p:spPr>
            <a:xfrm rot="2700000">
              <a:off x="6105631" y="4827914"/>
              <a:ext cx="176704" cy="179999"/>
            </a:xfrm>
            <a:custGeom>
              <a:avLst/>
              <a:gdLst>
                <a:gd name="connsiteX0" fmla="*/ 7501 w 176704"/>
                <a:gd name="connsiteY0" fmla="*/ 0 h 179999"/>
                <a:gd name="connsiteX1" fmla="*/ 169205 w 176704"/>
                <a:gd name="connsiteY1" fmla="*/ 0 h 179999"/>
                <a:gd name="connsiteX2" fmla="*/ 176705 w 176704"/>
                <a:gd name="connsiteY2" fmla="*/ 7500 h 179999"/>
                <a:gd name="connsiteX3" fmla="*/ 176559 w 176704"/>
                <a:gd name="connsiteY3" fmla="*/ 8971 h 179999"/>
                <a:gd name="connsiteX4" fmla="*/ 152943 w 176704"/>
                <a:gd name="connsiteY4" fmla="*/ 127048 h 179999"/>
                <a:gd name="connsiteX5" fmla="*/ 88353 w 176704"/>
                <a:gd name="connsiteY5" fmla="*/ 180000 h 179999"/>
                <a:gd name="connsiteX6" fmla="*/ 88353 w 176704"/>
                <a:gd name="connsiteY6" fmla="*/ 180000 h 179999"/>
                <a:gd name="connsiteX7" fmla="*/ 23763 w 176704"/>
                <a:gd name="connsiteY7" fmla="*/ 127048 h 179999"/>
                <a:gd name="connsiteX8" fmla="*/ 147 w 176704"/>
                <a:gd name="connsiteY8" fmla="*/ 8971 h 179999"/>
                <a:gd name="connsiteX9" fmla="*/ 6031 w 176704"/>
                <a:gd name="connsiteY9" fmla="*/ 146 h 179999"/>
                <a:gd name="connsiteX10" fmla="*/ 7501 w 176704"/>
                <a:gd name="connsiteY10" fmla="*/ 0 h 17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6704" h="179999">
                  <a:moveTo>
                    <a:pt x="7501" y="0"/>
                  </a:moveTo>
                  <a:lnTo>
                    <a:pt x="169205" y="0"/>
                  </a:lnTo>
                  <a:cubicBezTo>
                    <a:pt x="173346" y="0"/>
                    <a:pt x="176705" y="3358"/>
                    <a:pt x="176705" y="7500"/>
                  </a:cubicBezTo>
                  <a:cubicBezTo>
                    <a:pt x="176705" y="7994"/>
                    <a:pt x="176655" y="8487"/>
                    <a:pt x="176559" y="8971"/>
                  </a:cubicBezTo>
                  <a:lnTo>
                    <a:pt x="152943" y="127048"/>
                  </a:lnTo>
                  <a:cubicBezTo>
                    <a:pt x="146786" y="157837"/>
                    <a:pt x="119751" y="180000"/>
                    <a:pt x="88353" y="180000"/>
                  </a:cubicBezTo>
                  <a:lnTo>
                    <a:pt x="88353" y="180000"/>
                  </a:lnTo>
                  <a:cubicBezTo>
                    <a:pt x="56954" y="180000"/>
                    <a:pt x="29921" y="157837"/>
                    <a:pt x="23763" y="127048"/>
                  </a:cubicBezTo>
                  <a:lnTo>
                    <a:pt x="147" y="8971"/>
                  </a:lnTo>
                  <a:cubicBezTo>
                    <a:pt x="-665" y="4909"/>
                    <a:pt x="1969" y="958"/>
                    <a:pt x="6031" y="146"/>
                  </a:cubicBezTo>
                  <a:cubicBezTo>
                    <a:pt x="6515" y="49"/>
                    <a:pt x="7008" y="0"/>
                    <a:pt x="7501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1" name="Полилиния 1070">
              <a:extLst>
                <a:ext uri="{FF2B5EF4-FFF2-40B4-BE49-F238E27FC236}">
                  <a16:creationId xmlns:a16="http://schemas.microsoft.com/office/drawing/2014/main" id="{0B5A6E8D-C8C3-C642-A512-811D19B0A0F4}"/>
                </a:ext>
              </a:extLst>
            </p:cNvPr>
            <p:cNvSpPr/>
            <p:nvPr/>
          </p:nvSpPr>
          <p:spPr>
            <a:xfrm rot="2700000">
              <a:off x="6031727" y="4974591"/>
              <a:ext cx="91176" cy="120000"/>
            </a:xfrm>
            <a:custGeom>
              <a:avLst/>
              <a:gdLst>
                <a:gd name="connsiteX0" fmla="*/ 23954 w 91176"/>
                <a:gd name="connsiteY0" fmla="*/ 0 h 120000"/>
                <a:gd name="connsiteX1" fmla="*/ 67210 w 91176"/>
                <a:gd name="connsiteY1" fmla="*/ 0 h 120000"/>
                <a:gd name="connsiteX2" fmla="*/ 88463 w 91176"/>
                <a:gd name="connsiteY2" fmla="*/ 58961 h 120000"/>
                <a:gd name="connsiteX3" fmla="*/ 61039 w 91176"/>
                <a:gd name="connsiteY3" fmla="*/ 117299 h 120000"/>
                <a:gd name="connsiteX4" fmla="*/ 45582 w 91176"/>
                <a:gd name="connsiteY4" fmla="*/ 120000 h 120000"/>
                <a:gd name="connsiteX5" fmla="*/ 0 w 91176"/>
                <a:gd name="connsiteY5" fmla="*/ 74418 h 120000"/>
                <a:gd name="connsiteX6" fmla="*/ 2701 w 91176"/>
                <a:gd name="connsiteY6" fmla="*/ 58961 h 120000"/>
                <a:gd name="connsiteX7" fmla="*/ 23954 w 91176"/>
                <a:gd name="connsiteY7" fmla="*/ 0 h 120000"/>
                <a:gd name="connsiteX8" fmla="*/ 45582 w 91176"/>
                <a:gd name="connsiteY8" fmla="*/ 98571 h 120000"/>
                <a:gd name="connsiteX9" fmla="*/ 67210 w 91176"/>
                <a:gd name="connsiteY9" fmla="*/ 77144 h 120000"/>
                <a:gd name="connsiteX10" fmla="*/ 45582 w 91176"/>
                <a:gd name="connsiteY10" fmla="*/ 55715 h 120000"/>
                <a:gd name="connsiteX11" fmla="*/ 23954 w 91176"/>
                <a:gd name="connsiteY11" fmla="*/ 77144 h 120000"/>
                <a:gd name="connsiteX12" fmla="*/ 45582 w 91176"/>
                <a:gd name="connsiteY12" fmla="*/ 98571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1176" h="120000">
                  <a:moveTo>
                    <a:pt x="23954" y="0"/>
                  </a:moveTo>
                  <a:lnTo>
                    <a:pt x="67210" y="0"/>
                  </a:lnTo>
                  <a:lnTo>
                    <a:pt x="88463" y="58961"/>
                  </a:lnTo>
                  <a:cubicBezTo>
                    <a:pt x="97000" y="82644"/>
                    <a:pt x="84722" y="108762"/>
                    <a:pt x="61039" y="117299"/>
                  </a:cubicBezTo>
                  <a:cubicBezTo>
                    <a:pt x="56081" y="119087"/>
                    <a:pt x="50852" y="120000"/>
                    <a:pt x="45582" y="120000"/>
                  </a:cubicBezTo>
                  <a:cubicBezTo>
                    <a:pt x="20408" y="120000"/>
                    <a:pt x="0" y="99593"/>
                    <a:pt x="0" y="74418"/>
                  </a:cubicBezTo>
                  <a:cubicBezTo>
                    <a:pt x="0" y="69149"/>
                    <a:pt x="914" y="63918"/>
                    <a:pt x="2701" y="58961"/>
                  </a:cubicBezTo>
                  <a:lnTo>
                    <a:pt x="23954" y="0"/>
                  </a:lnTo>
                  <a:close/>
                  <a:moveTo>
                    <a:pt x="45582" y="98571"/>
                  </a:moveTo>
                  <a:cubicBezTo>
                    <a:pt x="57527" y="98571"/>
                    <a:pt x="67210" y="88977"/>
                    <a:pt x="67210" y="77144"/>
                  </a:cubicBezTo>
                  <a:cubicBezTo>
                    <a:pt x="67210" y="65309"/>
                    <a:pt x="57527" y="55715"/>
                    <a:pt x="45582" y="55715"/>
                  </a:cubicBezTo>
                  <a:cubicBezTo>
                    <a:pt x="33637" y="55715"/>
                    <a:pt x="23954" y="65309"/>
                    <a:pt x="23954" y="77144"/>
                  </a:cubicBezTo>
                  <a:cubicBezTo>
                    <a:pt x="23954" y="88977"/>
                    <a:pt x="33637" y="98571"/>
                    <a:pt x="45582" y="98571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72" name="Рисунок 262">
            <a:extLst>
              <a:ext uri="{FF2B5EF4-FFF2-40B4-BE49-F238E27FC236}">
                <a16:creationId xmlns:a16="http://schemas.microsoft.com/office/drawing/2014/main" id="{F54B3148-6C15-1D46-BB72-44499072741D}"/>
              </a:ext>
            </a:extLst>
          </p:cNvPr>
          <p:cNvGrpSpPr/>
          <p:nvPr/>
        </p:nvGrpSpPr>
        <p:grpSpPr>
          <a:xfrm>
            <a:off x="10478600" y="4461423"/>
            <a:ext cx="360000" cy="360000"/>
            <a:chOff x="10512053" y="4778145"/>
            <a:chExt cx="360000" cy="360000"/>
          </a:xfrm>
        </p:grpSpPr>
        <p:sp>
          <p:nvSpPr>
            <p:cNvPr id="1073" name="Полилиния 1072">
              <a:extLst>
                <a:ext uri="{FF2B5EF4-FFF2-40B4-BE49-F238E27FC236}">
                  <a16:creationId xmlns:a16="http://schemas.microsoft.com/office/drawing/2014/main" id="{6D4A816F-AEBA-FE47-A705-018C71E79C5F}"/>
                </a:ext>
              </a:extLst>
            </p:cNvPr>
            <p:cNvSpPr/>
            <p:nvPr/>
          </p:nvSpPr>
          <p:spPr>
            <a:xfrm>
              <a:off x="1051205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4" name="Полилиния 1073">
              <a:extLst>
                <a:ext uri="{FF2B5EF4-FFF2-40B4-BE49-F238E27FC236}">
                  <a16:creationId xmlns:a16="http://schemas.microsoft.com/office/drawing/2014/main" id="{78FA112D-ABC3-8440-B32E-FFA2ED163B14}"/>
                </a:ext>
              </a:extLst>
            </p:cNvPr>
            <p:cNvSpPr/>
            <p:nvPr/>
          </p:nvSpPr>
          <p:spPr>
            <a:xfrm>
              <a:off x="10587053" y="4808145"/>
              <a:ext cx="210000" cy="300000"/>
            </a:xfrm>
            <a:custGeom>
              <a:avLst/>
              <a:gdLst>
                <a:gd name="connsiteX0" fmla="*/ 30000 w 210000"/>
                <a:gd name="connsiteY0" fmla="*/ 0 h 300000"/>
                <a:gd name="connsiteX1" fmla="*/ 180000 w 210000"/>
                <a:gd name="connsiteY1" fmla="*/ 0 h 300000"/>
                <a:gd name="connsiteX2" fmla="*/ 210000 w 210000"/>
                <a:gd name="connsiteY2" fmla="*/ 30000 h 300000"/>
                <a:gd name="connsiteX3" fmla="*/ 210000 w 210000"/>
                <a:gd name="connsiteY3" fmla="*/ 270000 h 300000"/>
                <a:gd name="connsiteX4" fmla="*/ 180000 w 210000"/>
                <a:gd name="connsiteY4" fmla="*/ 300000 h 300000"/>
                <a:gd name="connsiteX5" fmla="*/ 30000 w 210000"/>
                <a:gd name="connsiteY5" fmla="*/ 300000 h 300000"/>
                <a:gd name="connsiteX6" fmla="*/ 0 w 210000"/>
                <a:gd name="connsiteY6" fmla="*/ 270000 h 300000"/>
                <a:gd name="connsiteX7" fmla="*/ 0 w 210000"/>
                <a:gd name="connsiteY7" fmla="*/ 30000 h 300000"/>
                <a:gd name="connsiteX8" fmla="*/ 30000 w 210000"/>
                <a:gd name="connsiteY8" fmla="*/ 0 h 300000"/>
                <a:gd name="connsiteX9" fmla="*/ 105000 w 210000"/>
                <a:gd name="connsiteY9" fmla="*/ 255000 h 300000"/>
                <a:gd name="connsiteX10" fmla="*/ 45000 w 210000"/>
                <a:gd name="connsiteY10" fmla="*/ 195000 h 300000"/>
                <a:gd name="connsiteX11" fmla="*/ 105000 w 210000"/>
                <a:gd name="connsiteY11" fmla="*/ 135000 h 300000"/>
                <a:gd name="connsiteX12" fmla="*/ 165000 w 210000"/>
                <a:gd name="connsiteY12" fmla="*/ 195000 h 300000"/>
                <a:gd name="connsiteX13" fmla="*/ 105000 w 210000"/>
                <a:gd name="connsiteY13" fmla="*/ 255000 h 300000"/>
                <a:gd name="connsiteX14" fmla="*/ 105000 w 210000"/>
                <a:gd name="connsiteY14" fmla="*/ 75000 h 300000"/>
                <a:gd name="connsiteX15" fmla="*/ 82500 w 210000"/>
                <a:gd name="connsiteY15" fmla="*/ 52500 h 300000"/>
                <a:gd name="connsiteX16" fmla="*/ 105000 w 210000"/>
                <a:gd name="connsiteY16" fmla="*/ 30000 h 300000"/>
                <a:gd name="connsiteX17" fmla="*/ 127500 w 210000"/>
                <a:gd name="connsiteY17" fmla="*/ 52500 h 300000"/>
                <a:gd name="connsiteX18" fmla="*/ 105000 w 210000"/>
                <a:gd name="connsiteY18" fmla="*/ 75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0000" h="300000">
                  <a:moveTo>
                    <a:pt x="30000" y="0"/>
                  </a:moveTo>
                  <a:lnTo>
                    <a:pt x="180000" y="0"/>
                  </a:lnTo>
                  <a:cubicBezTo>
                    <a:pt x="196569" y="0"/>
                    <a:pt x="210000" y="13431"/>
                    <a:pt x="210000" y="30000"/>
                  </a:cubicBezTo>
                  <a:lnTo>
                    <a:pt x="210000" y="270000"/>
                  </a:lnTo>
                  <a:cubicBezTo>
                    <a:pt x="210000" y="286569"/>
                    <a:pt x="196569" y="300000"/>
                    <a:pt x="180000" y="300000"/>
                  </a:cubicBezTo>
                  <a:lnTo>
                    <a:pt x="30000" y="300000"/>
                  </a:lnTo>
                  <a:cubicBezTo>
                    <a:pt x="13431" y="300000"/>
                    <a:pt x="0" y="286569"/>
                    <a:pt x="0" y="27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105000" y="255000"/>
                  </a:moveTo>
                  <a:cubicBezTo>
                    <a:pt x="71863" y="255000"/>
                    <a:pt x="45000" y="228137"/>
                    <a:pt x="45000" y="195000"/>
                  </a:cubicBezTo>
                  <a:cubicBezTo>
                    <a:pt x="45000" y="161864"/>
                    <a:pt x="71863" y="135000"/>
                    <a:pt x="105000" y="135000"/>
                  </a:cubicBezTo>
                  <a:cubicBezTo>
                    <a:pt x="138137" y="135000"/>
                    <a:pt x="165000" y="161864"/>
                    <a:pt x="165000" y="195000"/>
                  </a:cubicBezTo>
                  <a:cubicBezTo>
                    <a:pt x="165000" y="228137"/>
                    <a:pt x="138137" y="255000"/>
                    <a:pt x="105000" y="255000"/>
                  </a:cubicBezTo>
                  <a:close/>
                  <a:moveTo>
                    <a:pt x="105000" y="75000"/>
                  </a:moveTo>
                  <a:cubicBezTo>
                    <a:pt x="92574" y="75000"/>
                    <a:pt x="82500" y="64926"/>
                    <a:pt x="82500" y="52500"/>
                  </a:cubicBezTo>
                  <a:cubicBezTo>
                    <a:pt x="82500" y="40074"/>
                    <a:pt x="92574" y="30000"/>
                    <a:pt x="105000" y="30000"/>
                  </a:cubicBezTo>
                  <a:cubicBezTo>
                    <a:pt x="117426" y="30000"/>
                    <a:pt x="127500" y="40074"/>
                    <a:pt x="127500" y="52500"/>
                  </a:cubicBezTo>
                  <a:cubicBezTo>
                    <a:pt x="127500" y="64926"/>
                    <a:pt x="117426" y="75000"/>
                    <a:pt x="105000" y="7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5" name="Полилиния 1074">
              <a:extLst>
                <a:ext uri="{FF2B5EF4-FFF2-40B4-BE49-F238E27FC236}">
                  <a16:creationId xmlns:a16="http://schemas.microsoft.com/office/drawing/2014/main" id="{EB209936-0514-424C-A1F9-8BDB4DACE62F}"/>
                </a:ext>
              </a:extLst>
            </p:cNvPr>
            <p:cNvSpPr/>
            <p:nvPr/>
          </p:nvSpPr>
          <p:spPr>
            <a:xfrm>
              <a:off x="10662053" y="4973145"/>
              <a:ext cx="60000" cy="60000"/>
            </a:xfrm>
            <a:custGeom>
              <a:avLst/>
              <a:gdLst>
                <a:gd name="connsiteX0" fmla="*/ 30000 w 60000"/>
                <a:gd name="connsiteY0" fmla="*/ 60000 h 60000"/>
                <a:gd name="connsiteX1" fmla="*/ 60000 w 60000"/>
                <a:gd name="connsiteY1" fmla="*/ 30000 h 60000"/>
                <a:gd name="connsiteX2" fmla="*/ 30000 w 60000"/>
                <a:gd name="connsiteY2" fmla="*/ 0 h 60000"/>
                <a:gd name="connsiteX3" fmla="*/ 0 w 60000"/>
                <a:gd name="connsiteY3" fmla="*/ 30000 h 60000"/>
                <a:gd name="connsiteX4" fmla="*/ 30000 w 60000"/>
                <a:gd name="connsiteY4" fmla="*/ 6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30000" y="60000"/>
                  </a:moveTo>
                  <a:cubicBezTo>
                    <a:pt x="46569" y="60000"/>
                    <a:pt x="60000" y="46569"/>
                    <a:pt x="60000" y="30000"/>
                  </a:cubicBezTo>
                  <a:cubicBezTo>
                    <a:pt x="60000" y="13431"/>
                    <a:pt x="46569" y="0"/>
                    <a:pt x="30000" y="0"/>
                  </a:cubicBezTo>
                  <a:cubicBezTo>
                    <a:pt x="13431" y="0"/>
                    <a:pt x="0" y="13431"/>
                    <a:pt x="0" y="30000"/>
                  </a:cubicBezTo>
                  <a:cubicBezTo>
                    <a:pt x="0" y="46569"/>
                    <a:pt x="13431" y="60000"/>
                    <a:pt x="30000" y="6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76" name="Рисунок 263">
            <a:extLst>
              <a:ext uri="{FF2B5EF4-FFF2-40B4-BE49-F238E27FC236}">
                <a16:creationId xmlns:a16="http://schemas.microsoft.com/office/drawing/2014/main" id="{201240C5-4CD5-8745-899D-6C3FF28963F2}"/>
              </a:ext>
            </a:extLst>
          </p:cNvPr>
          <p:cNvGrpSpPr/>
          <p:nvPr/>
        </p:nvGrpSpPr>
        <p:grpSpPr>
          <a:xfrm>
            <a:off x="6702935" y="4461423"/>
            <a:ext cx="360000" cy="360000"/>
            <a:chOff x="6736388" y="4778145"/>
            <a:chExt cx="360000" cy="360000"/>
          </a:xfrm>
        </p:grpSpPr>
        <p:sp>
          <p:nvSpPr>
            <p:cNvPr id="1077" name="Полилиния 1076">
              <a:extLst>
                <a:ext uri="{FF2B5EF4-FFF2-40B4-BE49-F238E27FC236}">
                  <a16:creationId xmlns:a16="http://schemas.microsoft.com/office/drawing/2014/main" id="{CFFB9ABA-D4F6-7C49-B9C3-AF1CA98163C4}"/>
                </a:ext>
              </a:extLst>
            </p:cNvPr>
            <p:cNvSpPr/>
            <p:nvPr/>
          </p:nvSpPr>
          <p:spPr>
            <a:xfrm>
              <a:off x="6736388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8" name="Полилиния 1077">
              <a:extLst>
                <a:ext uri="{FF2B5EF4-FFF2-40B4-BE49-F238E27FC236}">
                  <a16:creationId xmlns:a16="http://schemas.microsoft.com/office/drawing/2014/main" id="{59B0D63F-9D26-914C-BE1F-13EFF256E819}"/>
                </a:ext>
              </a:extLst>
            </p:cNvPr>
            <p:cNvSpPr/>
            <p:nvPr/>
          </p:nvSpPr>
          <p:spPr>
            <a:xfrm>
              <a:off x="6777215" y="4967464"/>
              <a:ext cx="114852" cy="114852"/>
            </a:xfrm>
            <a:custGeom>
              <a:avLst/>
              <a:gdLst>
                <a:gd name="connsiteX0" fmla="*/ 99853 w 114852"/>
                <a:gd name="connsiteY0" fmla="*/ 4393 h 114852"/>
                <a:gd name="connsiteX1" fmla="*/ 110460 w 114852"/>
                <a:gd name="connsiteY1" fmla="*/ 15000 h 114852"/>
                <a:gd name="connsiteX2" fmla="*/ 110460 w 114852"/>
                <a:gd name="connsiteY2" fmla="*/ 36213 h 114852"/>
                <a:gd name="connsiteX3" fmla="*/ 36213 w 114852"/>
                <a:gd name="connsiteY3" fmla="*/ 110460 h 114852"/>
                <a:gd name="connsiteX4" fmla="*/ 15000 w 114852"/>
                <a:gd name="connsiteY4" fmla="*/ 110460 h 114852"/>
                <a:gd name="connsiteX5" fmla="*/ 4393 w 114852"/>
                <a:gd name="connsiteY5" fmla="*/ 99853 h 114852"/>
                <a:gd name="connsiteX6" fmla="*/ 4393 w 114852"/>
                <a:gd name="connsiteY6" fmla="*/ 78640 h 114852"/>
                <a:gd name="connsiteX7" fmla="*/ 78640 w 114852"/>
                <a:gd name="connsiteY7" fmla="*/ 4393 h 114852"/>
                <a:gd name="connsiteX8" fmla="*/ 99853 w 114852"/>
                <a:gd name="connsiteY8" fmla="*/ 4393 h 114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852" h="114852">
                  <a:moveTo>
                    <a:pt x="99853" y="4393"/>
                  </a:moveTo>
                  <a:lnTo>
                    <a:pt x="110460" y="15000"/>
                  </a:lnTo>
                  <a:cubicBezTo>
                    <a:pt x="116317" y="20857"/>
                    <a:pt x="116317" y="30355"/>
                    <a:pt x="110460" y="36213"/>
                  </a:cubicBezTo>
                  <a:lnTo>
                    <a:pt x="36213" y="110460"/>
                  </a:lnTo>
                  <a:cubicBezTo>
                    <a:pt x="30355" y="116317"/>
                    <a:pt x="20858" y="116317"/>
                    <a:pt x="15000" y="110460"/>
                  </a:cubicBezTo>
                  <a:lnTo>
                    <a:pt x="4393" y="99853"/>
                  </a:lnTo>
                  <a:cubicBezTo>
                    <a:pt x="-1464" y="93994"/>
                    <a:pt x="-1464" y="84498"/>
                    <a:pt x="4393" y="78640"/>
                  </a:cubicBezTo>
                  <a:lnTo>
                    <a:pt x="78640" y="4393"/>
                  </a:lnTo>
                  <a:cubicBezTo>
                    <a:pt x="84498" y="-1464"/>
                    <a:pt x="93995" y="-1464"/>
                    <a:pt x="99853" y="4393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9" name="Полилиния 1078">
              <a:extLst>
                <a:ext uri="{FF2B5EF4-FFF2-40B4-BE49-F238E27FC236}">
                  <a16:creationId xmlns:a16="http://schemas.microsoft.com/office/drawing/2014/main" id="{B22FB436-8631-604E-A6B5-FAC3FE571EC3}"/>
                </a:ext>
              </a:extLst>
            </p:cNvPr>
            <p:cNvSpPr/>
            <p:nvPr/>
          </p:nvSpPr>
          <p:spPr>
            <a:xfrm>
              <a:off x="6883814" y="4823085"/>
              <a:ext cx="152632" cy="152632"/>
            </a:xfrm>
            <a:custGeom>
              <a:avLst/>
              <a:gdLst>
                <a:gd name="connsiteX0" fmla="*/ 19770 w 152632"/>
                <a:gd name="connsiteY0" fmla="*/ 132863 h 152632"/>
                <a:gd name="connsiteX1" fmla="*/ 115230 w 152632"/>
                <a:gd name="connsiteY1" fmla="*/ 132863 h 152632"/>
                <a:gd name="connsiteX2" fmla="*/ 141747 w 152632"/>
                <a:gd name="connsiteY2" fmla="*/ 10887 h 152632"/>
                <a:gd name="connsiteX3" fmla="*/ 19770 w 152632"/>
                <a:gd name="connsiteY3" fmla="*/ 37403 h 152632"/>
                <a:gd name="connsiteX4" fmla="*/ 19770 w 152632"/>
                <a:gd name="connsiteY4" fmla="*/ 132863 h 152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632" h="152632">
                  <a:moveTo>
                    <a:pt x="19770" y="132863"/>
                  </a:moveTo>
                  <a:cubicBezTo>
                    <a:pt x="46131" y="159223"/>
                    <a:pt x="88869" y="159223"/>
                    <a:pt x="115230" y="132863"/>
                  </a:cubicBezTo>
                  <a:cubicBezTo>
                    <a:pt x="141591" y="106502"/>
                    <a:pt x="168106" y="37247"/>
                    <a:pt x="141747" y="10887"/>
                  </a:cubicBezTo>
                  <a:cubicBezTo>
                    <a:pt x="115386" y="-15474"/>
                    <a:pt x="46131" y="11043"/>
                    <a:pt x="19770" y="37403"/>
                  </a:cubicBezTo>
                  <a:cubicBezTo>
                    <a:pt x="-6590" y="63763"/>
                    <a:pt x="-6590" y="106502"/>
                    <a:pt x="19770" y="13286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0" name="Полилиния 1079">
              <a:extLst>
                <a:ext uri="{FF2B5EF4-FFF2-40B4-BE49-F238E27FC236}">
                  <a16:creationId xmlns:a16="http://schemas.microsoft.com/office/drawing/2014/main" id="{37B6A393-5F1C-AE49-ACB6-8CF6DF4FD83B}"/>
                </a:ext>
              </a:extLst>
            </p:cNvPr>
            <p:cNvSpPr/>
            <p:nvPr/>
          </p:nvSpPr>
          <p:spPr>
            <a:xfrm>
              <a:off x="6928970" y="4860744"/>
              <a:ext cx="77447" cy="84944"/>
            </a:xfrm>
            <a:custGeom>
              <a:avLst/>
              <a:gdLst>
                <a:gd name="connsiteX0" fmla="*/ 71797 w 77447"/>
                <a:gd name="connsiteY0" fmla="*/ 0 h 84944"/>
                <a:gd name="connsiteX1" fmla="*/ 54762 w 77447"/>
                <a:gd name="connsiteY1" fmla="*/ 72953 h 84944"/>
                <a:gd name="connsiteX2" fmla="*/ 0 w 77447"/>
                <a:gd name="connsiteY2" fmla="*/ 75785 h 84944"/>
                <a:gd name="connsiteX3" fmla="*/ 71797 w 77447"/>
                <a:gd name="connsiteY3" fmla="*/ 0 h 84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447" h="84944">
                  <a:moveTo>
                    <a:pt x="71797" y="0"/>
                  </a:moveTo>
                  <a:cubicBezTo>
                    <a:pt x="86166" y="16690"/>
                    <a:pt x="70419" y="57297"/>
                    <a:pt x="54762" y="72953"/>
                  </a:cubicBezTo>
                  <a:cubicBezTo>
                    <a:pt x="39781" y="87934"/>
                    <a:pt x="16080" y="88877"/>
                    <a:pt x="0" y="75785"/>
                  </a:cubicBezTo>
                  <a:lnTo>
                    <a:pt x="71797" y="0"/>
                  </a:lnTo>
                  <a:close/>
                </a:path>
              </a:pathLst>
            </a:custGeom>
            <a:solidFill>
              <a:srgbClr val="FFFFFF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81" name="Рисунок 264">
            <a:extLst>
              <a:ext uri="{FF2B5EF4-FFF2-40B4-BE49-F238E27FC236}">
                <a16:creationId xmlns:a16="http://schemas.microsoft.com/office/drawing/2014/main" id="{FD37A85D-9775-8E4D-BE7C-B3DF92909349}"/>
              </a:ext>
            </a:extLst>
          </p:cNvPr>
          <p:cNvGrpSpPr/>
          <p:nvPr/>
        </p:nvGrpSpPr>
        <p:grpSpPr>
          <a:xfrm>
            <a:off x="7458068" y="4461423"/>
            <a:ext cx="360000" cy="360000"/>
            <a:chOff x="7491521" y="4778145"/>
            <a:chExt cx="360000" cy="360000"/>
          </a:xfrm>
        </p:grpSpPr>
        <p:sp>
          <p:nvSpPr>
            <p:cNvPr id="1082" name="Полилиния 1081">
              <a:extLst>
                <a:ext uri="{FF2B5EF4-FFF2-40B4-BE49-F238E27FC236}">
                  <a16:creationId xmlns:a16="http://schemas.microsoft.com/office/drawing/2014/main" id="{1C7A6CAD-B248-AF47-9E35-7783766FCA10}"/>
                </a:ext>
              </a:extLst>
            </p:cNvPr>
            <p:cNvSpPr/>
            <p:nvPr/>
          </p:nvSpPr>
          <p:spPr>
            <a:xfrm>
              <a:off x="7491521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3" name="Полилиния 1082">
              <a:extLst>
                <a:ext uri="{FF2B5EF4-FFF2-40B4-BE49-F238E27FC236}">
                  <a16:creationId xmlns:a16="http://schemas.microsoft.com/office/drawing/2014/main" id="{49ED8E4A-1002-704C-97AB-B093BFB73F38}"/>
                </a:ext>
              </a:extLst>
            </p:cNvPr>
            <p:cNvSpPr/>
            <p:nvPr/>
          </p:nvSpPr>
          <p:spPr>
            <a:xfrm>
              <a:off x="7551521" y="4823145"/>
              <a:ext cx="240000" cy="285000"/>
            </a:xfrm>
            <a:custGeom>
              <a:avLst/>
              <a:gdLst>
                <a:gd name="connsiteX0" fmla="*/ 120000 w 240000"/>
                <a:gd name="connsiteY0" fmla="*/ 0 h 285000"/>
                <a:gd name="connsiteX1" fmla="*/ 240000 w 240000"/>
                <a:gd name="connsiteY1" fmla="*/ 120000 h 285000"/>
                <a:gd name="connsiteX2" fmla="*/ 240000 w 240000"/>
                <a:gd name="connsiteY2" fmla="*/ 270000 h 285000"/>
                <a:gd name="connsiteX3" fmla="*/ 225000 w 240000"/>
                <a:gd name="connsiteY3" fmla="*/ 285000 h 285000"/>
                <a:gd name="connsiteX4" fmla="*/ 15000 w 240000"/>
                <a:gd name="connsiteY4" fmla="*/ 285000 h 285000"/>
                <a:gd name="connsiteX5" fmla="*/ 0 w 240000"/>
                <a:gd name="connsiteY5" fmla="*/ 270000 h 285000"/>
                <a:gd name="connsiteX6" fmla="*/ 0 w 240000"/>
                <a:gd name="connsiteY6" fmla="*/ 120000 h 285000"/>
                <a:gd name="connsiteX7" fmla="*/ 120000 w 240000"/>
                <a:gd name="connsiteY7" fmla="*/ 0 h 285000"/>
                <a:gd name="connsiteX8" fmla="*/ 75000 w 240000"/>
                <a:gd name="connsiteY8" fmla="*/ 105000 h 285000"/>
                <a:gd name="connsiteX9" fmla="*/ 30000 w 240000"/>
                <a:gd name="connsiteY9" fmla="*/ 150000 h 285000"/>
                <a:gd name="connsiteX10" fmla="*/ 75000 w 240000"/>
                <a:gd name="connsiteY10" fmla="*/ 195000 h 285000"/>
                <a:gd name="connsiteX11" fmla="*/ 165000 w 240000"/>
                <a:gd name="connsiteY11" fmla="*/ 195000 h 285000"/>
                <a:gd name="connsiteX12" fmla="*/ 210000 w 240000"/>
                <a:gd name="connsiteY12" fmla="*/ 150000 h 285000"/>
                <a:gd name="connsiteX13" fmla="*/ 165000 w 240000"/>
                <a:gd name="connsiteY13" fmla="*/ 105000 h 285000"/>
                <a:gd name="connsiteX14" fmla="*/ 75000 w 240000"/>
                <a:gd name="connsiteY14" fmla="*/ 105000 h 28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0000" h="285000">
                  <a:moveTo>
                    <a:pt x="120000" y="0"/>
                  </a:moveTo>
                  <a:cubicBezTo>
                    <a:pt x="186275" y="0"/>
                    <a:pt x="240000" y="53726"/>
                    <a:pt x="240000" y="120000"/>
                  </a:cubicBezTo>
                  <a:lnTo>
                    <a:pt x="240000" y="270000"/>
                  </a:lnTo>
                  <a:cubicBezTo>
                    <a:pt x="240000" y="278285"/>
                    <a:pt x="233285" y="285000"/>
                    <a:pt x="225000" y="285000"/>
                  </a:cubicBezTo>
                  <a:lnTo>
                    <a:pt x="15000" y="285000"/>
                  </a:lnTo>
                  <a:cubicBezTo>
                    <a:pt x="6716" y="285000"/>
                    <a:pt x="0" y="278285"/>
                    <a:pt x="0" y="270000"/>
                  </a:cubicBezTo>
                  <a:lnTo>
                    <a:pt x="0" y="120000"/>
                  </a:lnTo>
                  <a:cubicBezTo>
                    <a:pt x="0" y="53726"/>
                    <a:pt x="53726" y="0"/>
                    <a:pt x="120000" y="0"/>
                  </a:cubicBezTo>
                  <a:close/>
                  <a:moveTo>
                    <a:pt x="75000" y="105000"/>
                  </a:moveTo>
                  <a:cubicBezTo>
                    <a:pt x="50147" y="105000"/>
                    <a:pt x="30000" y="125146"/>
                    <a:pt x="30000" y="150000"/>
                  </a:cubicBezTo>
                  <a:cubicBezTo>
                    <a:pt x="30000" y="174854"/>
                    <a:pt x="50147" y="195000"/>
                    <a:pt x="75000" y="195000"/>
                  </a:cubicBezTo>
                  <a:lnTo>
                    <a:pt x="165000" y="195000"/>
                  </a:lnTo>
                  <a:cubicBezTo>
                    <a:pt x="189854" y="195000"/>
                    <a:pt x="210000" y="174854"/>
                    <a:pt x="210000" y="150000"/>
                  </a:cubicBezTo>
                  <a:cubicBezTo>
                    <a:pt x="210000" y="125146"/>
                    <a:pt x="189854" y="105000"/>
                    <a:pt x="165000" y="105000"/>
                  </a:cubicBezTo>
                  <a:lnTo>
                    <a:pt x="75000" y="10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4" name="Полилиния 1083">
              <a:extLst>
                <a:ext uri="{FF2B5EF4-FFF2-40B4-BE49-F238E27FC236}">
                  <a16:creationId xmlns:a16="http://schemas.microsoft.com/office/drawing/2014/main" id="{94920CFC-3B47-5848-B62A-6A80A4BB52AC}"/>
                </a:ext>
              </a:extLst>
            </p:cNvPr>
            <p:cNvSpPr/>
            <p:nvPr/>
          </p:nvSpPr>
          <p:spPr>
            <a:xfrm>
              <a:off x="7611521" y="4958145"/>
              <a:ext cx="120000" cy="30000"/>
            </a:xfrm>
            <a:custGeom>
              <a:avLst/>
              <a:gdLst>
                <a:gd name="connsiteX0" fmla="*/ 105000 w 120000"/>
                <a:gd name="connsiteY0" fmla="*/ 30000 h 30000"/>
                <a:gd name="connsiteX1" fmla="*/ 90000 w 120000"/>
                <a:gd name="connsiteY1" fmla="*/ 15000 h 30000"/>
                <a:gd name="connsiteX2" fmla="*/ 105000 w 120000"/>
                <a:gd name="connsiteY2" fmla="*/ 0 h 30000"/>
                <a:gd name="connsiteX3" fmla="*/ 120000 w 120000"/>
                <a:gd name="connsiteY3" fmla="*/ 15000 h 30000"/>
                <a:gd name="connsiteX4" fmla="*/ 105000 w 120000"/>
                <a:gd name="connsiteY4" fmla="*/ 30000 h 30000"/>
                <a:gd name="connsiteX5" fmla="*/ 15000 w 120000"/>
                <a:gd name="connsiteY5" fmla="*/ 30000 h 30000"/>
                <a:gd name="connsiteX6" fmla="*/ 0 w 120000"/>
                <a:gd name="connsiteY6" fmla="*/ 15000 h 30000"/>
                <a:gd name="connsiteX7" fmla="*/ 15000 w 120000"/>
                <a:gd name="connsiteY7" fmla="*/ 0 h 30000"/>
                <a:gd name="connsiteX8" fmla="*/ 30000 w 120000"/>
                <a:gd name="connsiteY8" fmla="*/ 15000 h 30000"/>
                <a:gd name="connsiteX9" fmla="*/ 15000 w 120000"/>
                <a:gd name="connsiteY9" fmla="*/ 3000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30000">
                  <a:moveTo>
                    <a:pt x="105000" y="30000"/>
                  </a:moveTo>
                  <a:cubicBezTo>
                    <a:pt x="96715" y="30000"/>
                    <a:pt x="90000" y="23285"/>
                    <a:pt x="90000" y="15000"/>
                  </a:cubicBezTo>
                  <a:cubicBezTo>
                    <a:pt x="90000" y="6715"/>
                    <a:pt x="96715" y="0"/>
                    <a:pt x="105000" y="0"/>
                  </a:cubicBezTo>
                  <a:cubicBezTo>
                    <a:pt x="113285" y="0"/>
                    <a:pt x="120000" y="6715"/>
                    <a:pt x="120000" y="15000"/>
                  </a:cubicBezTo>
                  <a:cubicBezTo>
                    <a:pt x="120000" y="23285"/>
                    <a:pt x="113285" y="30000"/>
                    <a:pt x="105000" y="30000"/>
                  </a:cubicBezTo>
                  <a:close/>
                  <a:moveTo>
                    <a:pt x="15000" y="30000"/>
                  </a:moveTo>
                  <a:cubicBezTo>
                    <a:pt x="6716" y="30000"/>
                    <a:pt x="0" y="23285"/>
                    <a:pt x="0" y="15000"/>
                  </a:cubicBezTo>
                  <a:cubicBezTo>
                    <a:pt x="0" y="6715"/>
                    <a:pt x="6716" y="0"/>
                    <a:pt x="15000" y="0"/>
                  </a:cubicBezTo>
                  <a:cubicBezTo>
                    <a:pt x="23284" y="0"/>
                    <a:pt x="30000" y="6715"/>
                    <a:pt x="30000" y="15000"/>
                  </a:cubicBezTo>
                  <a:cubicBezTo>
                    <a:pt x="30000" y="23285"/>
                    <a:pt x="23284" y="30000"/>
                    <a:pt x="15000" y="3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85" name="Рисунок 265">
            <a:extLst>
              <a:ext uri="{FF2B5EF4-FFF2-40B4-BE49-F238E27FC236}">
                <a16:creationId xmlns:a16="http://schemas.microsoft.com/office/drawing/2014/main" id="{25770178-7181-8847-8658-F1EEB0A4E6C2}"/>
              </a:ext>
            </a:extLst>
          </p:cNvPr>
          <p:cNvGrpSpPr/>
          <p:nvPr/>
        </p:nvGrpSpPr>
        <p:grpSpPr>
          <a:xfrm>
            <a:off x="4437536" y="4461423"/>
            <a:ext cx="360000" cy="360000"/>
            <a:chOff x="4470989" y="4778145"/>
            <a:chExt cx="360000" cy="360000"/>
          </a:xfrm>
        </p:grpSpPr>
        <p:sp>
          <p:nvSpPr>
            <p:cNvPr id="1086" name="Полилиния 1085">
              <a:extLst>
                <a:ext uri="{FF2B5EF4-FFF2-40B4-BE49-F238E27FC236}">
                  <a16:creationId xmlns:a16="http://schemas.microsoft.com/office/drawing/2014/main" id="{E522B20B-3E2C-AE42-899B-310CABC52AAE}"/>
                </a:ext>
              </a:extLst>
            </p:cNvPr>
            <p:cNvSpPr/>
            <p:nvPr/>
          </p:nvSpPr>
          <p:spPr>
            <a:xfrm>
              <a:off x="4470989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7" name="Полилиния 1086">
              <a:extLst>
                <a:ext uri="{FF2B5EF4-FFF2-40B4-BE49-F238E27FC236}">
                  <a16:creationId xmlns:a16="http://schemas.microsoft.com/office/drawing/2014/main" id="{FA0BA3FF-3354-BE46-A175-C9958A612021}"/>
                </a:ext>
              </a:extLst>
            </p:cNvPr>
            <p:cNvSpPr/>
            <p:nvPr/>
          </p:nvSpPr>
          <p:spPr>
            <a:xfrm>
              <a:off x="4515989" y="4838145"/>
              <a:ext cx="270000" cy="225000"/>
            </a:xfrm>
            <a:custGeom>
              <a:avLst/>
              <a:gdLst>
                <a:gd name="connsiteX0" fmla="*/ 270000 w 270000"/>
                <a:gd name="connsiteY0" fmla="*/ 22500 h 225000"/>
                <a:gd name="connsiteX1" fmla="*/ 270000 w 270000"/>
                <a:gd name="connsiteY1" fmla="*/ 202500 h 225000"/>
                <a:gd name="connsiteX2" fmla="*/ 247500 w 270000"/>
                <a:gd name="connsiteY2" fmla="*/ 225000 h 225000"/>
                <a:gd name="connsiteX3" fmla="*/ 22500 w 270000"/>
                <a:gd name="connsiteY3" fmla="*/ 225000 h 225000"/>
                <a:gd name="connsiteX4" fmla="*/ 0 w 270000"/>
                <a:gd name="connsiteY4" fmla="*/ 202500 h 225000"/>
                <a:gd name="connsiteX5" fmla="*/ 0 w 270000"/>
                <a:gd name="connsiteY5" fmla="*/ 157500 h 225000"/>
                <a:gd name="connsiteX6" fmla="*/ 22500 w 270000"/>
                <a:gd name="connsiteY6" fmla="*/ 135000 h 225000"/>
                <a:gd name="connsiteX7" fmla="*/ 90000 w 270000"/>
                <a:gd name="connsiteY7" fmla="*/ 135000 h 225000"/>
                <a:gd name="connsiteX8" fmla="*/ 90000 w 270000"/>
                <a:gd name="connsiteY8" fmla="*/ 82500 h 225000"/>
                <a:gd name="connsiteX9" fmla="*/ 112500 w 270000"/>
                <a:gd name="connsiteY9" fmla="*/ 60000 h 225000"/>
                <a:gd name="connsiteX10" fmla="*/ 180000 w 270000"/>
                <a:gd name="connsiteY10" fmla="*/ 60000 h 225000"/>
                <a:gd name="connsiteX11" fmla="*/ 180000 w 270000"/>
                <a:gd name="connsiteY11" fmla="*/ 22500 h 225000"/>
                <a:gd name="connsiteX12" fmla="*/ 202500 w 270000"/>
                <a:gd name="connsiteY12" fmla="*/ 0 h 225000"/>
                <a:gd name="connsiteX13" fmla="*/ 247500 w 270000"/>
                <a:gd name="connsiteY13" fmla="*/ 0 h 225000"/>
                <a:gd name="connsiteX14" fmla="*/ 270000 w 270000"/>
                <a:gd name="connsiteY14" fmla="*/ 225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0000" h="225000">
                  <a:moveTo>
                    <a:pt x="270000" y="22500"/>
                  </a:moveTo>
                  <a:lnTo>
                    <a:pt x="270000" y="202500"/>
                  </a:lnTo>
                  <a:cubicBezTo>
                    <a:pt x="270000" y="214926"/>
                    <a:pt x="259926" y="225000"/>
                    <a:pt x="247500" y="225000"/>
                  </a:cubicBezTo>
                  <a:lnTo>
                    <a:pt x="22500" y="225000"/>
                  </a:lnTo>
                  <a:cubicBezTo>
                    <a:pt x="10074" y="225000"/>
                    <a:pt x="0" y="214926"/>
                    <a:pt x="0" y="202500"/>
                  </a:cubicBezTo>
                  <a:lnTo>
                    <a:pt x="0" y="157500"/>
                  </a:lnTo>
                  <a:cubicBezTo>
                    <a:pt x="0" y="145074"/>
                    <a:pt x="10074" y="135000"/>
                    <a:pt x="22500" y="135000"/>
                  </a:cubicBezTo>
                  <a:lnTo>
                    <a:pt x="90000" y="135000"/>
                  </a:lnTo>
                  <a:lnTo>
                    <a:pt x="90000" y="82500"/>
                  </a:lnTo>
                  <a:cubicBezTo>
                    <a:pt x="90000" y="70074"/>
                    <a:pt x="100074" y="60000"/>
                    <a:pt x="112500" y="60000"/>
                  </a:cubicBezTo>
                  <a:lnTo>
                    <a:pt x="180000" y="60000"/>
                  </a:lnTo>
                  <a:lnTo>
                    <a:pt x="180000" y="22500"/>
                  </a:lnTo>
                  <a:cubicBezTo>
                    <a:pt x="180000" y="10074"/>
                    <a:pt x="190074" y="0"/>
                    <a:pt x="202500" y="0"/>
                  </a:cubicBezTo>
                  <a:lnTo>
                    <a:pt x="247500" y="0"/>
                  </a:lnTo>
                  <a:cubicBezTo>
                    <a:pt x="259926" y="0"/>
                    <a:pt x="270000" y="10074"/>
                    <a:pt x="270000" y="225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88" name="Рисунок 266">
            <a:extLst>
              <a:ext uri="{FF2B5EF4-FFF2-40B4-BE49-F238E27FC236}">
                <a16:creationId xmlns:a16="http://schemas.microsoft.com/office/drawing/2014/main" id="{5A80EAD2-54A5-8447-A118-7E5F8DD1B85F}"/>
              </a:ext>
            </a:extLst>
          </p:cNvPr>
          <p:cNvGrpSpPr/>
          <p:nvPr/>
        </p:nvGrpSpPr>
        <p:grpSpPr>
          <a:xfrm>
            <a:off x="2927270" y="4461423"/>
            <a:ext cx="360000" cy="360000"/>
            <a:chOff x="2960723" y="4778145"/>
            <a:chExt cx="360000" cy="360000"/>
          </a:xfrm>
        </p:grpSpPr>
        <p:sp>
          <p:nvSpPr>
            <p:cNvPr id="1089" name="Полилиния 1088">
              <a:extLst>
                <a:ext uri="{FF2B5EF4-FFF2-40B4-BE49-F238E27FC236}">
                  <a16:creationId xmlns:a16="http://schemas.microsoft.com/office/drawing/2014/main" id="{F8E032E8-11D0-174D-B1DD-ABEEAD5EEB4D}"/>
                </a:ext>
              </a:extLst>
            </p:cNvPr>
            <p:cNvSpPr/>
            <p:nvPr/>
          </p:nvSpPr>
          <p:spPr>
            <a:xfrm>
              <a:off x="296072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0" name="Полилиния 1089">
              <a:extLst>
                <a:ext uri="{FF2B5EF4-FFF2-40B4-BE49-F238E27FC236}">
                  <a16:creationId xmlns:a16="http://schemas.microsoft.com/office/drawing/2014/main" id="{62879B2A-F457-384F-B493-46CE923A1D77}"/>
                </a:ext>
              </a:extLst>
            </p:cNvPr>
            <p:cNvSpPr/>
            <p:nvPr/>
          </p:nvSpPr>
          <p:spPr>
            <a:xfrm>
              <a:off x="3035723" y="4823145"/>
              <a:ext cx="210000" cy="195000"/>
            </a:xfrm>
            <a:custGeom>
              <a:avLst/>
              <a:gdLst>
                <a:gd name="connsiteX0" fmla="*/ 119795 w 210000"/>
                <a:gd name="connsiteY0" fmla="*/ 87512 h 195000"/>
                <a:gd name="connsiteX1" fmla="*/ 120000 w 210000"/>
                <a:gd name="connsiteY1" fmla="*/ 90000 h 195000"/>
                <a:gd name="connsiteX2" fmla="*/ 120000 w 210000"/>
                <a:gd name="connsiteY2" fmla="*/ 120000 h 195000"/>
                <a:gd name="connsiteX3" fmla="*/ 180000 w 210000"/>
                <a:gd name="connsiteY3" fmla="*/ 120000 h 195000"/>
                <a:gd name="connsiteX4" fmla="*/ 210000 w 210000"/>
                <a:gd name="connsiteY4" fmla="*/ 150000 h 195000"/>
                <a:gd name="connsiteX5" fmla="*/ 210000 w 210000"/>
                <a:gd name="connsiteY5" fmla="*/ 195000 h 195000"/>
                <a:gd name="connsiteX6" fmla="*/ 0 w 210000"/>
                <a:gd name="connsiteY6" fmla="*/ 195000 h 195000"/>
                <a:gd name="connsiteX7" fmla="*/ 0 w 210000"/>
                <a:gd name="connsiteY7" fmla="*/ 150000 h 195000"/>
                <a:gd name="connsiteX8" fmla="*/ 30000 w 210000"/>
                <a:gd name="connsiteY8" fmla="*/ 120000 h 195000"/>
                <a:gd name="connsiteX9" fmla="*/ 90000 w 210000"/>
                <a:gd name="connsiteY9" fmla="*/ 120000 h 195000"/>
                <a:gd name="connsiteX10" fmla="*/ 90000 w 210000"/>
                <a:gd name="connsiteY10" fmla="*/ 90000 h 195000"/>
                <a:gd name="connsiteX11" fmla="*/ 90205 w 210000"/>
                <a:gd name="connsiteY11" fmla="*/ 87512 h 195000"/>
                <a:gd name="connsiteX12" fmla="*/ 60000 w 210000"/>
                <a:gd name="connsiteY12" fmla="*/ 45000 h 195000"/>
                <a:gd name="connsiteX13" fmla="*/ 105000 w 210000"/>
                <a:gd name="connsiteY13" fmla="*/ 0 h 195000"/>
                <a:gd name="connsiteX14" fmla="*/ 150000 w 210000"/>
                <a:gd name="connsiteY14" fmla="*/ 45000 h 195000"/>
                <a:gd name="connsiteX15" fmla="*/ 119795 w 210000"/>
                <a:gd name="connsiteY15" fmla="*/ 87512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000" h="195000">
                  <a:moveTo>
                    <a:pt x="119795" y="87512"/>
                  </a:moveTo>
                  <a:cubicBezTo>
                    <a:pt x="119930" y="88321"/>
                    <a:pt x="120000" y="89152"/>
                    <a:pt x="120000" y="90000"/>
                  </a:cubicBezTo>
                  <a:lnTo>
                    <a:pt x="120000" y="120000"/>
                  </a:lnTo>
                  <a:lnTo>
                    <a:pt x="180000" y="120000"/>
                  </a:lnTo>
                  <a:cubicBezTo>
                    <a:pt x="196569" y="120000"/>
                    <a:pt x="210000" y="133431"/>
                    <a:pt x="210000" y="150000"/>
                  </a:cubicBezTo>
                  <a:lnTo>
                    <a:pt x="210000" y="195000"/>
                  </a:lnTo>
                  <a:lnTo>
                    <a:pt x="0" y="195000"/>
                  </a:lnTo>
                  <a:lnTo>
                    <a:pt x="0" y="150000"/>
                  </a:lnTo>
                  <a:cubicBezTo>
                    <a:pt x="0" y="133431"/>
                    <a:pt x="13431" y="120000"/>
                    <a:pt x="30000" y="120000"/>
                  </a:cubicBezTo>
                  <a:lnTo>
                    <a:pt x="90000" y="120000"/>
                  </a:lnTo>
                  <a:lnTo>
                    <a:pt x="90000" y="90000"/>
                  </a:lnTo>
                  <a:cubicBezTo>
                    <a:pt x="90000" y="89152"/>
                    <a:pt x="90070" y="88321"/>
                    <a:pt x="90205" y="87512"/>
                  </a:cubicBezTo>
                  <a:cubicBezTo>
                    <a:pt x="72620" y="81392"/>
                    <a:pt x="60000" y="64670"/>
                    <a:pt x="60000" y="45000"/>
                  </a:cubicBezTo>
                  <a:cubicBezTo>
                    <a:pt x="60000" y="20147"/>
                    <a:pt x="80146" y="0"/>
                    <a:pt x="105000" y="0"/>
                  </a:cubicBezTo>
                  <a:cubicBezTo>
                    <a:pt x="129854" y="0"/>
                    <a:pt x="150000" y="20147"/>
                    <a:pt x="150000" y="45000"/>
                  </a:cubicBezTo>
                  <a:cubicBezTo>
                    <a:pt x="150000" y="64670"/>
                    <a:pt x="137379" y="81392"/>
                    <a:pt x="119795" y="87512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1" name="Полилиния 1090">
              <a:extLst>
                <a:ext uri="{FF2B5EF4-FFF2-40B4-BE49-F238E27FC236}">
                  <a16:creationId xmlns:a16="http://schemas.microsoft.com/office/drawing/2014/main" id="{84900A93-50C6-AB48-917C-CC8C72DD13BC}"/>
                </a:ext>
              </a:extLst>
            </p:cNvPr>
            <p:cNvSpPr/>
            <p:nvPr/>
          </p:nvSpPr>
          <p:spPr>
            <a:xfrm>
              <a:off x="3035723" y="5048145"/>
              <a:ext cx="210000" cy="30000"/>
            </a:xfrm>
            <a:custGeom>
              <a:avLst/>
              <a:gdLst>
                <a:gd name="connsiteX0" fmla="*/ 195000 w 210000"/>
                <a:gd name="connsiteY0" fmla="*/ 0 h 30000"/>
                <a:gd name="connsiteX1" fmla="*/ 210000 w 210000"/>
                <a:gd name="connsiteY1" fmla="*/ 0 h 30000"/>
                <a:gd name="connsiteX2" fmla="*/ 210000 w 210000"/>
                <a:gd name="connsiteY2" fmla="*/ 30000 h 30000"/>
                <a:gd name="connsiteX3" fmla="*/ 195000 w 210000"/>
                <a:gd name="connsiteY3" fmla="*/ 30000 h 30000"/>
                <a:gd name="connsiteX4" fmla="*/ 15000 w 210000"/>
                <a:gd name="connsiteY4" fmla="*/ 30000 h 30000"/>
                <a:gd name="connsiteX5" fmla="*/ 0 w 210000"/>
                <a:gd name="connsiteY5" fmla="*/ 30000 h 30000"/>
                <a:gd name="connsiteX6" fmla="*/ 0 w 210000"/>
                <a:gd name="connsiteY6" fmla="*/ 0 h 30000"/>
                <a:gd name="connsiteX7" fmla="*/ 15000 w 21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0000" h="30000">
                  <a:moveTo>
                    <a:pt x="195000" y="0"/>
                  </a:moveTo>
                  <a:cubicBezTo>
                    <a:pt x="203284" y="0"/>
                    <a:pt x="210000" y="0"/>
                    <a:pt x="210000" y="0"/>
                  </a:cubicBezTo>
                  <a:lnTo>
                    <a:pt x="210000" y="30000"/>
                  </a:lnTo>
                  <a:cubicBezTo>
                    <a:pt x="210000" y="30000"/>
                    <a:pt x="203284" y="30000"/>
                    <a:pt x="195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092" name="Рисунок 267">
            <a:extLst>
              <a:ext uri="{FF2B5EF4-FFF2-40B4-BE49-F238E27FC236}">
                <a16:creationId xmlns:a16="http://schemas.microsoft.com/office/drawing/2014/main" id="{612E9FC7-092E-4749-852A-8D5AD2FE9CCC}"/>
              </a:ext>
            </a:extLst>
          </p:cNvPr>
          <p:cNvGrpSpPr/>
          <p:nvPr/>
        </p:nvGrpSpPr>
        <p:grpSpPr>
          <a:xfrm>
            <a:off x="3682403" y="4461423"/>
            <a:ext cx="360000" cy="360000"/>
            <a:chOff x="3715856" y="4778145"/>
            <a:chExt cx="360000" cy="360000"/>
          </a:xfrm>
        </p:grpSpPr>
        <p:sp>
          <p:nvSpPr>
            <p:cNvPr id="1093" name="Полилиния 1092">
              <a:extLst>
                <a:ext uri="{FF2B5EF4-FFF2-40B4-BE49-F238E27FC236}">
                  <a16:creationId xmlns:a16="http://schemas.microsoft.com/office/drawing/2014/main" id="{AA182A0B-740C-E44E-82C6-2F549022724D}"/>
                </a:ext>
              </a:extLst>
            </p:cNvPr>
            <p:cNvSpPr/>
            <p:nvPr/>
          </p:nvSpPr>
          <p:spPr>
            <a:xfrm>
              <a:off x="3715856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4" name="Полилиния 1093">
              <a:extLst>
                <a:ext uri="{FF2B5EF4-FFF2-40B4-BE49-F238E27FC236}">
                  <a16:creationId xmlns:a16="http://schemas.microsoft.com/office/drawing/2014/main" id="{CAAE1538-8527-9047-8910-783B1EF7F514}"/>
                </a:ext>
              </a:extLst>
            </p:cNvPr>
            <p:cNvSpPr/>
            <p:nvPr/>
          </p:nvSpPr>
          <p:spPr>
            <a:xfrm>
              <a:off x="3770431" y="4842034"/>
              <a:ext cx="250849" cy="240045"/>
            </a:xfrm>
            <a:custGeom>
              <a:avLst/>
              <a:gdLst>
                <a:gd name="connsiteX0" fmla="*/ 125424 w 250849"/>
                <a:gd name="connsiteY0" fmla="*/ 206110 h 240045"/>
                <a:gd name="connsiteX1" fmla="*/ 64158 w 250849"/>
                <a:gd name="connsiteY1" fmla="*/ 238320 h 240045"/>
                <a:gd name="connsiteX2" fmla="*/ 43901 w 250849"/>
                <a:gd name="connsiteY2" fmla="*/ 232023 h 240045"/>
                <a:gd name="connsiteX3" fmla="*/ 42394 w 250849"/>
                <a:gd name="connsiteY3" fmla="*/ 222507 h 240045"/>
                <a:gd name="connsiteX4" fmla="*/ 54095 w 250849"/>
                <a:gd name="connsiteY4" fmla="*/ 154287 h 240045"/>
                <a:gd name="connsiteX5" fmla="*/ 4530 w 250849"/>
                <a:gd name="connsiteY5" fmla="*/ 105973 h 240045"/>
                <a:gd name="connsiteX6" fmla="*/ 4259 w 250849"/>
                <a:gd name="connsiteY6" fmla="*/ 84761 h 240045"/>
                <a:gd name="connsiteX7" fmla="*/ 12843 w 250849"/>
                <a:gd name="connsiteY7" fmla="*/ 80387 h 240045"/>
                <a:gd name="connsiteX8" fmla="*/ 81340 w 250849"/>
                <a:gd name="connsiteY8" fmla="*/ 70434 h 240045"/>
                <a:gd name="connsiteX9" fmla="*/ 111974 w 250849"/>
                <a:gd name="connsiteY9" fmla="*/ 8365 h 240045"/>
                <a:gd name="connsiteX10" fmla="*/ 132063 w 250849"/>
                <a:gd name="connsiteY10" fmla="*/ 1552 h 240045"/>
                <a:gd name="connsiteX11" fmla="*/ 138875 w 250849"/>
                <a:gd name="connsiteY11" fmla="*/ 8365 h 240045"/>
                <a:gd name="connsiteX12" fmla="*/ 169508 w 250849"/>
                <a:gd name="connsiteY12" fmla="*/ 70434 h 240045"/>
                <a:gd name="connsiteX13" fmla="*/ 238005 w 250849"/>
                <a:gd name="connsiteY13" fmla="*/ 80387 h 240045"/>
                <a:gd name="connsiteX14" fmla="*/ 250692 w 250849"/>
                <a:gd name="connsiteY14" fmla="*/ 97389 h 240045"/>
                <a:gd name="connsiteX15" fmla="*/ 246318 w 250849"/>
                <a:gd name="connsiteY15" fmla="*/ 105973 h 240045"/>
                <a:gd name="connsiteX16" fmla="*/ 196754 w 250849"/>
                <a:gd name="connsiteY16" fmla="*/ 154287 h 240045"/>
                <a:gd name="connsiteX17" fmla="*/ 208454 w 250849"/>
                <a:gd name="connsiteY17" fmla="*/ 222507 h 240045"/>
                <a:gd name="connsiteX18" fmla="*/ 196206 w 250849"/>
                <a:gd name="connsiteY18" fmla="*/ 239827 h 240045"/>
                <a:gd name="connsiteX19" fmla="*/ 186690 w 250849"/>
                <a:gd name="connsiteY19" fmla="*/ 238320 h 240045"/>
                <a:gd name="connsiteX20" fmla="*/ 125424 w 250849"/>
                <a:gd name="connsiteY20" fmla="*/ 206110 h 240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50849" h="240045">
                  <a:moveTo>
                    <a:pt x="125424" y="206110"/>
                  </a:moveTo>
                  <a:lnTo>
                    <a:pt x="64158" y="238320"/>
                  </a:lnTo>
                  <a:cubicBezTo>
                    <a:pt x="56826" y="242175"/>
                    <a:pt x="47756" y="239355"/>
                    <a:pt x="43901" y="232023"/>
                  </a:cubicBezTo>
                  <a:cubicBezTo>
                    <a:pt x="42366" y="229102"/>
                    <a:pt x="41836" y="225759"/>
                    <a:pt x="42394" y="222507"/>
                  </a:cubicBezTo>
                  <a:lnTo>
                    <a:pt x="54095" y="154287"/>
                  </a:lnTo>
                  <a:lnTo>
                    <a:pt x="4530" y="105973"/>
                  </a:lnTo>
                  <a:cubicBezTo>
                    <a:pt x="-1402" y="100191"/>
                    <a:pt x="-1524" y="90693"/>
                    <a:pt x="4259" y="84761"/>
                  </a:cubicBezTo>
                  <a:cubicBezTo>
                    <a:pt x="6561" y="82399"/>
                    <a:pt x="9578" y="80861"/>
                    <a:pt x="12843" y="80387"/>
                  </a:cubicBezTo>
                  <a:lnTo>
                    <a:pt x="81340" y="70434"/>
                  </a:lnTo>
                  <a:lnTo>
                    <a:pt x="111974" y="8365"/>
                  </a:lnTo>
                  <a:cubicBezTo>
                    <a:pt x="115640" y="936"/>
                    <a:pt x="124634" y="-2114"/>
                    <a:pt x="132063" y="1552"/>
                  </a:cubicBezTo>
                  <a:cubicBezTo>
                    <a:pt x="135021" y="3012"/>
                    <a:pt x="137415" y="5407"/>
                    <a:pt x="138875" y="8365"/>
                  </a:cubicBezTo>
                  <a:lnTo>
                    <a:pt x="169508" y="70434"/>
                  </a:lnTo>
                  <a:lnTo>
                    <a:pt x="238005" y="80387"/>
                  </a:lnTo>
                  <a:cubicBezTo>
                    <a:pt x="246203" y="81578"/>
                    <a:pt x="251883" y="89190"/>
                    <a:pt x="250692" y="97389"/>
                  </a:cubicBezTo>
                  <a:cubicBezTo>
                    <a:pt x="250218" y="100653"/>
                    <a:pt x="248681" y="103669"/>
                    <a:pt x="246318" y="105973"/>
                  </a:cubicBezTo>
                  <a:lnTo>
                    <a:pt x="196754" y="154287"/>
                  </a:lnTo>
                  <a:lnTo>
                    <a:pt x="208454" y="222507"/>
                  </a:lnTo>
                  <a:cubicBezTo>
                    <a:pt x="209855" y="230671"/>
                    <a:pt x="204371" y="238426"/>
                    <a:pt x="196206" y="239827"/>
                  </a:cubicBezTo>
                  <a:cubicBezTo>
                    <a:pt x="192954" y="240384"/>
                    <a:pt x="189609" y="239854"/>
                    <a:pt x="186690" y="238320"/>
                  </a:cubicBezTo>
                  <a:lnTo>
                    <a:pt x="125424" y="20611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95" name="Рисунок 268">
            <a:extLst>
              <a:ext uri="{FF2B5EF4-FFF2-40B4-BE49-F238E27FC236}">
                <a16:creationId xmlns:a16="http://schemas.microsoft.com/office/drawing/2014/main" id="{7FABC087-DE40-C245-82BB-DD5F1070C2C1}"/>
              </a:ext>
            </a:extLst>
          </p:cNvPr>
          <p:cNvGrpSpPr/>
          <p:nvPr/>
        </p:nvGrpSpPr>
        <p:grpSpPr>
          <a:xfrm>
            <a:off x="2172137" y="4461423"/>
            <a:ext cx="360000" cy="360000"/>
            <a:chOff x="2205590" y="4778145"/>
            <a:chExt cx="360000" cy="360000"/>
          </a:xfrm>
        </p:grpSpPr>
        <p:sp>
          <p:nvSpPr>
            <p:cNvPr id="1096" name="Полилиния 1095">
              <a:extLst>
                <a:ext uri="{FF2B5EF4-FFF2-40B4-BE49-F238E27FC236}">
                  <a16:creationId xmlns:a16="http://schemas.microsoft.com/office/drawing/2014/main" id="{CD5CC6E8-4442-5142-8100-08FAB99396E8}"/>
                </a:ext>
              </a:extLst>
            </p:cNvPr>
            <p:cNvSpPr/>
            <p:nvPr/>
          </p:nvSpPr>
          <p:spPr>
            <a:xfrm>
              <a:off x="2205590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7" name="Полилиния 1096">
              <a:extLst>
                <a:ext uri="{FF2B5EF4-FFF2-40B4-BE49-F238E27FC236}">
                  <a16:creationId xmlns:a16="http://schemas.microsoft.com/office/drawing/2014/main" id="{F853DC4E-3415-0C44-9492-13FA2B35F418}"/>
                </a:ext>
              </a:extLst>
            </p:cNvPr>
            <p:cNvSpPr/>
            <p:nvPr/>
          </p:nvSpPr>
          <p:spPr>
            <a:xfrm>
              <a:off x="2235590" y="4808145"/>
              <a:ext cx="300000" cy="300000"/>
            </a:xfrm>
            <a:custGeom>
              <a:avLst/>
              <a:gdLst>
                <a:gd name="connsiteX0" fmla="*/ 150000 w 300000"/>
                <a:gd name="connsiteY0" fmla="*/ 300000 h 300000"/>
                <a:gd name="connsiteX1" fmla="*/ 0 w 300000"/>
                <a:gd name="connsiteY1" fmla="*/ 150000 h 300000"/>
                <a:gd name="connsiteX2" fmla="*/ 150000 w 300000"/>
                <a:gd name="connsiteY2" fmla="*/ 0 h 300000"/>
                <a:gd name="connsiteX3" fmla="*/ 300000 w 300000"/>
                <a:gd name="connsiteY3" fmla="*/ 150000 h 300000"/>
                <a:gd name="connsiteX4" fmla="*/ 150000 w 300000"/>
                <a:gd name="connsiteY4" fmla="*/ 300000 h 300000"/>
                <a:gd name="connsiteX5" fmla="*/ 150000 w 300000"/>
                <a:gd name="connsiteY5" fmla="*/ 270000 h 300000"/>
                <a:gd name="connsiteX6" fmla="*/ 270000 w 300000"/>
                <a:gd name="connsiteY6" fmla="*/ 150000 h 300000"/>
                <a:gd name="connsiteX7" fmla="*/ 150000 w 300000"/>
                <a:gd name="connsiteY7" fmla="*/ 30000 h 300000"/>
                <a:gd name="connsiteX8" fmla="*/ 30000 w 300000"/>
                <a:gd name="connsiteY8" fmla="*/ 150000 h 300000"/>
                <a:gd name="connsiteX9" fmla="*/ 150000 w 300000"/>
                <a:gd name="connsiteY9" fmla="*/ 270000 h 300000"/>
                <a:gd name="connsiteX10" fmla="*/ 256067 w 300000"/>
                <a:gd name="connsiteY10" fmla="*/ 43934 h 300000"/>
                <a:gd name="connsiteX11" fmla="*/ 256067 w 300000"/>
                <a:gd name="connsiteY11" fmla="*/ 43934 h 300000"/>
                <a:gd name="connsiteX12" fmla="*/ 256067 w 300000"/>
                <a:gd name="connsiteY12" fmla="*/ 65147 h 300000"/>
                <a:gd name="connsiteX13" fmla="*/ 65147 w 300000"/>
                <a:gd name="connsiteY13" fmla="*/ 256067 h 300000"/>
                <a:gd name="connsiteX14" fmla="*/ 43934 w 300000"/>
                <a:gd name="connsiteY14" fmla="*/ 256067 h 300000"/>
                <a:gd name="connsiteX15" fmla="*/ 43934 w 300000"/>
                <a:gd name="connsiteY15" fmla="*/ 256067 h 300000"/>
                <a:gd name="connsiteX16" fmla="*/ 43934 w 300000"/>
                <a:gd name="connsiteY16" fmla="*/ 234854 h 300000"/>
                <a:gd name="connsiteX17" fmla="*/ 234854 w 300000"/>
                <a:gd name="connsiteY17" fmla="*/ 43934 h 300000"/>
                <a:gd name="connsiteX18" fmla="*/ 256067 w 300000"/>
                <a:gd name="connsiteY18" fmla="*/ 43934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0000" h="300000">
                  <a:moveTo>
                    <a:pt x="150000" y="300000"/>
                  </a:moveTo>
                  <a:cubicBezTo>
                    <a:pt x="67157" y="300000"/>
                    <a:pt x="0" y="232842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2" y="0"/>
                    <a:pt x="300000" y="67157"/>
                    <a:pt x="300000" y="150000"/>
                  </a:cubicBezTo>
                  <a:cubicBezTo>
                    <a:pt x="300000" y="232842"/>
                    <a:pt x="232842" y="300000"/>
                    <a:pt x="150000" y="300000"/>
                  </a:cubicBezTo>
                  <a:close/>
                  <a:moveTo>
                    <a:pt x="150000" y="270000"/>
                  </a:moveTo>
                  <a:cubicBezTo>
                    <a:pt x="216275" y="270000"/>
                    <a:pt x="270000" y="216275"/>
                    <a:pt x="270000" y="150000"/>
                  </a:cubicBezTo>
                  <a:cubicBezTo>
                    <a:pt x="270000" y="83726"/>
                    <a:pt x="216275" y="30000"/>
                    <a:pt x="150000" y="30000"/>
                  </a:cubicBezTo>
                  <a:cubicBezTo>
                    <a:pt x="83726" y="30000"/>
                    <a:pt x="30000" y="83726"/>
                    <a:pt x="30000" y="150000"/>
                  </a:cubicBezTo>
                  <a:cubicBezTo>
                    <a:pt x="30000" y="216275"/>
                    <a:pt x="83726" y="270000"/>
                    <a:pt x="150000" y="270000"/>
                  </a:cubicBezTo>
                  <a:close/>
                  <a:moveTo>
                    <a:pt x="256067" y="43934"/>
                  </a:moveTo>
                  <a:lnTo>
                    <a:pt x="256067" y="43934"/>
                  </a:lnTo>
                  <a:cubicBezTo>
                    <a:pt x="261924" y="49792"/>
                    <a:pt x="261924" y="59289"/>
                    <a:pt x="256067" y="65147"/>
                  </a:cubicBezTo>
                  <a:lnTo>
                    <a:pt x="65147" y="256067"/>
                  </a:lnTo>
                  <a:cubicBezTo>
                    <a:pt x="59289" y="261924"/>
                    <a:pt x="49792" y="261924"/>
                    <a:pt x="43934" y="256067"/>
                  </a:cubicBezTo>
                  <a:lnTo>
                    <a:pt x="43934" y="256067"/>
                  </a:lnTo>
                  <a:cubicBezTo>
                    <a:pt x="38076" y="250208"/>
                    <a:pt x="38076" y="240711"/>
                    <a:pt x="43934" y="234854"/>
                  </a:cubicBezTo>
                  <a:lnTo>
                    <a:pt x="234854" y="43934"/>
                  </a:lnTo>
                  <a:cubicBezTo>
                    <a:pt x="240711" y="38076"/>
                    <a:pt x="250208" y="38076"/>
                    <a:pt x="256067" y="43934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098" name="Рисунок 269">
            <a:extLst>
              <a:ext uri="{FF2B5EF4-FFF2-40B4-BE49-F238E27FC236}">
                <a16:creationId xmlns:a16="http://schemas.microsoft.com/office/drawing/2014/main" id="{CB097190-27E9-F64E-9F83-6183E6470E1B}"/>
              </a:ext>
            </a:extLst>
          </p:cNvPr>
          <p:cNvGrpSpPr/>
          <p:nvPr/>
        </p:nvGrpSpPr>
        <p:grpSpPr>
          <a:xfrm>
            <a:off x="5192669" y="4461423"/>
            <a:ext cx="360000" cy="360000"/>
            <a:chOff x="5226122" y="4778145"/>
            <a:chExt cx="360000" cy="360000"/>
          </a:xfrm>
        </p:grpSpPr>
        <p:sp>
          <p:nvSpPr>
            <p:cNvPr id="1099" name="Полилиния 1098">
              <a:extLst>
                <a:ext uri="{FF2B5EF4-FFF2-40B4-BE49-F238E27FC236}">
                  <a16:creationId xmlns:a16="http://schemas.microsoft.com/office/drawing/2014/main" id="{4BEC9AD3-BC89-F940-B66B-1CD41B8AC572}"/>
                </a:ext>
              </a:extLst>
            </p:cNvPr>
            <p:cNvSpPr/>
            <p:nvPr/>
          </p:nvSpPr>
          <p:spPr>
            <a:xfrm>
              <a:off x="5226122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0" name="Полилиния 1099">
              <a:extLst>
                <a:ext uri="{FF2B5EF4-FFF2-40B4-BE49-F238E27FC236}">
                  <a16:creationId xmlns:a16="http://schemas.microsoft.com/office/drawing/2014/main" id="{0A768709-7D86-204E-97A6-6EA5924B6245}"/>
                </a:ext>
              </a:extLst>
            </p:cNvPr>
            <p:cNvSpPr/>
            <p:nvPr/>
          </p:nvSpPr>
          <p:spPr>
            <a:xfrm>
              <a:off x="5346122" y="4808145"/>
              <a:ext cx="210000" cy="30000"/>
            </a:xfrm>
            <a:custGeom>
              <a:avLst/>
              <a:gdLst>
                <a:gd name="connsiteX0" fmla="*/ 195000 w 210000"/>
                <a:gd name="connsiteY0" fmla="*/ 0 h 30000"/>
                <a:gd name="connsiteX1" fmla="*/ 210000 w 210000"/>
                <a:gd name="connsiteY1" fmla="*/ 0 h 30000"/>
                <a:gd name="connsiteX2" fmla="*/ 210000 w 210000"/>
                <a:gd name="connsiteY2" fmla="*/ 30000 h 30000"/>
                <a:gd name="connsiteX3" fmla="*/ 195000 w 210000"/>
                <a:gd name="connsiteY3" fmla="*/ 30000 h 30000"/>
                <a:gd name="connsiteX4" fmla="*/ 15000 w 210000"/>
                <a:gd name="connsiteY4" fmla="*/ 30000 h 30000"/>
                <a:gd name="connsiteX5" fmla="*/ 0 w 210000"/>
                <a:gd name="connsiteY5" fmla="*/ 30000 h 30000"/>
                <a:gd name="connsiteX6" fmla="*/ 0 w 210000"/>
                <a:gd name="connsiteY6" fmla="*/ 0 h 30000"/>
                <a:gd name="connsiteX7" fmla="*/ 15000 w 21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0000" h="30000">
                  <a:moveTo>
                    <a:pt x="195000" y="0"/>
                  </a:moveTo>
                  <a:cubicBezTo>
                    <a:pt x="203284" y="0"/>
                    <a:pt x="210000" y="0"/>
                    <a:pt x="210000" y="0"/>
                  </a:cubicBezTo>
                  <a:lnTo>
                    <a:pt x="210000" y="30000"/>
                  </a:lnTo>
                  <a:cubicBezTo>
                    <a:pt x="210000" y="30000"/>
                    <a:pt x="203284" y="30000"/>
                    <a:pt x="195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1" name="Полилиния 1100">
              <a:extLst>
                <a:ext uri="{FF2B5EF4-FFF2-40B4-BE49-F238E27FC236}">
                  <a16:creationId xmlns:a16="http://schemas.microsoft.com/office/drawing/2014/main" id="{C42E3725-FD8C-3547-BB65-80B5EFE7B6CF}"/>
                </a:ext>
              </a:extLst>
            </p:cNvPr>
            <p:cNvSpPr/>
            <p:nvPr/>
          </p:nvSpPr>
          <p:spPr>
            <a:xfrm>
              <a:off x="5301122" y="4868145"/>
              <a:ext cx="210000" cy="255000"/>
            </a:xfrm>
            <a:custGeom>
              <a:avLst/>
              <a:gdLst>
                <a:gd name="connsiteX0" fmla="*/ 15000 w 210000"/>
                <a:gd name="connsiteY0" fmla="*/ 0 h 255000"/>
                <a:gd name="connsiteX1" fmla="*/ 195000 w 210000"/>
                <a:gd name="connsiteY1" fmla="*/ 0 h 255000"/>
                <a:gd name="connsiteX2" fmla="*/ 210000 w 210000"/>
                <a:gd name="connsiteY2" fmla="*/ 15000 h 255000"/>
                <a:gd name="connsiteX3" fmla="*/ 195000 w 210000"/>
                <a:gd name="connsiteY3" fmla="*/ 30000 h 255000"/>
                <a:gd name="connsiteX4" fmla="*/ 15000 w 210000"/>
                <a:gd name="connsiteY4" fmla="*/ 30000 h 255000"/>
                <a:gd name="connsiteX5" fmla="*/ 0 w 210000"/>
                <a:gd name="connsiteY5" fmla="*/ 15000 h 255000"/>
                <a:gd name="connsiteX6" fmla="*/ 15000 w 210000"/>
                <a:gd name="connsiteY6" fmla="*/ 0 h 255000"/>
                <a:gd name="connsiteX7" fmla="*/ 45000 w 210000"/>
                <a:gd name="connsiteY7" fmla="*/ 60000 h 255000"/>
                <a:gd name="connsiteX8" fmla="*/ 150000 w 210000"/>
                <a:gd name="connsiteY8" fmla="*/ 60000 h 255000"/>
                <a:gd name="connsiteX9" fmla="*/ 165000 w 210000"/>
                <a:gd name="connsiteY9" fmla="*/ 75000 h 255000"/>
                <a:gd name="connsiteX10" fmla="*/ 150000 w 210000"/>
                <a:gd name="connsiteY10" fmla="*/ 90000 h 255000"/>
                <a:gd name="connsiteX11" fmla="*/ 45000 w 210000"/>
                <a:gd name="connsiteY11" fmla="*/ 90000 h 255000"/>
                <a:gd name="connsiteX12" fmla="*/ 30000 w 210000"/>
                <a:gd name="connsiteY12" fmla="*/ 75000 h 255000"/>
                <a:gd name="connsiteX13" fmla="*/ 45000 w 210000"/>
                <a:gd name="connsiteY13" fmla="*/ 60000 h 255000"/>
                <a:gd name="connsiteX14" fmla="*/ 90000 w 210000"/>
                <a:gd name="connsiteY14" fmla="*/ 120000 h 255000"/>
                <a:gd name="connsiteX15" fmla="*/ 180000 w 210000"/>
                <a:gd name="connsiteY15" fmla="*/ 120000 h 255000"/>
                <a:gd name="connsiteX16" fmla="*/ 195000 w 210000"/>
                <a:gd name="connsiteY16" fmla="*/ 135000 h 255000"/>
                <a:gd name="connsiteX17" fmla="*/ 180000 w 210000"/>
                <a:gd name="connsiteY17" fmla="*/ 150000 h 255000"/>
                <a:gd name="connsiteX18" fmla="*/ 90000 w 210000"/>
                <a:gd name="connsiteY18" fmla="*/ 150000 h 255000"/>
                <a:gd name="connsiteX19" fmla="*/ 75000 w 210000"/>
                <a:gd name="connsiteY19" fmla="*/ 135000 h 255000"/>
                <a:gd name="connsiteX20" fmla="*/ 90000 w 210000"/>
                <a:gd name="connsiteY20" fmla="*/ 120000 h 255000"/>
                <a:gd name="connsiteX21" fmla="*/ 105000 w 210000"/>
                <a:gd name="connsiteY21" fmla="*/ 180000 h 255000"/>
                <a:gd name="connsiteX22" fmla="*/ 150000 w 210000"/>
                <a:gd name="connsiteY22" fmla="*/ 180000 h 255000"/>
                <a:gd name="connsiteX23" fmla="*/ 165000 w 210000"/>
                <a:gd name="connsiteY23" fmla="*/ 195000 h 255000"/>
                <a:gd name="connsiteX24" fmla="*/ 150000 w 210000"/>
                <a:gd name="connsiteY24" fmla="*/ 210000 h 255000"/>
                <a:gd name="connsiteX25" fmla="*/ 105000 w 210000"/>
                <a:gd name="connsiteY25" fmla="*/ 210000 h 255000"/>
                <a:gd name="connsiteX26" fmla="*/ 90000 w 210000"/>
                <a:gd name="connsiteY26" fmla="*/ 195000 h 255000"/>
                <a:gd name="connsiteX27" fmla="*/ 105000 w 210000"/>
                <a:gd name="connsiteY27" fmla="*/ 180000 h 255000"/>
                <a:gd name="connsiteX28" fmla="*/ 90000 w 210000"/>
                <a:gd name="connsiteY28" fmla="*/ 225000 h 255000"/>
                <a:gd name="connsiteX29" fmla="*/ 105000 w 210000"/>
                <a:gd name="connsiteY29" fmla="*/ 225000 h 255000"/>
                <a:gd name="connsiteX30" fmla="*/ 120000 w 210000"/>
                <a:gd name="connsiteY30" fmla="*/ 240000 h 255000"/>
                <a:gd name="connsiteX31" fmla="*/ 105000 w 210000"/>
                <a:gd name="connsiteY31" fmla="*/ 255000 h 255000"/>
                <a:gd name="connsiteX32" fmla="*/ 90000 w 210000"/>
                <a:gd name="connsiteY32" fmla="*/ 255000 h 255000"/>
                <a:gd name="connsiteX33" fmla="*/ 75000 w 210000"/>
                <a:gd name="connsiteY33" fmla="*/ 240000 h 255000"/>
                <a:gd name="connsiteX34" fmla="*/ 90000 w 210000"/>
                <a:gd name="connsiteY34" fmla="*/ 22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0000" h="255000">
                  <a:moveTo>
                    <a:pt x="15000" y="0"/>
                  </a:moveTo>
                  <a:lnTo>
                    <a:pt x="195000" y="0"/>
                  </a:lnTo>
                  <a:cubicBezTo>
                    <a:pt x="203285" y="0"/>
                    <a:pt x="210000" y="6716"/>
                    <a:pt x="210000" y="15000"/>
                  </a:cubicBezTo>
                  <a:cubicBezTo>
                    <a:pt x="210000" y="23284"/>
                    <a:pt x="203285" y="30000"/>
                    <a:pt x="195000" y="30000"/>
                  </a:cubicBez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45000" y="60000"/>
                  </a:moveTo>
                  <a:lnTo>
                    <a:pt x="150000" y="60000"/>
                  </a:lnTo>
                  <a:cubicBezTo>
                    <a:pt x="158285" y="60000"/>
                    <a:pt x="165000" y="66715"/>
                    <a:pt x="165000" y="75000"/>
                  </a:cubicBezTo>
                  <a:cubicBezTo>
                    <a:pt x="165000" y="83285"/>
                    <a:pt x="158285" y="90000"/>
                    <a:pt x="150000" y="90000"/>
                  </a:cubicBezTo>
                  <a:lnTo>
                    <a:pt x="45000" y="90000"/>
                  </a:lnTo>
                  <a:cubicBezTo>
                    <a:pt x="36716" y="90000"/>
                    <a:pt x="30000" y="83285"/>
                    <a:pt x="30000" y="75000"/>
                  </a:cubicBezTo>
                  <a:cubicBezTo>
                    <a:pt x="30000" y="66715"/>
                    <a:pt x="36716" y="60000"/>
                    <a:pt x="45000" y="60000"/>
                  </a:cubicBezTo>
                  <a:close/>
                  <a:moveTo>
                    <a:pt x="90000" y="120000"/>
                  </a:moveTo>
                  <a:lnTo>
                    <a:pt x="180000" y="120000"/>
                  </a:lnTo>
                  <a:cubicBezTo>
                    <a:pt x="188285" y="120000"/>
                    <a:pt x="195000" y="126715"/>
                    <a:pt x="195000" y="135000"/>
                  </a:cubicBezTo>
                  <a:cubicBezTo>
                    <a:pt x="195000" y="143285"/>
                    <a:pt x="188285" y="150000"/>
                    <a:pt x="180000" y="150000"/>
                  </a:cubicBezTo>
                  <a:lnTo>
                    <a:pt x="90000" y="150000"/>
                  </a:lnTo>
                  <a:cubicBezTo>
                    <a:pt x="81715" y="150000"/>
                    <a:pt x="75000" y="143285"/>
                    <a:pt x="75000" y="135000"/>
                  </a:cubicBezTo>
                  <a:cubicBezTo>
                    <a:pt x="75000" y="126715"/>
                    <a:pt x="81715" y="120000"/>
                    <a:pt x="90000" y="120000"/>
                  </a:cubicBezTo>
                  <a:close/>
                  <a:moveTo>
                    <a:pt x="105000" y="180000"/>
                  </a:moveTo>
                  <a:lnTo>
                    <a:pt x="150000" y="180000"/>
                  </a:lnTo>
                  <a:cubicBezTo>
                    <a:pt x="158285" y="180000"/>
                    <a:pt x="165000" y="186716"/>
                    <a:pt x="165000" y="195000"/>
                  </a:cubicBezTo>
                  <a:cubicBezTo>
                    <a:pt x="165000" y="203285"/>
                    <a:pt x="158285" y="210000"/>
                    <a:pt x="150000" y="210000"/>
                  </a:cubicBezTo>
                  <a:lnTo>
                    <a:pt x="105000" y="210000"/>
                  </a:lnTo>
                  <a:cubicBezTo>
                    <a:pt x="96715" y="210000"/>
                    <a:pt x="90000" y="203285"/>
                    <a:pt x="90000" y="195000"/>
                  </a:cubicBezTo>
                  <a:cubicBezTo>
                    <a:pt x="90000" y="186716"/>
                    <a:pt x="96715" y="180000"/>
                    <a:pt x="105000" y="180000"/>
                  </a:cubicBezTo>
                  <a:close/>
                  <a:moveTo>
                    <a:pt x="90000" y="225000"/>
                  </a:moveTo>
                  <a:lnTo>
                    <a:pt x="105000" y="225000"/>
                  </a:lnTo>
                  <a:cubicBezTo>
                    <a:pt x="113285" y="225000"/>
                    <a:pt x="120000" y="231716"/>
                    <a:pt x="120000" y="240000"/>
                  </a:cubicBezTo>
                  <a:cubicBezTo>
                    <a:pt x="120000" y="248285"/>
                    <a:pt x="113285" y="255000"/>
                    <a:pt x="105000" y="255000"/>
                  </a:cubicBezTo>
                  <a:lnTo>
                    <a:pt x="90000" y="255000"/>
                  </a:lnTo>
                  <a:cubicBezTo>
                    <a:pt x="81715" y="255000"/>
                    <a:pt x="75000" y="248285"/>
                    <a:pt x="75000" y="240000"/>
                  </a:cubicBezTo>
                  <a:cubicBezTo>
                    <a:pt x="75000" y="231716"/>
                    <a:pt x="81715" y="225000"/>
                    <a:pt x="90000" y="22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02" name="Рисунок 270">
            <a:extLst>
              <a:ext uri="{FF2B5EF4-FFF2-40B4-BE49-F238E27FC236}">
                <a16:creationId xmlns:a16="http://schemas.microsoft.com/office/drawing/2014/main" id="{87D06014-5D1E-434A-AD9D-2C361AE8F519}"/>
              </a:ext>
            </a:extLst>
          </p:cNvPr>
          <p:cNvGrpSpPr/>
          <p:nvPr/>
        </p:nvGrpSpPr>
        <p:grpSpPr>
          <a:xfrm>
            <a:off x="1417004" y="4461423"/>
            <a:ext cx="360000" cy="360000"/>
            <a:chOff x="1450457" y="4778145"/>
            <a:chExt cx="360000" cy="360000"/>
          </a:xfrm>
        </p:grpSpPr>
        <p:sp>
          <p:nvSpPr>
            <p:cNvPr id="1103" name="Полилиния 1102">
              <a:extLst>
                <a:ext uri="{FF2B5EF4-FFF2-40B4-BE49-F238E27FC236}">
                  <a16:creationId xmlns:a16="http://schemas.microsoft.com/office/drawing/2014/main" id="{4ECA09C0-0794-E340-B43D-2AFA59358EFF}"/>
                </a:ext>
              </a:extLst>
            </p:cNvPr>
            <p:cNvSpPr/>
            <p:nvPr/>
          </p:nvSpPr>
          <p:spPr>
            <a:xfrm>
              <a:off x="1450457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4" name="Скругленный прямоугольник 1103">
              <a:extLst>
                <a:ext uri="{FF2B5EF4-FFF2-40B4-BE49-F238E27FC236}">
                  <a16:creationId xmlns:a16="http://schemas.microsoft.com/office/drawing/2014/main" id="{8D33EEC3-4F67-AA4E-A0E0-59A19A0D7B5C}"/>
                </a:ext>
              </a:extLst>
            </p:cNvPr>
            <p:cNvSpPr/>
            <p:nvPr/>
          </p:nvSpPr>
          <p:spPr>
            <a:xfrm>
              <a:off x="1510457" y="4943145"/>
              <a:ext cx="255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5" name="Полилиния 1104">
              <a:extLst>
                <a:ext uri="{FF2B5EF4-FFF2-40B4-BE49-F238E27FC236}">
                  <a16:creationId xmlns:a16="http://schemas.microsoft.com/office/drawing/2014/main" id="{FCE92A55-DEF5-BC4F-B6A8-383D62C3B900}"/>
                </a:ext>
              </a:extLst>
            </p:cNvPr>
            <p:cNvSpPr/>
            <p:nvPr/>
          </p:nvSpPr>
          <p:spPr>
            <a:xfrm>
              <a:off x="1562057" y="4847744"/>
              <a:ext cx="136799" cy="217799"/>
            </a:xfrm>
            <a:custGeom>
              <a:avLst/>
              <a:gdLst>
                <a:gd name="connsiteX0" fmla="*/ 69300 w 136799"/>
                <a:gd name="connsiteY0" fmla="*/ 217800 h 217799"/>
                <a:gd name="connsiteX1" fmla="*/ 0 w 136799"/>
                <a:gd name="connsiteY1" fmla="*/ 184800 h 217799"/>
                <a:gd name="connsiteX2" fmla="*/ 20700 w 136799"/>
                <a:gd name="connsiteY2" fmla="*/ 166800 h 217799"/>
                <a:gd name="connsiteX3" fmla="*/ 69000 w 136799"/>
                <a:gd name="connsiteY3" fmla="*/ 191700 h 217799"/>
                <a:gd name="connsiteX4" fmla="*/ 109200 w 136799"/>
                <a:gd name="connsiteY4" fmla="*/ 161700 h 217799"/>
                <a:gd name="connsiteX5" fmla="*/ 74400 w 136799"/>
                <a:gd name="connsiteY5" fmla="*/ 122100 h 217799"/>
                <a:gd name="connsiteX6" fmla="*/ 54900 w 136799"/>
                <a:gd name="connsiteY6" fmla="*/ 113700 h 217799"/>
                <a:gd name="connsiteX7" fmla="*/ 8400 w 136799"/>
                <a:gd name="connsiteY7" fmla="*/ 53400 h 217799"/>
                <a:gd name="connsiteX8" fmla="*/ 70500 w 136799"/>
                <a:gd name="connsiteY8" fmla="*/ 0 h 217799"/>
                <a:gd name="connsiteX9" fmla="*/ 130200 w 136799"/>
                <a:gd name="connsiteY9" fmla="*/ 27300 h 217799"/>
                <a:gd name="connsiteX10" fmla="*/ 111000 w 136799"/>
                <a:gd name="connsiteY10" fmla="*/ 46500 h 217799"/>
                <a:gd name="connsiteX11" fmla="*/ 69600 w 136799"/>
                <a:gd name="connsiteY11" fmla="*/ 26100 h 217799"/>
                <a:gd name="connsiteX12" fmla="*/ 35700 w 136799"/>
                <a:gd name="connsiteY12" fmla="*/ 54000 h 217799"/>
                <a:gd name="connsiteX13" fmla="*/ 67200 w 136799"/>
                <a:gd name="connsiteY13" fmla="*/ 90000 h 217799"/>
                <a:gd name="connsiteX14" fmla="*/ 86700 w 136799"/>
                <a:gd name="connsiteY14" fmla="*/ 98400 h 217799"/>
                <a:gd name="connsiteX15" fmla="*/ 136800 w 136799"/>
                <a:gd name="connsiteY15" fmla="*/ 158700 h 217799"/>
                <a:gd name="connsiteX16" fmla="*/ 69300 w 136799"/>
                <a:gd name="connsiteY16" fmla="*/ 217800 h 21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6799" h="217799">
                  <a:moveTo>
                    <a:pt x="69300" y="217800"/>
                  </a:moveTo>
                  <a:cubicBezTo>
                    <a:pt x="38400" y="217800"/>
                    <a:pt x="12600" y="202800"/>
                    <a:pt x="0" y="184800"/>
                  </a:cubicBezTo>
                  <a:lnTo>
                    <a:pt x="20700" y="166800"/>
                  </a:lnTo>
                  <a:cubicBezTo>
                    <a:pt x="30900" y="180000"/>
                    <a:pt x="48300" y="191700"/>
                    <a:pt x="69000" y="191700"/>
                  </a:cubicBezTo>
                  <a:cubicBezTo>
                    <a:pt x="93600" y="191700"/>
                    <a:pt x="109200" y="180300"/>
                    <a:pt x="109200" y="161700"/>
                  </a:cubicBezTo>
                  <a:cubicBezTo>
                    <a:pt x="109200" y="142200"/>
                    <a:pt x="97200" y="132000"/>
                    <a:pt x="74400" y="122100"/>
                  </a:cubicBezTo>
                  <a:lnTo>
                    <a:pt x="54900" y="113700"/>
                  </a:lnTo>
                  <a:cubicBezTo>
                    <a:pt x="22500" y="99900"/>
                    <a:pt x="8400" y="80100"/>
                    <a:pt x="8400" y="53400"/>
                  </a:cubicBezTo>
                  <a:cubicBezTo>
                    <a:pt x="8400" y="21000"/>
                    <a:pt x="39000" y="0"/>
                    <a:pt x="70500" y="0"/>
                  </a:cubicBezTo>
                  <a:cubicBezTo>
                    <a:pt x="95400" y="0"/>
                    <a:pt x="115800" y="9900"/>
                    <a:pt x="130200" y="27300"/>
                  </a:cubicBezTo>
                  <a:lnTo>
                    <a:pt x="111000" y="46500"/>
                  </a:lnTo>
                  <a:cubicBezTo>
                    <a:pt x="99900" y="33300"/>
                    <a:pt x="88200" y="26100"/>
                    <a:pt x="69600" y="26100"/>
                  </a:cubicBezTo>
                  <a:cubicBezTo>
                    <a:pt x="51600" y="26100"/>
                    <a:pt x="35700" y="36300"/>
                    <a:pt x="35700" y="54000"/>
                  </a:cubicBezTo>
                  <a:cubicBezTo>
                    <a:pt x="35700" y="69600"/>
                    <a:pt x="44700" y="80100"/>
                    <a:pt x="67200" y="90000"/>
                  </a:cubicBezTo>
                  <a:lnTo>
                    <a:pt x="86700" y="98400"/>
                  </a:lnTo>
                  <a:cubicBezTo>
                    <a:pt x="115500" y="111000"/>
                    <a:pt x="136800" y="128700"/>
                    <a:pt x="136800" y="158700"/>
                  </a:cubicBezTo>
                  <a:cubicBezTo>
                    <a:pt x="136800" y="193500"/>
                    <a:pt x="111000" y="217800"/>
                    <a:pt x="69300" y="2178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06" name="Рисунок 271">
            <a:extLst>
              <a:ext uri="{FF2B5EF4-FFF2-40B4-BE49-F238E27FC236}">
                <a16:creationId xmlns:a16="http://schemas.microsoft.com/office/drawing/2014/main" id="{F714636E-38CB-AE40-B242-8F9F10C563B1}"/>
              </a:ext>
            </a:extLst>
          </p:cNvPr>
          <p:cNvGrpSpPr/>
          <p:nvPr/>
        </p:nvGrpSpPr>
        <p:grpSpPr>
          <a:xfrm>
            <a:off x="661871" y="4461423"/>
            <a:ext cx="360000" cy="360000"/>
            <a:chOff x="695324" y="4778145"/>
            <a:chExt cx="360000" cy="360000"/>
          </a:xfrm>
        </p:grpSpPr>
        <p:sp>
          <p:nvSpPr>
            <p:cNvPr id="1107" name="Полилиния 1106">
              <a:extLst>
                <a:ext uri="{FF2B5EF4-FFF2-40B4-BE49-F238E27FC236}">
                  <a16:creationId xmlns:a16="http://schemas.microsoft.com/office/drawing/2014/main" id="{398C6A16-880C-2448-A3C9-757389451068}"/>
                </a:ext>
              </a:extLst>
            </p:cNvPr>
            <p:cNvSpPr/>
            <p:nvPr/>
          </p:nvSpPr>
          <p:spPr>
            <a:xfrm>
              <a:off x="695324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8" name="Полилиния 1107">
              <a:extLst>
                <a:ext uri="{FF2B5EF4-FFF2-40B4-BE49-F238E27FC236}">
                  <a16:creationId xmlns:a16="http://schemas.microsoft.com/office/drawing/2014/main" id="{B0AD9127-615A-5841-8530-D1A98F75DEAF}"/>
                </a:ext>
              </a:extLst>
            </p:cNvPr>
            <p:cNvSpPr/>
            <p:nvPr/>
          </p:nvSpPr>
          <p:spPr>
            <a:xfrm>
              <a:off x="740324" y="4913145"/>
              <a:ext cx="180000" cy="180000"/>
            </a:xfrm>
            <a:custGeom>
              <a:avLst/>
              <a:gdLst>
                <a:gd name="connsiteX0" fmla="*/ 45000 w 180000"/>
                <a:gd name="connsiteY0" fmla="*/ 0 h 180000"/>
                <a:gd name="connsiteX1" fmla="*/ 45000 w 180000"/>
                <a:gd name="connsiteY1" fmla="*/ 90000 h 180000"/>
                <a:gd name="connsiteX2" fmla="*/ 90000 w 180000"/>
                <a:gd name="connsiteY2" fmla="*/ 135000 h 180000"/>
                <a:gd name="connsiteX3" fmla="*/ 180000 w 180000"/>
                <a:gd name="connsiteY3" fmla="*/ 135000 h 180000"/>
                <a:gd name="connsiteX4" fmla="*/ 180000 w 180000"/>
                <a:gd name="connsiteY4" fmla="*/ 147273 h 180000"/>
                <a:gd name="connsiteX5" fmla="*/ 147273 w 180000"/>
                <a:gd name="connsiteY5" fmla="*/ 180000 h 180000"/>
                <a:gd name="connsiteX6" fmla="*/ 32727 w 180000"/>
                <a:gd name="connsiteY6" fmla="*/ 180000 h 180000"/>
                <a:gd name="connsiteX7" fmla="*/ 0 w 180000"/>
                <a:gd name="connsiteY7" fmla="*/ 147273 h 180000"/>
                <a:gd name="connsiteX8" fmla="*/ 0 w 180000"/>
                <a:gd name="connsiteY8" fmla="*/ 32727 h 180000"/>
                <a:gd name="connsiteX9" fmla="*/ 32727 w 180000"/>
                <a:gd name="connsiteY9" fmla="*/ 0 h 180000"/>
                <a:gd name="connsiteX10" fmla="*/ 45000 w 180000"/>
                <a:gd name="connsiteY10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0000" h="180000">
                  <a:moveTo>
                    <a:pt x="45000" y="0"/>
                  </a:moveTo>
                  <a:lnTo>
                    <a:pt x="45000" y="90000"/>
                  </a:lnTo>
                  <a:cubicBezTo>
                    <a:pt x="45000" y="114854"/>
                    <a:pt x="65147" y="135000"/>
                    <a:pt x="90000" y="135000"/>
                  </a:cubicBezTo>
                  <a:lnTo>
                    <a:pt x="180000" y="135000"/>
                  </a:lnTo>
                  <a:lnTo>
                    <a:pt x="180000" y="147273"/>
                  </a:lnTo>
                  <a:cubicBezTo>
                    <a:pt x="180000" y="168488"/>
                    <a:pt x="168488" y="180000"/>
                    <a:pt x="147273" y="180000"/>
                  </a:cubicBezTo>
                  <a:lnTo>
                    <a:pt x="32727" y="180000"/>
                  </a:lnTo>
                  <a:cubicBezTo>
                    <a:pt x="11513" y="180000"/>
                    <a:pt x="0" y="168488"/>
                    <a:pt x="0" y="147273"/>
                  </a:cubicBezTo>
                  <a:lnTo>
                    <a:pt x="0" y="32727"/>
                  </a:lnTo>
                  <a:cubicBezTo>
                    <a:pt x="0" y="11513"/>
                    <a:pt x="11513" y="0"/>
                    <a:pt x="32727" y="0"/>
                  </a:cubicBezTo>
                  <a:lnTo>
                    <a:pt x="450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9" name="Полилиния 1108">
              <a:extLst>
                <a:ext uri="{FF2B5EF4-FFF2-40B4-BE49-F238E27FC236}">
                  <a16:creationId xmlns:a16="http://schemas.microsoft.com/office/drawing/2014/main" id="{F07E42B9-BFCD-834F-96FE-CB754511D6CD}"/>
                </a:ext>
              </a:extLst>
            </p:cNvPr>
            <p:cNvSpPr/>
            <p:nvPr/>
          </p:nvSpPr>
          <p:spPr>
            <a:xfrm>
              <a:off x="815324" y="4838145"/>
              <a:ext cx="180000" cy="180000"/>
            </a:xfrm>
            <a:custGeom>
              <a:avLst/>
              <a:gdLst>
                <a:gd name="connsiteX0" fmla="*/ 32727 w 180000"/>
                <a:gd name="connsiteY0" fmla="*/ 0 h 180000"/>
                <a:gd name="connsiteX1" fmla="*/ 147273 w 180000"/>
                <a:gd name="connsiteY1" fmla="*/ 0 h 180000"/>
                <a:gd name="connsiteX2" fmla="*/ 180000 w 180000"/>
                <a:gd name="connsiteY2" fmla="*/ 32727 h 180000"/>
                <a:gd name="connsiteX3" fmla="*/ 180000 w 180000"/>
                <a:gd name="connsiteY3" fmla="*/ 147273 h 180000"/>
                <a:gd name="connsiteX4" fmla="*/ 147273 w 180000"/>
                <a:gd name="connsiteY4" fmla="*/ 180000 h 180000"/>
                <a:gd name="connsiteX5" fmla="*/ 32727 w 180000"/>
                <a:gd name="connsiteY5" fmla="*/ 180000 h 180000"/>
                <a:gd name="connsiteX6" fmla="*/ 0 w 180000"/>
                <a:gd name="connsiteY6" fmla="*/ 147273 h 180000"/>
                <a:gd name="connsiteX7" fmla="*/ 0 w 180000"/>
                <a:gd name="connsiteY7" fmla="*/ 32727 h 180000"/>
                <a:gd name="connsiteX8" fmla="*/ 32727 w 180000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000" h="180000">
                  <a:moveTo>
                    <a:pt x="32727" y="0"/>
                  </a:moveTo>
                  <a:lnTo>
                    <a:pt x="147273" y="0"/>
                  </a:lnTo>
                  <a:cubicBezTo>
                    <a:pt x="168488" y="0"/>
                    <a:pt x="180000" y="11513"/>
                    <a:pt x="180000" y="32727"/>
                  </a:cubicBezTo>
                  <a:lnTo>
                    <a:pt x="180000" y="147273"/>
                  </a:lnTo>
                  <a:cubicBezTo>
                    <a:pt x="180000" y="168488"/>
                    <a:pt x="168488" y="180000"/>
                    <a:pt x="147273" y="180000"/>
                  </a:cubicBezTo>
                  <a:lnTo>
                    <a:pt x="32727" y="180000"/>
                  </a:lnTo>
                  <a:cubicBezTo>
                    <a:pt x="11513" y="180000"/>
                    <a:pt x="0" y="168488"/>
                    <a:pt x="0" y="147273"/>
                  </a:cubicBezTo>
                  <a:lnTo>
                    <a:pt x="0" y="32727"/>
                  </a:lnTo>
                  <a:cubicBezTo>
                    <a:pt x="0" y="11513"/>
                    <a:pt x="11513" y="0"/>
                    <a:pt x="3272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10" name="Рисунок 272">
            <a:extLst>
              <a:ext uri="{FF2B5EF4-FFF2-40B4-BE49-F238E27FC236}">
                <a16:creationId xmlns:a16="http://schemas.microsoft.com/office/drawing/2014/main" id="{2A6E266D-5776-A040-86F9-B81237688FC8}"/>
              </a:ext>
            </a:extLst>
          </p:cNvPr>
          <p:cNvGrpSpPr/>
          <p:nvPr/>
        </p:nvGrpSpPr>
        <p:grpSpPr>
          <a:xfrm>
            <a:off x="11233735" y="3788369"/>
            <a:ext cx="360000" cy="360000"/>
            <a:chOff x="11267188" y="4105091"/>
            <a:chExt cx="360000" cy="360000"/>
          </a:xfrm>
        </p:grpSpPr>
        <p:sp>
          <p:nvSpPr>
            <p:cNvPr id="1111" name="Полилиния 1110">
              <a:extLst>
                <a:ext uri="{FF2B5EF4-FFF2-40B4-BE49-F238E27FC236}">
                  <a16:creationId xmlns:a16="http://schemas.microsoft.com/office/drawing/2014/main" id="{A4CEE228-7A00-ED47-9EAA-CE9D05379FA0}"/>
                </a:ext>
              </a:extLst>
            </p:cNvPr>
            <p:cNvSpPr/>
            <p:nvPr/>
          </p:nvSpPr>
          <p:spPr>
            <a:xfrm>
              <a:off x="11402188" y="4240091"/>
              <a:ext cx="90000" cy="90000"/>
            </a:xfrm>
            <a:custGeom>
              <a:avLst/>
              <a:gdLst>
                <a:gd name="connsiteX0" fmla="*/ 45000 w 90000"/>
                <a:gd name="connsiteY0" fmla="*/ 90000 h 90000"/>
                <a:gd name="connsiteX1" fmla="*/ 0 w 90000"/>
                <a:gd name="connsiteY1" fmla="*/ 45000 h 90000"/>
                <a:gd name="connsiteX2" fmla="*/ 45000 w 90000"/>
                <a:gd name="connsiteY2" fmla="*/ 0 h 90000"/>
                <a:gd name="connsiteX3" fmla="*/ 90000 w 90000"/>
                <a:gd name="connsiteY3" fmla="*/ 45000 h 90000"/>
                <a:gd name="connsiteX4" fmla="*/ 45000 w 90000"/>
                <a:gd name="connsiteY4" fmla="*/ 9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45000" y="90000"/>
                  </a:moveTo>
                  <a:cubicBezTo>
                    <a:pt x="20146" y="90000"/>
                    <a:pt x="0" y="69854"/>
                    <a:pt x="0" y="45000"/>
                  </a:cubicBezTo>
                  <a:cubicBezTo>
                    <a:pt x="0" y="20146"/>
                    <a:pt x="20146" y="0"/>
                    <a:pt x="45000" y="0"/>
                  </a:cubicBezTo>
                  <a:cubicBezTo>
                    <a:pt x="69854" y="0"/>
                    <a:pt x="90000" y="20146"/>
                    <a:pt x="90000" y="45000"/>
                  </a:cubicBezTo>
                  <a:cubicBezTo>
                    <a:pt x="90000" y="69854"/>
                    <a:pt x="69854" y="90000"/>
                    <a:pt x="45000" y="9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2" name="Полилиния 1111">
              <a:extLst>
                <a:ext uri="{FF2B5EF4-FFF2-40B4-BE49-F238E27FC236}">
                  <a16:creationId xmlns:a16="http://schemas.microsoft.com/office/drawing/2014/main" id="{CF6859E3-ED1A-904F-A670-EE011FDD9956}"/>
                </a:ext>
              </a:extLst>
            </p:cNvPr>
            <p:cNvSpPr/>
            <p:nvPr/>
          </p:nvSpPr>
          <p:spPr>
            <a:xfrm>
              <a:off x="11267188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3" name="Полилиния 1112">
              <a:extLst>
                <a:ext uri="{FF2B5EF4-FFF2-40B4-BE49-F238E27FC236}">
                  <a16:creationId xmlns:a16="http://schemas.microsoft.com/office/drawing/2014/main" id="{A9B46061-0BF7-054E-BD17-F802E6F5B2AA}"/>
                </a:ext>
              </a:extLst>
            </p:cNvPr>
            <p:cNvSpPr/>
            <p:nvPr/>
          </p:nvSpPr>
          <p:spPr>
            <a:xfrm>
              <a:off x="11289688" y="4127591"/>
              <a:ext cx="315000" cy="315000"/>
            </a:xfrm>
            <a:custGeom>
              <a:avLst/>
              <a:gdLst>
                <a:gd name="connsiteX0" fmla="*/ 270000 w 315000"/>
                <a:gd name="connsiteY0" fmla="*/ 135000 h 315000"/>
                <a:gd name="connsiteX1" fmla="*/ 292500 w 315000"/>
                <a:gd name="connsiteY1" fmla="*/ 135000 h 315000"/>
                <a:gd name="connsiteX2" fmla="*/ 315000 w 315000"/>
                <a:gd name="connsiteY2" fmla="*/ 157500 h 315000"/>
                <a:gd name="connsiteX3" fmla="*/ 292500 w 315000"/>
                <a:gd name="connsiteY3" fmla="*/ 180000 h 315000"/>
                <a:gd name="connsiteX4" fmla="*/ 270000 w 315000"/>
                <a:gd name="connsiteY4" fmla="*/ 180000 h 315000"/>
                <a:gd name="connsiteX5" fmla="*/ 247500 w 315000"/>
                <a:gd name="connsiteY5" fmla="*/ 157500 h 315000"/>
                <a:gd name="connsiteX6" fmla="*/ 270000 w 315000"/>
                <a:gd name="connsiteY6" fmla="*/ 135000 h 315000"/>
                <a:gd name="connsiteX7" fmla="*/ 218410 w 315000"/>
                <a:gd name="connsiteY7" fmla="*/ 65570 h 315000"/>
                <a:gd name="connsiteX8" fmla="*/ 234320 w 315000"/>
                <a:gd name="connsiteY8" fmla="*/ 49660 h 315000"/>
                <a:gd name="connsiteX9" fmla="*/ 266139 w 315000"/>
                <a:gd name="connsiteY9" fmla="*/ 49660 h 315000"/>
                <a:gd name="connsiteX10" fmla="*/ 266139 w 315000"/>
                <a:gd name="connsiteY10" fmla="*/ 81480 h 315000"/>
                <a:gd name="connsiteX11" fmla="*/ 250230 w 315000"/>
                <a:gd name="connsiteY11" fmla="*/ 97390 h 315000"/>
                <a:gd name="connsiteX12" fmla="*/ 218410 w 315000"/>
                <a:gd name="connsiteY12" fmla="*/ 97390 h 315000"/>
                <a:gd name="connsiteX13" fmla="*/ 218410 w 315000"/>
                <a:gd name="connsiteY13" fmla="*/ 65570 h 315000"/>
                <a:gd name="connsiteX14" fmla="*/ 218410 w 315000"/>
                <a:gd name="connsiteY14" fmla="*/ 250230 h 315000"/>
                <a:gd name="connsiteX15" fmla="*/ 218410 w 315000"/>
                <a:gd name="connsiteY15" fmla="*/ 218410 h 315000"/>
                <a:gd name="connsiteX16" fmla="*/ 250230 w 315000"/>
                <a:gd name="connsiteY16" fmla="*/ 218410 h 315000"/>
                <a:gd name="connsiteX17" fmla="*/ 266139 w 315000"/>
                <a:gd name="connsiteY17" fmla="*/ 234320 h 315000"/>
                <a:gd name="connsiteX18" fmla="*/ 266139 w 315000"/>
                <a:gd name="connsiteY18" fmla="*/ 266139 h 315000"/>
                <a:gd name="connsiteX19" fmla="*/ 234320 w 315000"/>
                <a:gd name="connsiteY19" fmla="*/ 266139 h 315000"/>
                <a:gd name="connsiteX20" fmla="*/ 218410 w 315000"/>
                <a:gd name="connsiteY20" fmla="*/ 250230 h 315000"/>
                <a:gd name="connsiteX21" fmla="*/ 22500 w 315000"/>
                <a:gd name="connsiteY21" fmla="*/ 135000 h 315000"/>
                <a:gd name="connsiteX22" fmla="*/ 45000 w 315000"/>
                <a:gd name="connsiteY22" fmla="*/ 135000 h 315000"/>
                <a:gd name="connsiteX23" fmla="*/ 67500 w 315000"/>
                <a:gd name="connsiteY23" fmla="*/ 157500 h 315000"/>
                <a:gd name="connsiteX24" fmla="*/ 45000 w 315000"/>
                <a:gd name="connsiteY24" fmla="*/ 180000 h 315000"/>
                <a:gd name="connsiteX25" fmla="*/ 22500 w 315000"/>
                <a:gd name="connsiteY25" fmla="*/ 180000 h 315000"/>
                <a:gd name="connsiteX26" fmla="*/ 0 w 315000"/>
                <a:gd name="connsiteY26" fmla="*/ 157500 h 315000"/>
                <a:gd name="connsiteX27" fmla="*/ 22500 w 315000"/>
                <a:gd name="connsiteY27" fmla="*/ 135000 h 315000"/>
                <a:gd name="connsiteX28" fmla="*/ 157500 w 315000"/>
                <a:gd name="connsiteY28" fmla="*/ 0 h 315000"/>
                <a:gd name="connsiteX29" fmla="*/ 180000 w 315000"/>
                <a:gd name="connsiteY29" fmla="*/ 22500 h 315000"/>
                <a:gd name="connsiteX30" fmla="*/ 180000 w 315000"/>
                <a:gd name="connsiteY30" fmla="*/ 45000 h 315000"/>
                <a:gd name="connsiteX31" fmla="*/ 157500 w 315000"/>
                <a:gd name="connsiteY31" fmla="*/ 67500 h 315000"/>
                <a:gd name="connsiteX32" fmla="*/ 135000 w 315000"/>
                <a:gd name="connsiteY32" fmla="*/ 45000 h 315000"/>
                <a:gd name="connsiteX33" fmla="*/ 135000 w 315000"/>
                <a:gd name="connsiteY33" fmla="*/ 22500 h 315000"/>
                <a:gd name="connsiteX34" fmla="*/ 157500 w 315000"/>
                <a:gd name="connsiteY34" fmla="*/ 0 h 315000"/>
                <a:gd name="connsiteX35" fmla="*/ 157500 w 315000"/>
                <a:gd name="connsiteY35" fmla="*/ 247500 h 315000"/>
                <a:gd name="connsiteX36" fmla="*/ 180000 w 315000"/>
                <a:gd name="connsiteY36" fmla="*/ 270000 h 315000"/>
                <a:gd name="connsiteX37" fmla="*/ 180000 w 315000"/>
                <a:gd name="connsiteY37" fmla="*/ 292500 h 315000"/>
                <a:gd name="connsiteX38" fmla="*/ 157500 w 315000"/>
                <a:gd name="connsiteY38" fmla="*/ 315000 h 315000"/>
                <a:gd name="connsiteX39" fmla="*/ 135000 w 315000"/>
                <a:gd name="connsiteY39" fmla="*/ 292500 h 315000"/>
                <a:gd name="connsiteX40" fmla="*/ 135000 w 315000"/>
                <a:gd name="connsiteY40" fmla="*/ 270000 h 315000"/>
                <a:gd name="connsiteX41" fmla="*/ 157500 w 315000"/>
                <a:gd name="connsiteY41" fmla="*/ 247500 h 315000"/>
                <a:gd name="connsiteX42" fmla="*/ 49660 w 315000"/>
                <a:gd name="connsiteY42" fmla="*/ 49660 h 315000"/>
                <a:gd name="connsiteX43" fmla="*/ 81480 w 315000"/>
                <a:gd name="connsiteY43" fmla="*/ 49660 h 315000"/>
                <a:gd name="connsiteX44" fmla="*/ 97390 w 315000"/>
                <a:gd name="connsiteY44" fmla="*/ 65570 h 315000"/>
                <a:gd name="connsiteX45" fmla="*/ 97390 w 315000"/>
                <a:gd name="connsiteY45" fmla="*/ 97390 h 315000"/>
                <a:gd name="connsiteX46" fmla="*/ 65570 w 315000"/>
                <a:gd name="connsiteY46" fmla="*/ 97390 h 315000"/>
                <a:gd name="connsiteX47" fmla="*/ 49660 w 315000"/>
                <a:gd name="connsiteY47" fmla="*/ 81480 h 315000"/>
                <a:gd name="connsiteX48" fmla="*/ 49660 w 315000"/>
                <a:gd name="connsiteY48" fmla="*/ 49660 h 315000"/>
                <a:gd name="connsiteX49" fmla="*/ 49660 w 315000"/>
                <a:gd name="connsiteY49" fmla="*/ 266139 h 315000"/>
                <a:gd name="connsiteX50" fmla="*/ 49660 w 315000"/>
                <a:gd name="connsiteY50" fmla="*/ 234320 h 315000"/>
                <a:gd name="connsiteX51" fmla="*/ 65570 w 315000"/>
                <a:gd name="connsiteY51" fmla="*/ 218410 h 315000"/>
                <a:gd name="connsiteX52" fmla="*/ 97390 w 315000"/>
                <a:gd name="connsiteY52" fmla="*/ 218410 h 315000"/>
                <a:gd name="connsiteX53" fmla="*/ 97390 w 315000"/>
                <a:gd name="connsiteY53" fmla="*/ 250230 h 315000"/>
                <a:gd name="connsiteX54" fmla="*/ 81480 w 315000"/>
                <a:gd name="connsiteY54" fmla="*/ 266139 h 315000"/>
                <a:gd name="connsiteX55" fmla="*/ 49660 w 315000"/>
                <a:gd name="connsiteY55" fmla="*/ 266139 h 3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315000" h="315000">
                  <a:moveTo>
                    <a:pt x="270000" y="135000"/>
                  </a:moveTo>
                  <a:lnTo>
                    <a:pt x="292500" y="135000"/>
                  </a:lnTo>
                  <a:cubicBezTo>
                    <a:pt x="304926" y="135000"/>
                    <a:pt x="315000" y="145074"/>
                    <a:pt x="315000" y="157500"/>
                  </a:cubicBezTo>
                  <a:cubicBezTo>
                    <a:pt x="315000" y="169926"/>
                    <a:pt x="304926" y="180000"/>
                    <a:pt x="292500" y="180000"/>
                  </a:cubicBezTo>
                  <a:lnTo>
                    <a:pt x="270000" y="180000"/>
                  </a:lnTo>
                  <a:cubicBezTo>
                    <a:pt x="257574" y="180000"/>
                    <a:pt x="247500" y="169926"/>
                    <a:pt x="247500" y="157500"/>
                  </a:cubicBezTo>
                  <a:cubicBezTo>
                    <a:pt x="247500" y="145074"/>
                    <a:pt x="257574" y="135000"/>
                    <a:pt x="270000" y="135000"/>
                  </a:cubicBezTo>
                  <a:close/>
                  <a:moveTo>
                    <a:pt x="218410" y="65570"/>
                  </a:moveTo>
                  <a:lnTo>
                    <a:pt x="234320" y="49660"/>
                  </a:lnTo>
                  <a:cubicBezTo>
                    <a:pt x="243107" y="40873"/>
                    <a:pt x="257354" y="40873"/>
                    <a:pt x="266139" y="49660"/>
                  </a:cubicBezTo>
                  <a:cubicBezTo>
                    <a:pt x="274926" y="58447"/>
                    <a:pt x="274926" y="72693"/>
                    <a:pt x="266139" y="81480"/>
                  </a:cubicBezTo>
                  <a:lnTo>
                    <a:pt x="250230" y="97390"/>
                  </a:lnTo>
                  <a:cubicBezTo>
                    <a:pt x="241443" y="106176"/>
                    <a:pt x="227196" y="106176"/>
                    <a:pt x="218410" y="97390"/>
                  </a:cubicBezTo>
                  <a:cubicBezTo>
                    <a:pt x="209624" y="88603"/>
                    <a:pt x="209624" y="74357"/>
                    <a:pt x="218410" y="65570"/>
                  </a:cubicBezTo>
                  <a:close/>
                  <a:moveTo>
                    <a:pt x="218410" y="250230"/>
                  </a:moveTo>
                  <a:cubicBezTo>
                    <a:pt x="209624" y="241443"/>
                    <a:pt x="209624" y="227196"/>
                    <a:pt x="218410" y="218410"/>
                  </a:cubicBezTo>
                  <a:cubicBezTo>
                    <a:pt x="227196" y="209624"/>
                    <a:pt x="241443" y="209624"/>
                    <a:pt x="250230" y="218410"/>
                  </a:cubicBezTo>
                  <a:lnTo>
                    <a:pt x="266139" y="234320"/>
                  </a:lnTo>
                  <a:cubicBezTo>
                    <a:pt x="274926" y="243107"/>
                    <a:pt x="274926" y="257354"/>
                    <a:pt x="266139" y="266139"/>
                  </a:cubicBezTo>
                  <a:cubicBezTo>
                    <a:pt x="257354" y="274926"/>
                    <a:pt x="243107" y="274926"/>
                    <a:pt x="234320" y="266139"/>
                  </a:cubicBezTo>
                  <a:lnTo>
                    <a:pt x="218410" y="250230"/>
                  </a:lnTo>
                  <a:close/>
                  <a:moveTo>
                    <a:pt x="22500" y="135000"/>
                  </a:moveTo>
                  <a:lnTo>
                    <a:pt x="45000" y="135000"/>
                  </a:lnTo>
                  <a:cubicBezTo>
                    <a:pt x="57426" y="135000"/>
                    <a:pt x="67500" y="145074"/>
                    <a:pt x="67500" y="157500"/>
                  </a:cubicBezTo>
                  <a:cubicBezTo>
                    <a:pt x="67500" y="169926"/>
                    <a:pt x="57426" y="180000"/>
                    <a:pt x="45000" y="180000"/>
                  </a:cubicBezTo>
                  <a:lnTo>
                    <a:pt x="22500" y="180000"/>
                  </a:lnTo>
                  <a:cubicBezTo>
                    <a:pt x="10074" y="180000"/>
                    <a:pt x="0" y="169926"/>
                    <a:pt x="0" y="157500"/>
                  </a:cubicBezTo>
                  <a:cubicBezTo>
                    <a:pt x="0" y="145074"/>
                    <a:pt x="10074" y="135000"/>
                    <a:pt x="22500" y="135000"/>
                  </a:cubicBezTo>
                  <a:close/>
                  <a:moveTo>
                    <a:pt x="157500" y="0"/>
                  </a:moveTo>
                  <a:cubicBezTo>
                    <a:pt x="169926" y="0"/>
                    <a:pt x="180000" y="10074"/>
                    <a:pt x="180000" y="22500"/>
                  </a:cubicBezTo>
                  <a:lnTo>
                    <a:pt x="180000" y="45000"/>
                  </a:lnTo>
                  <a:cubicBezTo>
                    <a:pt x="180000" y="57426"/>
                    <a:pt x="169926" y="67500"/>
                    <a:pt x="157500" y="67500"/>
                  </a:cubicBezTo>
                  <a:cubicBezTo>
                    <a:pt x="145074" y="67500"/>
                    <a:pt x="135000" y="57426"/>
                    <a:pt x="135000" y="45000"/>
                  </a:cubicBezTo>
                  <a:lnTo>
                    <a:pt x="135000" y="22500"/>
                  </a:lnTo>
                  <a:cubicBezTo>
                    <a:pt x="135000" y="10074"/>
                    <a:pt x="145074" y="0"/>
                    <a:pt x="157500" y="0"/>
                  </a:cubicBezTo>
                  <a:close/>
                  <a:moveTo>
                    <a:pt x="157500" y="247500"/>
                  </a:moveTo>
                  <a:cubicBezTo>
                    <a:pt x="169926" y="247500"/>
                    <a:pt x="180000" y="257574"/>
                    <a:pt x="180000" y="270000"/>
                  </a:cubicBezTo>
                  <a:lnTo>
                    <a:pt x="180000" y="292500"/>
                  </a:lnTo>
                  <a:cubicBezTo>
                    <a:pt x="180000" y="304926"/>
                    <a:pt x="169926" y="315000"/>
                    <a:pt x="157500" y="315000"/>
                  </a:cubicBezTo>
                  <a:cubicBezTo>
                    <a:pt x="145074" y="315000"/>
                    <a:pt x="135000" y="304926"/>
                    <a:pt x="135000" y="292500"/>
                  </a:cubicBezTo>
                  <a:lnTo>
                    <a:pt x="135000" y="270000"/>
                  </a:lnTo>
                  <a:cubicBezTo>
                    <a:pt x="135000" y="257574"/>
                    <a:pt x="145074" y="247500"/>
                    <a:pt x="157500" y="247500"/>
                  </a:cubicBezTo>
                  <a:close/>
                  <a:moveTo>
                    <a:pt x="49660" y="49660"/>
                  </a:moveTo>
                  <a:cubicBezTo>
                    <a:pt x="58447" y="40873"/>
                    <a:pt x="72693" y="40873"/>
                    <a:pt x="81480" y="49660"/>
                  </a:cubicBezTo>
                  <a:lnTo>
                    <a:pt x="97390" y="65570"/>
                  </a:lnTo>
                  <a:cubicBezTo>
                    <a:pt x="106176" y="74357"/>
                    <a:pt x="106176" y="88603"/>
                    <a:pt x="97390" y="97390"/>
                  </a:cubicBezTo>
                  <a:cubicBezTo>
                    <a:pt x="88603" y="106176"/>
                    <a:pt x="74357" y="106176"/>
                    <a:pt x="65570" y="97390"/>
                  </a:cubicBezTo>
                  <a:lnTo>
                    <a:pt x="49660" y="81480"/>
                  </a:lnTo>
                  <a:cubicBezTo>
                    <a:pt x="40873" y="72693"/>
                    <a:pt x="40873" y="58447"/>
                    <a:pt x="49660" y="49660"/>
                  </a:cubicBezTo>
                  <a:close/>
                  <a:moveTo>
                    <a:pt x="49660" y="266139"/>
                  </a:moveTo>
                  <a:cubicBezTo>
                    <a:pt x="40873" y="257354"/>
                    <a:pt x="40873" y="243107"/>
                    <a:pt x="49660" y="234320"/>
                  </a:cubicBezTo>
                  <a:lnTo>
                    <a:pt x="65570" y="218410"/>
                  </a:lnTo>
                  <a:cubicBezTo>
                    <a:pt x="74357" y="209624"/>
                    <a:pt x="88603" y="209624"/>
                    <a:pt x="97390" y="218410"/>
                  </a:cubicBezTo>
                  <a:cubicBezTo>
                    <a:pt x="106176" y="227196"/>
                    <a:pt x="106176" y="241443"/>
                    <a:pt x="97390" y="250230"/>
                  </a:cubicBezTo>
                  <a:lnTo>
                    <a:pt x="81480" y="266139"/>
                  </a:lnTo>
                  <a:cubicBezTo>
                    <a:pt x="72693" y="274926"/>
                    <a:pt x="58447" y="274926"/>
                    <a:pt x="49660" y="266139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14" name="Рисунок 273">
            <a:extLst>
              <a:ext uri="{FF2B5EF4-FFF2-40B4-BE49-F238E27FC236}">
                <a16:creationId xmlns:a16="http://schemas.microsoft.com/office/drawing/2014/main" id="{1D7C1BFA-43C0-984E-B0CC-648521F2FE3E}"/>
              </a:ext>
            </a:extLst>
          </p:cNvPr>
          <p:cNvGrpSpPr/>
          <p:nvPr/>
        </p:nvGrpSpPr>
        <p:grpSpPr>
          <a:xfrm>
            <a:off x="9723467" y="3788369"/>
            <a:ext cx="360000" cy="360000"/>
            <a:chOff x="9756920" y="4105091"/>
            <a:chExt cx="360000" cy="360000"/>
          </a:xfrm>
        </p:grpSpPr>
        <p:sp>
          <p:nvSpPr>
            <p:cNvPr id="1115" name="Полилиния 1114">
              <a:extLst>
                <a:ext uri="{FF2B5EF4-FFF2-40B4-BE49-F238E27FC236}">
                  <a16:creationId xmlns:a16="http://schemas.microsoft.com/office/drawing/2014/main" id="{2D084F9B-6D38-6646-978A-A7D96C0C074B}"/>
                </a:ext>
              </a:extLst>
            </p:cNvPr>
            <p:cNvSpPr/>
            <p:nvPr/>
          </p:nvSpPr>
          <p:spPr>
            <a:xfrm>
              <a:off x="9756920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6" name="Полилиния 1115">
              <a:extLst>
                <a:ext uri="{FF2B5EF4-FFF2-40B4-BE49-F238E27FC236}">
                  <a16:creationId xmlns:a16="http://schemas.microsoft.com/office/drawing/2014/main" id="{9CB158AF-A355-2345-9CD6-FD1A9A84CB5B}"/>
                </a:ext>
              </a:extLst>
            </p:cNvPr>
            <p:cNvSpPr/>
            <p:nvPr/>
          </p:nvSpPr>
          <p:spPr>
            <a:xfrm>
              <a:off x="9876920" y="4255091"/>
              <a:ext cx="120000" cy="60000"/>
            </a:xfrm>
            <a:custGeom>
              <a:avLst/>
              <a:gdLst>
                <a:gd name="connsiteX0" fmla="*/ 0 w 120000"/>
                <a:gd name="connsiteY0" fmla="*/ 60000 h 60000"/>
                <a:gd name="connsiteX1" fmla="*/ 60000 w 120000"/>
                <a:gd name="connsiteY1" fmla="*/ 0 h 60000"/>
                <a:gd name="connsiteX2" fmla="*/ 120000 w 120000"/>
                <a:gd name="connsiteY2" fmla="*/ 60000 h 60000"/>
                <a:gd name="connsiteX3" fmla="*/ 0 w 120000"/>
                <a:gd name="connsiteY3" fmla="*/ 6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00" h="60000">
                  <a:moveTo>
                    <a:pt x="0" y="60000"/>
                  </a:moveTo>
                  <a:cubicBezTo>
                    <a:pt x="0" y="26864"/>
                    <a:pt x="26863" y="0"/>
                    <a:pt x="60000" y="0"/>
                  </a:cubicBezTo>
                  <a:cubicBezTo>
                    <a:pt x="93137" y="0"/>
                    <a:pt x="120000" y="26864"/>
                    <a:pt x="120000" y="60000"/>
                  </a:cubicBezTo>
                  <a:cubicBezTo>
                    <a:pt x="120000" y="60000"/>
                    <a:pt x="0" y="60000"/>
                    <a:pt x="0" y="6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7" name="Полилиния 1116">
              <a:extLst>
                <a:ext uri="{FF2B5EF4-FFF2-40B4-BE49-F238E27FC236}">
                  <a16:creationId xmlns:a16="http://schemas.microsoft.com/office/drawing/2014/main" id="{957A5237-841A-9040-9074-7C7C584F542A}"/>
                </a:ext>
              </a:extLst>
            </p:cNvPr>
            <p:cNvSpPr/>
            <p:nvPr/>
          </p:nvSpPr>
          <p:spPr>
            <a:xfrm>
              <a:off x="9779420" y="4142591"/>
              <a:ext cx="315000" cy="277500"/>
            </a:xfrm>
            <a:custGeom>
              <a:avLst/>
              <a:gdLst>
                <a:gd name="connsiteX0" fmla="*/ 270000 w 315000"/>
                <a:gd name="connsiteY0" fmla="*/ 127500 h 277500"/>
                <a:gd name="connsiteX1" fmla="*/ 292500 w 315000"/>
                <a:gd name="connsiteY1" fmla="*/ 127500 h 277500"/>
                <a:gd name="connsiteX2" fmla="*/ 315000 w 315000"/>
                <a:gd name="connsiteY2" fmla="*/ 150000 h 277500"/>
                <a:gd name="connsiteX3" fmla="*/ 292500 w 315000"/>
                <a:gd name="connsiteY3" fmla="*/ 172500 h 277500"/>
                <a:gd name="connsiteX4" fmla="*/ 270000 w 315000"/>
                <a:gd name="connsiteY4" fmla="*/ 172500 h 277500"/>
                <a:gd name="connsiteX5" fmla="*/ 247500 w 315000"/>
                <a:gd name="connsiteY5" fmla="*/ 150000 h 277500"/>
                <a:gd name="connsiteX6" fmla="*/ 270000 w 315000"/>
                <a:gd name="connsiteY6" fmla="*/ 127500 h 277500"/>
                <a:gd name="connsiteX7" fmla="*/ 218410 w 315000"/>
                <a:gd name="connsiteY7" fmla="*/ 65570 h 277500"/>
                <a:gd name="connsiteX8" fmla="*/ 234320 w 315000"/>
                <a:gd name="connsiteY8" fmla="*/ 49660 h 277500"/>
                <a:gd name="connsiteX9" fmla="*/ 266139 w 315000"/>
                <a:gd name="connsiteY9" fmla="*/ 49660 h 277500"/>
                <a:gd name="connsiteX10" fmla="*/ 266139 w 315000"/>
                <a:gd name="connsiteY10" fmla="*/ 81480 h 277500"/>
                <a:gd name="connsiteX11" fmla="*/ 250230 w 315000"/>
                <a:gd name="connsiteY11" fmla="*/ 97390 h 277500"/>
                <a:gd name="connsiteX12" fmla="*/ 218410 w 315000"/>
                <a:gd name="connsiteY12" fmla="*/ 97390 h 277500"/>
                <a:gd name="connsiteX13" fmla="*/ 218410 w 315000"/>
                <a:gd name="connsiteY13" fmla="*/ 65570 h 277500"/>
                <a:gd name="connsiteX14" fmla="*/ 22500 w 315000"/>
                <a:gd name="connsiteY14" fmla="*/ 127500 h 277500"/>
                <a:gd name="connsiteX15" fmla="*/ 45000 w 315000"/>
                <a:gd name="connsiteY15" fmla="*/ 127500 h 277500"/>
                <a:gd name="connsiteX16" fmla="*/ 67500 w 315000"/>
                <a:gd name="connsiteY16" fmla="*/ 150000 h 277500"/>
                <a:gd name="connsiteX17" fmla="*/ 45000 w 315000"/>
                <a:gd name="connsiteY17" fmla="*/ 172500 h 277500"/>
                <a:gd name="connsiteX18" fmla="*/ 22500 w 315000"/>
                <a:gd name="connsiteY18" fmla="*/ 172500 h 277500"/>
                <a:gd name="connsiteX19" fmla="*/ 0 w 315000"/>
                <a:gd name="connsiteY19" fmla="*/ 150000 h 277500"/>
                <a:gd name="connsiteX20" fmla="*/ 22500 w 315000"/>
                <a:gd name="connsiteY20" fmla="*/ 127500 h 277500"/>
                <a:gd name="connsiteX21" fmla="*/ 157500 w 315000"/>
                <a:gd name="connsiteY21" fmla="*/ 0 h 277500"/>
                <a:gd name="connsiteX22" fmla="*/ 180000 w 315000"/>
                <a:gd name="connsiteY22" fmla="*/ 22500 h 277500"/>
                <a:gd name="connsiteX23" fmla="*/ 180000 w 315000"/>
                <a:gd name="connsiteY23" fmla="*/ 45000 h 277500"/>
                <a:gd name="connsiteX24" fmla="*/ 157500 w 315000"/>
                <a:gd name="connsiteY24" fmla="*/ 67500 h 277500"/>
                <a:gd name="connsiteX25" fmla="*/ 135000 w 315000"/>
                <a:gd name="connsiteY25" fmla="*/ 45000 h 277500"/>
                <a:gd name="connsiteX26" fmla="*/ 135000 w 315000"/>
                <a:gd name="connsiteY26" fmla="*/ 22500 h 277500"/>
                <a:gd name="connsiteX27" fmla="*/ 157500 w 315000"/>
                <a:gd name="connsiteY27" fmla="*/ 0 h 277500"/>
                <a:gd name="connsiteX28" fmla="*/ 49660 w 315000"/>
                <a:gd name="connsiteY28" fmla="*/ 49660 h 277500"/>
                <a:gd name="connsiteX29" fmla="*/ 81480 w 315000"/>
                <a:gd name="connsiteY29" fmla="*/ 49660 h 277500"/>
                <a:gd name="connsiteX30" fmla="*/ 97390 w 315000"/>
                <a:gd name="connsiteY30" fmla="*/ 65570 h 277500"/>
                <a:gd name="connsiteX31" fmla="*/ 97390 w 315000"/>
                <a:gd name="connsiteY31" fmla="*/ 97390 h 277500"/>
                <a:gd name="connsiteX32" fmla="*/ 65570 w 315000"/>
                <a:gd name="connsiteY32" fmla="*/ 97390 h 277500"/>
                <a:gd name="connsiteX33" fmla="*/ 49660 w 315000"/>
                <a:gd name="connsiteY33" fmla="*/ 81480 h 277500"/>
                <a:gd name="connsiteX34" fmla="*/ 49660 w 315000"/>
                <a:gd name="connsiteY34" fmla="*/ 49660 h 277500"/>
                <a:gd name="connsiteX35" fmla="*/ 15000 w 315000"/>
                <a:gd name="connsiteY35" fmla="*/ 202500 h 277500"/>
                <a:gd name="connsiteX36" fmla="*/ 300000 w 315000"/>
                <a:gd name="connsiteY36" fmla="*/ 202500 h 277500"/>
                <a:gd name="connsiteX37" fmla="*/ 307500 w 315000"/>
                <a:gd name="connsiteY37" fmla="*/ 210000 h 277500"/>
                <a:gd name="connsiteX38" fmla="*/ 300000 w 315000"/>
                <a:gd name="connsiteY38" fmla="*/ 217500 h 277500"/>
                <a:gd name="connsiteX39" fmla="*/ 15000 w 315000"/>
                <a:gd name="connsiteY39" fmla="*/ 217500 h 277500"/>
                <a:gd name="connsiteX40" fmla="*/ 7500 w 315000"/>
                <a:gd name="connsiteY40" fmla="*/ 210000 h 277500"/>
                <a:gd name="connsiteX41" fmla="*/ 15000 w 315000"/>
                <a:gd name="connsiteY41" fmla="*/ 202500 h 277500"/>
                <a:gd name="connsiteX42" fmla="*/ 15000 w 315000"/>
                <a:gd name="connsiteY42" fmla="*/ 232500 h 277500"/>
                <a:gd name="connsiteX43" fmla="*/ 90000 w 315000"/>
                <a:gd name="connsiteY43" fmla="*/ 232500 h 277500"/>
                <a:gd name="connsiteX44" fmla="*/ 97500 w 315000"/>
                <a:gd name="connsiteY44" fmla="*/ 240000 h 277500"/>
                <a:gd name="connsiteX45" fmla="*/ 90000 w 315000"/>
                <a:gd name="connsiteY45" fmla="*/ 247500 h 277500"/>
                <a:gd name="connsiteX46" fmla="*/ 15000 w 315000"/>
                <a:gd name="connsiteY46" fmla="*/ 247500 h 277500"/>
                <a:gd name="connsiteX47" fmla="*/ 7500 w 315000"/>
                <a:gd name="connsiteY47" fmla="*/ 240000 h 277500"/>
                <a:gd name="connsiteX48" fmla="*/ 15000 w 315000"/>
                <a:gd name="connsiteY48" fmla="*/ 232500 h 277500"/>
                <a:gd name="connsiteX49" fmla="*/ 195000 w 315000"/>
                <a:gd name="connsiteY49" fmla="*/ 262500 h 277500"/>
                <a:gd name="connsiteX50" fmla="*/ 300000 w 315000"/>
                <a:gd name="connsiteY50" fmla="*/ 262500 h 277500"/>
                <a:gd name="connsiteX51" fmla="*/ 307500 w 315000"/>
                <a:gd name="connsiteY51" fmla="*/ 270000 h 277500"/>
                <a:gd name="connsiteX52" fmla="*/ 300000 w 315000"/>
                <a:gd name="connsiteY52" fmla="*/ 277500 h 277500"/>
                <a:gd name="connsiteX53" fmla="*/ 195000 w 315000"/>
                <a:gd name="connsiteY53" fmla="*/ 277500 h 277500"/>
                <a:gd name="connsiteX54" fmla="*/ 187500 w 315000"/>
                <a:gd name="connsiteY54" fmla="*/ 270000 h 277500"/>
                <a:gd name="connsiteX55" fmla="*/ 195000 w 315000"/>
                <a:gd name="connsiteY55" fmla="*/ 262500 h 277500"/>
                <a:gd name="connsiteX56" fmla="*/ 120000 w 315000"/>
                <a:gd name="connsiteY56" fmla="*/ 232500 h 277500"/>
                <a:gd name="connsiteX57" fmla="*/ 300000 w 315000"/>
                <a:gd name="connsiteY57" fmla="*/ 232500 h 277500"/>
                <a:gd name="connsiteX58" fmla="*/ 307500 w 315000"/>
                <a:gd name="connsiteY58" fmla="*/ 240000 h 277500"/>
                <a:gd name="connsiteX59" fmla="*/ 300000 w 315000"/>
                <a:gd name="connsiteY59" fmla="*/ 247500 h 277500"/>
                <a:gd name="connsiteX60" fmla="*/ 120000 w 315000"/>
                <a:gd name="connsiteY60" fmla="*/ 247500 h 277500"/>
                <a:gd name="connsiteX61" fmla="*/ 112500 w 315000"/>
                <a:gd name="connsiteY61" fmla="*/ 240000 h 277500"/>
                <a:gd name="connsiteX62" fmla="*/ 120000 w 315000"/>
                <a:gd name="connsiteY62" fmla="*/ 232500 h 277500"/>
                <a:gd name="connsiteX63" fmla="*/ 15000 w 315000"/>
                <a:gd name="connsiteY63" fmla="*/ 262500 h 277500"/>
                <a:gd name="connsiteX64" fmla="*/ 165000 w 315000"/>
                <a:gd name="connsiteY64" fmla="*/ 262500 h 277500"/>
                <a:gd name="connsiteX65" fmla="*/ 172500 w 315000"/>
                <a:gd name="connsiteY65" fmla="*/ 270000 h 277500"/>
                <a:gd name="connsiteX66" fmla="*/ 165000 w 315000"/>
                <a:gd name="connsiteY66" fmla="*/ 277500 h 277500"/>
                <a:gd name="connsiteX67" fmla="*/ 15000 w 315000"/>
                <a:gd name="connsiteY67" fmla="*/ 277500 h 277500"/>
                <a:gd name="connsiteX68" fmla="*/ 7500 w 315000"/>
                <a:gd name="connsiteY68" fmla="*/ 270000 h 277500"/>
                <a:gd name="connsiteX69" fmla="*/ 15000 w 315000"/>
                <a:gd name="connsiteY69" fmla="*/ 262500 h 27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315000" h="277500">
                  <a:moveTo>
                    <a:pt x="270000" y="127500"/>
                  </a:moveTo>
                  <a:lnTo>
                    <a:pt x="292500" y="127500"/>
                  </a:lnTo>
                  <a:cubicBezTo>
                    <a:pt x="304926" y="127500"/>
                    <a:pt x="315000" y="137574"/>
                    <a:pt x="315000" y="150000"/>
                  </a:cubicBezTo>
                  <a:cubicBezTo>
                    <a:pt x="315000" y="162426"/>
                    <a:pt x="304926" y="172500"/>
                    <a:pt x="292500" y="172500"/>
                  </a:cubicBezTo>
                  <a:lnTo>
                    <a:pt x="270000" y="172500"/>
                  </a:lnTo>
                  <a:cubicBezTo>
                    <a:pt x="257574" y="172500"/>
                    <a:pt x="247500" y="162426"/>
                    <a:pt x="247500" y="150000"/>
                  </a:cubicBezTo>
                  <a:cubicBezTo>
                    <a:pt x="247500" y="137574"/>
                    <a:pt x="257574" y="127500"/>
                    <a:pt x="270000" y="127500"/>
                  </a:cubicBezTo>
                  <a:close/>
                  <a:moveTo>
                    <a:pt x="218410" y="65570"/>
                  </a:moveTo>
                  <a:lnTo>
                    <a:pt x="234320" y="49660"/>
                  </a:lnTo>
                  <a:cubicBezTo>
                    <a:pt x="243107" y="40873"/>
                    <a:pt x="257354" y="40873"/>
                    <a:pt x="266139" y="49660"/>
                  </a:cubicBezTo>
                  <a:cubicBezTo>
                    <a:pt x="274926" y="58447"/>
                    <a:pt x="274926" y="72693"/>
                    <a:pt x="266139" y="81480"/>
                  </a:cubicBezTo>
                  <a:lnTo>
                    <a:pt x="250230" y="97390"/>
                  </a:lnTo>
                  <a:cubicBezTo>
                    <a:pt x="241443" y="106176"/>
                    <a:pt x="227196" y="106176"/>
                    <a:pt x="218410" y="97390"/>
                  </a:cubicBezTo>
                  <a:cubicBezTo>
                    <a:pt x="209624" y="88603"/>
                    <a:pt x="209624" y="74357"/>
                    <a:pt x="218410" y="65570"/>
                  </a:cubicBezTo>
                  <a:close/>
                  <a:moveTo>
                    <a:pt x="22500" y="127500"/>
                  </a:moveTo>
                  <a:lnTo>
                    <a:pt x="45000" y="127500"/>
                  </a:lnTo>
                  <a:cubicBezTo>
                    <a:pt x="57426" y="127500"/>
                    <a:pt x="67500" y="137574"/>
                    <a:pt x="67500" y="150000"/>
                  </a:cubicBezTo>
                  <a:cubicBezTo>
                    <a:pt x="67500" y="162426"/>
                    <a:pt x="57426" y="172500"/>
                    <a:pt x="45000" y="172500"/>
                  </a:cubicBezTo>
                  <a:lnTo>
                    <a:pt x="22500" y="172500"/>
                  </a:lnTo>
                  <a:cubicBezTo>
                    <a:pt x="10074" y="172500"/>
                    <a:pt x="0" y="162426"/>
                    <a:pt x="0" y="150000"/>
                  </a:cubicBezTo>
                  <a:cubicBezTo>
                    <a:pt x="0" y="137574"/>
                    <a:pt x="10074" y="127500"/>
                    <a:pt x="22500" y="127500"/>
                  </a:cubicBezTo>
                  <a:close/>
                  <a:moveTo>
                    <a:pt x="157500" y="0"/>
                  </a:moveTo>
                  <a:cubicBezTo>
                    <a:pt x="169926" y="0"/>
                    <a:pt x="180000" y="10074"/>
                    <a:pt x="180000" y="22500"/>
                  </a:cubicBezTo>
                  <a:lnTo>
                    <a:pt x="180000" y="45000"/>
                  </a:lnTo>
                  <a:cubicBezTo>
                    <a:pt x="180000" y="57426"/>
                    <a:pt x="169926" y="67500"/>
                    <a:pt x="157500" y="67500"/>
                  </a:cubicBezTo>
                  <a:cubicBezTo>
                    <a:pt x="145074" y="67500"/>
                    <a:pt x="135000" y="57426"/>
                    <a:pt x="135000" y="45000"/>
                  </a:cubicBezTo>
                  <a:lnTo>
                    <a:pt x="135000" y="22500"/>
                  </a:lnTo>
                  <a:cubicBezTo>
                    <a:pt x="135000" y="10074"/>
                    <a:pt x="145074" y="0"/>
                    <a:pt x="157500" y="0"/>
                  </a:cubicBezTo>
                  <a:close/>
                  <a:moveTo>
                    <a:pt x="49660" y="49660"/>
                  </a:moveTo>
                  <a:cubicBezTo>
                    <a:pt x="58447" y="40873"/>
                    <a:pt x="72693" y="40873"/>
                    <a:pt x="81480" y="49660"/>
                  </a:cubicBezTo>
                  <a:lnTo>
                    <a:pt x="97390" y="65570"/>
                  </a:lnTo>
                  <a:cubicBezTo>
                    <a:pt x="106176" y="74357"/>
                    <a:pt x="106176" y="88603"/>
                    <a:pt x="97390" y="97390"/>
                  </a:cubicBezTo>
                  <a:cubicBezTo>
                    <a:pt x="88603" y="106176"/>
                    <a:pt x="74357" y="106176"/>
                    <a:pt x="65570" y="97390"/>
                  </a:cubicBezTo>
                  <a:lnTo>
                    <a:pt x="49660" y="81480"/>
                  </a:lnTo>
                  <a:cubicBezTo>
                    <a:pt x="40873" y="72693"/>
                    <a:pt x="40873" y="58447"/>
                    <a:pt x="49660" y="49660"/>
                  </a:cubicBezTo>
                  <a:close/>
                  <a:moveTo>
                    <a:pt x="15000" y="202500"/>
                  </a:moveTo>
                  <a:lnTo>
                    <a:pt x="300000" y="202500"/>
                  </a:lnTo>
                  <a:cubicBezTo>
                    <a:pt x="304142" y="202500"/>
                    <a:pt x="307500" y="205859"/>
                    <a:pt x="307500" y="210000"/>
                  </a:cubicBezTo>
                  <a:cubicBezTo>
                    <a:pt x="307500" y="214142"/>
                    <a:pt x="304142" y="217500"/>
                    <a:pt x="300000" y="217500"/>
                  </a:cubicBezTo>
                  <a:lnTo>
                    <a:pt x="15000" y="217500"/>
                  </a:lnTo>
                  <a:cubicBezTo>
                    <a:pt x="10858" y="217500"/>
                    <a:pt x="7500" y="214142"/>
                    <a:pt x="7500" y="210000"/>
                  </a:cubicBezTo>
                  <a:cubicBezTo>
                    <a:pt x="7500" y="205859"/>
                    <a:pt x="10858" y="202500"/>
                    <a:pt x="15000" y="202500"/>
                  </a:cubicBezTo>
                  <a:close/>
                  <a:moveTo>
                    <a:pt x="15000" y="232500"/>
                  </a:moveTo>
                  <a:lnTo>
                    <a:pt x="90000" y="232500"/>
                  </a:lnTo>
                  <a:cubicBezTo>
                    <a:pt x="94142" y="232500"/>
                    <a:pt x="97500" y="235859"/>
                    <a:pt x="97500" y="240000"/>
                  </a:cubicBezTo>
                  <a:cubicBezTo>
                    <a:pt x="97500" y="244142"/>
                    <a:pt x="94142" y="247500"/>
                    <a:pt x="90000" y="247500"/>
                  </a:cubicBezTo>
                  <a:lnTo>
                    <a:pt x="15000" y="247500"/>
                  </a:lnTo>
                  <a:cubicBezTo>
                    <a:pt x="10858" y="247500"/>
                    <a:pt x="7500" y="244142"/>
                    <a:pt x="7500" y="240000"/>
                  </a:cubicBezTo>
                  <a:cubicBezTo>
                    <a:pt x="7500" y="235859"/>
                    <a:pt x="10858" y="232500"/>
                    <a:pt x="15000" y="232500"/>
                  </a:cubicBezTo>
                  <a:close/>
                  <a:moveTo>
                    <a:pt x="195000" y="262500"/>
                  </a:moveTo>
                  <a:lnTo>
                    <a:pt x="300000" y="262500"/>
                  </a:lnTo>
                  <a:cubicBezTo>
                    <a:pt x="304142" y="262500"/>
                    <a:pt x="307500" y="265859"/>
                    <a:pt x="307500" y="270000"/>
                  </a:cubicBezTo>
                  <a:cubicBezTo>
                    <a:pt x="307500" y="274142"/>
                    <a:pt x="304142" y="277500"/>
                    <a:pt x="300000" y="277500"/>
                  </a:cubicBezTo>
                  <a:lnTo>
                    <a:pt x="195000" y="277500"/>
                  </a:lnTo>
                  <a:cubicBezTo>
                    <a:pt x="190859" y="277500"/>
                    <a:pt x="187500" y="274142"/>
                    <a:pt x="187500" y="270000"/>
                  </a:cubicBezTo>
                  <a:cubicBezTo>
                    <a:pt x="187500" y="265859"/>
                    <a:pt x="190859" y="262500"/>
                    <a:pt x="195000" y="262500"/>
                  </a:cubicBezTo>
                  <a:close/>
                  <a:moveTo>
                    <a:pt x="120000" y="232500"/>
                  </a:moveTo>
                  <a:lnTo>
                    <a:pt x="300000" y="232500"/>
                  </a:lnTo>
                  <a:cubicBezTo>
                    <a:pt x="304142" y="232500"/>
                    <a:pt x="307500" y="235859"/>
                    <a:pt x="307500" y="240000"/>
                  </a:cubicBezTo>
                  <a:cubicBezTo>
                    <a:pt x="307500" y="244142"/>
                    <a:pt x="304142" y="247500"/>
                    <a:pt x="300000" y="247500"/>
                  </a:cubicBezTo>
                  <a:lnTo>
                    <a:pt x="120000" y="247500"/>
                  </a:lnTo>
                  <a:cubicBezTo>
                    <a:pt x="115858" y="247500"/>
                    <a:pt x="112500" y="244142"/>
                    <a:pt x="112500" y="240000"/>
                  </a:cubicBezTo>
                  <a:cubicBezTo>
                    <a:pt x="112500" y="235859"/>
                    <a:pt x="115858" y="232500"/>
                    <a:pt x="120000" y="232500"/>
                  </a:cubicBezTo>
                  <a:close/>
                  <a:moveTo>
                    <a:pt x="15000" y="262500"/>
                  </a:moveTo>
                  <a:lnTo>
                    <a:pt x="165000" y="262500"/>
                  </a:lnTo>
                  <a:cubicBezTo>
                    <a:pt x="169142" y="262500"/>
                    <a:pt x="172500" y="265859"/>
                    <a:pt x="172500" y="270000"/>
                  </a:cubicBezTo>
                  <a:cubicBezTo>
                    <a:pt x="172500" y="274142"/>
                    <a:pt x="169142" y="277500"/>
                    <a:pt x="165000" y="277500"/>
                  </a:cubicBezTo>
                  <a:lnTo>
                    <a:pt x="15000" y="277500"/>
                  </a:lnTo>
                  <a:cubicBezTo>
                    <a:pt x="10858" y="277500"/>
                    <a:pt x="7500" y="274142"/>
                    <a:pt x="7500" y="270000"/>
                  </a:cubicBezTo>
                  <a:cubicBezTo>
                    <a:pt x="7500" y="265859"/>
                    <a:pt x="10858" y="262500"/>
                    <a:pt x="15000" y="262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18" name="Рисунок 274">
            <a:extLst>
              <a:ext uri="{FF2B5EF4-FFF2-40B4-BE49-F238E27FC236}">
                <a16:creationId xmlns:a16="http://schemas.microsoft.com/office/drawing/2014/main" id="{F5F537DC-A0BD-B743-ACB2-8EAF6B53D0BD}"/>
              </a:ext>
            </a:extLst>
          </p:cNvPr>
          <p:cNvGrpSpPr/>
          <p:nvPr/>
        </p:nvGrpSpPr>
        <p:grpSpPr>
          <a:xfrm>
            <a:off x="10478600" y="3788369"/>
            <a:ext cx="360000" cy="360000"/>
            <a:chOff x="10512053" y="4105091"/>
            <a:chExt cx="360000" cy="360000"/>
          </a:xfrm>
        </p:grpSpPr>
        <p:sp>
          <p:nvSpPr>
            <p:cNvPr id="1119" name="Полилиния 1118">
              <a:extLst>
                <a:ext uri="{FF2B5EF4-FFF2-40B4-BE49-F238E27FC236}">
                  <a16:creationId xmlns:a16="http://schemas.microsoft.com/office/drawing/2014/main" id="{2ECE4EE8-7E2D-7643-98A1-68D42E1592D8}"/>
                </a:ext>
              </a:extLst>
            </p:cNvPr>
            <p:cNvSpPr/>
            <p:nvPr/>
          </p:nvSpPr>
          <p:spPr>
            <a:xfrm>
              <a:off x="10512053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0" name="Полилиния 1119">
              <a:extLst>
                <a:ext uri="{FF2B5EF4-FFF2-40B4-BE49-F238E27FC236}">
                  <a16:creationId xmlns:a16="http://schemas.microsoft.com/office/drawing/2014/main" id="{E32A244A-EBE6-2B4C-8DA6-1E136710EFEE}"/>
                </a:ext>
              </a:extLst>
            </p:cNvPr>
            <p:cNvSpPr/>
            <p:nvPr/>
          </p:nvSpPr>
          <p:spPr>
            <a:xfrm>
              <a:off x="10532343" y="4226365"/>
              <a:ext cx="319418" cy="132860"/>
            </a:xfrm>
            <a:custGeom>
              <a:avLst/>
              <a:gdLst>
                <a:gd name="connsiteX0" fmla="*/ 128126 w 319418"/>
                <a:gd name="connsiteY0" fmla="*/ 132860 h 132860"/>
                <a:gd name="connsiteX1" fmla="*/ 101293 w 319418"/>
                <a:gd name="connsiteY1" fmla="*/ 119443 h 132860"/>
                <a:gd name="connsiteX2" fmla="*/ 188917 w 319418"/>
                <a:gd name="connsiteY2" fmla="*/ 90235 h 132860"/>
                <a:gd name="connsiteX3" fmla="*/ 218125 w 319418"/>
                <a:gd name="connsiteY3" fmla="*/ 119443 h 132860"/>
                <a:gd name="connsiteX4" fmla="*/ 191293 w 319418"/>
                <a:gd name="connsiteY4" fmla="*/ 132860 h 132860"/>
                <a:gd name="connsiteX5" fmla="*/ 175501 w 319418"/>
                <a:gd name="connsiteY5" fmla="*/ 117068 h 132860"/>
                <a:gd name="connsiteX6" fmla="*/ 128126 w 319418"/>
                <a:gd name="connsiteY6" fmla="*/ 132860 h 132860"/>
                <a:gd name="connsiteX7" fmla="*/ 308298 w 319418"/>
                <a:gd name="connsiteY7" fmla="*/ 515 h 132860"/>
                <a:gd name="connsiteX8" fmla="*/ 318904 w 319418"/>
                <a:gd name="connsiteY8" fmla="*/ 18886 h 132860"/>
                <a:gd name="connsiteX9" fmla="*/ 294196 w 319418"/>
                <a:gd name="connsiteY9" fmla="*/ 111098 h 132860"/>
                <a:gd name="connsiteX10" fmla="*/ 275824 w 319418"/>
                <a:gd name="connsiteY10" fmla="*/ 121705 h 132860"/>
                <a:gd name="connsiteX11" fmla="*/ 265218 w 319418"/>
                <a:gd name="connsiteY11" fmla="*/ 103333 h 132860"/>
                <a:gd name="connsiteX12" fmla="*/ 289926 w 319418"/>
                <a:gd name="connsiteY12" fmla="*/ 11121 h 132860"/>
                <a:gd name="connsiteX13" fmla="*/ 308298 w 319418"/>
                <a:gd name="connsiteY13" fmla="*/ 515 h 132860"/>
                <a:gd name="connsiteX14" fmla="*/ 11121 w 319418"/>
                <a:gd name="connsiteY14" fmla="*/ 515 h 132860"/>
                <a:gd name="connsiteX15" fmla="*/ 29493 w 319418"/>
                <a:gd name="connsiteY15" fmla="*/ 11121 h 132860"/>
                <a:gd name="connsiteX16" fmla="*/ 52786 w 319418"/>
                <a:gd name="connsiteY16" fmla="*/ 98054 h 132860"/>
                <a:gd name="connsiteX17" fmla="*/ 42180 w 319418"/>
                <a:gd name="connsiteY17" fmla="*/ 116426 h 132860"/>
                <a:gd name="connsiteX18" fmla="*/ 23809 w 319418"/>
                <a:gd name="connsiteY18" fmla="*/ 105820 h 132860"/>
                <a:gd name="connsiteX19" fmla="*/ 515 w 319418"/>
                <a:gd name="connsiteY19" fmla="*/ 18886 h 132860"/>
                <a:gd name="connsiteX20" fmla="*/ 11121 w 319418"/>
                <a:gd name="connsiteY20" fmla="*/ 515 h 132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9418" h="132860">
                  <a:moveTo>
                    <a:pt x="128126" y="132860"/>
                  </a:moveTo>
                  <a:lnTo>
                    <a:pt x="101293" y="119443"/>
                  </a:lnTo>
                  <a:cubicBezTo>
                    <a:pt x="117424" y="87181"/>
                    <a:pt x="156655" y="74104"/>
                    <a:pt x="188917" y="90235"/>
                  </a:cubicBezTo>
                  <a:cubicBezTo>
                    <a:pt x="201558" y="96554"/>
                    <a:pt x="211806" y="106804"/>
                    <a:pt x="218125" y="119443"/>
                  </a:cubicBezTo>
                  <a:lnTo>
                    <a:pt x="191293" y="132860"/>
                  </a:lnTo>
                  <a:cubicBezTo>
                    <a:pt x="187876" y="126026"/>
                    <a:pt x="182335" y="120485"/>
                    <a:pt x="175501" y="117068"/>
                  </a:cubicBezTo>
                  <a:cubicBezTo>
                    <a:pt x="158058" y="108346"/>
                    <a:pt x="136848" y="115417"/>
                    <a:pt x="128126" y="132860"/>
                  </a:cubicBezTo>
                  <a:close/>
                  <a:moveTo>
                    <a:pt x="308298" y="515"/>
                  </a:moveTo>
                  <a:cubicBezTo>
                    <a:pt x="316299" y="2659"/>
                    <a:pt x="321048" y="10884"/>
                    <a:pt x="318904" y="18886"/>
                  </a:cubicBezTo>
                  <a:lnTo>
                    <a:pt x="294196" y="111098"/>
                  </a:lnTo>
                  <a:cubicBezTo>
                    <a:pt x="292051" y="119099"/>
                    <a:pt x="283827" y="123848"/>
                    <a:pt x="275824" y="121705"/>
                  </a:cubicBezTo>
                  <a:cubicBezTo>
                    <a:pt x="267823" y="119560"/>
                    <a:pt x="263074" y="111335"/>
                    <a:pt x="265218" y="103333"/>
                  </a:cubicBezTo>
                  <a:lnTo>
                    <a:pt x="289926" y="11121"/>
                  </a:lnTo>
                  <a:cubicBezTo>
                    <a:pt x="292071" y="3119"/>
                    <a:pt x="300295" y="-1629"/>
                    <a:pt x="308298" y="515"/>
                  </a:cubicBezTo>
                  <a:close/>
                  <a:moveTo>
                    <a:pt x="11121" y="515"/>
                  </a:moveTo>
                  <a:cubicBezTo>
                    <a:pt x="19123" y="-1629"/>
                    <a:pt x="27349" y="3119"/>
                    <a:pt x="29493" y="11121"/>
                  </a:cubicBezTo>
                  <a:lnTo>
                    <a:pt x="52786" y="98054"/>
                  </a:lnTo>
                  <a:cubicBezTo>
                    <a:pt x="54930" y="106057"/>
                    <a:pt x="50182" y="114281"/>
                    <a:pt x="42180" y="116426"/>
                  </a:cubicBezTo>
                  <a:cubicBezTo>
                    <a:pt x="34178" y="118570"/>
                    <a:pt x="25953" y="113821"/>
                    <a:pt x="23809" y="105820"/>
                  </a:cubicBezTo>
                  <a:lnTo>
                    <a:pt x="515" y="18886"/>
                  </a:lnTo>
                  <a:cubicBezTo>
                    <a:pt x="-1629" y="10884"/>
                    <a:pt x="3119" y="2659"/>
                    <a:pt x="11121" y="515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1" name="Полилиния 1120">
              <a:extLst>
                <a:ext uri="{FF2B5EF4-FFF2-40B4-BE49-F238E27FC236}">
                  <a16:creationId xmlns:a16="http://schemas.microsoft.com/office/drawing/2014/main" id="{A49A4587-3289-F742-B13F-4DD1B3947A17}"/>
                </a:ext>
              </a:extLst>
            </p:cNvPr>
            <p:cNvSpPr/>
            <p:nvPr/>
          </p:nvSpPr>
          <p:spPr>
            <a:xfrm>
              <a:off x="10542053" y="4270091"/>
              <a:ext cx="300000" cy="135000"/>
            </a:xfrm>
            <a:custGeom>
              <a:avLst/>
              <a:gdLst>
                <a:gd name="connsiteX0" fmla="*/ 67500 w 300000"/>
                <a:gd name="connsiteY0" fmla="*/ 135000 h 135000"/>
                <a:gd name="connsiteX1" fmla="*/ 0 w 300000"/>
                <a:gd name="connsiteY1" fmla="*/ 67500 h 135000"/>
                <a:gd name="connsiteX2" fmla="*/ 67500 w 300000"/>
                <a:gd name="connsiteY2" fmla="*/ 0 h 135000"/>
                <a:gd name="connsiteX3" fmla="*/ 135000 w 300000"/>
                <a:gd name="connsiteY3" fmla="*/ 67500 h 135000"/>
                <a:gd name="connsiteX4" fmla="*/ 67500 w 300000"/>
                <a:gd name="connsiteY4" fmla="*/ 135000 h 135000"/>
                <a:gd name="connsiteX5" fmla="*/ 232500 w 300000"/>
                <a:gd name="connsiteY5" fmla="*/ 135000 h 135000"/>
                <a:gd name="connsiteX6" fmla="*/ 165000 w 300000"/>
                <a:gd name="connsiteY6" fmla="*/ 67500 h 135000"/>
                <a:gd name="connsiteX7" fmla="*/ 232500 w 300000"/>
                <a:gd name="connsiteY7" fmla="*/ 0 h 135000"/>
                <a:gd name="connsiteX8" fmla="*/ 300000 w 300000"/>
                <a:gd name="connsiteY8" fmla="*/ 67500 h 135000"/>
                <a:gd name="connsiteX9" fmla="*/ 232500 w 300000"/>
                <a:gd name="connsiteY9" fmla="*/ 135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0000" h="135000">
                  <a:moveTo>
                    <a:pt x="67500" y="135000"/>
                  </a:moveTo>
                  <a:cubicBezTo>
                    <a:pt x="30221" y="135000"/>
                    <a:pt x="0" y="104780"/>
                    <a:pt x="0" y="67500"/>
                  </a:cubicBezTo>
                  <a:cubicBezTo>
                    <a:pt x="0" y="30221"/>
                    <a:pt x="30221" y="0"/>
                    <a:pt x="67500" y="0"/>
                  </a:cubicBezTo>
                  <a:cubicBezTo>
                    <a:pt x="104779" y="0"/>
                    <a:pt x="135000" y="30221"/>
                    <a:pt x="135000" y="67500"/>
                  </a:cubicBezTo>
                  <a:cubicBezTo>
                    <a:pt x="135000" y="104780"/>
                    <a:pt x="104779" y="135000"/>
                    <a:pt x="67500" y="135000"/>
                  </a:cubicBezTo>
                  <a:close/>
                  <a:moveTo>
                    <a:pt x="232500" y="135000"/>
                  </a:moveTo>
                  <a:cubicBezTo>
                    <a:pt x="195221" y="135000"/>
                    <a:pt x="165000" y="104780"/>
                    <a:pt x="165000" y="67500"/>
                  </a:cubicBezTo>
                  <a:cubicBezTo>
                    <a:pt x="165000" y="30221"/>
                    <a:pt x="195221" y="0"/>
                    <a:pt x="232500" y="0"/>
                  </a:cubicBezTo>
                  <a:cubicBezTo>
                    <a:pt x="269780" y="0"/>
                    <a:pt x="300000" y="30221"/>
                    <a:pt x="300000" y="67500"/>
                  </a:cubicBezTo>
                  <a:cubicBezTo>
                    <a:pt x="300000" y="104780"/>
                    <a:pt x="269780" y="135000"/>
                    <a:pt x="232500" y="13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22" name="Рисунок 275">
            <a:extLst>
              <a:ext uri="{FF2B5EF4-FFF2-40B4-BE49-F238E27FC236}">
                <a16:creationId xmlns:a16="http://schemas.microsoft.com/office/drawing/2014/main" id="{FB933B88-447F-5D41-9E65-5A0339CDC68C}"/>
              </a:ext>
            </a:extLst>
          </p:cNvPr>
          <p:cNvGrpSpPr/>
          <p:nvPr/>
        </p:nvGrpSpPr>
        <p:grpSpPr>
          <a:xfrm>
            <a:off x="8213201" y="3788369"/>
            <a:ext cx="360000" cy="360000"/>
            <a:chOff x="8246654" y="4105091"/>
            <a:chExt cx="360000" cy="360000"/>
          </a:xfrm>
        </p:grpSpPr>
        <p:sp>
          <p:nvSpPr>
            <p:cNvPr id="1123" name="Полилиния 1122">
              <a:extLst>
                <a:ext uri="{FF2B5EF4-FFF2-40B4-BE49-F238E27FC236}">
                  <a16:creationId xmlns:a16="http://schemas.microsoft.com/office/drawing/2014/main" id="{170BFE84-5F79-A842-9BA0-57899F3C3887}"/>
                </a:ext>
              </a:extLst>
            </p:cNvPr>
            <p:cNvSpPr/>
            <p:nvPr/>
          </p:nvSpPr>
          <p:spPr>
            <a:xfrm>
              <a:off x="8246654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4" name="Полилиния 1123">
              <a:extLst>
                <a:ext uri="{FF2B5EF4-FFF2-40B4-BE49-F238E27FC236}">
                  <a16:creationId xmlns:a16="http://schemas.microsoft.com/office/drawing/2014/main" id="{CC034511-4FF6-5348-800C-E66BA4EE2E50}"/>
                </a:ext>
              </a:extLst>
            </p:cNvPr>
            <p:cNvSpPr/>
            <p:nvPr/>
          </p:nvSpPr>
          <p:spPr>
            <a:xfrm>
              <a:off x="8291654" y="4285091"/>
              <a:ext cx="270000" cy="120000"/>
            </a:xfrm>
            <a:custGeom>
              <a:avLst/>
              <a:gdLst>
                <a:gd name="connsiteX0" fmla="*/ 75000 w 270000"/>
                <a:gd name="connsiteY0" fmla="*/ 60000 h 120000"/>
                <a:gd name="connsiteX1" fmla="*/ 135000 w 270000"/>
                <a:gd name="connsiteY1" fmla="*/ 0 h 120000"/>
                <a:gd name="connsiteX2" fmla="*/ 195000 w 270000"/>
                <a:gd name="connsiteY2" fmla="*/ 60000 h 120000"/>
                <a:gd name="connsiteX3" fmla="*/ 75000 w 270000"/>
                <a:gd name="connsiteY3" fmla="*/ 60000 h 120000"/>
                <a:gd name="connsiteX4" fmla="*/ 15000 w 270000"/>
                <a:gd name="connsiteY4" fmla="*/ 90000 h 120000"/>
                <a:gd name="connsiteX5" fmla="*/ 255000 w 270000"/>
                <a:gd name="connsiteY5" fmla="*/ 90000 h 120000"/>
                <a:gd name="connsiteX6" fmla="*/ 270000 w 270000"/>
                <a:gd name="connsiteY6" fmla="*/ 105000 h 120000"/>
                <a:gd name="connsiteX7" fmla="*/ 255000 w 270000"/>
                <a:gd name="connsiteY7" fmla="*/ 120000 h 120000"/>
                <a:gd name="connsiteX8" fmla="*/ 15000 w 270000"/>
                <a:gd name="connsiteY8" fmla="*/ 120000 h 120000"/>
                <a:gd name="connsiteX9" fmla="*/ 0 w 270000"/>
                <a:gd name="connsiteY9" fmla="*/ 105000 h 120000"/>
                <a:gd name="connsiteX10" fmla="*/ 15000 w 270000"/>
                <a:gd name="connsiteY10" fmla="*/ 9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0000" h="120000">
                  <a:moveTo>
                    <a:pt x="75000" y="60000"/>
                  </a:moveTo>
                  <a:cubicBezTo>
                    <a:pt x="75000" y="26864"/>
                    <a:pt x="101863" y="0"/>
                    <a:pt x="135000" y="0"/>
                  </a:cubicBezTo>
                  <a:cubicBezTo>
                    <a:pt x="168137" y="0"/>
                    <a:pt x="195000" y="26864"/>
                    <a:pt x="195000" y="60000"/>
                  </a:cubicBezTo>
                  <a:cubicBezTo>
                    <a:pt x="195000" y="60000"/>
                    <a:pt x="75000" y="60000"/>
                    <a:pt x="75000" y="60000"/>
                  </a:cubicBezTo>
                  <a:close/>
                  <a:moveTo>
                    <a:pt x="15000" y="90000"/>
                  </a:moveTo>
                  <a:lnTo>
                    <a:pt x="255000" y="90000"/>
                  </a:lnTo>
                  <a:cubicBezTo>
                    <a:pt x="263285" y="90000"/>
                    <a:pt x="270000" y="96716"/>
                    <a:pt x="270000" y="105000"/>
                  </a:cubicBezTo>
                  <a:cubicBezTo>
                    <a:pt x="270000" y="113284"/>
                    <a:pt x="263285" y="120000"/>
                    <a:pt x="255000" y="120000"/>
                  </a:cubicBezTo>
                  <a:lnTo>
                    <a:pt x="15000" y="120000"/>
                  </a:lnTo>
                  <a:cubicBezTo>
                    <a:pt x="6716" y="120000"/>
                    <a:pt x="0" y="113284"/>
                    <a:pt x="0" y="105000"/>
                  </a:cubicBezTo>
                  <a:cubicBezTo>
                    <a:pt x="0" y="96716"/>
                    <a:pt x="6716" y="90000"/>
                    <a:pt x="15000" y="9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5" name="Полилиния 1124">
              <a:extLst>
                <a:ext uri="{FF2B5EF4-FFF2-40B4-BE49-F238E27FC236}">
                  <a16:creationId xmlns:a16="http://schemas.microsoft.com/office/drawing/2014/main" id="{E0276E8D-9E5E-E045-8351-F9BB4779FDD5}"/>
                </a:ext>
              </a:extLst>
            </p:cNvPr>
            <p:cNvSpPr/>
            <p:nvPr/>
          </p:nvSpPr>
          <p:spPr>
            <a:xfrm>
              <a:off x="8269154" y="4172591"/>
              <a:ext cx="315000" cy="172500"/>
            </a:xfrm>
            <a:custGeom>
              <a:avLst/>
              <a:gdLst>
                <a:gd name="connsiteX0" fmla="*/ 270000 w 315000"/>
                <a:gd name="connsiteY0" fmla="*/ 127500 h 172500"/>
                <a:gd name="connsiteX1" fmla="*/ 292500 w 315000"/>
                <a:gd name="connsiteY1" fmla="*/ 127500 h 172500"/>
                <a:gd name="connsiteX2" fmla="*/ 315000 w 315000"/>
                <a:gd name="connsiteY2" fmla="*/ 150000 h 172500"/>
                <a:gd name="connsiteX3" fmla="*/ 292500 w 315000"/>
                <a:gd name="connsiteY3" fmla="*/ 172500 h 172500"/>
                <a:gd name="connsiteX4" fmla="*/ 270000 w 315000"/>
                <a:gd name="connsiteY4" fmla="*/ 172500 h 172500"/>
                <a:gd name="connsiteX5" fmla="*/ 247500 w 315000"/>
                <a:gd name="connsiteY5" fmla="*/ 150000 h 172500"/>
                <a:gd name="connsiteX6" fmla="*/ 270000 w 315000"/>
                <a:gd name="connsiteY6" fmla="*/ 127500 h 172500"/>
                <a:gd name="connsiteX7" fmla="*/ 218410 w 315000"/>
                <a:gd name="connsiteY7" fmla="*/ 65570 h 172500"/>
                <a:gd name="connsiteX8" fmla="*/ 234320 w 315000"/>
                <a:gd name="connsiteY8" fmla="*/ 49660 h 172500"/>
                <a:gd name="connsiteX9" fmla="*/ 266139 w 315000"/>
                <a:gd name="connsiteY9" fmla="*/ 49660 h 172500"/>
                <a:gd name="connsiteX10" fmla="*/ 266139 w 315000"/>
                <a:gd name="connsiteY10" fmla="*/ 81480 h 172500"/>
                <a:gd name="connsiteX11" fmla="*/ 250230 w 315000"/>
                <a:gd name="connsiteY11" fmla="*/ 97389 h 172500"/>
                <a:gd name="connsiteX12" fmla="*/ 218410 w 315000"/>
                <a:gd name="connsiteY12" fmla="*/ 97389 h 172500"/>
                <a:gd name="connsiteX13" fmla="*/ 218410 w 315000"/>
                <a:gd name="connsiteY13" fmla="*/ 65570 h 172500"/>
                <a:gd name="connsiteX14" fmla="*/ 22500 w 315000"/>
                <a:gd name="connsiteY14" fmla="*/ 127500 h 172500"/>
                <a:gd name="connsiteX15" fmla="*/ 45000 w 315000"/>
                <a:gd name="connsiteY15" fmla="*/ 127500 h 172500"/>
                <a:gd name="connsiteX16" fmla="*/ 67500 w 315000"/>
                <a:gd name="connsiteY16" fmla="*/ 150000 h 172500"/>
                <a:gd name="connsiteX17" fmla="*/ 45000 w 315000"/>
                <a:gd name="connsiteY17" fmla="*/ 172500 h 172500"/>
                <a:gd name="connsiteX18" fmla="*/ 22500 w 315000"/>
                <a:gd name="connsiteY18" fmla="*/ 172500 h 172500"/>
                <a:gd name="connsiteX19" fmla="*/ 0 w 315000"/>
                <a:gd name="connsiteY19" fmla="*/ 150000 h 172500"/>
                <a:gd name="connsiteX20" fmla="*/ 22500 w 315000"/>
                <a:gd name="connsiteY20" fmla="*/ 127500 h 172500"/>
                <a:gd name="connsiteX21" fmla="*/ 157500 w 315000"/>
                <a:gd name="connsiteY21" fmla="*/ 0 h 172500"/>
                <a:gd name="connsiteX22" fmla="*/ 180000 w 315000"/>
                <a:gd name="connsiteY22" fmla="*/ 22500 h 172500"/>
                <a:gd name="connsiteX23" fmla="*/ 180000 w 315000"/>
                <a:gd name="connsiteY23" fmla="*/ 45000 h 172500"/>
                <a:gd name="connsiteX24" fmla="*/ 157500 w 315000"/>
                <a:gd name="connsiteY24" fmla="*/ 67500 h 172500"/>
                <a:gd name="connsiteX25" fmla="*/ 135000 w 315000"/>
                <a:gd name="connsiteY25" fmla="*/ 45000 h 172500"/>
                <a:gd name="connsiteX26" fmla="*/ 135000 w 315000"/>
                <a:gd name="connsiteY26" fmla="*/ 22500 h 172500"/>
                <a:gd name="connsiteX27" fmla="*/ 157500 w 315000"/>
                <a:gd name="connsiteY27" fmla="*/ 0 h 172500"/>
                <a:gd name="connsiteX28" fmla="*/ 49660 w 315000"/>
                <a:gd name="connsiteY28" fmla="*/ 49660 h 172500"/>
                <a:gd name="connsiteX29" fmla="*/ 81480 w 315000"/>
                <a:gd name="connsiteY29" fmla="*/ 49660 h 172500"/>
                <a:gd name="connsiteX30" fmla="*/ 97390 w 315000"/>
                <a:gd name="connsiteY30" fmla="*/ 65570 h 172500"/>
                <a:gd name="connsiteX31" fmla="*/ 97390 w 315000"/>
                <a:gd name="connsiteY31" fmla="*/ 97389 h 172500"/>
                <a:gd name="connsiteX32" fmla="*/ 65570 w 315000"/>
                <a:gd name="connsiteY32" fmla="*/ 97389 h 172500"/>
                <a:gd name="connsiteX33" fmla="*/ 49660 w 315000"/>
                <a:gd name="connsiteY33" fmla="*/ 81480 h 172500"/>
                <a:gd name="connsiteX34" fmla="*/ 49660 w 315000"/>
                <a:gd name="connsiteY34" fmla="*/ 49660 h 17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15000" h="172500">
                  <a:moveTo>
                    <a:pt x="270000" y="127500"/>
                  </a:moveTo>
                  <a:lnTo>
                    <a:pt x="292500" y="127500"/>
                  </a:lnTo>
                  <a:cubicBezTo>
                    <a:pt x="304926" y="127500"/>
                    <a:pt x="315000" y="137574"/>
                    <a:pt x="315000" y="150000"/>
                  </a:cubicBezTo>
                  <a:cubicBezTo>
                    <a:pt x="315000" y="162426"/>
                    <a:pt x="304926" y="172500"/>
                    <a:pt x="292500" y="172500"/>
                  </a:cubicBezTo>
                  <a:lnTo>
                    <a:pt x="270000" y="172500"/>
                  </a:lnTo>
                  <a:cubicBezTo>
                    <a:pt x="257574" y="172500"/>
                    <a:pt x="247500" y="162426"/>
                    <a:pt x="247500" y="150000"/>
                  </a:cubicBezTo>
                  <a:cubicBezTo>
                    <a:pt x="247500" y="137574"/>
                    <a:pt x="257574" y="127500"/>
                    <a:pt x="270000" y="127500"/>
                  </a:cubicBezTo>
                  <a:close/>
                  <a:moveTo>
                    <a:pt x="218410" y="65570"/>
                  </a:moveTo>
                  <a:lnTo>
                    <a:pt x="234320" y="49660"/>
                  </a:lnTo>
                  <a:cubicBezTo>
                    <a:pt x="243107" y="40873"/>
                    <a:pt x="257354" y="40873"/>
                    <a:pt x="266139" y="49660"/>
                  </a:cubicBezTo>
                  <a:cubicBezTo>
                    <a:pt x="274926" y="58447"/>
                    <a:pt x="274926" y="72693"/>
                    <a:pt x="266139" y="81480"/>
                  </a:cubicBezTo>
                  <a:lnTo>
                    <a:pt x="250230" y="97389"/>
                  </a:lnTo>
                  <a:cubicBezTo>
                    <a:pt x="241443" y="106176"/>
                    <a:pt x="227196" y="106176"/>
                    <a:pt x="218410" y="97389"/>
                  </a:cubicBezTo>
                  <a:cubicBezTo>
                    <a:pt x="209624" y="88604"/>
                    <a:pt x="209624" y="74357"/>
                    <a:pt x="218410" y="65570"/>
                  </a:cubicBezTo>
                  <a:close/>
                  <a:moveTo>
                    <a:pt x="22500" y="127500"/>
                  </a:moveTo>
                  <a:lnTo>
                    <a:pt x="45000" y="127500"/>
                  </a:lnTo>
                  <a:cubicBezTo>
                    <a:pt x="57426" y="127500"/>
                    <a:pt x="67500" y="137574"/>
                    <a:pt x="67500" y="150000"/>
                  </a:cubicBezTo>
                  <a:cubicBezTo>
                    <a:pt x="67500" y="162426"/>
                    <a:pt x="57426" y="172500"/>
                    <a:pt x="45000" y="172500"/>
                  </a:cubicBezTo>
                  <a:lnTo>
                    <a:pt x="22500" y="172500"/>
                  </a:lnTo>
                  <a:cubicBezTo>
                    <a:pt x="10074" y="172500"/>
                    <a:pt x="0" y="162426"/>
                    <a:pt x="0" y="150000"/>
                  </a:cubicBezTo>
                  <a:cubicBezTo>
                    <a:pt x="0" y="137574"/>
                    <a:pt x="10074" y="127500"/>
                    <a:pt x="22500" y="127500"/>
                  </a:cubicBezTo>
                  <a:close/>
                  <a:moveTo>
                    <a:pt x="157500" y="0"/>
                  </a:moveTo>
                  <a:cubicBezTo>
                    <a:pt x="169926" y="0"/>
                    <a:pt x="180000" y="10074"/>
                    <a:pt x="180000" y="22500"/>
                  </a:cubicBezTo>
                  <a:lnTo>
                    <a:pt x="180000" y="45000"/>
                  </a:lnTo>
                  <a:cubicBezTo>
                    <a:pt x="180000" y="57426"/>
                    <a:pt x="169926" y="67500"/>
                    <a:pt x="157500" y="67500"/>
                  </a:cubicBezTo>
                  <a:cubicBezTo>
                    <a:pt x="145074" y="67500"/>
                    <a:pt x="135000" y="57426"/>
                    <a:pt x="135000" y="45000"/>
                  </a:cubicBezTo>
                  <a:lnTo>
                    <a:pt x="135000" y="22500"/>
                  </a:lnTo>
                  <a:cubicBezTo>
                    <a:pt x="135000" y="10074"/>
                    <a:pt x="145074" y="0"/>
                    <a:pt x="157500" y="0"/>
                  </a:cubicBezTo>
                  <a:close/>
                  <a:moveTo>
                    <a:pt x="49660" y="49660"/>
                  </a:moveTo>
                  <a:cubicBezTo>
                    <a:pt x="58447" y="40873"/>
                    <a:pt x="72693" y="40873"/>
                    <a:pt x="81480" y="49660"/>
                  </a:cubicBezTo>
                  <a:lnTo>
                    <a:pt x="97390" y="65570"/>
                  </a:lnTo>
                  <a:cubicBezTo>
                    <a:pt x="106176" y="74357"/>
                    <a:pt x="106176" y="88604"/>
                    <a:pt x="97390" y="97389"/>
                  </a:cubicBezTo>
                  <a:cubicBezTo>
                    <a:pt x="88603" y="106176"/>
                    <a:pt x="74357" y="106176"/>
                    <a:pt x="65570" y="97389"/>
                  </a:cubicBezTo>
                  <a:lnTo>
                    <a:pt x="49660" y="81480"/>
                  </a:lnTo>
                  <a:cubicBezTo>
                    <a:pt x="40873" y="72693"/>
                    <a:pt x="40873" y="58447"/>
                    <a:pt x="49660" y="4966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26" name="Рисунок 276">
            <a:extLst>
              <a:ext uri="{FF2B5EF4-FFF2-40B4-BE49-F238E27FC236}">
                <a16:creationId xmlns:a16="http://schemas.microsoft.com/office/drawing/2014/main" id="{369A52C5-D8E8-3341-A2AA-A823E5B2CF82}"/>
              </a:ext>
            </a:extLst>
          </p:cNvPr>
          <p:cNvGrpSpPr/>
          <p:nvPr/>
        </p:nvGrpSpPr>
        <p:grpSpPr>
          <a:xfrm>
            <a:off x="8968334" y="3788369"/>
            <a:ext cx="360000" cy="360000"/>
            <a:chOff x="9001787" y="4105091"/>
            <a:chExt cx="360000" cy="360000"/>
          </a:xfrm>
        </p:grpSpPr>
        <p:sp>
          <p:nvSpPr>
            <p:cNvPr id="1127" name="Полилиния 1126">
              <a:extLst>
                <a:ext uri="{FF2B5EF4-FFF2-40B4-BE49-F238E27FC236}">
                  <a16:creationId xmlns:a16="http://schemas.microsoft.com/office/drawing/2014/main" id="{DBB595B3-BF3F-2746-B535-1AE060ED0B5A}"/>
                </a:ext>
              </a:extLst>
            </p:cNvPr>
            <p:cNvSpPr/>
            <p:nvPr/>
          </p:nvSpPr>
          <p:spPr>
            <a:xfrm>
              <a:off x="9001787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8" name="Полилиния 1127">
              <a:extLst>
                <a:ext uri="{FF2B5EF4-FFF2-40B4-BE49-F238E27FC236}">
                  <a16:creationId xmlns:a16="http://schemas.microsoft.com/office/drawing/2014/main" id="{2798F9ED-0B61-D94D-89AA-88B6E99A3B02}"/>
                </a:ext>
              </a:extLst>
            </p:cNvPr>
            <p:cNvSpPr/>
            <p:nvPr/>
          </p:nvSpPr>
          <p:spPr>
            <a:xfrm>
              <a:off x="9046787" y="4285091"/>
              <a:ext cx="270000" cy="90000"/>
            </a:xfrm>
            <a:custGeom>
              <a:avLst/>
              <a:gdLst>
                <a:gd name="connsiteX0" fmla="*/ 83027 w 270000"/>
                <a:gd name="connsiteY0" fmla="*/ 30000 h 90000"/>
                <a:gd name="connsiteX1" fmla="*/ 135000 w 270000"/>
                <a:gd name="connsiteY1" fmla="*/ 0 h 90000"/>
                <a:gd name="connsiteX2" fmla="*/ 186974 w 270000"/>
                <a:gd name="connsiteY2" fmla="*/ 30000 h 90000"/>
                <a:gd name="connsiteX3" fmla="*/ 83027 w 270000"/>
                <a:gd name="connsiteY3" fmla="*/ 30000 h 90000"/>
                <a:gd name="connsiteX4" fmla="*/ 195000 w 270000"/>
                <a:gd name="connsiteY4" fmla="*/ 60000 h 90000"/>
                <a:gd name="connsiteX5" fmla="*/ 75000 w 270000"/>
                <a:gd name="connsiteY5" fmla="*/ 60000 h 90000"/>
                <a:gd name="connsiteX6" fmla="*/ 195000 w 270000"/>
                <a:gd name="connsiteY6" fmla="*/ 60000 h 90000"/>
                <a:gd name="connsiteX7" fmla="*/ 15000 w 270000"/>
                <a:gd name="connsiteY7" fmla="*/ 60000 h 90000"/>
                <a:gd name="connsiteX8" fmla="*/ 255000 w 270000"/>
                <a:gd name="connsiteY8" fmla="*/ 60000 h 90000"/>
                <a:gd name="connsiteX9" fmla="*/ 270000 w 270000"/>
                <a:gd name="connsiteY9" fmla="*/ 75000 h 90000"/>
                <a:gd name="connsiteX10" fmla="*/ 270000 w 270000"/>
                <a:gd name="connsiteY10" fmla="*/ 75000 h 90000"/>
                <a:gd name="connsiteX11" fmla="*/ 255000 w 270000"/>
                <a:gd name="connsiteY11" fmla="*/ 90000 h 90000"/>
                <a:gd name="connsiteX12" fmla="*/ 15000 w 270000"/>
                <a:gd name="connsiteY12" fmla="*/ 90000 h 90000"/>
                <a:gd name="connsiteX13" fmla="*/ 0 w 270000"/>
                <a:gd name="connsiteY13" fmla="*/ 75000 h 90000"/>
                <a:gd name="connsiteX14" fmla="*/ 0 w 270000"/>
                <a:gd name="connsiteY14" fmla="*/ 75000 h 90000"/>
                <a:gd name="connsiteX15" fmla="*/ 15000 w 270000"/>
                <a:gd name="connsiteY15" fmla="*/ 6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0000" h="90000">
                  <a:moveTo>
                    <a:pt x="83027" y="30000"/>
                  </a:moveTo>
                  <a:cubicBezTo>
                    <a:pt x="93401" y="12066"/>
                    <a:pt x="112791" y="0"/>
                    <a:pt x="135000" y="0"/>
                  </a:cubicBezTo>
                  <a:cubicBezTo>
                    <a:pt x="157209" y="0"/>
                    <a:pt x="176600" y="12066"/>
                    <a:pt x="186974" y="30000"/>
                  </a:cubicBezTo>
                  <a:lnTo>
                    <a:pt x="83027" y="30000"/>
                  </a:lnTo>
                  <a:close/>
                  <a:moveTo>
                    <a:pt x="195000" y="60000"/>
                  </a:moveTo>
                  <a:lnTo>
                    <a:pt x="75000" y="60000"/>
                  </a:lnTo>
                  <a:lnTo>
                    <a:pt x="195000" y="60000"/>
                  </a:lnTo>
                  <a:close/>
                  <a:moveTo>
                    <a:pt x="15000" y="60000"/>
                  </a:moveTo>
                  <a:lnTo>
                    <a:pt x="255000" y="60000"/>
                  </a:lnTo>
                  <a:cubicBezTo>
                    <a:pt x="263285" y="60000"/>
                    <a:pt x="270000" y="66716"/>
                    <a:pt x="270000" y="75000"/>
                  </a:cubicBezTo>
                  <a:lnTo>
                    <a:pt x="270000" y="75000"/>
                  </a:lnTo>
                  <a:cubicBezTo>
                    <a:pt x="270000" y="83284"/>
                    <a:pt x="263285" y="90000"/>
                    <a:pt x="255000" y="90000"/>
                  </a:cubicBezTo>
                  <a:lnTo>
                    <a:pt x="15000" y="90000"/>
                  </a:lnTo>
                  <a:cubicBezTo>
                    <a:pt x="6716" y="90000"/>
                    <a:pt x="0" y="83284"/>
                    <a:pt x="0" y="75000"/>
                  </a:cubicBezTo>
                  <a:lnTo>
                    <a:pt x="0" y="75000"/>
                  </a:lnTo>
                  <a:cubicBezTo>
                    <a:pt x="0" y="66716"/>
                    <a:pt x="6716" y="60000"/>
                    <a:pt x="15000" y="6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129" name="Полилиния 1128">
              <a:extLst>
                <a:ext uri="{FF2B5EF4-FFF2-40B4-BE49-F238E27FC236}">
                  <a16:creationId xmlns:a16="http://schemas.microsoft.com/office/drawing/2014/main" id="{FB851537-2066-C249-ADBF-7422CDB8E8A6}"/>
                </a:ext>
              </a:extLst>
            </p:cNvPr>
            <p:cNvSpPr/>
            <p:nvPr/>
          </p:nvSpPr>
          <p:spPr>
            <a:xfrm>
              <a:off x="9067356" y="4172591"/>
              <a:ext cx="229659" cy="103979"/>
            </a:xfrm>
            <a:custGeom>
              <a:avLst/>
              <a:gdLst>
                <a:gd name="connsiteX0" fmla="*/ 175341 w 229659"/>
                <a:gd name="connsiteY0" fmla="*/ 65570 h 103979"/>
                <a:gd name="connsiteX1" fmla="*/ 191250 w 229659"/>
                <a:gd name="connsiteY1" fmla="*/ 49660 h 103979"/>
                <a:gd name="connsiteX2" fmla="*/ 223069 w 229659"/>
                <a:gd name="connsiteY2" fmla="*/ 49660 h 103979"/>
                <a:gd name="connsiteX3" fmla="*/ 223069 w 229659"/>
                <a:gd name="connsiteY3" fmla="*/ 81480 h 103979"/>
                <a:gd name="connsiteX4" fmla="*/ 207160 w 229659"/>
                <a:gd name="connsiteY4" fmla="*/ 97389 h 103979"/>
                <a:gd name="connsiteX5" fmla="*/ 175341 w 229659"/>
                <a:gd name="connsiteY5" fmla="*/ 97389 h 103979"/>
                <a:gd name="connsiteX6" fmla="*/ 175341 w 229659"/>
                <a:gd name="connsiteY6" fmla="*/ 65570 h 103979"/>
                <a:gd name="connsiteX7" fmla="*/ 114430 w 229659"/>
                <a:gd name="connsiteY7" fmla="*/ 0 h 103979"/>
                <a:gd name="connsiteX8" fmla="*/ 136930 w 229659"/>
                <a:gd name="connsiteY8" fmla="*/ 22500 h 103979"/>
                <a:gd name="connsiteX9" fmla="*/ 136930 w 229659"/>
                <a:gd name="connsiteY9" fmla="*/ 45000 h 103979"/>
                <a:gd name="connsiteX10" fmla="*/ 114430 w 229659"/>
                <a:gd name="connsiteY10" fmla="*/ 67500 h 103979"/>
                <a:gd name="connsiteX11" fmla="*/ 91930 w 229659"/>
                <a:gd name="connsiteY11" fmla="*/ 45000 h 103979"/>
                <a:gd name="connsiteX12" fmla="*/ 91930 w 229659"/>
                <a:gd name="connsiteY12" fmla="*/ 22500 h 103979"/>
                <a:gd name="connsiteX13" fmla="*/ 114430 w 229659"/>
                <a:gd name="connsiteY13" fmla="*/ 0 h 103979"/>
                <a:gd name="connsiteX14" fmla="*/ 6590 w 229659"/>
                <a:gd name="connsiteY14" fmla="*/ 49660 h 103979"/>
                <a:gd name="connsiteX15" fmla="*/ 38410 w 229659"/>
                <a:gd name="connsiteY15" fmla="*/ 49660 h 103979"/>
                <a:gd name="connsiteX16" fmla="*/ 54320 w 229659"/>
                <a:gd name="connsiteY16" fmla="*/ 65570 h 103979"/>
                <a:gd name="connsiteX17" fmla="*/ 54320 w 229659"/>
                <a:gd name="connsiteY17" fmla="*/ 97389 h 103979"/>
                <a:gd name="connsiteX18" fmla="*/ 22500 w 229659"/>
                <a:gd name="connsiteY18" fmla="*/ 97389 h 103979"/>
                <a:gd name="connsiteX19" fmla="*/ 6590 w 229659"/>
                <a:gd name="connsiteY19" fmla="*/ 81480 h 103979"/>
                <a:gd name="connsiteX20" fmla="*/ 6590 w 229659"/>
                <a:gd name="connsiteY20" fmla="*/ 49660 h 103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9659" h="103979">
                  <a:moveTo>
                    <a:pt x="175341" y="65570"/>
                  </a:moveTo>
                  <a:lnTo>
                    <a:pt x="191250" y="49660"/>
                  </a:lnTo>
                  <a:cubicBezTo>
                    <a:pt x="200037" y="40873"/>
                    <a:pt x="214284" y="40873"/>
                    <a:pt x="223069" y="49660"/>
                  </a:cubicBezTo>
                  <a:cubicBezTo>
                    <a:pt x="231856" y="58447"/>
                    <a:pt x="231856" y="72693"/>
                    <a:pt x="223069" y="81480"/>
                  </a:cubicBezTo>
                  <a:lnTo>
                    <a:pt x="207160" y="97389"/>
                  </a:lnTo>
                  <a:cubicBezTo>
                    <a:pt x="198373" y="106176"/>
                    <a:pt x="184126" y="106176"/>
                    <a:pt x="175341" y="97389"/>
                  </a:cubicBezTo>
                  <a:cubicBezTo>
                    <a:pt x="166554" y="88604"/>
                    <a:pt x="166554" y="74357"/>
                    <a:pt x="175341" y="65570"/>
                  </a:cubicBezTo>
                  <a:close/>
                  <a:moveTo>
                    <a:pt x="114430" y="0"/>
                  </a:moveTo>
                  <a:cubicBezTo>
                    <a:pt x="126856" y="0"/>
                    <a:pt x="136930" y="10074"/>
                    <a:pt x="136930" y="22500"/>
                  </a:cubicBezTo>
                  <a:lnTo>
                    <a:pt x="136930" y="45000"/>
                  </a:lnTo>
                  <a:cubicBezTo>
                    <a:pt x="136930" y="57426"/>
                    <a:pt x="126856" y="67500"/>
                    <a:pt x="114430" y="67500"/>
                  </a:cubicBezTo>
                  <a:cubicBezTo>
                    <a:pt x="102004" y="67500"/>
                    <a:pt x="91930" y="57426"/>
                    <a:pt x="91930" y="45000"/>
                  </a:cubicBezTo>
                  <a:lnTo>
                    <a:pt x="91930" y="22500"/>
                  </a:lnTo>
                  <a:cubicBezTo>
                    <a:pt x="91930" y="10074"/>
                    <a:pt x="102004" y="0"/>
                    <a:pt x="114430" y="0"/>
                  </a:cubicBezTo>
                  <a:close/>
                  <a:moveTo>
                    <a:pt x="6590" y="49660"/>
                  </a:moveTo>
                  <a:cubicBezTo>
                    <a:pt x="15377" y="40873"/>
                    <a:pt x="29623" y="40873"/>
                    <a:pt x="38410" y="49660"/>
                  </a:cubicBezTo>
                  <a:lnTo>
                    <a:pt x="54320" y="65570"/>
                  </a:lnTo>
                  <a:cubicBezTo>
                    <a:pt x="63107" y="74357"/>
                    <a:pt x="63107" y="88604"/>
                    <a:pt x="54320" y="97389"/>
                  </a:cubicBezTo>
                  <a:cubicBezTo>
                    <a:pt x="45533" y="106176"/>
                    <a:pt x="31287" y="106176"/>
                    <a:pt x="22500" y="97389"/>
                  </a:cubicBezTo>
                  <a:lnTo>
                    <a:pt x="6590" y="81480"/>
                  </a:lnTo>
                  <a:cubicBezTo>
                    <a:pt x="-2197" y="72693"/>
                    <a:pt x="-2197" y="58447"/>
                    <a:pt x="6590" y="4966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30" name="Рисунок 277">
            <a:extLst>
              <a:ext uri="{FF2B5EF4-FFF2-40B4-BE49-F238E27FC236}">
                <a16:creationId xmlns:a16="http://schemas.microsoft.com/office/drawing/2014/main" id="{7199CC0E-CAD7-424A-8560-F3C7D8B9D811}"/>
              </a:ext>
            </a:extLst>
          </p:cNvPr>
          <p:cNvGrpSpPr/>
          <p:nvPr/>
        </p:nvGrpSpPr>
        <p:grpSpPr>
          <a:xfrm>
            <a:off x="2172137" y="3788369"/>
            <a:ext cx="360000" cy="360000"/>
            <a:chOff x="2205590" y="4105091"/>
            <a:chExt cx="360000" cy="360000"/>
          </a:xfrm>
        </p:grpSpPr>
        <p:sp>
          <p:nvSpPr>
            <p:cNvPr id="1131" name="Полилиния 1130">
              <a:extLst>
                <a:ext uri="{FF2B5EF4-FFF2-40B4-BE49-F238E27FC236}">
                  <a16:creationId xmlns:a16="http://schemas.microsoft.com/office/drawing/2014/main" id="{05AD04C9-DEF0-A646-B81B-2C128D33ED8C}"/>
                </a:ext>
              </a:extLst>
            </p:cNvPr>
            <p:cNvSpPr/>
            <p:nvPr/>
          </p:nvSpPr>
          <p:spPr>
            <a:xfrm>
              <a:off x="2205590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2" name="Полилиния 1131">
              <a:extLst>
                <a:ext uri="{FF2B5EF4-FFF2-40B4-BE49-F238E27FC236}">
                  <a16:creationId xmlns:a16="http://schemas.microsoft.com/office/drawing/2014/main" id="{1A19D7DE-3226-1B4A-BF09-670EF778BDE7}"/>
                </a:ext>
              </a:extLst>
            </p:cNvPr>
            <p:cNvSpPr/>
            <p:nvPr/>
          </p:nvSpPr>
          <p:spPr>
            <a:xfrm>
              <a:off x="2305442" y="4135091"/>
              <a:ext cx="200147" cy="222094"/>
            </a:xfrm>
            <a:custGeom>
              <a:avLst/>
              <a:gdLst>
                <a:gd name="connsiteX0" fmla="*/ 136912 w 200147"/>
                <a:gd name="connsiteY0" fmla="*/ 180000 h 222094"/>
                <a:gd name="connsiteX1" fmla="*/ 94816 w 200147"/>
                <a:gd name="connsiteY1" fmla="*/ 222094 h 222094"/>
                <a:gd name="connsiteX2" fmla="*/ 17574 w 200147"/>
                <a:gd name="connsiteY2" fmla="*/ 144854 h 222094"/>
                <a:gd name="connsiteX3" fmla="*/ 17574 w 200147"/>
                <a:gd name="connsiteY3" fmla="*/ 60000 h 222094"/>
                <a:gd name="connsiteX4" fmla="*/ 110147 w 200147"/>
                <a:gd name="connsiteY4" fmla="*/ 152574 h 222094"/>
                <a:gd name="connsiteX5" fmla="*/ 110147 w 200147"/>
                <a:gd name="connsiteY5" fmla="*/ 90000 h 222094"/>
                <a:gd name="connsiteX6" fmla="*/ 200147 w 200147"/>
                <a:gd name="connsiteY6" fmla="*/ 0 h 222094"/>
                <a:gd name="connsiteX7" fmla="*/ 200147 w 200147"/>
                <a:gd name="connsiteY7" fmla="*/ 180000 h 222094"/>
                <a:gd name="connsiteX8" fmla="*/ 136912 w 200147"/>
                <a:gd name="connsiteY8" fmla="*/ 180000 h 222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147" h="222094">
                  <a:moveTo>
                    <a:pt x="136912" y="180000"/>
                  </a:moveTo>
                  <a:lnTo>
                    <a:pt x="94816" y="222094"/>
                  </a:lnTo>
                  <a:lnTo>
                    <a:pt x="17574" y="144854"/>
                  </a:lnTo>
                  <a:cubicBezTo>
                    <a:pt x="-5858" y="121422"/>
                    <a:pt x="-5858" y="83432"/>
                    <a:pt x="17574" y="60000"/>
                  </a:cubicBezTo>
                  <a:lnTo>
                    <a:pt x="110147" y="152574"/>
                  </a:lnTo>
                  <a:lnTo>
                    <a:pt x="110147" y="90000"/>
                  </a:lnTo>
                  <a:cubicBezTo>
                    <a:pt x="110147" y="40294"/>
                    <a:pt x="150442" y="0"/>
                    <a:pt x="200147" y="0"/>
                  </a:cubicBezTo>
                  <a:lnTo>
                    <a:pt x="200147" y="180000"/>
                  </a:lnTo>
                  <a:lnTo>
                    <a:pt x="136912" y="18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3" name="Полилиния 1132">
              <a:extLst>
                <a:ext uri="{FF2B5EF4-FFF2-40B4-BE49-F238E27FC236}">
                  <a16:creationId xmlns:a16="http://schemas.microsoft.com/office/drawing/2014/main" id="{AEC0F67E-2010-D04C-A551-804611730DEF}"/>
                </a:ext>
              </a:extLst>
            </p:cNvPr>
            <p:cNvSpPr/>
            <p:nvPr/>
          </p:nvSpPr>
          <p:spPr>
            <a:xfrm>
              <a:off x="2220590" y="4285091"/>
              <a:ext cx="330000" cy="135000"/>
            </a:xfrm>
            <a:custGeom>
              <a:avLst/>
              <a:gdLst>
                <a:gd name="connsiteX0" fmla="*/ 67500 w 330000"/>
                <a:gd name="connsiteY0" fmla="*/ 0 h 135000"/>
                <a:gd name="connsiteX1" fmla="*/ 262500 w 330000"/>
                <a:gd name="connsiteY1" fmla="*/ 0 h 135000"/>
                <a:gd name="connsiteX2" fmla="*/ 330000 w 330000"/>
                <a:gd name="connsiteY2" fmla="*/ 67500 h 135000"/>
                <a:gd name="connsiteX3" fmla="*/ 262500 w 330000"/>
                <a:gd name="connsiteY3" fmla="*/ 135000 h 135000"/>
                <a:gd name="connsiteX4" fmla="*/ 67500 w 330000"/>
                <a:gd name="connsiteY4" fmla="*/ 135000 h 135000"/>
                <a:gd name="connsiteX5" fmla="*/ 0 w 330000"/>
                <a:gd name="connsiteY5" fmla="*/ 67500 h 135000"/>
                <a:gd name="connsiteX6" fmla="*/ 67500 w 330000"/>
                <a:gd name="connsiteY6" fmla="*/ 0 h 135000"/>
                <a:gd name="connsiteX7" fmla="*/ 277500 w 330000"/>
                <a:gd name="connsiteY7" fmla="*/ 90000 h 135000"/>
                <a:gd name="connsiteX8" fmla="*/ 300000 w 330000"/>
                <a:gd name="connsiteY8" fmla="*/ 67500 h 135000"/>
                <a:gd name="connsiteX9" fmla="*/ 277500 w 330000"/>
                <a:gd name="connsiteY9" fmla="*/ 45000 h 135000"/>
                <a:gd name="connsiteX10" fmla="*/ 255000 w 330000"/>
                <a:gd name="connsiteY10" fmla="*/ 67500 h 135000"/>
                <a:gd name="connsiteX11" fmla="*/ 277500 w 330000"/>
                <a:gd name="connsiteY11" fmla="*/ 90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0000" h="135000">
                  <a:moveTo>
                    <a:pt x="67500" y="0"/>
                  </a:moveTo>
                  <a:lnTo>
                    <a:pt x="262500" y="0"/>
                  </a:lnTo>
                  <a:cubicBezTo>
                    <a:pt x="299780" y="0"/>
                    <a:pt x="330000" y="30221"/>
                    <a:pt x="330000" y="67500"/>
                  </a:cubicBezTo>
                  <a:cubicBezTo>
                    <a:pt x="330000" y="104780"/>
                    <a:pt x="299780" y="135000"/>
                    <a:pt x="262500" y="135000"/>
                  </a:cubicBezTo>
                  <a:lnTo>
                    <a:pt x="67500" y="135000"/>
                  </a:lnTo>
                  <a:cubicBezTo>
                    <a:pt x="30221" y="135000"/>
                    <a:pt x="0" y="104780"/>
                    <a:pt x="0" y="67500"/>
                  </a:cubicBezTo>
                  <a:cubicBezTo>
                    <a:pt x="0" y="30221"/>
                    <a:pt x="30221" y="0"/>
                    <a:pt x="67500" y="0"/>
                  </a:cubicBezTo>
                  <a:close/>
                  <a:moveTo>
                    <a:pt x="277500" y="90000"/>
                  </a:moveTo>
                  <a:cubicBezTo>
                    <a:pt x="289926" y="90000"/>
                    <a:pt x="300000" y="79926"/>
                    <a:pt x="300000" y="67500"/>
                  </a:cubicBezTo>
                  <a:cubicBezTo>
                    <a:pt x="300000" y="55074"/>
                    <a:pt x="289926" y="45000"/>
                    <a:pt x="277500" y="45000"/>
                  </a:cubicBezTo>
                  <a:cubicBezTo>
                    <a:pt x="265074" y="45000"/>
                    <a:pt x="255000" y="55074"/>
                    <a:pt x="255000" y="67500"/>
                  </a:cubicBezTo>
                  <a:cubicBezTo>
                    <a:pt x="255000" y="79926"/>
                    <a:pt x="265074" y="90000"/>
                    <a:pt x="277500" y="9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34" name="Рисунок 278">
            <a:extLst>
              <a:ext uri="{FF2B5EF4-FFF2-40B4-BE49-F238E27FC236}">
                <a16:creationId xmlns:a16="http://schemas.microsoft.com/office/drawing/2014/main" id="{BF75F75F-CCF9-1042-B693-F59DD1D0CEC6}"/>
              </a:ext>
            </a:extLst>
          </p:cNvPr>
          <p:cNvGrpSpPr/>
          <p:nvPr/>
        </p:nvGrpSpPr>
        <p:grpSpPr>
          <a:xfrm>
            <a:off x="7458068" y="3788369"/>
            <a:ext cx="360000" cy="360000"/>
            <a:chOff x="7491521" y="4105091"/>
            <a:chExt cx="360000" cy="360000"/>
          </a:xfrm>
        </p:grpSpPr>
        <p:sp>
          <p:nvSpPr>
            <p:cNvPr id="1135" name="Полилиния 1134">
              <a:extLst>
                <a:ext uri="{FF2B5EF4-FFF2-40B4-BE49-F238E27FC236}">
                  <a16:creationId xmlns:a16="http://schemas.microsoft.com/office/drawing/2014/main" id="{A3D4D939-D5BF-5446-87C8-9DF177D2FBD5}"/>
                </a:ext>
              </a:extLst>
            </p:cNvPr>
            <p:cNvSpPr/>
            <p:nvPr/>
          </p:nvSpPr>
          <p:spPr>
            <a:xfrm>
              <a:off x="7491521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6" name="Полилиния 1135">
              <a:extLst>
                <a:ext uri="{FF2B5EF4-FFF2-40B4-BE49-F238E27FC236}">
                  <a16:creationId xmlns:a16="http://schemas.microsoft.com/office/drawing/2014/main" id="{6618035B-C817-AC4C-BEE8-5860AD8E7798}"/>
                </a:ext>
              </a:extLst>
            </p:cNvPr>
            <p:cNvSpPr/>
            <p:nvPr/>
          </p:nvSpPr>
          <p:spPr>
            <a:xfrm>
              <a:off x="7566521" y="4135091"/>
              <a:ext cx="210000" cy="300000"/>
            </a:xfrm>
            <a:custGeom>
              <a:avLst/>
              <a:gdLst>
                <a:gd name="connsiteX0" fmla="*/ 22500 w 210000"/>
                <a:gd name="connsiteY0" fmla="*/ 30000 h 300000"/>
                <a:gd name="connsiteX1" fmla="*/ 22500 w 210000"/>
                <a:gd name="connsiteY1" fmla="*/ 270000 h 300000"/>
                <a:gd name="connsiteX2" fmla="*/ 187500 w 210000"/>
                <a:gd name="connsiteY2" fmla="*/ 270000 h 300000"/>
                <a:gd name="connsiteX3" fmla="*/ 187500 w 210000"/>
                <a:gd name="connsiteY3" fmla="*/ 30000 h 300000"/>
                <a:gd name="connsiteX4" fmla="*/ 22500 w 210000"/>
                <a:gd name="connsiteY4" fmla="*/ 30000 h 300000"/>
                <a:gd name="connsiteX5" fmla="*/ 30000 w 210000"/>
                <a:gd name="connsiteY5" fmla="*/ 0 h 300000"/>
                <a:gd name="connsiteX6" fmla="*/ 180000 w 210000"/>
                <a:gd name="connsiteY6" fmla="*/ 0 h 300000"/>
                <a:gd name="connsiteX7" fmla="*/ 210000 w 210000"/>
                <a:gd name="connsiteY7" fmla="*/ 30000 h 300000"/>
                <a:gd name="connsiteX8" fmla="*/ 210000 w 210000"/>
                <a:gd name="connsiteY8" fmla="*/ 270000 h 300000"/>
                <a:gd name="connsiteX9" fmla="*/ 180000 w 210000"/>
                <a:gd name="connsiteY9" fmla="*/ 300000 h 300000"/>
                <a:gd name="connsiteX10" fmla="*/ 30000 w 210000"/>
                <a:gd name="connsiteY10" fmla="*/ 300000 h 300000"/>
                <a:gd name="connsiteX11" fmla="*/ 0 w 210000"/>
                <a:gd name="connsiteY11" fmla="*/ 270000 h 300000"/>
                <a:gd name="connsiteX12" fmla="*/ 0 w 210000"/>
                <a:gd name="connsiteY12" fmla="*/ 30000 h 300000"/>
                <a:gd name="connsiteX13" fmla="*/ 30000 w 210000"/>
                <a:gd name="connsiteY13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0000" h="300000">
                  <a:moveTo>
                    <a:pt x="22500" y="30000"/>
                  </a:moveTo>
                  <a:lnTo>
                    <a:pt x="22500" y="270000"/>
                  </a:lnTo>
                  <a:lnTo>
                    <a:pt x="187500" y="270000"/>
                  </a:lnTo>
                  <a:lnTo>
                    <a:pt x="187500" y="30000"/>
                  </a:lnTo>
                  <a:lnTo>
                    <a:pt x="22500" y="30000"/>
                  </a:lnTo>
                  <a:close/>
                  <a:moveTo>
                    <a:pt x="30000" y="0"/>
                  </a:moveTo>
                  <a:lnTo>
                    <a:pt x="180000" y="0"/>
                  </a:lnTo>
                  <a:cubicBezTo>
                    <a:pt x="196569" y="0"/>
                    <a:pt x="210000" y="13431"/>
                    <a:pt x="210000" y="30000"/>
                  </a:cubicBezTo>
                  <a:lnTo>
                    <a:pt x="210000" y="270000"/>
                  </a:lnTo>
                  <a:cubicBezTo>
                    <a:pt x="210000" y="286569"/>
                    <a:pt x="196569" y="300000"/>
                    <a:pt x="180000" y="300000"/>
                  </a:cubicBezTo>
                  <a:lnTo>
                    <a:pt x="30000" y="300000"/>
                  </a:lnTo>
                  <a:cubicBezTo>
                    <a:pt x="13431" y="300000"/>
                    <a:pt x="0" y="286569"/>
                    <a:pt x="0" y="27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7" name="Полилиния 1136">
              <a:extLst>
                <a:ext uri="{FF2B5EF4-FFF2-40B4-BE49-F238E27FC236}">
                  <a16:creationId xmlns:a16="http://schemas.microsoft.com/office/drawing/2014/main" id="{C8F3E4A8-C30D-374D-928B-8368BB8B1A45}"/>
                </a:ext>
              </a:extLst>
            </p:cNvPr>
            <p:cNvSpPr/>
            <p:nvPr/>
          </p:nvSpPr>
          <p:spPr>
            <a:xfrm>
              <a:off x="7589021" y="4165091"/>
              <a:ext cx="165000" cy="240000"/>
            </a:xfrm>
            <a:custGeom>
              <a:avLst/>
              <a:gdLst>
                <a:gd name="connsiteX0" fmla="*/ 0 w 165000"/>
                <a:gd name="connsiteY0" fmla="*/ 0 h 240000"/>
                <a:gd name="connsiteX1" fmla="*/ 0 w 165000"/>
                <a:gd name="connsiteY1" fmla="*/ 240000 h 240000"/>
                <a:gd name="connsiteX2" fmla="*/ 165000 w 165000"/>
                <a:gd name="connsiteY2" fmla="*/ 240000 h 240000"/>
                <a:gd name="connsiteX3" fmla="*/ 165000 w 165000"/>
                <a:gd name="connsiteY3" fmla="*/ 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000" h="240000">
                  <a:moveTo>
                    <a:pt x="0" y="0"/>
                  </a:moveTo>
                  <a:lnTo>
                    <a:pt x="0" y="240000"/>
                  </a:lnTo>
                  <a:lnTo>
                    <a:pt x="165000" y="240000"/>
                  </a:lnTo>
                  <a:lnTo>
                    <a:pt x="165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38" name="Рисунок 279">
            <a:extLst>
              <a:ext uri="{FF2B5EF4-FFF2-40B4-BE49-F238E27FC236}">
                <a16:creationId xmlns:a16="http://schemas.microsoft.com/office/drawing/2014/main" id="{45B69A37-8A3A-4545-90A3-FE6D7A53AF92}"/>
              </a:ext>
            </a:extLst>
          </p:cNvPr>
          <p:cNvGrpSpPr/>
          <p:nvPr/>
        </p:nvGrpSpPr>
        <p:grpSpPr>
          <a:xfrm>
            <a:off x="5947802" y="3788369"/>
            <a:ext cx="360000" cy="360000"/>
            <a:chOff x="5981255" y="4105091"/>
            <a:chExt cx="360000" cy="360000"/>
          </a:xfrm>
        </p:grpSpPr>
        <p:sp>
          <p:nvSpPr>
            <p:cNvPr id="1139" name="Полилиния 1138">
              <a:extLst>
                <a:ext uri="{FF2B5EF4-FFF2-40B4-BE49-F238E27FC236}">
                  <a16:creationId xmlns:a16="http://schemas.microsoft.com/office/drawing/2014/main" id="{C0A9E755-506C-704B-891D-AABF6E4EB05F}"/>
                </a:ext>
              </a:extLst>
            </p:cNvPr>
            <p:cNvSpPr/>
            <p:nvPr/>
          </p:nvSpPr>
          <p:spPr>
            <a:xfrm>
              <a:off x="5981255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0" name="Полилиния 1139">
              <a:extLst>
                <a:ext uri="{FF2B5EF4-FFF2-40B4-BE49-F238E27FC236}">
                  <a16:creationId xmlns:a16="http://schemas.microsoft.com/office/drawing/2014/main" id="{417AF433-7C9E-7747-B4E8-0C272FBE54CD}"/>
                </a:ext>
              </a:extLst>
            </p:cNvPr>
            <p:cNvSpPr/>
            <p:nvPr/>
          </p:nvSpPr>
          <p:spPr>
            <a:xfrm>
              <a:off x="6011255" y="4135091"/>
              <a:ext cx="300000" cy="300000"/>
            </a:xfrm>
            <a:custGeom>
              <a:avLst/>
              <a:gdLst>
                <a:gd name="connsiteX0" fmla="*/ 255000 w 300000"/>
                <a:gd name="connsiteY0" fmla="*/ 135000 h 300000"/>
                <a:gd name="connsiteX1" fmla="*/ 285000 w 300000"/>
                <a:gd name="connsiteY1" fmla="*/ 135000 h 300000"/>
                <a:gd name="connsiteX2" fmla="*/ 300000 w 300000"/>
                <a:gd name="connsiteY2" fmla="*/ 150000 h 300000"/>
                <a:gd name="connsiteX3" fmla="*/ 285000 w 300000"/>
                <a:gd name="connsiteY3" fmla="*/ 165000 h 300000"/>
                <a:gd name="connsiteX4" fmla="*/ 255000 w 300000"/>
                <a:gd name="connsiteY4" fmla="*/ 165000 h 300000"/>
                <a:gd name="connsiteX5" fmla="*/ 240000 w 300000"/>
                <a:gd name="connsiteY5" fmla="*/ 150000 h 300000"/>
                <a:gd name="connsiteX6" fmla="*/ 255000 w 300000"/>
                <a:gd name="connsiteY6" fmla="*/ 135000 h 300000"/>
                <a:gd name="connsiteX7" fmla="*/ 15000 w 300000"/>
                <a:gd name="connsiteY7" fmla="*/ 135000 h 300000"/>
                <a:gd name="connsiteX8" fmla="*/ 45000 w 300000"/>
                <a:gd name="connsiteY8" fmla="*/ 135000 h 300000"/>
                <a:gd name="connsiteX9" fmla="*/ 60000 w 300000"/>
                <a:gd name="connsiteY9" fmla="*/ 150000 h 300000"/>
                <a:gd name="connsiteX10" fmla="*/ 45000 w 300000"/>
                <a:gd name="connsiteY10" fmla="*/ 165000 h 300000"/>
                <a:gd name="connsiteX11" fmla="*/ 15000 w 300000"/>
                <a:gd name="connsiteY11" fmla="*/ 165000 h 300000"/>
                <a:gd name="connsiteX12" fmla="*/ 0 w 300000"/>
                <a:gd name="connsiteY12" fmla="*/ 150000 h 300000"/>
                <a:gd name="connsiteX13" fmla="*/ 15000 w 300000"/>
                <a:gd name="connsiteY13" fmla="*/ 135000 h 300000"/>
                <a:gd name="connsiteX14" fmla="*/ 150000 w 300000"/>
                <a:gd name="connsiteY14" fmla="*/ 0 h 300000"/>
                <a:gd name="connsiteX15" fmla="*/ 165000 w 300000"/>
                <a:gd name="connsiteY15" fmla="*/ 15000 h 300000"/>
                <a:gd name="connsiteX16" fmla="*/ 165000 w 300000"/>
                <a:gd name="connsiteY16" fmla="*/ 45000 h 300000"/>
                <a:gd name="connsiteX17" fmla="*/ 150000 w 300000"/>
                <a:gd name="connsiteY17" fmla="*/ 60000 h 300000"/>
                <a:gd name="connsiteX18" fmla="*/ 135000 w 300000"/>
                <a:gd name="connsiteY18" fmla="*/ 45000 h 300000"/>
                <a:gd name="connsiteX19" fmla="*/ 135000 w 300000"/>
                <a:gd name="connsiteY19" fmla="*/ 15000 h 300000"/>
                <a:gd name="connsiteX20" fmla="*/ 150000 w 300000"/>
                <a:gd name="connsiteY20" fmla="*/ 0 h 300000"/>
                <a:gd name="connsiteX21" fmla="*/ 150000 w 300000"/>
                <a:gd name="connsiteY21" fmla="*/ 240000 h 300000"/>
                <a:gd name="connsiteX22" fmla="*/ 165000 w 300000"/>
                <a:gd name="connsiteY22" fmla="*/ 255000 h 300000"/>
                <a:gd name="connsiteX23" fmla="*/ 165000 w 300000"/>
                <a:gd name="connsiteY23" fmla="*/ 285000 h 300000"/>
                <a:gd name="connsiteX24" fmla="*/ 150000 w 300000"/>
                <a:gd name="connsiteY24" fmla="*/ 300000 h 300000"/>
                <a:gd name="connsiteX25" fmla="*/ 135000 w 300000"/>
                <a:gd name="connsiteY25" fmla="*/ 285000 h 300000"/>
                <a:gd name="connsiteX26" fmla="*/ 135000 w 300000"/>
                <a:gd name="connsiteY26" fmla="*/ 255000 h 300000"/>
                <a:gd name="connsiteX27" fmla="*/ 150000 w 300000"/>
                <a:gd name="connsiteY27" fmla="*/ 24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0000" h="300000">
                  <a:moveTo>
                    <a:pt x="255000" y="135000"/>
                  </a:moveTo>
                  <a:lnTo>
                    <a:pt x="285000" y="135000"/>
                  </a:lnTo>
                  <a:cubicBezTo>
                    <a:pt x="293285" y="135000"/>
                    <a:pt x="300000" y="141716"/>
                    <a:pt x="300000" y="150000"/>
                  </a:cubicBezTo>
                  <a:cubicBezTo>
                    <a:pt x="300000" y="158285"/>
                    <a:pt x="293285" y="165000"/>
                    <a:pt x="285000" y="165000"/>
                  </a:cubicBezTo>
                  <a:lnTo>
                    <a:pt x="255000" y="165000"/>
                  </a:lnTo>
                  <a:cubicBezTo>
                    <a:pt x="246716" y="165000"/>
                    <a:pt x="240000" y="158285"/>
                    <a:pt x="240000" y="150000"/>
                  </a:cubicBezTo>
                  <a:cubicBezTo>
                    <a:pt x="240000" y="141716"/>
                    <a:pt x="246716" y="135000"/>
                    <a:pt x="255000" y="135000"/>
                  </a:cubicBezTo>
                  <a:close/>
                  <a:moveTo>
                    <a:pt x="15000" y="135000"/>
                  </a:moveTo>
                  <a:lnTo>
                    <a:pt x="45000" y="135000"/>
                  </a:lnTo>
                  <a:cubicBezTo>
                    <a:pt x="53284" y="135000"/>
                    <a:pt x="60000" y="141716"/>
                    <a:pt x="60000" y="150000"/>
                  </a:cubicBezTo>
                  <a:cubicBezTo>
                    <a:pt x="60000" y="158285"/>
                    <a:pt x="53284" y="165000"/>
                    <a:pt x="45000" y="165000"/>
                  </a:cubicBezTo>
                  <a:lnTo>
                    <a:pt x="15000" y="165000"/>
                  </a:lnTo>
                  <a:cubicBezTo>
                    <a:pt x="6716" y="165000"/>
                    <a:pt x="0" y="158285"/>
                    <a:pt x="0" y="150000"/>
                  </a:cubicBezTo>
                  <a:cubicBezTo>
                    <a:pt x="0" y="141716"/>
                    <a:pt x="6716" y="135000"/>
                    <a:pt x="15000" y="135000"/>
                  </a:cubicBezTo>
                  <a:close/>
                  <a:moveTo>
                    <a:pt x="150000" y="0"/>
                  </a:moveTo>
                  <a:cubicBezTo>
                    <a:pt x="158285" y="0"/>
                    <a:pt x="165000" y="6716"/>
                    <a:pt x="165000" y="15000"/>
                  </a:cubicBezTo>
                  <a:lnTo>
                    <a:pt x="165000" y="45000"/>
                  </a:lnTo>
                  <a:cubicBezTo>
                    <a:pt x="165000" y="53284"/>
                    <a:pt x="158285" y="60000"/>
                    <a:pt x="150000" y="60000"/>
                  </a:cubicBezTo>
                  <a:cubicBezTo>
                    <a:pt x="141716" y="60000"/>
                    <a:pt x="135000" y="53284"/>
                    <a:pt x="135000" y="45000"/>
                  </a:cubicBezTo>
                  <a:lnTo>
                    <a:pt x="135000" y="15000"/>
                  </a:lnTo>
                  <a:cubicBezTo>
                    <a:pt x="135000" y="6716"/>
                    <a:pt x="141716" y="0"/>
                    <a:pt x="150000" y="0"/>
                  </a:cubicBezTo>
                  <a:close/>
                  <a:moveTo>
                    <a:pt x="150000" y="240000"/>
                  </a:moveTo>
                  <a:cubicBezTo>
                    <a:pt x="158285" y="240000"/>
                    <a:pt x="165000" y="246716"/>
                    <a:pt x="165000" y="255000"/>
                  </a:cubicBezTo>
                  <a:lnTo>
                    <a:pt x="165000" y="285000"/>
                  </a:lnTo>
                  <a:cubicBezTo>
                    <a:pt x="165000" y="293285"/>
                    <a:pt x="158285" y="300000"/>
                    <a:pt x="150000" y="300000"/>
                  </a:cubicBezTo>
                  <a:cubicBezTo>
                    <a:pt x="141716" y="300000"/>
                    <a:pt x="135000" y="293285"/>
                    <a:pt x="135000" y="285000"/>
                  </a:cubicBezTo>
                  <a:lnTo>
                    <a:pt x="135000" y="255000"/>
                  </a:lnTo>
                  <a:cubicBezTo>
                    <a:pt x="135000" y="246716"/>
                    <a:pt x="141716" y="240000"/>
                    <a:pt x="150000" y="24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1" name="Полилиния 1140">
              <a:extLst>
                <a:ext uri="{FF2B5EF4-FFF2-40B4-BE49-F238E27FC236}">
                  <a16:creationId xmlns:a16="http://schemas.microsoft.com/office/drawing/2014/main" id="{20D7A2A1-2D0A-2B47-8485-487A4EE72013}"/>
                </a:ext>
              </a:extLst>
            </p:cNvPr>
            <p:cNvSpPr/>
            <p:nvPr/>
          </p:nvSpPr>
          <p:spPr>
            <a:xfrm>
              <a:off x="6116255" y="4240091"/>
              <a:ext cx="90000" cy="90000"/>
            </a:xfrm>
            <a:custGeom>
              <a:avLst/>
              <a:gdLst>
                <a:gd name="connsiteX0" fmla="*/ 90000 w 90000"/>
                <a:gd name="connsiteY0" fmla="*/ 45000 h 90000"/>
                <a:gd name="connsiteX1" fmla="*/ 45000 w 90000"/>
                <a:gd name="connsiteY1" fmla="*/ 90000 h 90000"/>
                <a:gd name="connsiteX2" fmla="*/ 0 w 90000"/>
                <a:gd name="connsiteY2" fmla="*/ 45000 h 90000"/>
                <a:gd name="connsiteX3" fmla="*/ 45000 w 90000"/>
                <a:gd name="connsiteY3" fmla="*/ 0 h 90000"/>
                <a:gd name="connsiteX4" fmla="*/ 90000 w 90000"/>
                <a:gd name="connsiteY4" fmla="*/ 45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90000" y="45000"/>
                  </a:moveTo>
                  <a:cubicBezTo>
                    <a:pt x="90000" y="69853"/>
                    <a:pt x="69853" y="90000"/>
                    <a:pt x="45000" y="90000"/>
                  </a:cubicBezTo>
                  <a:cubicBezTo>
                    <a:pt x="20147" y="90000"/>
                    <a:pt x="0" y="69853"/>
                    <a:pt x="0" y="45000"/>
                  </a:cubicBezTo>
                  <a:cubicBezTo>
                    <a:pt x="0" y="20147"/>
                    <a:pt x="20147" y="0"/>
                    <a:pt x="45000" y="0"/>
                  </a:cubicBezTo>
                  <a:cubicBezTo>
                    <a:pt x="69853" y="0"/>
                    <a:pt x="90000" y="20147"/>
                    <a:pt x="90000" y="4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42" name="Рисунок 280">
            <a:extLst>
              <a:ext uri="{FF2B5EF4-FFF2-40B4-BE49-F238E27FC236}">
                <a16:creationId xmlns:a16="http://schemas.microsoft.com/office/drawing/2014/main" id="{D125BB63-E232-D74E-ABA2-06AFFE05C9A6}"/>
              </a:ext>
            </a:extLst>
          </p:cNvPr>
          <p:cNvGrpSpPr/>
          <p:nvPr/>
        </p:nvGrpSpPr>
        <p:grpSpPr>
          <a:xfrm>
            <a:off x="5192669" y="3788369"/>
            <a:ext cx="360000" cy="360000"/>
            <a:chOff x="5226122" y="4105091"/>
            <a:chExt cx="360000" cy="360000"/>
          </a:xfrm>
        </p:grpSpPr>
        <p:sp>
          <p:nvSpPr>
            <p:cNvPr id="1143" name="Полилиния 1142">
              <a:extLst>
                <a:ext uri="{FF2B5EF4-FFF2-40B4-BE49-F238E27FC236}">
                  <a16:creationId xmlns:a16="http://schemas.microsoft.com/office/drawing/2014/main" id="{DAAD7C37-D840-4B4C-A238-1A6A5B51EADE}"/>
                </a:ext>
              </a:extLst>
            </p:cNvPr>
            <p:cNvSpPr/>
            <p:nvPr/>
          </p:nvSpPr>
          <p:spPr>
            <a:xfrm>
              <a:off x="5226122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4" name="Полилиния 1143">
              <a:extLst>
                <a:ext uri="{FF2B5EF4-FFF2-40B4-BE49-F238E27FC236}">
                  <a16:creationId xmlns:a16="http://schemas.microsoft.com/office/drawing/2014/main" id="{5C8D17D6-4CA4-B548-B180-B00EDE09FD0B}"/>
                </a:ext>
              </a:extLst>
            </p:cNvPr>
            <p:cNvSpPr/>
            <p:nvPr/>
          </p:nvSpPr>
          <p:spPr>
            <a:xfrm>
              <a:off x="5316122" y="4135091"/>
              <a:ext cx="180000" cy="300000"/>
            </a:xfrm>
            <a:custGeom>
              <a:avLst/>
              <a:gdLst>
                <a:gd name="connsiteX0" fmla="*/ 119978 w 180000"/>
                <a:gd name="connsiteY0" fmla="*/ 158009 h 300000"/>
                <a:gd name="connsiteX1" fmla="*/ 105000 w 180000"/>
                <a:gd name="connsiteY1" fmla="*/ 149345 h 300000"/>
                <a:gd name="connsiteX2" fmla="*/ 105000 w 180000"/>
                <a:gd name="connsiteY2" fmla="*/ 45000 h 300000"/>
                <a:gd name="connsiteX3" fmla="*/ 90000 w 180000"/>
                <a:gd name="connsiteY3" fmla="*/ 30000 h 300000"/>
                <a:gd name="connsiteX4" fmla="*/ 75000 w 180000"/>
                <a:gd name="connsiteY4" fmla="*/ 45000 h 300000"/>
                <a:gd name="connsiteX5" fmla="*/ 75000 w 180000"/>
                <a:gd name="connsiteY5" fmla="*/ 149345 h 300000"/>
                <a:gd name="connsiteX6" fmla="*/ 60023 w 180000"/>
                <a:gd name="connsiteY6" fmla="*/ 158009 h 300000"/>
                <a:gd name="connsiteX7" fmla="*/ 30000 w 180000"/>
                <a:gd name="connsiteY7" fmla="*/ 210000 h 300000"/>
                <a:gd name="connsiteX8" fmla="*/ 90000 w 180000"/>
                <a:gd name="connsiteY8" fmla="*/ 270000 h 300000"/>
                <a:gd name="connsiteX9" fmla="*/ 150000 w 180000"/>
                <a:gd name="connsiteY9" fmla="*/ 210000 h 300000"/>
                <a:gd name="connsiteX10" fmla="*/ 119978 w 180000"/>
                <a:gd name="connsiteY10" fmla="*/ 158009 h 300000"/>
                <a:gd name="connsiteX11" fmla="*/ 180000 w 180000"/>
                <a:gd name="connsiteY11" fmla="*/ 210000 h 300000"/>
                <a:gd name="connsiteX12" fmla="*/ 90000 w 180000"/>
                <a:gd name="connsiteY12" fmla="*/ 300000 h 300000"/>
                <a:gd name="connsiteX13" fmla="*/ 0 w 180000"/>
                <a:gd name="connsiteY13" fmla="*/ 210000 h 300000"/>
                <a:gd name="connsiteX14" fmla="*/ 45000 w 180000"/>
                <a:gd name="connsiteY14" fmla="*/ 132041 h 300000"/>
                <a:gd name="connsiteX15" fmla="*/ 45000 w 180000"/>
                <a:gd name="connsiteY15" fmla="*/ 45000 h 300000"/>
                <a:gd name="connsiteX16" fmla="*/ 90000 w 180000"/>
                <a:gd name="connsiteY16" fmla="*/ 0 h 300000"/>
                <a:gd name="connsiteX17" fmla="*/ 135000 w 180000"/>
                <a:gd name="connsiteY17" fmla="*/ 45000 h 300000"/>
                <a:gd name="connsiteX18" fmla="*/ 135000 w 180000"/>
                <a:gd name="connsiteY18" fmla="*/ 132041 h 300000"/>
                <a:gd name="connsiteX19" fmla="*/ 180000 w 180000"/>
                <a:gd name="connsiteY19" fmla="*/ 21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0000" h="300000">
                  <a:moveTo>
                    <a:pt x="119978" y="158009"/>
                  </a:moveTo>
                  <a:lnTo>
                    <a:pt x="105000" y="149345"/>
                  </a:lnTo>
                  <a:lnTo>
                    <a:pt x="105000" y="45000"/>
                  </a:lnTo>
                  <a:cubicBezTo>
                    <a:pt x="105000" y="40994"/>
                    <a:pt x="97245" y="30132"/>
                    <a:pt x="90000" y="30000"/>
                  </a:cubicBezTo>
                  <a:cubicBezTo>
                    <a:pt x="82262" y="29859"/>
                    <a:pt x="75000" y="40721"/>
                    <a:pt x="75000" y="45000"/>
                  </a:cubicBezTo>
                  <a:lnTo>
                    <a:pt x="75000" y="149345"/>
                  </a:lnTo>
                  <a:lnTo>
                    <a:pt x="60023" y="158009"/>
                  </a:lnTo>
                  <a:cubicBezTo>
                    <a:pt x="41575" y="168680"/>
                    <a:pt x="30000" y="188316"/>
                    <a:pt x="30000" y="210000"/>
                  </a:cubicBezTo>
                  <a:cubicBezTo>
                    <a:pt x="30000" y="243137"/>
                    <a:pt x="56863" y="270000"/>
                    <a:pt x="90000" y="270000"/>
                  </a:cubicBezTo>
                  <a:cubicBezTo>
                    <a:pt x="123137" y="270000"/>
                    <a:pt x="150000" y="243137"/>
                    <a:pt x="150000" y="210000"/>
                  </a:cubicBezTo>
                  <a:cubicBezTo>
                    <a:pt x="150000" y="188316"/>
                    <a:pt x="138426" y="168680"/>
                    <a:pt x="119978" y="158009"/>
                  </a:cubicBezTo>
                  <a:close/>
                  <a:moveTo>
                    <a:pt x="180000" y="210000"/>
                  </a:moveTo>
                  <a:cubicBezTo>
                    <a:pt x="180000" y="259706"/>
                    <a:pt x="139706" y="300000"/>
                    <a:pt x="90000" y="300000"/>
                  </a:cubicBezTo>
                  <a:cubicBezTo>
                    <a:pt x="40294" y="300000"/>
                    <a:pt x="0" y="259706"/>
                    <a:pt x="0" y="210000"/>
                  </a:cubicBezTo>
                  <a:cubicBezTo>
                    <a:pt x="0" y="176688"/>
                    <a:pt x="18099" y="147602"/>
                    <a:pt x="45000" y="132041"/>
                  </a:cubicBezTo>
                  <a:lnTo>
                    <a:pt x="45000" y="45000"/>
                  </a:lnTo>
                  <a:cubicBezTo>
                    <a:pt x="45000" y="20147"/>
                    <a:pt x="65146" y="0"/>
                    <a:pt x="90000" y="0"/>
                  </a:cubicBezTo>
                  <a:cubicBezTo>
                    <a:pt x="114854" y="0"/>
                    <a:pt x="135000" y="20147"/>
                    <a:pt x="135000" y="45000"/>
                  </a:cubicBezTo>
                  <a:lnTo>
                    <a:pt x="135000" y="132041"/>
                  </a:lnTo>
                  <a:cubicBezTo>
                    <a:pt x="161901" y="147602"/>
                    <a:pt x="180000" y="176688"/>
                    <a:pt x="180000" y="21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45" name="Рисунок 281">
            <a:extLst>
              <a:ext uri="{FF2B5EF4-FFF2-40B4-BE49-F238E27FC236}">
                <a16:creationId xmlns:a16="http://schemas.microsoft.com/office/drawing/2014/main" id="{CA5BCA2E-D13D-7E42-AA8A-FB81F3298819}"/>
              </a:ext>
            </a:extLst>
          </p:cNvPr>
          <p:cNvGrpSpPr/>
          <p:nvPr/>
        </p:nvGrpSpPr>
        <p:grpSpPr>
          <a:xfrm>
            <a:off x="6702935" y="3788369"/>
            <a:ext cx="360000" cy="360000"/>
            <a:chOff x="6736388" y="4105091"/>
            <a:chExt cx="360000" cy="360000"/>
          </a:xfrm>
        </p:grpSpPr>
        <p:sp>
          <p:nvSpPr>
            <p:cNvPr id="1146" name="Полилиния 1145">
              <a:extLst>
                <a:ext uri="{FF2B5EF4-FFF2-40B4-BE49-F238E27FC236}">
                  <a16:creationId xmlns:a16="http://schemas.microsoft.com/office/drawing/2014/main" id="{683E3F56-39B4-9D47-BEAB-823FED554E4F}"/>
                </a:ext>
              </a:extLst>
            </p:cNvPr>
            <p:cNvSpPr/>
            <p:nvPr/>
          </p:nvSpPr>
          <p:spPr>
            <a:xfrm>
              <a:off x="6736388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7" name="Полилиния 1146">
              <a:extLst>
                <a:ext uri="{FF2B5EF4-FFF2-40B4-BE49-F238E27FC236}">
                  <a16:creationId xmlns:a16="http://schemas.microsoft.com/office/drawing/2014/main" id="{45596D65-9C60-4440-B312-5F6F231B0655}"/>
                </a:ext>
              </a:extLst>
            </p:cNvPr>
            <p:cNvSpPr/>
            <p:nvPr/>
          </p:nvSpPr>
          <p:spPr>
            <a:xfrm>
              <a:off x="6826388" y="4135091"/>
              <a:ext cx="180000" cy="300000"/>
            </a:xfrm>
            <a:custGeom>
              <a:avLst/>
              <a:gdLst>
                <a:gd name="connsiteX0" fmla="*/ 180000 w 180000"/>
                <a:gd name="connsiteY0" fmla="*/ 210000 h 300000"/>
                <a:gd name="connsiteX1" fmla="*/ 90000 w 180000"/>
                <a:gd name="connsiteY1" fmla="*/ 300000 h 300000"/>
                <a:gd name="connsiteX2" fmla="*/ 0 w 180000"/>
                <a:gd name="connsiteY2" fmla="*/ 210000 h 300000"/>
                <a:gd name="connsiteX3" fmla="*/ 45000 w 180000"/>
                <a:gd name="connsiteY3" fmla="*/ 132041 h 300000"/>
                <a:gd name="connsiteX4" fmla="*/ 45000 w 180000"/>
                <a:gd name="connsiteY4" fmla="*/ 45000 h 300000"/>
                <a:gd name="connsiteX5" fmla="*/ 90000 w 180000"/>
                <a:gd name="connsiteY5" fmla="*/ 0 h 300000"/>
                <a:gd name="connsiteX6" fmla="*/ 135000 w 180000"/>
                <a:gd name="connsiteY6" fmla="*/ 45000 h 300000"/>
                <a:gd name="connsiteX7" fmla="*/ 135000 w 180000"/>
                <a:gd name="connsiteY7" fmla="*/ 132041 h 300000"/>
                <a:gd name="connsiteX8" fmla="*/ 180000 w 180000"/>
                <a:gd name="connsiteY8" fmla="*/ 21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000" h="300000">
                  <a:moveTo>
                    <a:pt x="180000" y="210000"/>
                  </a:moveTo>
                  <a:cubicBezTo>
                    <a:pt x="180000" y="259706"/>
                    <a:pt x="139706" y="300000"/>
                    <a:pt x="90000" y="300000"/>
                  </a:cubicBezTo>
                  <a:cubicBezTo>
                    <a:pt x="40294" y="300000"/>
                    <a:pt x="0" y="259706"/>
                    <a:pt x="0" y="210000"/>
                  </a:cubicBezTo>
                  <a:cubicBezTo>
                    <a:pt x="0" y="176688"/>
                    <a:pt x="18099" y="147602"/>
                    <a:pt x="45000" y="132041"/>
                  </a:cubicBezTo>
                  <a:lnTo>
                    <a:pt x="45000" y="45000"/>
                  </a:lnTo>
                  <a:cubicBezTo>
                    <a:pt x="45000" y="20147"/>
                    <a:pt x="65146" y="0"/>
                    <a:pt x="90000" y="0"/>
                  </a:cubicBezTo>
                  <a:cubicBezTo>
                    <a:pt x="114854" y="0"/>
                    <a:pt x="135000" y="20147"/>
                    <a:pt x="135000" y="45000"/>
                  </a:cubicBezTo>
                  <a:lnTo>
                    <a:pt x="135000" y="132041"/>
                  </a:lnTo>
                  <a:cubicBezTo>
                    <a:pt x="161901" y="147602"/>
                    <a:pt x="180000" y="176688"/>
                    <a:pt x="180000" y="21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48" name="Рисунок 282">
            <a:extLst>
              <a:ext uri="{FF2B5EF4-FFF2-40B4-BE49-F238E27FC236}">
                <a16:creationId xmlns:a16="http://schemas.microsoft.com/office/drawing/2014/main" id="{DBE59C04-8D95-B643-A1E2-B58E7CC60F16}"/>
              </a:ext>
            </a:extLst>
          </p:cNvPr>
          <p:cNvGrpSpPr/>
          <p:nvPr/>
        </p:nvGrpSpPr>
        <p:grpSpPr>
          <a:xfrm>
            <a:off x="4437536" y="3788369"/>
            <a:ext cx="360000" cy="360000"/>
            <a:chOff x="4470989" y="4105091"/>
            <a:chExt cx="360000" cy="360000"/>
          </a:xfrm>
        </p:grpSpPr>
        <p:sp>
          <p:nvSpPr>
            <p:cNvPr id="1149" name="Полилиния 1148">
              <a:extLst>
                <a:ext uri="{FF2B5EF4-FFF2-40B4-BE49-F238E27FC236}">
                  <a16:creationId xmlns:a16="http://schemas.microsoft.com/office/drawing/2014/main" id="{E3938943-AFC2-D048-92A5-264BBBA01848}"/>
                </a:ext>
              </a:extLst>
            </p:cNvPr>
            <p:cNvSpPr/>
            <p:nvPr/>
          </p:nvSpPr>
          <p:spPr>
            <a:xfrm>
              <a:off x="4470989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0" name="Полилиния 1149">
              <a:extLst>
                <a:ext uri="{FF2B5EF4-FFF2-40B4-BE49-F238E27FC236}">
                  <a16:creationId xmlns:a16="http://schemas.microsoft.com/office/drawing/2014/main" id="{666B0660-3954-7441-AC66-959518CDDADE}"/>
                </a:ext>
              </a:extLst>
            </p:cNvPr>
            <p:cNvSpPr/>
            <p:nvPr/>
          </p:nvSpPr>
          <p:spPr>
            <a:xfrm>
              <a:off x="4560989" y="4135091"/>
              <a:ext cx="180000" cy="300000"/>
            </a:xfrm>
            <a:custGeom>
              <a:avLst/>
              <a:gdLst>
                <a:gd name="connsiteX0" fmla="*/ 180000 w 180000"/>
                <a:gd name="connsiteY0" fmla="*/ 210000 h 300000"/>
                <a:gd name="connsiteX1" fmla="*/ 90000 w 180000"/>
                <a:gd name="connsiteY1" fmla="*/ 300000 h 300000"/>
                <a:gd name="connsiteX2" fmla="*/ 0 w 180000"/>
                <a:gd name="connsiteY2" fmla="*/ 210000 h 300000"/>
                <a:gd name="connsiteX3" fmla="*/ 45000 w 180000"/>
                <a:gd name="connsiteY3" fmla="*/ 132041 h 300000"/>
                <a:gd name="connsiteX4" fmla="*/ 45000 w 180000"/>
                <a:gd name="connsiteY4" fmla="*/ 45000 h 300000"/>
                <a:gd name="connsiteX5" fmla="*/ 90000 w 180000"/>
                <a:gd name="connsiteY5" fmla="*/ 0 h 300000"/>
                <a:gd name="connsiteX6" fmla="*/ 135000 w 180000"/>
                <a:gd name="connsiteY6" fmla="*/ 45000 h 300000"/>
                <a:gd name="connsiteX7" fmla="*/ 135000 w 180000"/>
                <a:gd name="connsiteY7" fmla="*/ 132041 h 300000"/>
                <a:gd name="connsiteX8" fmla="*/ 180000 w 180000"/>
                <a:gd name="connsiteY8" fmla="*/ 210000 h 300000"/>
                <a:gd name="connsiteX9" fmla="*/ 90000 w 180000"/>
                <a:gd name="connsiteY9" fmla="*/ 30000 h 300000"/>
                <a:gd name="connsiteX10" fmla="*/ 75000 w 180000"/>
                <a:gd name="connsiteY10" fmla="*/ 45000 h 300000"/>
                <a:gd name="connsiteX11" fmla="*/ 75000 w 180000"/>
                <a:gd name="connsiteY11" fmla="*/ 120000 h 300000"/>
                <a:gd name="connsiteX12" fmla="*/ 90000 w 180000"/>
                <a:gd name="connsiteY12" fmla="*/ 135000 h 300000"/>
                <a:gd name="connsiteX13" fmla="*/ 105000 w 180000"/>
                <a:gd name="connsiteY13" fmla="*/ 120000 h 300000"/>
                <a:gd name="connsiteX14" fmla="*/ 105000 w 180000"/>
                <a:gd name="connsiteY14" fmla="*/ 45000 h 300000"/>
                <a:gd name="connsiteX15" fmla="*/ 90000 w 180000"/>
                <a:gd name="connsiteY15" fmla="*/ 3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0000" h="300000">
                  <a:moveTo>
                    <a:pt x="180000" y="210000"/>
                  </a:moveTo>
                  <a:cubicBezTo>
                    <a:pt x="180000" y="259706"/>
                    <a:pt x="139706" y="300000"/>
                    <a:pt x="90000" y="300000"/>
                  </a:cubicBezTo>
                  <a:cubicBezTo>
                    <a:pt x="40294" y="300000"/>
                    <a:pt x="0" y="259706"/>
                    <a:pt x="0" y="210000"/>
                  </a:cubicBezTo>
                  <a:cubicBezTo>
                    <a:pt x="0" y="176688"/>
                    <a:pt x="18099" y="147602"/>
                    <a:pt x="45000" y="132041"/>
                  </a:cubicBezTo>
                  <a:lnTo>
                    <a:pt x="45000" y="45000"/>
                  </a:lnTo>
                  <a:cubicBezTo>
                    <a:pt x="45000" y="20147"/>
                    <a:pt x="65146" y="0"/>
                    <a:pt x="90000" y="0"/>
                  </a:cubicBezTo>
                  <a:cubicBezTo>
                    <a:pt x="114854" y="0"/>
                    <a:pt x="135000" y="20147"/>
                    <a:pt x="135000" y="45000"/>
                  </a:cubicBezTo>
                  <a:lnTo>
                    <a:pt x="135000" y="132041"/>
                  </a:lnTo>
                  <a:cubicBezTo>
                    <a:pt x="161901" y="147602"/>
                    <a:pt x="180000" y="176688"/>
                    <a:pt x="180000" y="210000"/>
                  </a:cubicBezTo>
                  <a:close/>
                  <a:moveTo>
                    <a:pt x="90000" y="30000"/>
                  </a:moveTo>
                  <a:cubicBezTo>
                    <a:pt x="81715" y="30000"/>
                    <a:pt x="75000" y="36716"/>
                    <a:pt x="75000" y="45000"/>
                  </a:cubicBezTo>
                  <a:lnTo>
                    <a:pt x="75000" y="120000"/>
                  </a:lnTo>
                  <a:cubicBezTo>
                    <a:pt x="75000" y="128285"/>
                    <a:pt x="81715" y="135000"/>
                    <a:pt x="90000" y="135000"/>
                  </a:cubicBezTo>
                  <a:cubicBezTo>
                    <a:pt x="98285" y="135000"/>
                    <a:pt x="105000" y="128285"/>
                    <a:pt x="105000" y="120000"/>
                  </a:cubicBezTo>
                  <a:lnTo>
                    <a:pt x="105000" y="45000"/>
                  </a:lnTo>
                  <a:cubicBezTo>
                    <a:pt x="105000" y="36716"/>
                    <a:pt x="98285" y="30000"/>
                    <a:pt x="90000" y="3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51" name="Рисунок 283">
            <a:extLst>
              <a:ext uri="{FF2B5EF4-FFF2-40B4-BE49-F238E27FC236}">
                <a16:creationId xmlns:a16="http://schemas.microsoft.com/office/drawing/2014/main" id="{974B97B2-557B-D142-95AB-FFA975309BE3}"/>
              </a:ext>
            </a:extLst>
          </p:cNvPr>
          <p:cNvGrpSpPr/>
          <p:nvPr/>
        </p:nvGrpSpPr>
        <p:grpSpPr>
          <a:xfrm>
            <a:off x="3682403" y="3788369"/>
            <a:ext cx="360000" cy="360000"/>
            <a:chOff x="3715856" y="4105091"/>
            <a:chExt cx="360000" cy="360000"/>
          </a:xfrm>
        </p:grpSpPr>
        <p:sp>
          <p:nvSpPr>
            <p:cNvPr id="1152" name="Полилиния 1151">
              <a:extLst>
                <a:ext uri="{FF2B5EF4-FFF2-40B4-BE49-F238E27FC236}">
                  <a16:creationId xmlns:a16="http://schemas.microsoft.com/office/drawing/2014/main" id="{7C3D5061-CE87-AF45-BA68-D042F5B8B369}"/>
                </a:ext>
              </a:extLst>
            </p:cNvPr>
            <p:cNvSpPr/>
            <p:nvPr/>
          </p:nvSpPr>
          <p:spPr>
            <a:xfrm>
              <a:off x="3715856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3" name="Полилиния 1152">
              <a:extLst>
                <a:ext uri="{FF2B5EF4-FFF2-40B4-BE49-F238E27FC236}">
                  <a16:creationId xmlns:a16="http://schemas.microsoft.com/office/drawing/2014/main" id="{A9489CE9-ADB6-8347-8732-33D060313469}"/>
                </a:ext>
              </a:extLst>
            </p:cNvPr>
            <p:cNvSpPr/>
            <p:nvPr/>
          </p:nvSpPr>
          <p:spPr>
            <a:xfrm rot="5400000">
              <a:off x="3745856" y="4225090"/>
              <a:ext cx="209999" cy="119999"/>
            </a:xfrm>
            <a:custGeom>
              <a:avLst/>
              <a:gdLst>
                <a:gd name="connsiteX0" fmla="*/ 25607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3 w 209999"/>
                <a:gd name="connsiteY3" fmla="*/ 4393 h 119999"/>
                <a:gd name="connsiteX4" fmla="*/ 115136 w 209999"/>
                <a:gd name="connsiteY4" fmla="*/ 3943 h 119999"/>
                <a:gd name="connsiteX5" fmla="*/ 205136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1 w 209999"/>
                <a:gd name="connsiteY8" fmla="*/ 35762 h 119999"/>
                <a:gd name="connsiteX9" fmla="*/ 25607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3" y="4393"/>
                  </a:lnTo>
                  <a:cubicBezTo>
                    <a:pt x="100072" y="-1285"/>
                    <a:pt x="109216" y="-1484"/>
                    <a:pt x="115136" y="3943"/>
                  </a:cubicBezTo>
                  <a:lnTo>
                    <a:pt x="205136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1" y="35762"/>
                  </a:lnTo>
                  <a:lnTo>
                    <a:pt x="25607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4" name="Скругленный прямоугольник 1153">
              <a:extLst>
                <a:ext uri="{FF2B5EF4-FFF2-40B4-BE49-F238E27FC236}">
                  <a16:creationId xmlns:a16="http://schemas.microsoft.com/office/drawing/2014/main" id="{8BD4CC4B-A3BD-9448-9C30-C3EED95E275A}"/>
                </a:ext>
              </a:extLst>
            </p:cNvPr>
            <p:cNvSpPr/>
            <p:nvPr/>
          </p:nvSpPr>
          <p:spPr>
            <a:xfrm>
              <a:off x="3895856" y="4360091"/>
              <a:ext cx="15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55" name="Рисунок 284">
            <a:extLst>
              <a:ext uri="{FF2B5EF4-FFF2-40B4-BE49-F238E27FC236}">
                <a16:creationId xmlns:a16="http://schemas.microsoft.com/office/drawing/2014/main" id="{689A850A-B5E3-7A49-9C9F-618C4B197E96}"/>
              </a:ext>
            </a:extLst>
          </p:cNvPr>
          <p:cNvGrpSpPr/>
          <p:nvPr/>
        </p:nvGrpSpPr>
        <p:grpSpPr>
          <a:xfrm>
            <a:off x="2927270" y="3788369"/>
            <a:ext cx="360000" cy="360000"/>
            <a:chOff x="2960723" y="4105091"/>
            <a:chExt cx="360000" cy="360000"/>
          </a:xfrm>
        </p:grpSpPr>
        <p:sp>
          <p:nvSpPr>
            <p:cNvPr id="1156" name="Полилиния 1155">
              <a:extLst>
                <a:ext uri="{FF2B5EF4-FFF2-40B4-BE49-F238E27FC236}">
                  <a16:creationId xmlns:a16="http://schemas.microsoft.com/office/drawing/2014/main" id="{6B61C53B-9731-444C-BC63-265984E096E1}"/>
                </a:ext>
              </a:extLst>
            </p:cNvPr>
            <p:cNvSpPr/>
            <p:nvPr/>
          </p:nvSpPr>
          <p:spPr>
            <a:xfrm>
              <a:off x="2960723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7" name="Полилиния 1156">
              <a:extLst>
                <a:ext uri="{FF2B5EF4-FFF2-40B4-BE49-F238E27FC236}">
                  <a16:creationId xmlns:a16="http://schemas.microsoft.com/office/drawing/2014/main" id="{892D9FCD-E21D-DA48-AAEE-AB71C51573D7}"/>
                </a:ext>
              </a:extLst>
            </p:cNvPr>
            <p:cNvSpPr/>
            <p:nvPr/>
          </p:nvSpPr>
          <p:spPr>
            <a:xfrm>
              <a:off x="3050723" y="4180091"/>
              <a:ext cx="180000" cy="210000"/>
            </a:xfrm>
            <a:custGeom>
              <a:avLst/>
              <a:gdLst>
                <a:gd name="connsiteX0" fmla="*/ 112500 w 180000"/>
                <a:gd name="connsiteY0" fmla="*/ 45000 h 210000"/>
                <a:gd name="connsiteX1" fmla="*/ 112500 w 180000"/>
                <a:gd name="connsiteY1" fmla="*/ 195000 h 210000"/>
                <a:gd name="connsiteX2" fmla="*/ 97500 w 180000"/>
                <a:gd name="connsiteY2" fmla="*/ 210000 h 210000"/>
                <a:gd name="connsiteX3" fmla="*/ 82500 w 180000"/>
                <a:gd name="connsiteY3" fmla="*/ 210000 h 210000"/>
                <a:gd name="connsiteX4" fmla="*/ 67500 w 180000"/>
                <a:gd name="connsiteY4" fmla="*/ 195000 h 210000"/>
                <a:gd name="connsiteX5" fmla="*/ 67500 w 180000"/>
                <a:gd name="connsiteY5" fmla="*/ 45000 h 210000"/>
                <a:gd name="connsiteX6" fmla="*/ 15000 w 180000"/>
                <a:gd name="connsiteY6" fmla="*/ 45000 h 210000"/>
                <a:gd name="connsiteX7" fmla="*/ 0 w 180000"/>
                <a:gd name="connsiteY7" fmla="*/ 30000 h 210000"/>
                <a:gd name="connsiteX8" fmla="*/ 0 w 180000"/>
                <a:gd name="connsiteY8" fmla="*/ 15000 h 210000"/>
                <a:gd name="connsiteX9" fmla="*/ 15000 w 180000"/>
                <a:gd name="connsiteY9" fmla="*/ 0 h 210000"/>
                <a:gd name="connsiteX10" fmla="*/ 165000 w 180000"/>
                <a:gd name="connsiteY10" fmla="*/ 0 h 210000"/>
                <a:gd name="connsiteX11" fmla="*/ 180000 w 180000"/>
                <a:gd name="connsiteY11" fmla="*/ 15000 h 210000"/>
                <a:gd name="connsiteX12" fmla="*/ 180000 w 180000"/>
                <a:gd name="connsiteY12" fmla="*/ 30000 h 210000"/>
                <a:gd name="connsiteX13" fmla="*/ 165000 w 180000"/>
                <a:gd name="connsiteY13" fmla="*/ 45000 h 210000"/>
                <a:gd name="connsiteX14" fmla="*/ 112500 w 180000"/>
                <a:gd name="connsiteY14" fmla="*/ 45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0000" h="210000">
                  <a:moveTo>
                    <a:pt x="112500" y="45000"/>
                  </a:moveTo>
                  <a:lnTo>
                    <a:pt x="112500" y="195000"/>
                  </a:lnTo>
                  <a:cubicBezTo>
                    <a:pt x="112500" y="203285"/>
                    <a:pt x="105785" y="210000"/>
                    <a:pt x="97500" y="210000"/>
                  </a:cubicBezTo>
                  <a:lnTo>
                    <a:pt x="82500" y="210000"/>
                  </a:lnTo>
                  <a:cubicBezTo>
                    <a:pt x="74215" y="210000"/>
                    <a:pt x="67500" y="203285"/>
                    <a:pt x="67500" y="195000"/>
                  </a:cubicBezTo>
                  <a:lnTo>
                    <a:pt x="67500" y="45000"/>
                  </a:lnTo>
                  <a:lnTo>
                    <a:pt x="15000" y="45000"/>
                  </a:lnTo>
                  <a:cubicBezTo>
                    <a:pt x="6716" y="45000"/>
                    <a:pt x="0" y="38284"/>
                    <a:pt x="0" y="30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165000" y="0"/>
                  </a:lnTo>
                  <a:cubicBezTo>
                    <a:pt x="173285" y="0"/>
                    <a:pt x="180000" y="6716"/>
                    <a:pt x="180000" y="15000"/>
                  </a:cubicBezTo>
                  <a:lnTo>
                    <a:pt x="180000" y="30000"/>
                  </a:lnTo>
                  <a:cubicBezTo>
                    <a:pt x="180000" y="38284"/>
                    <a:pt x="173285" y="45000"/>
                    <a:pt x="165000" y="45000"/>
                  </a:cubicBezTo>
                  <a:lnTo>
                    <a:pt x="112500" y="4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58" name="Рисунок 285">
            <a:extLst>
              <a:ext uri="{FF2B5EF4-FFF2-40B4-BE49-F238E27FC236}">
                <a16:creationId xmlns:a16="http://schemas.microsoft.com/office/drawing/2014/main" id="{44664C74-307E-6A40-85E7-44674E243DFC}"/>
              </a:ext>
            </a:extLst>
          </p:cNvPr>
          <p:cNvGrpSpPr/>
          <p:nvPr/>
        </p:nvGrpSpPr>
        <p:grpSpPr>
          <a:xfrm>
            <a:off x="1417004" y="3788369"/>
            <a:ext cx="360000" cy="360000"/>
            <a:chOff x="1450457" y="4105091"/>
            <a:chExt cx="360000" cy="360000"/>
          </a:xfrm>
        </p:grpSpPr>
        <p:sp>
          <p:nvSpPr>
            <p:cNvPr id="1159" name="Полилиния 1158">
              <a:extLst>
                <a:ext uri="{FF2B5EF4-FFF2-40B4-BE49-F238E27FC236}">
                  <a16:creationId xmlns:a16="http://schemas.microsoft.com/office/drawing/2014/main" id="{8C430F20-CC16-FC44-A416-F2D4481F2B42}"/>
                </a:ext>
              </a:extLst>
            </p:cNvPr>
            <p:cNvSpPr/>
            <p:nvPr/>
          </p:nvSpPr>
          <p:spPr>
            <a:xfrm>
              <a:off x="1450457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0" name="Полилиния 1159">
              <a:extLst>
                <a:ext uri="{FF2B5EF4-FFF2-40B4-BE49-F238E27FC236}">
                  <a16:creationId xmlns:a16="http://schemas.microsoft.com/office/drawing/2014/main" id="{3265CC77-AAF5-874F-BE88-93625BDE3EB8}"/>
                </a:ext>
              </a:extLst>
            </p:cNvPr>
            <p:cNvSpPr/>
            <p:nvPr/>
          </p:nvSpPr>
          <p:spPr>
            <a:xfrm>
              <a:off x="1465457" y="4180091"/>
              <a:ext cx="180000" cy="210000"/>
            </a:xfrm>
            <a:custGeom>
              <a:avLst/>
              <a:gdLst>
                <a:gd name="connsiteX0" fmla="*/ 112500 w 180000"/>
                <a:gd name="connsiteY0" fmla="*/ 45000 h 210000"/>
                <a:gd name="connsiteX1" fmla="*/ 112500 w 180000"/>
                <a:gd name="connsiteY1" fmla="*/ 195000 h 210000"/>
                <a:gd name="connsiteX2" fmla="*/ 97500 w 180000"/>
                <a:gd name="connsiteY2" fmla="*/ 210000 h 210000"/>
                <a:gd name="connsiteX3" fmla="*/ 82500 w 180000"/>
                <a:gd name="connsiteY3" fmla="*/ 210000 h 210000"/>
                <a:gd name="connsiteX4" fmla="*/ 67500 w 180000"/>
                <a:gd name="connsiteY4" fmla="*/ 195000 h 210000"/>
                <a:gd name="connsiteX5" fmla="*/ 67500 w 180000"/>
                <a:gd name="connsiteY5" fmla="*/ 45000 h 210000"/>
                <a:gd name="connsiteX6" fmla="*/ 15000 w 180000"/>
                <a:gd name="connsiteY6" fmla="*/ 45000 h 210000"/>
                <a:gd name="connsiteX7" fmla="*/ 0 w 180000"/>
                <a:gd name="connsiteY7" fmla="*/ 30000 h 210000"/>
                <a:gd name="connsiteX8" fmla="*/ 0 w 180000"/>
                <a:gd name="connsiteY8" fmla="*/ 15000 h 210000"/>
                <a:gd name="connsiteX9" fmla="*/ 15000 w 180000"/>
                <a:gd name="connsiteY9" fmla="*/ 0 h 210000"/>
                <a:gd name="connsiteX10" fmla="*/ 165000 w 180000"/>
                <a:gd name="connsiteY10" fmla="*/ 0 h 210000"/>
                <a:gd name="connsiteX11" fmla="*/ 180000 w 180000"/>
                <a:gd name="connsiteY11" fmla="*/ 15000 h 210000"/>
                <a:gd name="connsiteX12" fmla="*/ 180000 w 180000"/>
                <a:gd name="connsiteY12" fmla="*/ 30000 h 210000"/>
                <a:gd name="connsiteX13" fmla="*/ 165000 w 180000"/>
                <a:gd name="connsiteY13" fmla="*/ 45000 h 210000"/>
                <a:gd name="connsiteX14" fmla="*/ 112500 w 180000"/>
                <a:gd name="connsiteY14" fmla="*/ 45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0000" h="210000">
                  <a:moveTo>
                    <a:pt x="112500" y="45000"/>
                  </a:moveTo>
                  <a:lnTo>
                    <a:pt x="112500" y="195000"/>
                  </a:lnTo>
                  <a:cubicBezTo>
                    <a:pt x="112500" y="203285"/>
                    <a:pt x="105784" y="210000"/>
                    <a:pt x="97500" y="210000"/>
                  </a:cubicBezTo>
                  <a:lnTo>
                    <a:pt x="82500" y="210000"/>
                  </a:lnTo>
                  <a:cubicBezTo>
                    <a:pt x="74216" y="210000"/>
                    <a:pt x="67500" y="203285"/>
                    <a:pt x="67500" y="195000"/>
                  </a:cubicBezTo>
                  <a:lnTo>
                    <a:pt x="67500" y="45000"/>
                  </a:lnTo>
                  <a:lnTo>
                    <a:pt x="15000" y="45000"/>
                  </a:lnTo>
                  <a:cubicBezTo>
                    <a:pt x="6716" y="45000"/>
                    <a:pt x="0" y="38284"/>
                    <a:pt x="0" y="30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165000" y="0"/>
                  </a:lnTo>
                  <a:cubicBezTo>
                    <a:pt x="173285" y="0"/>
                    <a:pt x="180000" y="6716"/>
                    <a:pt x="180000" y="15000"/>
                  </a:cubicBezTo>
                  <a:lnTo>
                    <a:pt x="180000" y="30000"/>
                  </a:lnTo>
                  <a:cubicBezTo>
                    <a:pt x="180000" y="38284"/>
                    <a:pt x="173285" y="45000"/>
                    <a:pt x="165000" y="45000"/>
                  </a:cubicBezTo>
                  <a:lnTo>
                    <a:pt x="112500" y="4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1" name="Полилиния 1160">
              <a:extLst>
                <a:ext uri="{FF2B5EF4-FFF2-40B4-BE49-F238E27FC236}">
                  <a16:creationId xmlns:a16="http://schemas.microsoft.com/office/drawing/2014/main" id="{914ABA8F-A6CD-974E-9C07-8E2F1B825981}"/>
                </a:ext>
              </a:extLst>
            </p:cNvPr>
            <p:cNvSpPr/>
            <p:nvPr/>
          </p:nvSpPr>
          <p:spPr>
            <a:xfrm>
              <a:off x="1675457" y="4165091"/>
              <a:ext cx="119999" cy="239999"/>
            </a:xfrm>
            <a:custGeom>
              <a:avLst/>
              <a:gdLst>
                <a:gd name="connsiteX0" fmla="*/ 75000 w 119999"/>
                <a:gd name="connsiteY0" fmla="*/ 188787 h 239999"/>
                <a:gd name="connsiteX1" fmla="*/ 94393 w 119999"/>
                <a:gd name="connsiteY1" fmla="*/ 169394 h 239999"/>
                <a:gd name="connsiteX2" fmla="*/ 115606 w 119999"/>
                <a:gd name="connsiteY2" fmla="*/ 169394 h 239999"/>
                <a:gd name="connsiteX3" fmla="*/ 115606 w 119999"/>
                <a:gd name="connsiteY3" fmla="*/ 190607 h 239999"/>
                <a:gd name="connsiteX4" fmla="*/ 70606 w 119999"/>
                <a:gd name="connsiteY4" fmla="*/ 235607 h 239999"/>
                <a:gd name="connsiteX5" fmla="*/ 49393 w 119999"/>
                <a:gd name="connsiteY5" fmla="*/ 235607 h 239999"/>
                <a:gd name="connsiteX6" fmla="*/ 4393 w 119999"/>
                <a:gd name="connsiteY6" fmla="*/ 190607 h 239999"/>
                <a:gd name="connsiteX7" fmla="*/ 4393 w 119999"/>
                <a:gd name="connsiteY7" fmla="*/ 169394 h 239999"/>
                <a:gd name="connsiteX8" fmla="*/ 25606 w 119999"/>
                <a:gd name="connsiteY8" fmla="*/ 169394 h 239999"/>
                <a:gd name="connsiteX9" fmla="*/ 45000 w 119999"/>
                <a:gd name="connsiteY9" fmla="*/ 188787 h 239999"/>
                <a:gd name="connsiteX10" fmla="*/ 45000 w 119999"/>
                <a:gd name="connsiteY10" fmla="*/ 51213 h 239999"/>
                <a:gd name="connsiteX11" fmla="*/ 25606 w 119999"/>
                <a:gd name="connsiteY11" fmla="*/ 70607 h 239999"/>
                <a:gd name="connsiteX12" fmla="*/ 4393 w 119999"/>
                <a:gd name="connsiteY12" fmla="*/ 70607 h 239999"/>
                <a:gd name="connsiteX13" fmla="*/ 4393 w 119999"/>
                <a:gd name="connsiteY13" fmla="*/ 49393 h 239999"/>
                <a:gd name="connsiteX14" fmla="*/ 49393 w 119999"/>
                <a:gd name="connsiteY14" fmla="*/ 4393 h 239999"/>
                <a:gd name="connsiteX15" fmla="*/ 70606 w 119999"/>
                <a:gd name="connsiteY15" fmla="*/ 4393 h 239999"/>
                <a:gd name="connsiteX16" fmla="*/ 115606 w 119999"/>
                <a:gd name="connsiteY16" fmla="*/ 49393 h 239999"/>
                <a:gd name="connsiteX17" fmla="*/ 115606 w 119999"/>
                <a:gd name="connsiteY17" fmla="*/ 70607 h 239999"/>
                <a:gd name="connsiteX18" fmla="*/ 94393 w 119999"/>
                <a:gd name="connsiteY18" fmla="*/ 70607 h 239999"/>
                <a:gd name="connsiteX19" fmla="*/ 75000 w 119999"/>
                <a:gd name="connsiteY19" fmla="*/ 51213 h 239999"/>
                <a:gd name="connsiteX20" fmla="*/ 75000 w 119999"/>
                <a:gd name="connsiteY20" fmla="*/ 188787 h 2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999" h="239999">
                  <a:moveTo>
                    <a:pt x="75000" y="188787"/>
                  </a:moveTo>
                  <a:lnTo>
                    <a:pt x="94393" y="169394"/>
                  </a:lnTo>
                  <a:cubicBezTo>
                    <a:pt x="100251" y="163536"/>
                    <a:pt x="109749" y="163536"/>
                    <a:pt x="115606" y="169394"/>
                  </a:cubicBezTo>
                  <a:cubicBezTo>
                    <a:pt x="121464" y="175251"/>
                    <a:pt x="121464" y="184749"/>
                    <a:pt x="115606" y="190607"/>
                  </a:cubicBezTo>
                  <a:lnTo>
                    <a:pt x="70606" y="235607"/>
                  </a:lnTo>
                  <a:cubicBezTo>
                    <a:pt x="64749" y="241464"/>
                    <a:pt x="55251" y="241464"/>
                    <a:pt x="49393" y="235607"/>
                  </a:cubicBezTo>
                  <a:lnTo>
                    <a:pt x="4393" y="190607"/>
                  </a:lnTo>
                  <a:cubicBezTo>
                    <a:pt x="-1464" y="184749"/>
                    <a:pt x="-1464" y="175251"/>
                    <a:pt x="4393" y="169394"/>
                  </a:cubicBezTo>
                  <a:cubicBezTo>
                    <a:pt x="10251" y="163536"/>
                    <a:pt x="19749" y="163536"/>
                    <a:pt x="25606" y="169394"/>
                  </a:cubicBezTo>
                  <a:lnTo>
                    <a:pt x="45000" y="188787"/>
                  </a:lnTo>
                  <a:lnTo>
                    <a:pt x="45000" y="51213"/>
                  </a:lnTo>
                  <a:lnTo>
                    <a:pt x="25606" y="70607"/>
                  </a:lnTo>
                  <a:cubicBezTo>
                    <a:pt x="19749" y="76464"/>
                    <a:pt x="10251" y="76464"/>
                    <a:pt x="4393" y="70607"/>
                  </a:cubicBezTo>
                  <a:cubicBezTo>
                    <a:pt x="-1464" y="64749"/>
                    <a:pt x="-1464" y="55251"/>
                    <a:pt x="4393" y="49393"/>
                  </a:cubicBezTo>
                  <a:lnTo>
                    <a:pt x="49393" y="4393"/>
                  </a:lnTo>
                  <a:cubicBezTo>
                    <a:pt x="55251" y="-1464"/>
                    <a:pt x="64749" y="-1464"/>
                    <a:pt x="70606" y="4393"/>
                  </a:cubicBezTo>
                  <a:lnTo>
                    <a:pt x="115606" y="49393"/>
                  </a:lnTo>
                  <a:cubicBezTo>
                    <a:pt x="121464" y="55251"/>
                    <a:pt x="121464" y="64749"/>
                    <a:pt x="115606" y="70607"/>
                  </a:cubicBezTo>
                  <a:cubicBezTo>
                    <a:pt x="109749" y="76464"/>
                    <a:pt x="100251" y="76464"/>
                    <a:pt x="94393" y="70607"/>
                  </a:cubicBezTo>
                  <a:lnTo>
                    <a:pt x="75000" y="51213"/>
                  </a:lnTo>
                  <a:lnTo>
                    <a:pt x="75000" y="18878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62" name="Рисунок 286">
            <a:extLst>
              <a:ext uri="{FF2B5EF4-FFF2-40B4-BE49-F238E27FC236}">
                <a16:creationId xmlns:a16="http://schemas.microsoft.com/office/drawing/2014/main" id="{58051C76-9F12-7640-A22B-5A19BEFD8B3B}"/>
              </a:ext>
            </a:extLst>
          </p:cNvPr>
          <p:cNvGrpSpPr/>
          <p:nvPr/>
        </p:nvGrpSpPr>
        <p:grpSpPr>
          <a:xfrm>
            <a:off x="661871" y="3788369"/>
            <a:ext cx="360000" cy="360000"/>
            <a:chOff x="695324" y="4105091"/>
            <a:chExt cx="360000" cy="360000"/>
          </a:xfrm>
        </p:grpSpPr>
        <p:sp>
          <p:nvSpPr>
            <p:cNvPr id="1163" name="Полилиния 1162">
              <a:extLst>
                <a:ext uri="{FF2B5EF4-FFF2-40B4-BE49-F238E27FC236}">
                  <a16:creationId xmlns:a16="http://schemas.microsoft.com/office/drawing/2014/main" id="{64F97069-D1F0-D649-ABBB-C1B215A4244C}"/>
                </a:ext>
              </a:extLst>
            </p:cNvPr>
            <p:cNvSpPr/>
            <p:nvPr/>
          </p:nvSpPr>
          <p:spPr>
            <a:xfrm>
              <a:off x="695324" y="410509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4" name="Полилиния 1163">
              <a:extLst>
                <a:ext uri="{FF2B5EF4-FFF2-40B4-BE49-F238E27FC236}">
                  <a16:creationId xmlns:a16="http://schemas.microsoft.com/office/drawing/2014/main" id="{8B7021B5-117B-A045-9EC2-92A1D9919A68}"/>
                </a:ext>
              </a:extLst>
            </p:cNvPr>
            <p:cNvSpPr/>
            <p:nvPr/>
          </p:nvSpPr>
          <p:spPr>
            <a:xfrm>
              <a:off x="785324" y="4120091"/>
              <a:ext cx="180000" cy="210000"/>
            </a:xfrm>
            <a:custGeom>
              <a:avLst/>
              <a:gdLst>
                <a:gd name="connsiteX0" fmla="*/ 112500 w 180000"/>
                <a:gd name="connsiteY0" fmla="*/ 45000 h 210000"/>
                <a:gd name="connsiteX1" fmla="*/ 112500 w 180000"/>
                <a:gd name="connsiteY1" fmla="*/ 195000 h 210000"/>
                <a:gd name="connsiteX2" fmla="*/ 97500 w 180000"/>
                <a:gd name="connsiteY2" fmla="*/ 210000 h 210000"/>
                <a:gd name="connsiteX3" fmla="*/ 82500 w 180000"/>
                <a:gd name="connsiteY3" fmla="*/ 210000 h 210000"/>
                <a:gd name="connsiteX4" fmla="*/ 67500 w 180000"/>
                <a:gd name="connsiteY4" fmla="*/ 195000 h 210000"/>
                <a:gd name="connsiteX5" fmla="*/ 67500 w 180000"/>
                <a:gd name="connsiteY5" fmla="*/ 45000 h 210000"/>
                <a:gd name="connsiteX6" fmla="*/ 15000 w 180000"/>
                <a:gd name="connsiteY6" fmla="*/ 45000 h 210000"/>
                <a:gd name="connsiteX7" fmla="*/ 0 w 180000"/>
                <a:gd name="connsiteY7" fmla="*/ 30000 h 210000"/>
                <a:gd name="connsiteX8" fmla="*/ 0 w 180000"/>
                <a:gd name="connsiteY8" fmla="*/ 15000 h 210000"/>
                <a:gd name="connsiteX9" fmla="*/ 15000 w 180000"/>
                <a:gd name="connsiteY9" fmla="*/ 0 h 210000"/>
                <a:gd name="connsiteX10" fmla="*/ 165000 w 180000"/>
                <a:gd name="connsiteY10" fmla="*/ 0 h 210000"/>
                <a:gd name="connsiteX11" fmla="*/ 180000 w 180000"/>
                <a:gd name="connsiteY11" fmla="*/ 15000 h 210000"/>
                <a:gd name="connsiteX12" fmla="*/ 180000 w 180000"/>
                <a:gd name="connsiteY12" fmla="*/ 30000 h 210000"/>
                <a:gd name="connsiteX13" fmla="*/ 165000 w 180000"/>
                <a:gd name="connsiteY13" fmla="*/ 45000 h 210000"/>
                <a:gd name="connsiteX14" fmla="*/ 112500 w 180000"/>
                <a:gd name="connsiteY14" fmla="*/ 45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0000" h="210000">
                  <a:moveTo>
                    <a:pt x="112500" y="45000"/>
                  </a:moveTo>
                  <a:lnTo>
                    <a:pt x="112500" y="195000"/>
                  </a:lnTo>
                  <a:cubicBezTo>
                    <a:pt x="112500" y="203285"/>
                    <a:pt x="105785" y="210000"/>
                    <a:pt x="97500" y="210000"/>
                  </a:cubicBezTo>
                  <a:lnTo>
                    <a:pt x="82500" y="210000"/>
                  </a:lnTo>
                  <a:cubicBezTo>
                    <a:pt x="74215" y="210000"/>
                    <a:pt x="67500" y="203285"/>
                    <a:pt x="67500" y="195000"/>
                  </a:cubicBezTo>
                  <a:lnTo>
                    <a:pt x="67500" y="45000"/>
                  </a:lnTo>
                  <a:lnTo>
                    <a:pt x="15000" y="45000"/>
                  </a:lnTo>
                  <a:cubicBezTo>
                    <a:pt x="6716" y="45000"/>
                    <a:pt x="0" y="38284"/>
                    <a:pt x="0" y="30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165000" y="0"/>
                  </a:lnTo>
                  <a:cubicBezTo>
                    <a:pt x="173285" y="0"/>
                    <a:pt x="180000" y="6716"/>
                    <a:pt x="180000" y="15000"/>
                  </a:cubicBezTo>
                  <a:lnTo>
                    <a:pt x="180000" y="30000"/>
                  </a:lnTo>
                  <a:cubicBezTo>
                    <a:pt x="180000" y="38284"/>
                    <a:pt x="173285" y="45000"/>
                    <a:pt x="165000" y="45000"/>
                  </a:cubicBezTo>
                  <a:lnTo>
                    <a:pt x="112500" y="4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5" name="Полилиния 1164">
              <a:extLst>
                <a:ext uri="{FF2B5EF4-FFF2-40B4-BE49-F238E27FC236}">
                  <a16:creationId xmlns:a16="http://schemas.microsoft.com/office/drawing/2014/main" id="{33402805-ADF1-D741-883E-A0FF1011FC94}"/>
                </a:ext>
              </a:extLst>
            </p:cNvPr>
            <p:cNvSpPr/>
            <p:nvPr/>
          </p:nvSpPr>
          <p:spPr>
            <a:xfrm>
              <a:off x="740324" y="4330091"/>
              <a:ext cx="269999" cy="119999"/>
            </a:xfrm>
            <a:custGeom>
              <a:avLst/>
              <a:gdLst>
                <a:gd name="connsiteX0" fmla="*/ 51213 w 269999"/>
                <a:gd name="connsiteY0" fmla="*/ 75000 h 119999"/>
                <a:gd name="connsiteX1" fmla="*/ 70607 w 269999"/>
                <a:gd name="connsiteY1" fmla="*/ 94393 h 119999"/>
                <a:gd name="connsiteX2" fmla="*/ 70607 w 269999"/>
                <a:gd name="connsiteY2" fmla="*/ 115606 h 119999"/>
                <a:gd name="connsiteX3" fmla="*/ 49393 w 269999"/>
                <a:gd name="connsiteY3" fmla="*/ 115606 h 119999"/>
                <a:gd name="connsiteX4" fmla="*/ 4393 w 269999"/>
                <a:gd name="connsiteY4" fmla="*/ 70606 h 119999"/>
                <a:gd name="connsiteX5" fmla="*/ 4393 w 269999"/>
                <a:gd name="connsiteY5" fmla="*/ 49393 h 119999"/>
                <a:gd name="connsiteX6" fmla="*/ 49393 w 269999"/>
                <a:gd name="connsiteY6" fmla="*/ 4393 h 119999"/>
                <a:gd name="connsiteX7" fmla="*/ 70607 w 269999"/>
                <a:gd name="connsiteY7" fmla="*/ 4393 h 119999"/>
                <a:gd name="connsiteX8" fmla="*/ 70607 w 269999"/>
                <a:gd name="connsiteY8" fmla="*/ 25606 h 119999"/>
                <a:gd name="connsiteX9" fmla="*/ 51213 w 269999"/>
                <a:gd name="connsiteY9" fmla="*/ 45000 h 119999"/>
                <a:gd name="connsiteX10" fmla="*/ 218787 w 269999"/>
                <a:gd name="connsiteY10" fmla="*/ 45000 h 119999"/>
                <a:gd name="connsiteX11" fmla="*/ 199394 w 269999"/>
                <a:gd name="connsiteY11" fmla="*/ 25606 h 119999"/>
                <a:gd name="connsiteX12" fmla="*/ 199394 w 269999"/>
                <a:gd name="connsiteY12" fmla="*/ 4393 h 119999"/>
                <a:gd name="connsiteX13" fmla="*/ 220607 w 269999"/>
                <a:gd name="connsiteY13" fmla="*/ 4393 h 119999"/>
                <a:gd name="connsiteX14" fmla="*/ 265607 w 269999"/>
                <a:gd name="connsiteY14" fmla="*/ 49393 h 119999"/>
                <a:gd name="connsiteX15" fmla="*/ 265607 w 269999"/>
                <a:gd name="connsiteY15" fmla="*/ 70606 h 119999"/>
                <a:gd name="connsiteX16" fmla="*/ 220607 w 269999"/>
                <a:gd name="connsiteY16" fmla="*/ 115606 h 119999"/>
                <a:gd name="connsiteX17" fmla="*/ 199394 w 269999"/>
                <a:gd name="connsiteY17" fmla="*/ 115606 h 119999"/>
                <a:gd name="connsiteX18" fmla="*/ 199394 w 269999"/>
                <a:gd name="connsiteY18" fmla="*/ 94393 h 119999"/>
                <a:gd name="connsiteX19" fmla="*/ 218787 w 269999"/>
                <a:gd name="connsiteY19" fmla="*/ 75000 h 119999"/>
                <a:gd name="connsiteX20" fmla="*/ 51213 w 269999"/>
                <a:gd name="connsiteY20" fmla="*/ 75000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9999" h="119999">
                  <a:moveTo>
                    <a:pt x="51213" y="75000"/>
                  </a:moveTo>
                  <a:lnTo>
                    <a:pt x="70607" y="94393"/>
                  </a:lnTo>
                  <a:cubicBezTo>
                    <a:pt x="76464" y="100251"/>
                    <a:pt x="76464" y="109749"/>
                    <a:pt x="70607" y="115606"/>
                  </a:cubicBezTo>
                  <a:cubicBezTo>
                    <a:pt x="64749" y="121464"/>
                    <a:pt x="55251" y="121464"/>
                    <a:pt x="49393" y="115606"/>
                  </a:cubicBezTo>
                  <a:lnTo>
                    <a:pt x="4393" y="70606"/>
                  </a:lnTo>
                  <a:cubicBezTo>
                    <a:pt x="-1464" y="64749"/>
                    <a:pt x="-1464" y="55251"/>
                    <a:pt x="4393" y="49393"/>
                  </a:cubicBezTo>
                  <a:lnTo>
                    <a:pt x="49393" y="4393"/>
                  </a:lnTo>
                  <a:cubicBezTo>
                    <a:pt x="55251" y="-1464"/>
                    <a:pt x="64749" y="-1464"/>
                    <a:pt x="70607" y="4393"/>
                  </a:cubicBezTo>
                  <a:cubicBezTo>
                    <a:pt x="76464" y="10251"/>
                    <a:pt x="76464" y="19749"/>
                    <a:pt x="70607" y="25606"/>
                  </a:cubicBezTo>
                  <a:lnTo>
                    <a:pt x="51213" y="45000"/>
                  </a:lnTo>
                  <a:lnTo>
                    <a:pt x="218787" y="45000"/>
                  </a:lnTo>
                  <a:lnTo>
                    <a:pt x="199394" y="25606"/>
                  </a:lnTo>
                  <a:cubicBezTo>
                    <a:pt x="193536" y="19749"/>
                    <a:pt x="193536" y="10251"/>
                    <a:pt x="199394" y="4393"/>
                  </a:cubicBezTo>
                  <a:cubicBezTo>
                    <a:pt x="205251" y="-1464"/>
                    <a:pt x="214749" y="-1464"/>
                    <a:pt x="220607" y="4393"/>
                  </a:cubicBezTo>
                  <a:lnTo>
                    <a:pt x="265607" y="49393"/>
                  </a:lnTo>
                  <a:cubicBezTo>
                    <a:pt x="271464" y="55251"/>
                    <a:pt x="271464" y="64749"/>
                    <a:pt x="265607" y="70606"/>
                  </a:cubicBezTo>
                  <a:lnTo>
                    <a:pt x="220607" y="115606"/>
                  </a:lnTo>
                  <a:cubicBezTo>
                    <a:pt x="214749" y="121464"/>
                    <a:pt x="205251" y="121464"/>
                    <a:pt x="199394" y="115606"/>
                  </a:cubicBezTo>
                  <a:cubicBezTo>
                    <a:pt x="193536" y="109749"/>
                    <a:pt x="193536" y="100251"/>
                    <a:pt x="199394" y="94393"/>
                  </a:cubicBezTo>
                  <a:lnTo>
                    <a:pt x="218787" y="75000"/>
                  </a:lnTo>
                  <a:lnTo>
                    <a:pt x="51213" y="7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66" name="Рисунок 287">
            <a:extLst>
              <a:ext uri="{FF2B5EF4-FFF2-40B4-BE49-F238E27FC236}">
                <a16:creationId xmlns:a16="http://schemas.microsoft.com/office/drawing/2014/main" id="{13FE048C-2566-6246-88FB-637D151ACE06}"/>
              </a:ext>
            </a:extLst>
          </p:cNvPr>
          <p:cNvGrpSpPr/>
          <p:nvPr/>
        </p:nvGrpSpPr>
        <p:grpSpPr>
          <a:xfrm>
            <a:off x="11233735" y="3115315"/>
            <a:ext cx="360000" cy="360000"/>
            <a:chOff x="11267188" y="3432037"/>
            <a:chExt cx="360000" cy="360000"/>
          </a:xfrm>
        </p:grpSpPr>
        <p:sp>
          <p:nvSpPr>
            <p:cNvPr id="1167" name="Полилиния 1166">
              <a:extLst>
                <a:ext uri="{FF2B5EF4-FFF2-40B4-BE49-F238E27FC236}">
                  <a16:creationId xmlns:a16="http://schemas.microsoft.com/office/drawing/2014/main" id="{3BCA0592-2264-114D-88CE-1144AEFE86F2}"/>
                </a:ext>
              </a:extLst>
            </p:cNvPr>
            <p:cNvSpPr/>
            <p:nvPr/>
          </p:nvSpPr>
          <p:spPr>
            <a:xfrm>
              <a:off x="11267188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8" name="Полилиния 1167">
              <a:extLst>
                <a:ext uri="{FF2B5EF4-FFF2-40B4-BE49-F238E27FC236}">
                  <a16:creationId xmlns:a16="http://schemas.microsoft.com/office/drawing/2014/main" id="{73C3D0CF-5483-5A4C-BCB3-8E0D1A5BF802}"/>
                </a:ext>
              </a:extLst>
            </p:cNvPr>
            <p:cNvSpPr/>
            <p:nvPr/>
          </p:nvSpPr>
          <p:spPr>
            <a:xfrm>
              <a:off x="11338109" y="3463544"/>
              <a:ext cx="272570" cy="272572"/>
            </a:xfrm>
            <a:custGeom>
              <a:avLst/>
              <a:gdLst>
                <a:gd name="connsiteX0" fmla="*/ 104181 w 272570"/>
                <a:gd name="connsiteY0" fmla="*/ 93454 h 272572"/>
                <a:gd name="connsiteX1" fmla="*/ 154068 w 272570"/>
                <a:gd name="connsiteY1" fmla="*/ 59989 h 272572"/>
                <a:gd name="connsiteX2" fmla="*/ 140898 w 272570"/>
                <a:gd name="connsiteY2" fmla="*/ 46820 h 272572"/>
                <a:gd name="connsiteX3" fmla="*/ 140898 w 272570"/>
                <a:gd name="connsiteY3" fmla="*/ 25607 h 272572"/>
                <a:gd name="connsiteX4" fmla="*/ 162111 w 272570"/>
                <a:gd name="connsiteY4" fmla="*/ 4393 h 272572"/>
                <a:gd name="connsiteX5" fmla="*/ 183325 w 272570"/>
                <a:gd name="connsiteY5" fmla="*/ 4393 h 272572"/>
                <a:gd name="connsiteX6" fmla="*/ 268177 w 272570"/>
                <a:gd name="connsiteY6" fmla="*/ 89246 h 272572"/>
                <a:gd name="connsiteX7" fmla="*/ 268177 w 272570"/>
                <a:gd name="connsiteY7" fmla="*/ 110459 h 272572"/>
                <a:gd name="connsiteX8" fmla="*/ 246964 w 272570"/>
                <a:gd name="connsiteY8" fmla="*/ 131673 h 272572"/>
                <a:gd name="connsiteX9" fmla="*/ 225751 w 272570"/>
                <a:gd name="connsiteY9" fmla="*/ 131673 h 272572"/>
                <a:gd name="connsiteX10" fmla="*/ 212581 w 272570"/>
                <a:gd name="connsiteY10" fmla="*/ 118503 h 272572"/>
                <a:gd name="connsiteX11" fmla="*/ 179116 w 272570"/>
                <a:gd name="connsiteY11" fmla="*/ 168392 h 272572"/>
                <a:gd name="connsiteX12" fmla="*/ 182074 w 272570"/>
                <a:gd name="connsiteY12" fmla="*/ 211631 h 272572"/>
                <a:gd name="connsiteX13" fmla="*/ 175596 w 272570"/>
                <a:gd name="connsiteY13" fmla="*/ 259580 h 272572"/>
                <a:gd name="connsiteX14" fmla="*/ 158722 w 272570"/>
                <a:gd name="connsiteY14" fmla="*/ 272436 h 272572"/>
                <a:gd name="connsiteX15" fmla="*/ 150124 w 272570"/>
                <a:gd name="connsiteY15" fmla="*/ 268178 h 272572"/>
                <a:gd name="connsiteX16" fmla="*/ 4393 w 272570"/>
                <a:gd name="connsiteY16" fmla="*/ 122447 h 272572"/>
                <a:gd name="connsiteX17" fmla="*/ 4393 w 272570"/>
                <a:gd name="connsiteY17" fmla="*/ 101234 h 272572"/>
                <a:gd name="connsiteX18" fmla="*/ 12991 w 272570"/>
                <a:gd name="connsiteY18" fmla="*/ 96975 h 272572"/>
                <a:gd name="connsiteX19" fmla="*/ 60940 w 272570"/>
                <a:gd name="connsiteY19" fmla="*/ 90496 h 272572"/>
                <a:gd name="connsiteX20" fmla="*/ 104181 w 272570"/>
                <a:gd name="connsiteY20" fmla="*/ 93454 h 2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2570" h="272572">
                  <a:moveTo>
                    <a:pt x="104181" y="93454"/>
                  </a:moveTo>
                  <a:lnTo>
                    <a:pt x="154068" y="59989"/>
                  </a:lnTo>
                  <a:lnTo>
                    <a:pt x="140898" y="46820"/>
                  </a:lnTo>
                  <a:cubicBezTo>
                    <a:pt x="135040" y="40962"/>
                    <a:pt x="135040" y="31464"/>
                    <a:pt x="140898" y="25607"/>
                  </a:cubicBezTo>
                  <a:lnTo>
                    <a:pt x="162111" y="4393"/>
                  </a:lnTo>
                  <a:cubicBezTo>
                    <a:pt x="167970" y="-1464"/>
                    <a:pt x="177466" y="-1464"/>
                    <a:pt x="183325" y="4393"/>
                  </a:cubicBezTo>
                  <a:lnTo>
                    <a:pt x="268177" y="89246"/>
                  </a:lnTo>
                  <a:cubicBezTo>
                    <a:pt x="274035" y="95104"/>
                    <a:pt x="274035" y="104602"/>
                    <a:pt x="268177" y="110459"/>
                  </a:cubicBezTo>
                  <a:lnTo>
                    <a:pt x="246964" y="131673"/>
                  </a:lnTo>
                  <a:cubicBezTo>
                    <a:pt x="241107" y="137531"/>
                    <a:pt x="231609" y="137531"/>
                    <a:pt x="225751" y="131673"/>
                  </a:cubicBezTo>
                  <a:lnTo>
                    <a:pt x="212581" y="118503"/>
                  </a:lnTo>
                  <a:lnTo>
                    <a:pt x="179116" y="168392"/>
                  </a:lnTo>
                  <a:cubicBezTo>
                    <a:pt x="182974" y="182277"/>
                    <a:pt x="184056" y="196973"/>
                    <a:pt x="182074" y="211631"/>
                  </a:cubicBezTo>
                  <a:lnTo>
                    <a:pt x="175596" y="259580"/>
                  </a:lnTo>
                  <a:cubicBezTo>
                    <a:pt x="174486" y="267789"/>
                    <a:pt x="166932" y="273545"/>
                    <a:pt x="158722" y="272436"/>
                  </a:cubicBezTo>
                  <a:cubicBezTo>
                    <a:pt x="155467" y="271997"/>
                    <a:pt x="152446" y="270500"/>
                    <a:pt x="150124" y="268178"/>
                  </a:cubicBezTo>
                  <a:lnTo>
                    <a:pt x="4393" y="122447"/>
                  </a:lnTo>
                  <a:cubicBezTo>
                    <a:pt x="-1464" y="116589"/>
                    <a:pt x="-1464" y="107092"/>
                    <a:pt x="4393" y="101234"/>
                  </a:cubicBezTo>
                  <a:cubicBezTo>
                    <a:pt x="6716" y="98911"/>
                    <a:pt x="9736" y="97415"/>
                    <a:pt x="12991" y="96975"/>
                  </a:cubicBezTo>
                  <a:lnTo>
                    <a:pt x="60940" y="90496"/>
                  </a:lnTo>
                  <a:cubicBezTo>
                    <a:pt x="75598" y="88515"/>
                    <a:pt x="90294" y="89596"/>
                    <a:pt x="104181" y="93454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9" name="Полилиния 1168">
              <a:extLst>
                <a:ext uri="{FF2B5EF4-FFF2-40B4-BE49-F238E27FC236}">
                  <a16:creationId xmlns:a16="http://schemas.microsoft.com/office/drawing/2014/main" id="{7365C111-C085-5841-BB1B-F6F6C0B0E0C0}"/>
                </a:ext>
              </a:extLst>
            </p:cNvPr>
            <p:cNvSpPr/>
            <p:nvPr/>
          </p:nvSpPr>
          <p:spPr>
            <a:xfrm rot="2700000">
              <a:off x="11350442" y="3641282"/>
              <a:ext cx="45000" cy="120000"/>
            </a:xfrm>
            <a:custGeom>
              <a:avLst/>
              <a:gdLst>
                <a:gd name="connsiteX0" fmla="*/ 0 w 45000"/>
                <a:gd name="connsiteY0" fmla="*/ 0 h 120000"/>
                <a:gd name="connsiteX1" fmla="*/ 0 w 45000"/>
                <a:gd name="connsiteY1" fmla="*/ 85715 h 120000"/>
                <a:gd name="connsiteX2" fmla="*/ 22500 w 45000"/>
                <a:gd name="connsiteY2" fmla="*/ 120000 h 120000"/>
                <a:gd name="connsiteX3" fmla="*/ 45000 w 45000"/>
                <a:gd name="connsiteY3" fmla="*/ 85715 h 120000"/>
                <a:gd name="connsiteX4" fmla="*/ 45000 w 45000"/>
                <a:gd name="connsiteY4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00" h="120000">
                  <a:moveTo>
                    <a:pt x="0" y="0"/>
                  </a:moveTo>
                  <a:lnTo>
                    <a:pt x="0" y="85715"/>
                  </a:lnTo>
                  <a:lnTo>
                    <a:pt x="22500" y="120000"/>
                  </a:lnTo>
                  <a:lnTo>
                    <a:pt x="45000" y="85715"/>
                  </a:lnTo>
                  <a:lnTo>
                    <a:pt x="45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170" name="Рисунок 288">
            <a:extLst>
              <a:ext uri="{FF2B5EF4-FFF2-40B4-BE49-F238E27FC236}">
                <a16:creationId xmlns:a16="http://schemas.microsoft.com/office/drawing/2014/main" id="{045EE31F-0989-E847-9671-A52260E49455}"/>
              </a:ext>
            </a:extLst>
          </p:cNvPr>
          <p:cNvGrpSpPr/>
          <p:nvPr/>
        </p:nvGrpSpPr>
        <p:grpSpPr>
          <a:xfrm>
            <a:off x="8968334" y="3115315"/>
            <a:ext cx="360000" cy="360000"/>
            <a:chOff x="9001787" y="3432037"/>
            <a:chExt cx="360000" cy="360000"/>
          </a:xfrm>
        </p:grpSpPr>
        <p:sp>
          <p:nvSpPr>
            <p:cNvPr id="1171" name="Полилиния 1170">
              <a:extLst>
                <a:ext uri="{FF2B5EF4-FFF2-40B4-BE49-F238E27FC236}">
                  <a16:creationId xmlns:a16="http://schemas.microsoft.com/office/drawing/2014/main" id="{4BC9DF3C-A463-844E-AEF0-B6EA2C34DE0D}"/>
                </a:ext>
              </a:extLst>
            </p:cNvPr>
            <p:cNvSpPr/>
            <p:nvPr/>
          </p:nvSpPr>
          <p:spPr>
            <a:xfrm>
              <a:off x="9001787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172" name="Полилиния 1171">
              <a:extLst>
                <a:ext uri="{FF2B5EF4-FFF2-40B4-BE49-F238E27FC236}">
                  <a16:creationId xmlns:a16="http://schemas.microsoft.com/office/drawing/2014/main" id="{59A2F65B-3D3C-4546-A0DD-B76B64F0455E}"/>
                </a:ext>
              </a:extLst>
            </p:cNvPr>
            <p:cNvSpPr/>
            <p:nvPr/>
          </p:nvSpPr>
          <p:spPr>
            <a:xfrm>
              <a:off x="9086556" y="3487943"/>
              <a:ext cx="190460" cy="248187"/>
            </a:xfrm>
            <a:custGeom>
              <a:avLst/>
              <a:gdLst>
                <a:gd name="connsiteX0" fmla="*/ 100840 w 190460"/>
                <a:gd name="connsiteY0" fmla="*/ 243177 h 248187"/>
                <a:gd name="connsiteX1" fmla="*/ 188571 w 190460"/>
                <a:gd name="connsiteY1" fmla="*/ 111584 h 248187"/>
                <a:gd name="connsiteX2" fmla="*/ 185449 w 190460"/>
                <a:gd name="connsiteY2" fmla="*/ 95984 h 248187"/>
                <a:gd name="connsiteX3" fmla="*/ 179209 w 190460"/>
                <a:gd name="connsiteY3" fmla="*/ 94094 h 248187"/>
                <a:gd name="connsiteX4" fmla="*/ 110230 w 190460"/>
                <a:gd name="connsiteY4" fmla="*/ 94094 h 248187"/>
                <a:gd name="connsiteX5" fmla="*/ 110230 w 190460"/>
                <a:gd name="connsiteY5" fmla="*/ 11250 h 248187"/>
                <a:gd name="connsiteX6" fmla="*/ 98980 w 190460"/>
                <a:gd name="connsiteY6" fmla="*/ 0 h 248187"/>
                <a:gd name="connsiteX7" fmla="*/ 89620 w 190460"/>
                <a:gd name="connsiteY7" fmla="*/ 5010 h 248187"/>
                <a:gd name="connsiteX8" fmla="*/ 1891 w 190460"/>
                <a:gd name="connsiteY8" fmla="*/ 136604 h 248187"/>
                <a:gd name="connsiteX9" fmla="*/ 5011 w 190460"/>
                <a:gd name="connsiteY9" fmla="*/ 152204 h 248187"/>
                <a:gd name="connsiteX10" fmla="*/ 11251 w 190460"/>
                <a:gd name="connsiteY10" fmla="*/ 154094 h 248187"/>
                <a:gd name="connsiteX11" fmla="*/ 80230 w 190460"/>
                <a:gd name="connsiteY11" fmla="*/ 154094 h 248187"/>
                <a:gd name="connsiteX12" fmla="*/ 80230 w 190460"/>
                <a:gd name="connsiteY12" fmla="*/ 236937 h 248187"/>
                <a:gd name="connsiteX13" fmla="*/ 91480 w 190460"/>
                <a:gd name="connsiteY13" fmla="*/ 248187 h 248187"/>
                <a:gd name="connsiteX14" fmla="*/ 100840 w 190460"/>
                <a:gd name="connsiteY14" fmla="*/ 243177 h 24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0460" h="248187">
                  <a:moveTo>
                    <a:pt x="100840" y="243177"/>
                  </a:moveTo>
                  <a:lnTo>
                    <a:pt x="188571" y="111584"/>
                  </a:lnTo>
                  <a:cubicBezTo>
                    <a:pt x="192016" y="106415"/>
                    <a:pt x="190620" y="99429"/>
                    <a:pt x="185449" y="95984"/>
                  </a:cubicBezTo>
                  <a:cubicBezTo>
                    <a:pt x="183601" y="94751"/>
                    <a:pt x="181431" y="94094"/>
                    <a:pt x="179209" y="94094"/>
                  </a:cubicBezTo>
                  <a:lnTo>
                    <a:pt x="110230" y="94094"/>
                  </a:lnTo>
                  <a:lnTo>
                    <a:pt x="110230" y="11250"/>
                  </a:lnTo>
                  <a:cubicBezTo>
                    <a:pt x="110230" y="5037"/>
                    <a:pt x="105193" y="0"/>
                    <a:pt x="98980" y="0"/>
                  </a:cubicBezTo>
                  <a:cubicBezTo>
                    <a:pt x="95218" y="0"/>
                    <a:pt x="91707" y="1880"/>
                    <a:pt x="89620" y="5010"/>
                  </a:cubicBezTo>
                  <a:lnTo>
                    <a:pt x="1891" y="136604"/>
                  </a:lnTo>
                  <a:cubicBezTo>
                    <a:pt x="-1556" y="141773"/>
                    <a:pt x="-159" y="148758"/>
                    <a:pt x="5011" y="152204"/>
                  </a:cubicBezTo>
                  <a:cubicBezTo>
                    <a:pt x="6859" y="153437"/>
                    <a:pt x="9030" y="154094"/>
                    <a:pt x="11251" y="154094"/>
                  </a:cubicBezTo>
                  <a:lnTo>
                    <a:pt x="80230" y="154094"/>
                  </a:lnTo>
                  <a:lnTo>
                    <a:pt x="80230" y="236937"/>
                  </a:lnTo>
                  <a:cubicBezTo>
                    <a:pt x="80230" y="243150"/>
                    <a:pt x="85267" y="248187"/>
                    <a:pt x="91480" y="248187"/>
                  </a:cubicBezTo>
                  <a:cubicBezTo>
                    <a:pt x="95242" y="248187"/>
                    <a:pt x="98754" y="246308"/>
                    <a:pt x="100840" y="243177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73" name="Рисунок 289">
            <a:extLst>
              <a:ext uri="{FF2B5EF4-FFF2-40B4-BE49-F238E27FC236}">
                <a16:creationId xmlns:a16="http://schemas.microsoft.com/office/drawing/2014/main" id="{C3D69838-2810-CF43-B17C-089B828CE415}"/>
              </a:ext>
            </a:extLst>
          </p:cNvPr>
          <p:cNvGrpSpPr/>
          <p:nvPr/>
        </p:nvGrpSpPr>
        <p:grpSpPr>
          <a:xfrm>
            <a:off x="9723467" y="3115315"/>
            <a:ext cx="360000" cy="360000"/>
            <a:chOff x="9756920" y="3432037"/>
            <a:chExt cx="360000" cy="360000"/>
          </a:xfrm>
        </p:grpSpPr>
        <p:sp>
          <p:nvSpPr>
            <p:cNvPr id="1174" name="Полилиния 1173">
              <a:extLst>
                <a:ext uri="{FF2B5EF4-FFF2-40B4-BE49-F238E27FC236}">
                  <a16:creationId xmlns:a16="http://schemas.microsoft.com/office/drawing/2014/main" id="{E154131A-72EA-1749-BD38-FEC3CC12E94B}"/>
                </a:ext>
              </a:extLst>
            </p:cNvPr>
            <p:cNvSpPr/>
            <p:nvPr/>
          </p:nvSpPr>
          <p:spPr>
            <a:xfrm>
              <a:off x="9756920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5" name="Полилиния 1174">
              <a:extLst>
                <a:ext uri="{FF2B5EF4-FFF2-40B4-BE49-F238E27FC236}">
                  <a16:creationId xmlns:a16="http://schemas.microsoft.com/office/drawing/2014/main" id="{C42A71BF-A11C-1443-9689-A2FCEBAE30AC}"/>
                </a:ext>
              </a:extLst>
            </p:cNvPr>
            <p:cNvSpPr/>
            <p:nvPr/>
          </p:nvSpPr>
          <p:spPr>
            <a:xfrm>
              <a:off x="9786920" y="3462037"/>
              <a:ext cx="300000" cy="300000"/>
            </a:xfrm>
            <a:custGeom>
              <a:avLst/>
              <a:gdLst>
                <a:gd name="connsiteX0" fmla="*/ 300000 w 300000"/>
                <a:gd name="connsiteY0" fmla="*/ 150000 h 300000"/>
                <a:gd name="connsiteX1" fmla="*/ 150000 w 300000"/>
                <a:gd name="connsiteY1" fmla="*/ 300000 h 300000"/>
                <a:gd name="connsiteX2" fmla="*/ 0 w 300000"/>
                <a:gd name="connsiteY2" fmla="*/ 150000 h 300000"/>
                <a:gd name="connsiteX3" fmla="*/ 150000 w 300000"/>
                <a:gd name="connsiteY3" fmla="*/ 0 h 300000"/>
                <a:gd name="connsiteX4" fmla="*/ 300000 w 300000"/>
                <a:gd name="connsiteY4" fmla="*/ 15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0" h="300000">
                  <a:moveTo>
                    <a:pt x="300000" y="150000"/>
                  </a:moveTo>
                  <a:cubicBezTo>
                    <a:pt x="300000" y="232843"/>
                    <a:pt x="232843" y="300000"/>
                    <a:pt x="150000" y="300000"/>
                  </a:cubicBezTo>
                  <a:cubicBezTo>
                    <a:pt x="67157" y="300000"/>
                    <a:pt x="0" y="232843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3" y="0"/>
                    <a:pt x="300000" y="67157"/>
                    <a:pt x="300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6" name="Полилиния 1175">
              <a:extLst>
                <a:ext uri="{FF2B5EF4-FFF2-40B4-BE49-F238E27FC236}">
                  <a16:creationId xmlns:a16="http://schemas.microsoft.com/office/drawing/2014/main" id="{BC86CF97-7E4A-6046-AEB2-7805EF5B0BBA}"/>
                </a:ext>
              </a:extLst>
            </p:cNvPr>
            <p:cNvSpPr/>
            <p:nvPr/>
          </p:nvSpPr>
          <p:spPr>
            <a:xfrm>
              <a:off x="9868870" y="3528442"/>
              <a:ext cx="121099" cy="167187"/>
            </a:xfrm>
            <a:custGeom>
              <a:avLst/>
              <a:gdLst>
                <a:gd name="connsiteX0" fmla="*/ 74362 w 121099"/>
                <a:gd name="connsiteY0" fmla="*/ 160970 h 167187"/>
                <a:gd name="connsiteX1" fmla="*/ 119909 w 121099"/>
                <a:gd name="connsiteY1" fmla="*/ 69875 h 167187"/>
                <a:gd name="connsiteX2" fmla="*/ 114878 w 121099"/>
                <a:gd name="connsiteY2" fmla="*/ 54782 h 167187"/>
                <a:gd name="connsiteX3" fmla="*/ 109847 w 121099"/>
                <a:gd name="connsiteY3" fmla="*/ 53594 h 167187"/>
                <a:gd name="connsiteX4" fmla="*/ 68050 w 121099"/>
                <a:gd name="connsiteY4" fmla="*/ 53594 h 167187"/>
                <a:gd name="connsiteX5" fmla="*/ 68050 w 121099"/>
                <a:gd name="connsiteY5" fmla="*/ 11250 h 167187"/>
                <a:gd name="connsiteX6" fmla="*/ 56800 w 121099"/>
                <a:gd name="connsiteY6" fmla="*/ 0 h 167187"/>
                <a:gd name="connsiteX7" fmla="*/ 46738 w 121099"/>
                <a:gd name="connsiteY7" fmla="*/ 6219 h 167187"/>
                <a:gd name="connsiteX8" fmla="*/ 1190 w 121099"/>
                <a:gd name="connsiteY8" fmla="*/ 97313 h 167187"/>
                <a:gd name="connsiteX9" fmla="*/ 6221 w 121099"/>
                <a:gd name="connsiteY9" fmla="*/ 112406 h 167187"/>
                <a:gd name="connsiteX10" fmla="*/ 11253 w 121099"/>
                <a:gd name="connsiteY10" fmla="*/ 113594 h 167187"/>
                <a:gd name="connsiteX11" fmla="*/ 53050 w 121099"/>
                <a:gd name="connsiteY11" fmla="*/ 113594 h 167187"/>
                <a:gd name="connsiteX12" fmla="*/ 53050 w 121099"/>
                <a:gd name="connsiteY12" fmla="*/ 155938 h 167187"/>
                <a:gd name="connsiteX13" fmla="*/ 64300 w 121099"/>
                <a:gd name="connsiteY13" fmla="*/ 167188 h 167187"/>
                <a:gd name="connsiteX14" fmla="*/ 74362 w 121099"/>
                <a:gd name="connsiteY14" fmla="*/ 160970 h 167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099" h="167187">
                  <a:moveTo>
                    <a:pt x="74362" y="160970"/>
                  </a:moveTo>
                  <a:lnTo>
                    <a:pt x="119909" y="69875"/>
                  </a:lnTo>
                  <a:cubicBezTo>
                    <a:pt x="122687" y="64318"/>
                    <a:pt x="120436" y="57560"/>
                    <a:pt x="114878" y="54782"/>
                  </a:cubicBezTo>
                  <a:cubicBezTo>
                    <a:pt x="113315" y="54001"/>
                    <a:pt x="111593" y="53594"/>
                    <a:pt x="109847" y="53594"/>
                  </a:cubicBezTo>
                  <a:lnTo>
                    <a:pt x="68050" y="53594"/>
                  </a:lnTo>
                  <a:lnTo>
                    <a:pt x="68050" y="11250"/>
                  </a:lnTo>
                  <a:cubicBezTo>
                    <a:pt x="68050" y="5037"/>
                    <a:pt x="63013" y="0"/>
                    <a:pt x="56800" y="0"/>
                  </a:cubicBezTo>
                  <a:cubicBezTo>
                    <a:pt x="52538" y="0"/>
                    <a:pt x="48643" y="2408"/>
                    <a:pt x="46738" y="6219"/>
                  </a:cubicBezTo>
                  <a:lnTo>
                    <a:pt x="1190" y="97313"/>
                  </a:lnTo>
                  <a:cubicBezTo>
                    <a:pt x="-1589" y="102871"/>
                    <a:pt x="664" y="109628"/>
                    <a:pt x="6221" y="112406"/>
                  </a:cubicBezTo>
                  <a:cubicBezTo>
                    <a:pt x="7783" y="113188"/>
                    <a:pt x="9506" y="113594"/>
                    <a:pt x="11253" y="113594"/>
                  </a:cubicBezTo>
                  <a:lnTo>
                    <a:pt x="53050" y="113594"/>
                  </a:lnTo>
                  <a:lnTo>
                    <a:pt x="53050" y="155938"/>
                  </a:lnTo>
                  <a:cubicBezTo>
                    <a:pt x="53050" y="162152"/>
                    <a:pt x="58087" y="167188"/>
                    <a:pt x="64300" y="167188"/>
                  </a:cubicBezTo>
                  <a:cubicBezTo>
                    <a:pt x="68561" y="167188"/>
                    <a:pt x="72457" y="164780"/>
                    <a:pt x="74362" y="16097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77" name="Рисунок 290">
            <a:extLst>
              <a:ext uri="{FF2B5EF4-FFF2-40B4-BE49-F238E27FC236}">
                <a16:creationId xmlns:a16="http://schemas.microsoft.com/office/drawing/2014/main" id="{DA36CF2D-557E-2642-ADED-4437198901A3}"/>
              </a:ext>
            </a:extLst>
          </p:cNvPr>
          <p:cNvGrpSpPr/>
          <p:nvPr/>
        </p:nvGrpSpPr>
        <p:grpSpPr>
          <a:xfrm>
            <a:off x="10478600" y="3115315"/>
            <a:ext cx="360000" cy="360000"/>
            <a:chOff x="10512053" y="3432037"/>
            <a:chExt cx="360000" cy="360000"/>
          </a:xfrm>
        </p:grpSpPr>
        <p:sp>
          <p:nvSpPr>
            <p:cNvPr id="1178" name="Полилиния 1177">
              <a:extLst>
                <a:ext uri="{FF2B5EF4-FFF2-40B4-BE49-F238E27FC236}">
                  <a16:creationId xmlns:a16="http://schemas.microsoft.com/office/drawing/2014/main" id="{2764A367-AE4F-D445-B999-60B9519E8636}"/>
                </a:ext>
              </a:extLst>
            </p:cNvPr>
            <p:cNvSpPr/>
            <p:nvPr/>
          </p:nvSpPr>
          <p:spPr>
            <a:xfrm>
              <a:off x="10512053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9" name="Полилиния 1178">
              <a:extLst>
                <a:ext uri="{FF2B5EF4-FFF2-40B4-BE49-F238E27FC236}">
                  <a16:creationId xmlns:a16="http://schemas.microsoft.com/office/drawing/2014/main" id="{5A244F9B-1801-8949-813A-20CA834DC84E}"/>
                </a:ext>
              </a:extLst>
            </p:cNvPr>
            <p:cNvSpPr/>
            <p:nvPr/>
          </p:nvSpPr>
          <p:spPr>
            <a:xfrm>
              <a:off x="10656822" y="3487943"/>
              <a:ext cx="190460" cy="248187"/>
            </a:xfrm>
            <a:custGeom>
              <a:avLst/>
              <a:gdLst>
                <a:gd name="connsiteX0" fmla="*/ 100840 w 190460"/>
                <a:gd name="connsiteY0" fmla="*/ 243177 h 248187"/>
                <a:gd name="connsiteX1" fmla="*/ 188571 w 190460"/>
                <a:gd name="connsiteY1" fmla="*/ 111584 h 248187"/>
                <a:gd name="connsiteX2" fmla="*/ 185449 w 190460"/>
                <a:gd name="connsiteY2" fmla="*/ 95984 h 248187"/>
                <a:gd name="connsiteX3" fmla="*/ 179209 w 190460"/>
                <a:gd name="connsiteY3" fmla="*/ 94094 h 248187"/>
                <a:gd name="connsiteX4" fmla="*/ 110230 w 190460"/>
                <a:gd name="connsiteY4" fmla="*/ 94094 h 248187"/>
                <a:gd name="connsiteX5" fmla="*/ 110230 w 190460"/>
                <a:gd name="connsiteY5" fmla="*/ 11250 h 248187"/>
                <a:gd name="connsiteX6" fmla="*/ 98980 w 190460"/>
                <a:gd name="connsiteY6" fmla="*/ 0 h 248187"/>
                <a:gd name="connsiteX7" fmla="*/ 89620 w 190460"/>
                <a:gd name="connsiteY7" fmla="*/ 5010 h 248187"/>
                <a:gd name="connsiteX8" fmla="*/ 1891 w 190460"/>
                <a:gd name="connsiteY8" fmla="*/ 136604 h 248187"/>
                <a:gd name="connsiteX9" fmla="*/ 5011 w 190460"/>
                <a:gd name="connsiteY9" fmla="*/ 152204 h 248187"/>
                <a:gd name="connsiteX10" fmla="*/ 11251 w 190460"/>
                <a:gd name="connsiteY10" fmla="*/ 154094 h 248187"/>
                <a:gd name="connsiteX11" fmla="*/ 80230 w 190460"/>
                <a:gd name="connsiteY11" fmla="*/ 154094 h 248187"/>
                <a:gd name="connsiteX12" fmla="*/ 80230 w 190460"/>
                <a:gd name="connsiteY12" fmla="*/ 236937 h 248187"/>
                <a:gd name="connsiteX13" fmla="*/ 91480 w 190460"/>
                <a:gd name="connsiteY13" fmla="*/ 248187 h 248187"/>
                <a:gd name="connsiteX14" fmla="*/ 100840 w 190460"/>
                <a:gd name="connsiteY14" fmla="*/ 243177 h 24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0460" h="248187">
                  <a:moveTo>
                    <a:pt x="100840" y="243177"/>
                  </a:moveTo>
                  <a:lnTo>
                    <a:pt x="188571" y="111584"/>
                  </a:lnTo>
                  <a:cubicBezTo>
                    <a:pt x="192016" y="106415"/>
                    <a:pt x="190620" y="99429"/>
                    <a:pt x="185449" y="95984"/>
                  </a:cubicBezTo>
                  <a:cubicBezTo>
                    <a:pt x="183601" y="94751"/>
                    <a:pt x="181431" y="94094"/>
                    <a:pt x="179209" y="94094"/>
                  </a:cubicBezTo>
                  <a:lnTo>
                    <a:pt x="110230" y="94094"/>
                  </a:lnTo>
                  <a:lnTo>
                    <a:pt x="110230" y="11250"/>
                  </a:lnTo>
                  <a:cubicBezTo>
                    <a:pt x="110230" y="5037"/>
                    <a:pt x="105193" y="0"/>
                    <a:pt x="98980" y="0"/>
                  </a:cubicBezTo>
                  <a:cubicBezTo>
                    <a:pt x="95218" y="0"/>
                    <a:pt x="91707" y="1880"/>
                    <a:pt x="89620" y="5010"/>
                  </a:cubicBezTo>
                  <a:lnTo>
                    <a:pt x="1891" y="136604"/>
                  </a:lnTo>
                  <a:cubicBezTo>
                    <a:pt x="-1556" y="141773"/>
                    <a:pt x="-159" y="148758"/>
                    <a:pt x="5011" y="152204"/>
                  </a:cubicBezTo>
                  <a:cubicBezTo>
                    <a:pt x="6859" y="153437"/>
                    <a:pt x="9030" y="154094"/>
                    <a:pt x="11251" y="154094"/>
                  </a:cubicBezTo>
                  <a:lnTo>
                    <a:pt x="80230" y="154094"/>
                  </a:lnTo>
                  <a:lnTo>
                    <a:pt x="80230" y="236937"/>
                  </a:lnTo>
                  <a:cubicBezTo>
                    <a:pt x="80230" y="243150"/>
                    <a:pt x="85267" y="248187"/>
                    <a:pt x="91480" y="248187"/>
                  </a:cubicBezTo>
                  <a:cubicBezTo>
                    <a:pt x="95242" y="248187"/>
                    <a:pt x="98754" y="246308"/>
                    <a:pt x="100840" y="243177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0" name="Полилиния 1179">
              <a:extLst>
                <a:ext uri="{FF2B5EF4-FFF2-40B4-BE49-F238E27FC236}">
                  <a16:creationId xmlns:a16="http://schemas.microsoft.com/office/drawing/2014/main" id="{1762FE4A-85FB-C143-8C04-7C092B7EACC8}"/>
                </a:ext>
              </a:extLst>
            </p:cNvPr>
            <p:cNvSpPr/>
            <p:nvPr/>
          </p:nvSpPr>
          <p:spPr>
            <a:xfrm>
              <a:off x="10527053" y="3507037"/>
              <a:ext cx="150000" cy="225000"/>
            </a:xfrm>
            <a:custGeom>
              <a:avLst/>
              <a:gdLst>
                <a:gd name="connsiteX0" fmla="*/ 52500 w 150000"/>
                <a:gd name="connsiteY0" fmla="*/ 0 h 225000"/>
                <a:gd name="connsiteX1" fmla="*/ 127500 w 150000"/>
                <a:gd name="connsiteY1" fmla="*/ 0 h 225000"/>
                <a:gd name="connsiteX2" fmla="*/ 150000 w 150000"/>
                <a:gd name="connsiteY2" fmla="*/ 22500 h 225000"/>
                <a:gd name="connsiteX3" fmla="*/ 127500 w 150000"/>
                <a:gd name="connsiteY3" fmla="*/ 45000 h 225000"/>
                <a:gd name="connsiteX4" fmla="*/ 52500 w 150000"/>
                <a:gd name="connsiteY4" fmla="*/ 45000 h 225000"/>
                <a:gd name="connsiteX5" fmla="*/ 30000 w 150000"/>
                <a:gd name="connsiteY5" fmla="*/ 22500 h 225000"/>
                <a:gd name="connsiteX6" fmla="*/ 52500 w 150000"/>
                <a:gd name="connsiteY6" fmla="*/ 0 h 225000"/>
                <a:gd name="connsiteX7" fmla="*/ 52500 w 150000"/>
                <a:gd name="connsiteY7" fmla="*/ 180000 h 225000"/>
                <a:gd name="connsiteX8" fmla="*/ 127500 w 150000"/>
                <a:gd name="connsiteY8" fmla="*/ 180000 h 225000"/>
                <a:gd name="connsiteX9" fmla="*/ 150000 w 150000"/>
                <a:gd name="connsiteY9" fmla="*/ 202500 h 225000"/>
                <a:gd name="connsiteX10" fmla="*/ 127500 w 150000"/>
                <a:gd name="connsiteY10" fmla="*/ 225000 h 225000"/>
                <a:gd name="connsiteX11" fmla="*/ 52500 w 150000"/>
                <a:gd name="connsiteY11" fmla="*/ 225000 h 225000"/>
                <a:gd name="connsiteX12" fmla="*/ 30000 w 150000"/>
                <a:gd name="connsiteY12" fmla="*/ 202500 h 225000"/>
                <a:gd name="connsiteX13" fmla="*/ 52500 w 150000"/>
                <a:gd name="connsiteY13" fmla="*/ 180000 h 225000"/>
                <a:gd name="connsiteX14" fmla="*/ 22500 w 150000"/>
                <a:gd name="connsiteY14" fmla="*/ 90000 h 225000"/>
                <a:gd name="connsiteX15" fmla="*/ 82500 w 150000"/>
                <a:gd name="connsiteY15" fmla="*/ 90000 h 225000"/>
                <a:gd name="connsiteX16" fmla="*/ 105000 w 150000"/>
                <a:gd name="connsiteY16" fmla="*/ 112500 h 225000"/>
                <a:gd name="connsiteX17" fmla="*/ 82500 w 150000"/>
                <a:gd name="connsiteY17" fmla="*/ 135000 h 225000"/>
                <a:gd name="connsiteX18" fmla="*/ 22500 w 150000"/>
                <a:gd name="connsiteY18" fmla="*/ 135000 h 225000"/>
                <a:gd name="connsiteX19" fmla="*/ 0 w 150000"/>
                <a:gd name="connsiteY19" fmla="*/ 112500 h 225000"/>
                <a:gd name="connsiteX20" fmla="*/ 22500 w 150000"/>
                <a:gd name="connsiteY20" fmla="*/ 9000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0000" h="225000">
                  <a:moveTo>
                    <a:pt x="52500" y="0"/>
                  </a:moveTo>
                  <a:lnTo>
                    <a:pt x="127500" y="0"/>
                  </a:lnTo>
                  <a:cubicBezTo>
                    <a:pt x="139926" y="0"/>
                    <a:pt x="150000" y="10074"/>
                    <a:pt x="150000" y="22500"/>
                  </a:cubicBezTo>
                  <a:cubicBezTo>
                    <a:pt x="150000" y="34926"/>
                    <a:pt x="139926" y="45000"/>
                    <a:pt x="127500" y="45000"/>
                  </a:cubicBezTo>
                  <a:lnTo>
                    <a:pt x="52500" y="45000"/>
                  </a:lnTo>
                  <a:cubicBezTo>
                    <a:pt x="40074" y="45000"/>
                    <a:pt x="30000" y="34926"/>
                    <a:pt x="30000" y="22500"/>
                  </a:cubicBezTo>
                  <a:cubicBezTo>
                    <a:pt x="30000" y="10074"/>
                    <a:pt x="40074" y="0"/>
                    <a:pt x="52500" y="0"/>
                  </a:cubicBezTo>
                  <a:close/>
                  <a:moveTo>
                    <a:pt x="52500" y="180000"/>
                  </a:moveTo>
                  <a:lnTo>
                    <a:pt x="127500" y="180000"/>
                  </a:lnTo>
                  <a:cubicBezTo>
                    <a:pt x="139926" y="180000"/>
                    <a:pt x="150000" y="190074"/>
                    <a:pt x="150000" y="202500"/>
                  </a:cubicBezTo>
                  <a:cubicBezTo>
                    <a:pt x="150000" y="214926"/>
                    <a:pt x="139926" y="225000"/>
                    <a:pt x="127500" y="225000"/>
                  </a:cubicBezTo>
                  <a:lnTo>
                    <a:pt x="52500" y="225000"/>
                  </a:lnTo>
                  <a:cubicBezTo>
                    <a:pt x="40074" y="225000"/>
                    <a:pt x="30000" y="214926"/>
                    <a:pt x="30000" y="202500"/>
                  </a:cubicBezTo>
                  <a:cubicBezTo>
                    <a:pt x="30000" y="190074"/>
                    <a:pt x="40074" y="180000"/>
                    <a:pt x="52500" y="180000"/>
                  </a:cubicBezTo>
                  <a:close/>
                  <a:moveTo>
                    <a:pt x="22500" y="90000"/>
                  </a:moveTo>
                  <a:lnTo>
                    <a:pt x="82500" y="90000"/>
                  </a:lnTo>
                  <a:cubicBezTo>
                    <a:pt x="94926" y="90000"/>
                    <a:pt x="105000" y="100074"/>
                    <a:pt x="105000" y="112500"/>
                  </a:cubicBezTo>
                  <a:cubicBezTo>
                    <a:pt x="105000" y="124926"/>
                    <a:pt x="94926" y="135000"/>
                    <a:pt x="82500" y="135000"/>
                  </a:cubicBezTo>
                  <a:lnTo>
                    <a:pt x="22500" y="135000"/>
                  </a:lnTo>
                  <a:cubicBezTo>
                    <a:pt x="10074" y="135000"/>
                    <a:pt x="0" y="124926"/>
                    <a:pt x="0" y="112500"/>
                  </a:cubicBezTo>
                  <a:cubicBezTo>
                    <a:pt x="0" y="100074"/>
                    <a:pt x="10074" y="90000"/>
                    <a:pt x="22500" y="9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81" name="Рисунок 291">
            <a:extLst>
              <a:ext uri="{FF2B5EF4-FFF2-40B4-BE49-F238E27FC236}">
                <a16:creationId xmlns:a16="http://schemas.microsoft.com/office/drawing/2014/main" id="{21F3BE0B-F761-284D-B738-EF422928070A}"/>
              </a:ext>
            </a:extLst>
          </p:cNvPr>
          <p:cNvGrpSpPr/>
          <p:nvPr/>
        </p:nvGrpSpPr>
        <p:grpSpPr>
          <a:xfrm>
            <a:off x="8213201" y="3115315"/>
            <a:ext cx="360000" cy="360000"/>
            <a:chOff x="8246654" y="3432037"/>
            <a:chExt cx="360000" cy="360000"/>
          </a:xfrm>
        </p:grpSpPr>
        <p:sp>
          <p:nvSpPr>
            <p:cNvPr id="1182" name="Полилиния 1181">
              <a:extLst>
                <a:ext uri="{FF2B5EF4-FFF2-40B4-BE49-F238E27FC236}">
                  <a16:creationId xmlns:a16="http://schemas.microsoft.com/office/drawing/2014/main" id="{7D8121E1-F756-E54C-832A-98ED1A2DFC83}"/>
                </a:ext>
              </a:extLst>
            </p:cNvPr>
            <p:cNvSpPr/>
            <p:nvPr/>
          </p:nvSpPr>
          <p:spPr>
            <a:xfrm>
              <a:off x="8246654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3" name="Полилиния 1182">
              <a:extLst>
                <a:ext uri="{FF2B5EF4-FFF2-40B4-BE49-F238E27FC236}">
                  <a16:creationId xmlns:a16="http://schemas.microsoft.com/office/drawing/2014/main" id="{7972E1B5-1C07-E742-98FE-B357FCB3D3E3}"/>
                </a:ext>
              </a:extLst>
            </p:cNvPr>
            <p:cNvSpPr/>
            <p:nvPr/>
          </p:nvSpPr>
          <p:spPr>
            <a:xfrm>
              <a:off x="8364654" y="3435105"/>
              <a:ext cx="240778" cy="356931"/>
            </a:xfrm>
            <a:custGeom>
              <a:avLst/>
              <a:gdLst>
                <a:gd name="connsiteX0" fmla="*/ 140426 w 240778"/>
                <a:gd name="connsiteY0" fmla="*/ 0 h 356931"/>
                <a:gd name="connsiteX1" fmla="*/ 144497 w 240778"/>
                <a:gd name="connsiteY1" fmla="*/ 38602 h 356931"/>
                <a:gd name="connsiteX2" fmla="*/ 240779 w 240778"/>
                <a:gd name="connsiteY2" fmla="*/ 81976 h 356931"/>
                <a:gd name="connsiteX3" fmla="*/ 193566 w 240778"/>
                <a:gd name="connsiteY3" fmla="*/ 140270 h 356931"/>
                <a:gd name="connsiteX4" fmla="*/ 96669 w 240778"/>
                <a:gd name="connsiteY4" fmla="*/ 97129 h 356931"/>
                <a:gd name="connsiteX5" fmla="*/ 139811 w 240778"/>
                <a:gd name="connsiteY5" fmla="*/ 233 h 356931"/>
                <a:gd name="connsiteX6" fmla="*/ 140426 w 240778"/>
                <a:gd name="connsiteY6" fmla="*/ 0 h 356931"/>
                <a:gd name="connsiteX7" fmla="*/ 33333 w 240778"/>
                <a:gd name="connsiteY7" fmla="*/ 356931 h 356931"/>
                <a:gd name="connsiteX8" fmla="*/ 33333 w 240778"/>
                <a:gd name="connsiteY8" fmla="*/ 296931 h 356931"/>
                <a:gd name="connsiteX9" fmla="*/ 0 w 240778"/>
                <a:gd name="connsiteY9" fmla="*/ 296931 h 356931"/>
                <a:gd name="connsiteX10" fmla="*/ 66666 w 240778"/>
                <a:gd name="connsiteY10" fmla="*/ 206931 h 356931"/>
                <a:gd name="connsiteX11" fmla="*/ 66666 w 240778"/>
                <a:gd name="connsiteY11" fmla="*/ 266931 h 356931"/>
                <a:gd name="connsiteX12" fmla="*/ 99999 w 240778"/>
                <a:gd name="connsiteY12" fmla="*/ 266931 h 356931"/>
                <a:gd name="connsiteX13" fmla="*/ 33333 w 240778"/>
                <a:gd name="connsiteY13" fmla="*/ 356931 h 35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778" h="356931">
                  <a:moveTo>
                    <a:pt x="140426" y="0"/>
                  </a:moveTo>
                  <a:cubicBezTo>
                    <a:pt x="138422" y="12585"/>
                    <a:pt x="139602" y="25849"/>
                    <a:pt x="144497" y="38602"/>
                  </a:cubicBezTo>
                  <a:cubicBezTo>
                    <a:pt x="159263" y="77067"/>
                    <a:pt x="202265" y="96382"/>
                    <a:pt x="240779" y="81976"/>
                  </a:cubicBezTo>
                  <a:cubicBezTo>
                    <a:pt x="236708" y="107553"/>
                    <a:pt x="219483" y="130321"/>
                    <a:pt x="193566" y="140270"/>
                  </a:cubicBezTo>
                  <a:cubicBezTo>
                    <a:pt x="154896" y="155114"/>
                    <a:pt x="111513" y="135799"/>
                    <a:pt x="96669" y="97129"/>
                  </a:cubicBezTo>
                  <a:cubicBezTo>
                    <a:pt x="81825" y="58459"/>
                    <a:pt x="101141" y="15077"/>
                    <a:pt x="139811" y="233"/>
                  </a:cubicBezTo>
                  <a:cubicBezTo>
                    <a:pt x="140015" y="154"/>
                    <a:pt x="140220" y="77"/>
                    <a:pt x="140426" y="0"/>
                  </a:cubicBezTo>
                  <a:close/>
                  <a:moveTo>
                    <a:pt x="33333" y="356931"/>
                  </a:moveTo>
                  <a:lnTo>
                    <a:pt x="33333" y="296931"/>
                  </a:lnTo>
                  <a:lnTo>
                    <a:pt x="0" y="296931"/>
                  </a:lnTo>
                  <a:lnTo>
                    <a:pt x="66666" y="206931"/>
                  </a:lnTo>
                  <a:lnTo>
                    <a:pt x="66666" y="266931"/>
                  </a:lnTo>
                  <a:lnTo>
                    <a:pt x="99999" y="266931"/>
                  </a:lnTo>
                  <a:lnTo>
                    <a:pt x="33333" y="35693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4" name="Полилиния 1183">
              <a:extLst>
                <a:ext uri="{FF2B5EF4-FFF2-40B4-BE49-F238E27FC236}">
                  <a16:creationId xmlns:a16="http://schemas.microsoft.com/office/drawing/2014/main" id="{A3D36458-1D45-9E40-BFEF-5FEEDB57FF02}"/>
                </a:ext>
              </a:extLst>
            </p:cNvPr>
            <p:cNvSpPr/>
            <p:nvPr/>
          </p:nvSpPr>
          <p:spPr>
            <a:xfrm>
              <a:off x="8291654" y="3477037"/>
              <a:ext cx="270000" cy="180000"/>
            </a:xfrm>
            <a:custGeom>
              <a:avLst/>
              <a:gdLst>
                <a:gd name="connsiteX0" fmla="*/ 41207 w 270000"/>
                <a:gd name="connsiteY0" fmla="*/ 165639 h 180000"/>
                <a:gd name="connsiteX1" fmla="*/ 0 w 270000"/>
                <a:gd name="connsiteY1" fmla="*/ 90000 h 180000"/>
                <a:gd name="connsiteX2" fmla="*/ 90000 w 270000"/>
                <a:gd name="connsiteY2" fmla="*/ 0 h 180000"/>
                <a:gd name="connsiteX3" fmla="*/ 177165 w 270000"/>
                <a:gd name="connsiteY3" fmla="*/ 67500 h 180000"/>
                <a:gd name="connsiteX4" fmla="*/ 213750 w 270000"/>
                <a:gd name="connsiteY4" fmla="*/ 67500 h 180000"/>
                <a:gd name="connsiteX5" fmla="*/ 270000 w 270000"/>
                <a:gd name="connsiteY5" fmla="*/ 123750 h 180000"/>
                <a:gd name="connsiteX6" fmla="*/ 213750 w 270000"/>
                <a:gd name="connsiteY6" fmla="*/ 180000 h 180000"/>
                <a:gd name="connsiteX7" fmla="*/ 78750 w 270000"/>
                <a:gd name="connsiteY7" fmla="*/ 180000 h 180000"/>
                <a:gd name="connsiteX8" fmla="*/ 41207 w 270000"/>
                <a:gd name="connsiteY8" fmla="*/ 165639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" h="180000">
                  <a:moveTo>
                    <a:pt x="41207" y="165639"/>
                  </a:moveTo>
                  <a:cubicBezTo>
                    <a:pt x="16412" y="149610"/>
                    <a:pt x="0" y="121722"/>
                    <a:pt x="0" y="90000"/>
                  </a:cubicBezTo>
                  <a:cubicBezTo>
                    <a:pt x="0" y="40294"/>
                    <a:pt x="40294" y="0"/>
                    <a:pt x="90000" y="0"/>
                  </a:cubicBezTo>
                  <a:cubicBezTo>
                    <a:pt x="131937" y="0"/>
                    <a:pt x="167174" y="28682"/>
                    <a:pt x="177165" y="67500"/>
                  </a:cubicBezTo>
                  <a:lnTo>
                    <a:pt x="213750" y="67500"/>
                  </a:lnTo>
                  <a:cubicBezTo>
                    <a:pt x="244817" y="67500"/>
                    <a:pt x="270000" y="92684"/>
                    <a:pt x="270000" y="123750"/>
                  </a:cubicBezTo>
                  <a:cubicBezTo>
                    <a:pt x="270000" y="154817"/>
                    <a:pt x="244817" y="180000"/>
                    <a:pt x="213750" y="180000"/>
                  </a:cubicBezTo>
                  <a:lnTo>
                    <a:pt x="78750" y="180000"/>
                  </a:lnTo>
                  <a:cubicBezTo>
                    <a:pt x="64323" y="180000"/>
                    <a:pt x="51164" y="174569"/>
                    <a:pt x="41207" y="16563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85" name="Рисунок 292">
            <a:extLst>
              <a:ext uri="{FF2B5EF4-FFF2-40B4-BE49-F238E27FC236}">
                <a16:creationId xmlns:a16="http://schemas.microsoft.com/office/drawing/2014/main" id="{EFCCD385-482B-AD40-9068-615560C0A7FB}"/>
              </a:ext>
            </a:extLst>
          </p:cNvPr>
          <p:cNvGrpSpPr/>
          <p:nvPr/>
        </p:nvGrpSpPr>
        <p:grpSpPr>
          <a:xfrm>
            <a:off x="7458068" y="3115315"/>
            <a:ext cx="360000" cy="360000"/>
            <a:chOff x="7491521" y="3432037"/>
            <a:chExt cx="360000" cy="360000"/>
          </a:xfrm>
        </p:grpSpPr>
        <p:sp>
          <p:nvSpPr>
            <p:cNvPr id="1186" name="Полилиния 1185">
              <a:extLst>
                <a:ext uri="{FF2B5EF4-FFF2-40B4-BE49-F238E27FC236}">
                  <a16:creationId xmlns:a16="http://schemas.microsoft.com/office/drawing/2014/main" id="{46855054-51DF-354A-8568-E119A8792EF4}"/>
                </a:ext>
              </a:extLst>
            </p:cNvPr>
            <p:cNvSpPr/>
            <p:nvPr/>
          </p:nvSpPr>
          <p:spPr>
            <a:xfrm>
              <a:off x="7491521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7" name="Полилиния 1186">
              <a:extLst>
                <a:ext uri="{FF2B5EF4-FFF2-40B4-BE49-F238E27FC236}">
                  <a16:creationId xmlns:a16="http://schemas.microsoft.com/office/drawing/2014/main" id="{341B140E-3E42-5D4F-9F6A-FADFB6D4DDBB}"/>
                </a:ext>
              </a:extLst>
            </p:cNvPr>
            <p:cNvSpPr/>
            <p:nvPr/>
          </p:nvSpPr>
          <p:spPr>
            <a:xfrm rot="-2700000">
              <a:off x="7536521" y="3537036"/>
              <a:ext cx="285000" cy="165000"/>
            </a:xfrm>
            <a:custGeom>
              <a:avLst/>
              <a:gdLst>
                <a:gd name="connsiteX0" fmla="*/ 0 w 285000"/>
                <a:gd name="connsiteY0" fmla="*/ 45750 h 165000"/>
                <a:gd name="connsiteX1" fmla="*/ 0 w 285000"/>
                <a:gd name="connsiteY1" fmla="*/ 15000 h 165000"/>
                <a:gd name="connsiteX2" fmla="*/ 15000 w 285000"/>
                <a:gd name="connsiteY2" fmla="*/ 0 h 165000"/>
                <a:gd name="connsiteX3" fmla="*/ 90000 w 285000"/>
                <a:gd name="connsiteY3" fmla="*/ 0 h 165000"/>
                <a:gd name="connsiteX4" fmla="*/ 90000 w 285000"/>
                <a:gd name="connsiteY4" fmla="*/ 30000 h 165000"/>
                <a:gd name="connsiteX5" fmla="*/ 105000 w 285000"/>
                <a:gd name="connsiteY5" fmla="*/ 45000 h 165000"/>
                <a:gd name="connsiteX6" fmla="*/ 120000 w 285000"/>
                <a:gd name="connsiteY6" fmla="*/ 30000 h 165000"/>
                <a:gd name="connsiteX7" fmla="*/ 120000 w 285000"/>
                <a:gd name="connsiteY7" fmla="*/ 0 h 165000"/>
                <a:gd name="connsiteX8" fmla="*/ 270000 w 285000"/>
                <a:gd name="connsiteY8" fmla="*/ 0 h 165000"/>
                <a:gd name="connsiteX9" fmla="*/ 285000 w 285000"/>
                <a:gd name="connsiteY9" fmla="*/ 15000 h 165000"/>
                <a:gd name="connsiteX10" fmla="*/ 285000 w 285000"/>
                <a:gd name="connsiteY10" fmla="*/ 45750 h 165000"/>
                <a:gd name="connsiteX11" fmla="*/ 255000 w 285000"/>
                <a:gd name="connsiteY11" fmla="*/ 82500 h 165000"/>
                <a:gd name="connsiteX12" fmla="*/ 285000 w 285000"/>
                <a:gd name="connsiteY12" fmla="*/ 119250 h 165000"/>
                <a:gd name="connsiteX13" fmla="*/ 285000 w 285000"/>
                <a:gd name="connsiteY13" fmla="*/ 150000 h 165000"/>
                <a:gd name="connsiteX14" fmla="*/ 270000 w 285000"/>
                <a:gd name="connsiteY14" fmla="*/ 165000 h 165000"/>
                <a:gd name="connsiteX15" fmla="*/ 120000 w 285000"/>
                <a:gd name="connsiteY15" fmla="*/ 165000 h 165000"/>
                <a:gd name="connsiteX16" fmla="*/ 120000 w 285000"/>
                <a:gd name="connsiteY16" fmla="*/ 135000 h 165000"/>
                <a:gd name="connsiteX17" fmla="*/ 105000 w 285000"/>
                <a:gd name="connsiteY17" fmla="*/ 120000 h 165000"/>
                <a:gd name="connsiteX18" fmla="*/ 90000 w 285000"/>
                <a:gd name="connsiteY18" fmla="*/ 135000 h 165000"/>
                <a:gd name="connsiteX19" fmla="*/ 90000 w 285000"/>
                <a:gd name="connsiteY19" fmla="*/ 165000 h 165000"/>
                <a:gd name="connsiteX20" fmla="*/ 15000 w 285000"/>
                <a:gd name="connsiteY20" fmla="*/ 165000 h 165000"/>
                <a:gd name="connsiteX21" fmla="*/ 0 w 285000"/>
                <a:gd name="connsiteY21" fmla="*/ 150000 h 165000"/>
                <a:gd name="connsiteX22" fmla="*/ 0 w 285000"/>
                <a:gd name="connsiteY22" fmla="*/ 119250 h 165000"/>
                <a:gd name="connsiteX23" fmla="*/ 30000 w 285000"/>
                <a:gd name="connsiteY23" fmla="*/ 82500 h 165000"/>
                <a:gd name="connsiteX24" fmla="*/ 0 w 285000"/>
                <a:gd name="connsiteY24" fmla="*/ 45750 h 165000"/>
                <a:gd name="connsiteX25" fmla="*/ 105000 w 285000"/>
                <a:gd name="connsiteY25" fmla="*/ 60000 h 165000"/>
                <a:gd name="connsiteX26" fmla="*/ 90000 w 285000"/>
                <a:gd name="connsiteY26" fmla="*/ 75000 h 165000"/>
                <a:gd name="connsiteX27" fmla="*/ 90000 w 285000"/>
                <a:gd name="connsiteY27" fmla="*/ 90000 h 165000"/>
                <a:gd name="connsiteX28" fmla="*/ 105000 w 285000"/>
                <a:gd name="connsiteY28" fmla="*/ 105000 h 165000"/>
                <a:gd name="connsiteX29" fmla="*/ 120000 w 285000"/>
                <a:gd name="connsiteY29" fmla="*/ 90000 h 165000"/>
                <a:gd name="connsiteX30" fmla="*/ 120000 w 285000"/>
                <a:gd name="connsiteY30" fmla="*/ 75000 h 165000"/>
                <a:gd name="connsiteX31" fmla="*/ 105000 w 285000"/>
                <a:gd name="connsiteY31" fmla="*/ 60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5000" h="165000">
                  <a:moveTo>
                    <a:pt x="0" y="45750"/>
                  </a:move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90000" y="0"/>
                  </a:lnTo>
                  <a:lnTo>
                    <a:pt x="90000" y="30000"/>
                  </a:lnTo>
                  <a:cubicBezTo>
                    <a:pt x="90000" y="38284"/>
                    <a:pt x="96716" y="45000"/>
                    <a:pt x="105000" y="45000"/>
                  </a:cubicBezTo>
                  <a:cubicBezTo>
                    <a:pt x="113285" y="45000"/>
                    <a:pt x="120000" y="38284"/>
                    <a:pt x="120000" y="30000"/>
                  </a:cubicBezTo>
                  <a:lnTo>
                    <a:pt x="120000" y="0"/>
                  </a:lnTo>
                  <a:lnTo>
                    <a:pt x="270000" y="0"/>
                  </a:lnTo>
                  <a:cubicBezTo>
                    <a:pt x="278285" y="0"/>
                    <a:pt x="285000" y="6716"/>
                    <a:pt x="285000" y="15000"/>
                  </a:cubicBezTo>
                  <a:lnTo>
                    <a:pt x="285000" y="45750"/>
                  </a:lnTo>
                  <a:cubicBezTo>
                    <a:pt x="267884" y="49224"/>
                    <a:pt x="255000" y="64358"/>
                    <a:pt x="255000" y="82500"/>
                  </a:cubicBezTo>
                  <a:cubicBezTo>
                    <a:pt x="255000" y="100643"/>
                    <a:pt x="267884" y="115776"/>
                    <a:pt x="285000" y="119250"/>
                  </a:cubicBezTo>
                  <a:lnTo>
                    <a:pt x="285000" y="150000"/>
                  </a:lnTo>
                  <a:cubicBezTo>
                    <a:pt x="285000" y="158285"/>
                    <a:pt x="278285" y="165000"/>
                    <a:pt x="270000" y="165000"/>
                  </a:cubicBezTo>
                  <a:lnTo>
                    <a:pt x="120000" y="165000"/>
                  </a:lnTo>
                  <a:lnTo>
                    <a:pt x="120000" y="135000"/>
                  </a:lnTo>
                  <a:cubicBezTo>
                    <a:pt x="120000" y="126716"/>
                    <a:pt x="113285" y="120000"/>
                    <a:pt x="105000" y="120000"/>
                  </a:cubicBezTo>
                  <a:cubicBezTo>
                    <a:pt x="96716" y="120000"/>
                    <a:pt x="90000" y="126716"/>
                    <a:pt x="90000" y="135000"/>
                  </a:cubicBezTo>
                  <a:lnTo>
                    <a:pt x="90000" y="165000"/>
                  </a:lnTo>
                  <a:lnTo>
                    <a:pt x="15000" y="165000"/>
                  </a:lnTo>
                  <a:cubicBezTo>
                    <a:pt x="6716" y="165000"/>
                    <a:pt x="0" y="158285"/>
                    <a:pt x="0" y="150000"/>
                  </a:cubicBezTo>
                  <a:lnTo>
                    <a:pt x="0" y="119250"/>
                  </a:lnTo>
                  <a:cubicBezTo>
                    <a:pt x="17117" y="115776"/>
                    <a:pt x="30000" y="100643"/>
                    <a:pt x="30000" y="82500"/>
                  </a:cubicBezTo>
                  <a:cubicBezTo>
                    <a:pt x="30000" y="64358"/>
                    <a:pt x="17117" y="49224"/>
                    <a:pt x="0" y="45750"/>
                  </a:cubicBezTo>
                  <a:close/>
                  <a:moveTo>
                    <a:pt x="105000" y="60000"/>
                  </a:moveTo>
                  <a:cubicBezTo>
                    <a:pt x="96716" y="60000"/>
                    <a:pt x="90000" y="66716"/>
                    <a:pt x="90000" y="75000"/>
                  </a:cubicBezTo>
                  <a:lnTo>
                    <a:pt x="90000" y="90000"/>
                  </a:lnTo>
                  <a:cubicBezTo>
                    <a:pt x="90000" y="98285"/>
                    <a:pt x="96716" y="105000"/>
                    <a:pt x="105000" y="105000"/>
                  </a:cubicBezTo>
                  <a:cubicBezTo>
                    <a:pt x="113285" y="105000"/>
                    <a:pt x="120000" y="98285"/>
                    <a:pt x="120000" y="90000"/>
                  </a:cubicBezTo>
                  <a:lnTo>
                    <a:pt x="120000" y="75000"/>
                  </a:lnTo>
                  <a:cubicBezTo>
                    <a:pt x="120000" y="66716"/>
                    <a:pt x="113285" y="60000"/>
                    <a:pt x="105000" y="6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88" name="Рисунок 293">
            <a:extLst>
              <a:ext uri="{FF2B5EF4-FFF2-40B4-BE49-F238E27FC236}">
                <a16:creationId xmlns:a16="http://schemas.microsoft.com/office/drawing/2014/main" id="{5F01DC48-F9B4-074E-9E72-FEE78B37DFC4}"/>
              </a:ext>
            </a:extLst>
          </p:cNvPr>
          <p:cNvGrpSpPr/>
          <p:nvPr/>
        </p:nvGrpSpPr>
        <p:grpSpPr>
          <a:xfrm>
            <a:off x="6702935" y="3115315"/>
            <a:ext cx="360000" cy="360000"/>
            <a:chOff x="6736388" y="3432037"/>
            <a:chExt cx="360000" cy="360000"/>
          </a:xfrm>
        </p:grpSpPr>
        <p:sp>
          <p:nvSpPr>
            <p:cNvPr id="1189" name="Полилиния 1188">
              <a:extLst>
                <a:ext uri="{FF2B5EF4-FFF2-40B4-BE49-F238E27FC236}">
                  <a16:creationId xmlns:a16="http://schemas.microsoft.com/office/drawing/2014/main" id="{4F2C3A5A-828D-1E46-97CF-7A934C5B472A}"/>
                </a:ext>
              </a:extLst>
            </p:cNvPr>
            <p:cNvSpPr/>
            <p:nvPr/>
          </p:nvSpPr>
          <p:spPr>
            <a:xfrm>
              <a:off x="6736388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0" name="Полилиния 1189">
              <a:extLst>
                <a:ext uri="{FF2B5EF4-FFF2-40B4-BE49-F238E27FC236}">
                  <a16:creationId xmlns:a16="http://schemas.microsoft.com/office/drawing/2014/main" id="{D7A6B7FF-FDB8-4C4B-B9C1-00540496F2B8}"/>
                </a:ext>
              </a:extLst>
            </p:cNvPr>
            <p:cNvSpPr/>
            <p:nvPr/>
          </p:nvSpPr>
          <p:spPr>
            <a:xfrm>
              <a:off x="6842012" y="3462037"/>
              <a:ext cx="148751" cy="75093"/>
            </a:xfrm>
            <a:custGeom>
              <a:avLst/>
              <a:gdLst>
                <a:gd name="connsiteX0" fmla="*/ 106062 w 148751"/>
                <a:gd name="connsiteY0" fmla="*/ 75094 h 75093"/>
                <a:gd name="connsiteX1" fmla="*/ 104376 w 148751"/>
                <a:gd name="connsiteY1" fmla="*/ 75000 h 75093"/>
                <a:gd name="connsiteX2" fmla="*/ 44376 w 148751"/>
                <a:gd name="connsiteY2" fmla="*/ 75000 h 75093"/>
                <a:gd name="connsiteX3" fmla="*/ 42689 w 148751"/>
                <a:gd name="connsiteY3" fmla="*/ 75094 h 75093"/>
                <a:gd name="connsiteX4" fmla="*/ 4590 w 148751"/>
                <a:gd name="connsiteY4" fmla="*/ 38370 h 75093"/>
                <a:gd name="connsiteX5" fmla="*/ 4177 w 148751"/>
                <a:gd name="connsiteY5" fmla="*/ 17184 h 75093"/>
                <a:gd name="connsiteX6" fmla="*/ 20668 w 148751"/>
                <a:gd name="connsiteY6" fmla="*/ 0 h 75093"/>
                <a:gd name="connsiteX7" fmla="*/ 128083 w 148751"/>
                <a:gd name="connsiteY7" fmla="*/ 0 h 75093"/>
                <a:gd name="connsiteX8" fmla="*/ 144574 w 148751"/>
                <a:gd name="connsiteY8" fmla="*/ 17184 h 75093"/>
                <a:gd name="connsiteX9" fmla="*/ 144162 w 148751"/>
                <a:gd name="connsiteY9" fmla="*/ 38370 h 75093"/>
                <a:gd name="connsiteX10" fmla="*/ 106062 w 148751"/>
                <a:gd name="connsiteY10" fmla="*/ 75094 h 75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8751" h="75093">
                  <a:moveTo>
                    <a:pt x="106062" y="75094"/>
                  </a:moveTo>
                  <a:cubicBezTo>
                    <a:pt x="105508" y="75032"/>
                    <a:pt x="104946" y="75000"/>
                    <a:pt x="104376" y="75000"/>
                  </a:cubicBezTo>
                  <a:lnTo>
                    <a:pt x="44376" y="75000"/>
                  </a:lnTo>
                  <a:cubicBezTo>
                    <a:pt x="43806" y="75000"/>
                    <a:pt x="43243" y="75032"/>
                    <a:pt x="42689" y="75094"/>
                  </a:cubicBezTo>
                  <a:lnTo>
                    <a:pt x="4590" y="38370"/>
                  </a:lnTo>
                  <a:cubicBezTo>
                    <a:pt x="-1365" y="32630"/>
                    <a:pt x="-1550" y="23152"/>
                    <a:pt x="4177" y="17184"/>
                  </a:cubicBezTo>
                  <a:lnTo>
                    <a:pt x="20668" y="0"/>
                  </a:lnTo>
                  <a:lnTo>
                    <a:pt x="128083" y="0"/>
                  </a:lnTo>
                  <a:lnTo>
                    <a:pt x="144574" y="17184"/>
                  </a:lnTo>
                  <a:cubicBezTo>
                    <a:pt x="150301" y="23152"/>
                    <a:pt x="150117" y="32630"/>
                    <a:pt x="144162" y="38370"/>
                  </a:cubicBezTo>
                  <a:lnTo>
                    <a:pt x="106062" y="7509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191" name="Полилиния 1190">
              <a:extLst>
                <a:ext uri="{FF2B5EF4-FFF2-40B4-BE49-F238E27FC236}">
                  <a16:creationId xmlns:a16="http://schemas.microsoft.com/office/drawing/2014/main" id="{E7191549-2056-8842-9936-9B076CB23687}"/>
                </a:ext>
              </a:extLst>
            </p:cNvPr>
            <p:cNvSpPr/>
            <p:nvPr/>
          </p:nvSpPr>
          <p:spPr>
            <a:xfrm>
              <a:off x="6863849" y="3567037"/>
              <a:ext cx="105077" cy="194131"/>
            </a:xfrm>
            <a:custGeom>
              <a:avLst/>
              <a:gdLst>
                <a:gd name="connsiteX0" fmla="*/ 78999 w 105077"/>
                <a:gd name="connsiteY0" fmla="*/ 0 h 194131"/>
                <a:gd name="connsiteX1" fmla="*/ 104818 w 105077"/>
                <a:gd name="connsiteY1" fmla="*/ 137241 h 194131"/>
                <a:gd name="connsiteX2" fmla="*/ 100900 w 105077"/>
                <a:gd name="connsiteY2" fmla="*/ 150400 h 194131"/>
                <a:gd name="connsiteX3" fmla="*/ 63361 w 105077"/>
                <a:gd name="connsiteY3" fmla="*/ 189518 h 194131"/>
                <a:gd name="connsiteX4" fmla="*/ 62925 w 105077"/>
                <a:gd name="connsiteY4" fmla="*/ 189954 h 194131"/>
                <a:gd name="connsiteX5" fmla="*/ 41716 w 105077"/>
                <a:gd name="connsiteY5" fmla="*/ 189518 h 194131"/>
                <a:gd name="connsiteX6" fmla="*/ 4177 w 105077"/>
                <a:gd name="connsiteY6" fmla="*/ 150400 h 194131"/>
                <a:gd name="connsiteX7" fmla="*/ 259 w 105077"/>
                <a:gd name="connsiteY7" fmla="*/ 137241 h 194131"/>
                <a:gd name="connsiteX8" fmla="*/ 26079 w 105077"/>
                <a:gd name="connsiteY8" fmla="*/ 0 h 194131"/>
                <a:gd name="connsiteX9" fmla="*/ 78999 w 105077"/>
                <a:gd name="connsiteY9" fmla="*/ 0 h 19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5077" h="194131">
                  <a:moveTo>
                    <a:pt x="78999" y="0"/>
                  </a:moveTo>
                  <a:lnTo>
                    <a:pt x="104818" y="137241"/>
                  </a:lnTo>
                  <a:cubicBezTo>
                    <a:pt x="105715" y="142004"/>
                    <a:pt x="104256" y="146904"/>
                    <a:pt x="100900" y="150400"/>
                  </a:cubicBezTo>
                  <a:lnTo>
                    <a:pt x="63361" y="189518"/>
                  </a:lnTo>
                  <a:cubicBezTo>
                    <a:pt x="63219" y="189666"/>
                    <a:pt x="63073" y="189812"/>
                    <a:pt x="62925" y="189954"/>
                  </a:cubicBezTo>
                  <a:cubicBezTo>
                    <a:pt x="56947" y="195690"/>
                    <a:pt x="47452" y="195495"/>
                    <a:pt x="41716" y="189518"/>
                  </a:cubicBezTo>
                  <a:lnTo>
                    <a:pt x="4177" y="150400"/>
                  </a:lnTo>
                  <a:cubicBezTo>
                    <a:pt x="823" y="146904"/>
                    <a:pt x="-637" y="142004"/>
                    <a:pt x="259" y="137241"/>
                  </a:cubicBezTo>
                  <a:lnTo>
                    <a:pt x="26079" y="0"/>
                  </a:lnTo>
                  <a:lnTo>
                    <a:pt x="78999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92" name="Рисунок 294">
            <a:extLst>
              <a:ext uri="{FF2B5EF4-FFF2-40B4-BE49-F238E27FC236}">
                <a16:creationId xmlns:a16="http://schemas.microsoft.com/office/drawing/2014/main" id="{00A70677-91DE-0A4E-876C-148A98CE6F4E}"/>
              </a:ext>
            </a:extLst>
          </p:cNvPr>
          <p:cNvGrpSpPr/>
          <p:nvPr/>
        </p:nvGrpSpPr>
        <p:grpSpPr>
          <a:xfrm>
            <a:off x="5192669" y="3115315"/>
            <a:ext cx="360000" cy="360000"/>
            <a:chOff x="5226122" y="3432037"/>
            <a:chExt cx="360000" cy="360000"/>
          </a:xfrm>
        </p:grpSpPr>
        <p:sp>
          <p:nvSpPr>
            <p:cNvPr id="1193" name="Полилиния 1192">
              <a:extLst>
                <a:ext uri="{FF2B5EF4-FFF2-40B4-BE49-F238E27FC236}">
                  <a16:creationId xmlns:a16="http://schemas.microsoft.com/office/drawing/2014/main" id="{424FF0BC-CF20-AF4F-99B2-7F4933DA1C4D}"/>
                </a:ext>
              </a:extLst>
            </p:cNvPr>
            <p:cNvSpPr/>
            <p:nvPr/>
          </p:nvSpPr>
          <p:spPr>
            <a:xfrm>
              <a:off x="5226122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4" name="Полилиния 1193">
              <a:extLst>
                <a:ext uri="{FF2B5EF4-FFF2-40B4-BE49-F238E27FC236}">
                  <a16:creationId xmlns:a16="http://schemas.microsoft.com/office/drawing/2014/main" id="{A4E5BF03-0EBE-1A40-AF7C-BC0F1E7CD405}"/>
                </a:ext>
              </a:extLst>
            </p:cNvPr>
            <p:cNvSpPr/>
            <p:nvPr/>
          </p:nvSpPr>
          <p:spPr>
            <a:xfrm>
              <a:off x="5286122" y="3507037"/>
              <a:ext cx="240000" cy="240000"/>
            </a:xfrm>
            <a:custGeom>
              <a:avLst/>
              <a:gdLst>
                <a:gd name="connsiteX0" fmla="*/ 120000 w 240000"/>
                <a:gd name="connsiteY0" fmla="*/ 240000 h 240000"/>
                <a:gd name="connsiteX1" fmla="*/ 0 w 240000"/>
                <a:gd name="connsiteY1" fmla="*/ 120000 h 240000"/>
                <a:gd name="connsiteX2" fmla="*/ 120000 w 240000"/>
                <a:gd name="connsiteY2" fmla="*/ 0 h 240000"/>
                <a:gd name="connsiteX3" fmla="*/ 240000 w 240000"/>
                <a:gd name="connsiteY3" fmla="*/ 120000 h 240000"/>
                <a:gd name="connsiteX4" fmla="*/ 120000 w 240000"/>
                <a:gd name="connsiteY4" fmla="*/ 24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000" h="240000">
                  <a:moveTo>
                    <a:pt x="120000" y="240000"/>
                  </a:moveTo>
                  <a:cubicBezTo>
                    <a:pt x="53726" y="240000"/>
                    <a:pt x="0" y="186275"/>
                    <a:pt x="0" y="120000"/>
                  </a:cubicBezTo>
                  <a:cubicBezTo>
                    <a:pt x="0" y="53726"/>
                    <a:pt x="53726" y="0"/>
                    <a:pt x="120000" y="0"/>
                  </a:cubicBezTo>
                  <a:cubicBezTo>
                    <a:pt x="186275" y="0"/>
                    <a:pt x="240000" y="53726"/>
                    <a:pt x="240000" y="120000"/>
                  </a:cubicBezTo>
                  <a:cubicBezTo>
                    <a:pt x="240000" y="186275"/>
                    <a:pt x="186275" y="240000"/>
                    <a:pt x="120000" y="24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5" name="Полилиния 1194">
              <a:extLst>
                <a:ext uri="{FF2B5EF4-FFF2-40B4-BE49-F238E27FC236}">
                  <a16:creationId xmlns:a16="http://schemas.microsoft.com/office/drawing/2014/main" id="{08C390A5-3C26-0149-88C4-8CB3CCDB4EBA}"/>
                </a:ext>
              </a:extLst>
            </p:cNvPr>
            <p:cNvSpPr/>
            <p:nvPr/>
          </p:nvSpPr>
          <p:spPr>
            <a:xfrm>
              <a:off x="5361122" y="3462037"/>
              <a:ext cx="90000" cy="45928"/>
            </a:xfrm>
            <a:custGeom>
              <a:avLst/>
              <a:gdLst>
                <a:gd name="connsiteX0" fmla="*/ 60000 w 90000"/>
                <a:gd name="connsiteY0" fmla="*/ 45928 h 45928"/>
                <a:gd name="connsiteX1" fmla="*/ 45000 w 90000"/>
                <a:gd name="connsiteY1" fmla="*/ 45000 h 45928"/>
                <a:gd name="connsiteX2" fmla="*/ 30000 w 90000"/>
                <a:gd name="connsiteY2" fmla="*/ 45928 h 45928"/>
                <a:gd name="connsiteX3" fmla="*/ 30000 w 90000"/>
                <a:gd name="connsiteY3" fmla="*/ 30000 h 45928"/>
                <a:gd name="connsiteX4" fmla="*/ 15000 w 90000"/>
                <a:gd name="connsiteY4" fmla="*/ 30000 h 45928"/>
                <a:gd name="connsiteX5" fmla="*/ 0 w 90000"/>
                <a:gd name="connsiteY5" fmla="*/ 15000 h 45928"/>
                <a:gd name="connsiteX6" fmla="*/ 15000 w 90000"/>
                <a:gd name="connsiteY6" fmla="*/ 0 h 45928"/>
                <a:gd name="connsiteX7" fmla="*/ 75000 w 90000"/>
                <a:gd name="connsiteY7" fmla="*/ 0 h 45928"/>
                <a:gd name="connsiteX8" fmla="*/ 90000 w 90000"/>
                <a:gd name="connsiteY8" fmla="*/ 15000 h 45928"/>
                <a:gd name="connsiteX9" fmla="*/ 75000 w 90000"/>
                <a:gd name="connsiteY9" fmla="*/ 30000 h 45928"/>
                <a:gd name="connsiteX10" fmla="*/ 60000 w 90000"/>
                <a:gd name="connsiteY10" fmla="*/ 30000 h 45928"/>
                <a:gd name="connsiteX11" fmla="*/ 60000 w 90000"/>
                <a:gd name="connsiteY11" fmla="*/ 45928 h 45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000" h="45928">
                  <a:moveTo>
                    <a:pt x="60000" y="45928"/>
                  </a:moveTo>
                  <a:cubicBezTo>
                    <a:pt x="55086" y="45316"/>
                    <a:pt x="50081" y="45000"/>
                    <a:pt x="45000" y="45000"/>
                  </a:cubicBezTo>
                  <a:cubicBezTo>
                    <a:pt x="39919" y="45000"/>
                    <a:pt x="34914" y="45316"/>
                    <a:pt x="30000" y="45928"/>
                  </a:cubicBezTo>
                  <a:lnTo>
                    <a:pt x="30000" y="30000"/>
                  </a:lnTo>
                  <a:lnTo>
                    <a:pt x="15000" y="30000"/>
                  </a:ln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lnTo>
                    <a:pt x="75000" y="0"/>
                  </a:lnTo>
                  <a:cubicBezTo>
                    <a:pt x="83285" y="0"/>
                    <a:pt x="90000" y="6716"/>
                    <a:pt x="90000" y="15000"/>
                  </a:cubicBezTo>
                  <a:cubicBezTo>
                    <a:pt x="90000" y="23284"/>
                    <a:pt x="83285" y="30000"/>
                    <a:pt x="75000" y="30000"/>
                  </a:cubicBezTo>
                  <a:lnTo>
                    <a:pt x="60000" y="30000"/>
                  </a:lnTo>
                  <a:lnTo>
                    <a:pt x="60000" y="45928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6" name="Полилиния 1195">
              <a:extLst>
                <a:ext uri="{FF2B5EF4-FFF2-40B4-BE49-F238E27FC236}">
                  <a16:creationId xmlns:a16="http://schemas.microsoft.com/office/drawing/2014/main" id="{B18FBCCC-9778-524C-AEA9-44A7076AD332}"/>
                </a:ext>
              </a:extLst>
            </p:cNvPr>
            <p:cNvSpPr/>
            <p:nvPr/>
          </p:nvSpPr>
          <p:spPr>
            <a:xfrm>
              <a:off x="5476770" y="3513250"/>
              <a:ext cx="37991" cy="37345"/>
            </a:xfrm>
            <a:custGeom>
              <a:avLst/>
              <a:gdLst>
                <a:gd name="connsiteX0" fmla="*/ 0 w 37991"/>
                <a:gd name="connsiteY0" fmla="*/ 16778 h 37345"/>
                <a:gd name="connsiteX1" fmla="*/ 12384 w 37991"/>
                <a:gd name="connsiteY1" fmla="*/ 4393 h 37345"/>
                <a:gd name="connsiteX2" fmla="*/ 33597 w 37991"/>
                <a:gd name="connsiteY2" fmla="*/ 4393 h 37345"/>
                <a:gd name="connsiteX3" fmla="*/ 33597 w 37991"/>
                <a:gd name="connsiteY3" fmla="*/ 25607 h 37345"/>
                <a:gd name="connsiteX4" fmla="*/ 21858 w 37991"/>
                <a:gd name="connsiteY4" fmla="*/ 37346 h 37345"/>
                <a:gd name="connsiteX5" fmla="*/ 0 w 37991"/>
                <a:gd name="connsiteY5" fmla="*/ 16778 h 3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991" h="37345">
                  <a:moveTo>
                    <a:pt x="0" y="16778"/>
                  </a:moveTo>
                  <a:lnTo>
                    <a:pt x="12384" y="4393"/>
                  </a:lnTo>
                  <a:cubicBezTo>
                    <a:pt x="18243" y="-1464"/>
                    <a:pt x="27740" y="-1464"/>
                    <a:pt x="33597" y="4393"/>
                  </a:cubicBezTo>
                  <a:cubicBezTo>
                    <a:pt x="39456" y="10251"/>
                    <a:pt x="39456" y="19749"/>
                    <a:pt x="33597" y="25607"/>
                  </a:cubicBezTo>
                  <a:lnTo>
                    <a:pt x="21858" y="37346"/>
                  </a:lnTo>
                  <a:cubicBezTo>
                    <a:pt x="15464" y="29615"/>
                    <a:pt x="8118" y="22699"/>
                    <a:pt x="0" y="16778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7" name="Полилиния 1196">
              <a:extLst>
                <a:ext uri="{FF2B5EF4-FFF2-40B4-BE49-F238E27FC236}">
                  <a16:creationId xmlns:a16="http://schemas.microsoft.com/office/drawing/2014/main" id="{EAF06BF8-AD27-C245-B6BE-071B6646E176}"/>
                </a:ext>
              </a:extLst>
            </p:cNvPr>
            <p:cNvSpPr/>
            <p:nvPr/>
          </p:nvSpPr>
          <p:spPr>
            <a:xfrm>
              <a:off x="5391720" y="3544537"/>
              <a:ext cx="28802" cy="97500"/>
            </a:xfrm>
            <a:custGeom>
              <a:avLst/>
              <a:gdLst>
                <a:gd name="connsiteX0" fmla="*/ 13847 w 28802"/>
                <a:gd name="connsiteY0" fmla="*/ 0 h 97500"/>
                <a:gd name="connsiteX1" fmla="*/ 14956 w 28802"/>
                <a:gd name="connsiteY1" fmla="*/ 0 h 97500"/>
                <a:gd name="connsiteX2" fmla="*/ 22434 w 28802"/>
                <a:gd name="connsiteY2" fmla="*/ 6925 h 97500"/>
                <a:gd name="connsiteX3" fmla="*/ 28781 w 28802"/>
                <a:gd name="connsiteY3" fmla="*/ 89426 h 97500"/>
                <a:gd name="connsiteX4" fmla="*/ 21877 w 28802"/>
                <a:gd name="connsiteY4" fmla="*/ 97478 h 97500"/>
                <a:gd name="connsiteX5" fmla="*/ 21303 w 28802"/>
                <a:gd name="connsiteY5" fmla="*/ 97500 h 97500"/>
                <a:gd name="connsiteX6" fmla="*/ 7500 w 28802"/>
                <a:gd name="connsiteY6" fmla="*/ 97500 h 97500"/>
                <a:gd name="connsiteX7" fmla="*/ 0 w 28802"/>
                <a:gd name="connsiteY7" fmla="*/ 90000 h 97500"/>
                <a:gd name="connsiteX8" fmla="*/ 23 w 28802"/>
                <a:gd name="connsiteY8" fmla="*/ 89426 h 97500"/>
                <a:gd name="connsiteX9" fmla="*/ 6369 w 28802"/>
                <a:gd name="connsiteY9" fmla="*/ 6925 h 97500"/>
                <a:gd name="connsiteX10" fmla="*/ 13847 w 28802"/>
                <a:gd name="connsiteY10" fmla="*/ 0 h 9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802" h="97500">
                  <a:moveTo>
                    <a:pt x="13847" y="0"/>
                  </a:moveTo>
                  <a:lnTo>
                    <a:pt x="14956" y="0"/>
                  </a:lnTo>
                  <a:cubicBezTo>
                    <a:pt x="18876" y="0"/>
                    <a:pt x="22134" y="3017"/>
                    <a:pt x="22434" y="6925"/>
                  </a:cubicBezTo>
                  <a:lnTo>
                    <a:pt x="28781" y="89426"/>
                  </a:lnTo>
                  <a:cubicBezTo>
                    <a:pt x="29099" y="93555"/>
                    <a:pt x="26007" y="97159"/>
                    <a:pt x="21877" y="97478"/>
                  </a:cubicBezTo>
                  <a:cubicBezTo>
                    <a:pt x="21687" y="97493"/>
                    <a:pt x="21495" y="97500"/>
                    <a:pt x="21303" y="97500"/>
                  </a:cubicBezTo>
                  <a:lnTo>
                    <a:pt x="7500" y="97500"/>
                  </a:lnTo>
                  <a:cubicBezTo>
                    <a:pt x="3358" y="97500"/>
                    <a:pt x="0" y="94142"/>
                    <a:pt x="0" y="90000"/>
                  </a:cubicBezTo>
                  <a:cubicBezTo>
                    <a:pt x="0" y="89808"/>
                    <a:pt x="7" y="89616"/>
                    <a:pt x="23" y="89426"/>
                  </a:cubicBezTo>
                  <a:lnTo>
                    <a:pt x="6369" y="6925"/>
                  </a:lnTo>
                  <a:cubicBezTo>
                    <a:pt x="6669" y="3017"/>
                    <a:pt x="9927" y="0"/>
                    <a:pt x="13847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98" name="Рисунок 295">
            <a:extLst>
              <a:ext uri="{FF2B5EF4-FFF2-40B4-BE49-F238E27FC236}">
                <a16:creationId xmlns:a16="http://schemas.microsoft.com/office/drawing/2014/main" id="{3C94B0B7-4EAF-1843-8307-C231CA3E37A7}"/>
              </a:ext>
            </a:extLst>
          </p:cNvPr>
          <p:cNvGrpSpPr/>
          <p:nvPr/>
        </p:nvGrpSpPr>
        <p:grpSpPr>
          <a:xfrm>
            <a:off x="5947802" y="3115315"/>
            <a:ext cx="360000" cy="360000"/>
            <a:chOff x="5981255" y="3432037"/>
            <a:chExt cx="360000" cy="360000"/>
          </a:xfrm>
        </p:grpSpPr>
        <p:sp>
          <p:nvSpPr>
            <p:cNvPr id="1199" name="Полилиния 1198">
              <a:extLst>
                <a:ext uri="{FF2B5EF4-FFF2-40B4-BE49-F238E27FC236}">
                  <a16:creationId xmlns:a16="http://schemas.microsoft.com/office/drawing/2014/main" id="{5A03BD25-D498-044B-99D0-9285C969304E}"/>
                </a:ext>
              </a:extLst>
            </p:cNvPr>
            <p:cNvSpPr/>
            <p:nvPr/>
          </p:nvSpPr>
          <p:spPr>
            <a:xfrm>
              <a:off x="5981255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0" name="Полилиния 1199">
              <a:extLst>
                <a:ext uri="{FF2B5EF4-FFF2-40B4-BE49-F238E27FC236}">
                  <a16:creationId xmlns:a16="http://schemas.microsoft.com/office/drawing/2014/main" id="{150256CD-FCAE-3F4E-8711-3A89D01717A7}"/>
                </a:ext>
              </a:extLst>
            </p:cNvPr>
            <p:cNvSpPr/>
            <p:nvPr/>
          </p:nvSpPr>
          <p:spPr>
            <a:xfrm>
              <a:off x="6131708" y="3544537"/>
              <a:ext cx="82046" cy="118228"/>
            </a:xfrm>
            <a:custGeom>
              <a:avLst/>
              <a:gdLst>
                <a:gd name="connsiteX0" fmla="*/ 13992 w 82046"/>
                <a:gd name="connsiteY0" fmla="*/ 0 h 118228"/>
                <a:gd name="connsiteX1" fmla="*/ 15259 w 82046"/>
                <a:gd name="connsiteY1" fmla="*/ 0 h 118228"/>
                <a:gd name="connsiteX2" fmla="*/ 22722 w 82046"/>
                <a:gd name="connsiteY2" fmla="*/ 6754 h 118228"/>
                <a:gd name="connsiteX3" fmla="*/ 29547 w 82046"/>
                <a:gd name="connsiteY3" fmla="*/ 75000 h 118228"/>
                <a:gd name="connsiteX4" fmla="*/ 78268 w 82046"/>
                <a:gd name="connsiteY4" fmla="*/ 102840 h 118228"/>
                <a:gd name="connsiteX5" fmla="*/ 82047 w 82046"/>
                <a:gd name="connsiteY5" fmla="*/ 109353 h 118228"/>
                <a:gd name="connsiteX6" fmla="*/ 82047 w 82046"/>
                <a:gd name="connsiteY6" fmla="*/ 112500 h 118228"/>
                <a:gd name="connsiteX7" fmla="*/ 76318 w 82046"/>
                <a:gd name="connsiteY7" fmla="*/ 118229 h 118228"/>
                <a:gd name="connsiteX8" fmla="*/ 74811 w 82046"/>
                <a:gd name="connsiteY8" fmla="*/ 118026 h 118228"/>
                <a:gd name="connsiteX9" fmla="*/ 5527 w 82046"/>
                <a:gd name="connsiteY9" fmla="*/ 99131 h 118228"/>
                <a:gd name="connsiteX10" fmla="*/ 22 w 82046"/>
                <a:gd name="connsiteY10" fmla="*/ 91320 h 118228"/>
                <a:gd name="connsiteX11" fmla="*/ 6514 w 82046"/>
                <a:gd name="connsiteY11" fmla="*/ 6925 h 118228"/>
                <a:gd name="connsiteX12" fmla="*/ 13992 w 82046"/>
                <a:gd name="connsiteY12" fmla="*/ 0 h 118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046" h="118228">
                  <a:moveTo>
                    <a:pt x="13992" y="0"/>
                  </a:moveTo>
                  <a:lnTo>
                    <a:pt x="15259" y="0"/>
                  </a:lnTo>
                  <a:cubicBezTo>
                    <a:pt x="19113" y="0"/>
                    <a:pt x="22339" y="2920"/>
                    <a:pt x="22722" y="6754"/>
                  </a:cubicBezTo>
                  <a:lnTo>
                    <a:pt x="29547" y="75000"/>
                  </a:lnTo>
                  <a:lnTo>
                    <a:pt x="78268" y="102840"/>
                  </a:lnTo>
                  <a:cubicBezTo>
                    <a:pt x="80605" y="104177"/>
                    <a:pt x="82047" y="106660"/>
                    <a:pt x="82047" y="109353"/>
                  </a:cubicBezTo>
                  <a:lnTo>
                    <a:pt x="82047" y="112500"/>
                  </a:lnTo>
                  <a:cubicBezTo>
                    <a:pt x="82047" y="115664"/>
                    <a:pt x="79482" y="118229"/>
                    <a:pt x="76318" y="118229"/>
                  </a:cubicBezTo>
                  <a:cubicBezTo>
                    <a:pt x="75810" y="118229"/>
                    <a:pt x="75303" y="118161"/>
                    <a:pt x="74811" y="118026"/>
                  </a:cubicBezTo>
                  <a:lnTo>
                    <a:pt x="5527" y="99131"/>
                  </a:lnTo>
                  <a:cubicBezTo>
                    <a:pt x="2056" y="98184"/>
                    <a:pt x="-254" y="94907"/>
                    <a:pt x="22" y="91320"/>
                  </a:cubicBezTo>
                  <a:lnTo>
                    <a:pt x="6514" y="6925"/>
                  </a:lnTo>
                  <a:cubicBezTo>
                    <a:pt x="6814" y="3017"/>
                    <a:pt x="10072" y="0"/>
                    <a:pt x="13992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1" name="Полилиния 1200">
              <a:extLst>
                <a:ext uri="{FF2B5EF4-FFF2-40B4-BE49-F238E27FC236}">
                  <a16:creationId xmlns:a16="http://schemas.microsoft.com/office/drawing/2014/main" id="{2C52E045-7D3E-DE43-874C-C838F5E70C6D}"/>
                </a:ext>
              </a:extLst>
            </p:cNvPr>
            <p:cNvSpPr/>
            <p:nvPr/>
          </p:nvSpPr>
          <p:spPr>
            <a:xfrm>
              <a:off x="5996255" y="3450631"/>
              <a:ext cx="315000" cy="326405"/>
            </a:xfrm>
            <a:custGeom>
              <a:avLst/>
              <a:gdLst>
                <a:gd name="connsiteX0" fmla="*/ 95847 w 315000"/>
                <a:gd name="connsiteY0" fmla="*/ 23930 h 326405"/>
                <a:gd name="connsiteX1" fmla="*/ 157500 w 315000"/>
                <a:gd name="connsiteY1" fmla="*/ 11406 h 326405"/>
                <a:gd name="connsiteX2" fmla="*/ 315000 w 315000"/>
                <a:gd name="connsiteY2" fmla="*/ 168906 h 326405"/>
                <a:gd name="connsiteX3" fmla="*/ 157500 w 315000"/>
                <a:gd name="connsiteY3" fmla="*/ 326406 h 326405"/>
                <a:gd name="connsiteX4" fmla="*/ 0 w 315000"/>
                <a:gd name="connsiteY4" fmla="*/ 168906 h 326405"/>
                <a:gd name="connsiteX5" fmla="*/ 5837 w 315000"/>
                <a:gd name="connsiteY5" fmla="*/ 126277 h 326405"/>
                <a:gd name="connsiteX6" fmla="*/ 34722 w 315000"/>
                <a:gd name="connsiteY6" fmla="*/ 134379 h 326405"/>
                <a:gd name="connsiteX7" fmla="*/ 30000 w 315000"/>
                <a:gd name="connsiteY7" fmla="*/ 168906 h 326405"/>
                <a:gd name="connsiteX8" fmla="*/ 157500 w 315000"/>
                <a:gd name="connsiteY8" fmla="*/ 296406 h 326405"/>
                <a:gd name="connsiteX9" fmla="*/ 285000 w 315000"/>
                <a:gd name="connsiteY9" fmla="*/ 168906 h 326405"/>
                <a:gd name="connsiteX10" fmla="*/ 157500 w 315000"/>
                <a:gd name="connsiteY10" fmla="*/ 41406 h 326405"/>
                <a:gd name="connsiteX11" fmla="*/ 116231 w 315000"/>
                <a:gd name="connsiteY11" fmla="*/ 48223 h 326405"/>
                <a:gd name="connsiteX12" fmla="*/ 134092 w 315000"/>
                <a:gd name="connsiteY12" fmla="*/ 69509 h 326405"/>
                <a:gd name="connsiteX13" fmla="*/ 135836 w 315000"/>
                <a:gd name="connsiteY13" fmla="*/ 73906 h 326405"/>
                <a:gd name="connsiteX14" fmla="*/ 128771 w 315000"/>
                <a:gd name="connsiteY14" fmla="*/ 81818 h 326405"/>
                <a:gd name="connsiteX15" fmla="*/ 55767 w 315000"/>
                <a:gd name="connsiteY15" fmla="*/ 85955 h 326405"/>
                <a:gd name="connsiteX16" fmla="*/ 53602 w 315000"/>
                <a:gd name="connsiteY16" fmla="*/ 85762 h 326405"/>
                <a:gd name="connsiteX17" fmla="*/ 48047 w 315000"/>
                <a:gd name="connsiteY17" fmla="*/ 76727 h 326405"/>
                <a:gd name="connsiteX18" fmla="*/ 64975 w 315000"/>
                <a:gd name="connsiteY18" fmla="*/ 5760 h 326405"/>
                <a:gd name="connsiteX19" fmla="*/ 67449 w 315000"/>
                <a:gd name="connsiteY19" fmla="*/ 1755 h 326405"/>
                <a:gd name="connsiteX20" fmla="*/ 78015 w 315000"/>
                <a:gd name="connsiteY20" fmla="*/ 2679 h 326405"/>
                <a:gd name="connsiteX21" fmla="*/ 95847 w 315000"/>
                <a:gd name="connsiteY21" fmla="*/ 23930 h 326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15000" h="326405">
                  <a:moveTo>
                    <a:pt x="95847" y="23930"/>
                  </a:moveTo>
                  <a:cubicBezTo>
                    <a:pt x="114783" y="15867"/>
                    <a:pt x="135620" y="11406"/>
                    <a:pt x="157500" y="11406"/>
                  </a:cubicBezTo>
                  <a:cubicBezTo>
                    <a:pt x="244485" y="11406"/>
                    <a:pt x="315000" y="81921"/>
                    <a:pt x="315000" y="168906"/>
                  </a:cubicBezTo>
                  <a:cubicBezTo>
                    <a:pt x="315000" y="255891"/>
                    <a:pt x="244485" y="326406"/>
                    <a:pt x="157500" y="326406"/>
                  </a:cubicBezTo>
                  <a:cubicBezTo>
                    <a:pt x="70515" y="326406"/>
                    <a:pt x="0" y="255891"/>
                    <a:pt x="0" y="168906"/>
                  </a:cubicBezTo>
                  <a:cubicBezTo>
                    <a:pt x="0" y="154132"/>
                    <a:pt x="2034" y="139834"/>
                    <a:pt x="5837" y="126277"/>
                  </a:cubicBezTo>
                  <a:lnTo>
                    <a:pt x="34722" y="134379"/>
                  </a:lnTo>
                  <a:cubicBezTo>
                    <a:pt x="31601" y="145507"/>
                    <a:pt x="30000" y="157084"/>
                    <a:pt x="30000" y="168906"/>
                  </a:cubicBezTo>
                  <a:cubicBezTo>
                    <a:pt x="30000" y="239322"/>
                    <a:pt x="87084" y="296406"/>
                    <a:pt x="157500" y="296406"/>
                  </a:cubicBezTo>
                  <a:cubicBezTo>
                    <a:pt x="227916" y="296406"/>
                    <a:pt x="285000" y="239322"/>
                    <a:pt x="285000" y="168906"/>
                  </a:cubicBezTo>
                  <a:cubicBezTo>
                    <a:pt x="285000" y="98490"/>
                    <a:pt x="227916" y="41406"/>
                    <a:pt x="157500" y="41406"/>
                  </a:cubicBezTo>
                  <a:cubicBezTo>
                    <a:pt x="143232" y="41406"/>
                    <a:pt x="129335" y="43745"/>
                    <a:pt x="116231" y="48223"/>
                  </a:cubicBezTo>
                  <a:lnTo>
                    <a:pt x="134092" y="69509"/>
                  </a:lnTo>
                  <a:cubicBezTo>
                    <a:pt x="135132" y="70748"/>
                    <a:pt x="135744" y="72291"/>
                    <a:pt x="135836" y="73906"/>
                  </a:cubicBezTo>
                  <a:cubicBezTo>
                    <a:pt x="136070" y="78041"/>
                    <a:pt x="132907" y="81584"/>
                    <a:pt x="128771" y="81818"/>
                  </a:cubicBezTo>
                  <a:lnTo>
                    <a:pt x="55767" y="85955"/>
                  </a:lnTo>
                  <a:cubicBezTo>
                    <a:pt x="55040" y="85996"/>
                    <a:pt x="54311" y="85931"/>
                    <a:pt x="53602" y="85762"/>
                  </a:cubicBezTo>
                  <a:cubicBezTo>
                    <a:pt x="49573" y="84801"/>
                    <a:pt x="47086" y="80756"/>
                    <a:pt x="48047" y="76727"/>
                  </a:cubicBezTo>
                  <a:lnTo>
                    <a:pt x="64975" y="5760"/>
                  </a:lnTo>
                  <a:cubicBezTo>
                    <a:pt x="65348" y="4194"/>
                    <a:pt x="66216" y="2790"/>
                    <a:pt x="67449" y="1755"/>
                  </a:cubicBezTo>
                  <a:cubicBezTo>
                    <a:pt x="70622" y="-908"/>
                    <a:pt x="75353" y="-494"/>
                    <a:pt x="78015" y="2679"/>
                  </a:cubicBezTo>
                  <a:lnTo>
                    <a:pt x="95847" y="2393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02" name="Рисунок 296">
            <a:extLst>
              <a:ext uri="{FF2B5EF4-FFF2-40B4-BE49-F238E27FC236}">
                <a16:creationId xmlns:a16="http://schemas.microsoft.com/office/drawing/2014/main" id="{B0D03333-E40F-A54B-B7DA-E2ECEF7874C8}"/>
              </a:ext>
            </a:extLst>
          </p:cNvPr>
          <p:cNvGrpSpPr/>
          <p:nvPr/>
        </p:nvGrpSpPr>
        <p:grpSpPr>
          <a:xfrm>
            <a:off x="4527536" y="3130315"/>
            <a:ext cx="180000" cy="315000"/>
            <a:chOff x="4560989" y="3447037"/>
            <a:chExt cx="180000" cy="315000"/>
          </a:xfrm>
        </p:grpSpPr>
        <p:sp>
          <p:nvSpPr>
            <p:cNvPr id="1203" name="Полилиния 1202">
              <a:extLst>
                <a:ext uri="{FF2B5EF4-FFF2-40B4-BE49-F238E27FC236}">
                  <a16:creationId xmlns:a16="http://schemas.microsoft.com/office/drawing/2014/main" id="{165F19C9-7B06-BA49-8C0F-C79AF8D56623}"/>
                </a:ext>
              </a:extLst>
            </p:cNvPr>
            <p:cNvSpPr/>
            <p:nvPr/>
          </p:nvSpPr>
          <p:spPr>
            <a:xfrm>
              <a:off x="4560989" y="3447037"/>
              <a:ext cx="180000" cy="60000"/>
            </a:xfrm>
            <a:custGeom>
              <a:avLst/>
              <a:gdLst>
                <a:gd name="connsiteX0" fmla="*/ 165000 w 180000"/>
                <a:gd name="connsiteY0" fmla="*/ 0 h 60000"/>
                <a:gd name="connsiteX1" fmla="*/ 180000 w 180000"/>
                <a:gd name="connsiteY1" fmla="*/ 0 h 60000"/>
                <a:gd name="connsiteX2" fmla="*/ 180000 w 180000"/>
                <a:gd name="connsiteY2" fmla="*/ 60000 h 60000"/>
                <a:gd name="connsiteX3" fmla="*/ 165000 w 180000"/>
                <a:gd name="connsiteY3" fmla="*/ 60000 h 60000"/>
                <a:gd name="connsiteX4" fmla="*/ 15000 w 180000"/>
                <a:gd name="connsiteY4" fmla="*/ 60000 h 60000"/>
                <a:gd name="connsiteX5" fmla="*/ 0 w 180000"/>
                <a:gd name="connsiteY5" fmla="*/ 60000 h 60000"/>
                <a:gd name="connsiteX6" fmla="*/ 0 w 180000"/>
                <a:gd name="connsiteY6" fmla="*/ 0 h 60000"/>
                <a:gd name="connsiteX7" fmla="*/ 15000 w 180000"/>
                <a:gd name="connsiteY7" fmla="*/ 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000" h="60000">
                  <a:moveTo>
                    <a:pt x="165000" y="0"/>
                  </a:moveTo>
                  <a:cubicBezTo>
                    <a:pt x="173284" y="0"/>
                    <a:pt x="180000" y="0"/>
                    <a:pt x="180000" y="0"/>
                  </a:cubicBezTo>
                  <a:lnTo>
                    <a:pt x="180000" y="60000"/>
                  </a:lnTo>
                  <a:cubicBezTo>
                    <a:pt x="180000" y="60000"/>
                    <a:pt x="173284" y="60000"/>
                    <a:pt x="165000" y="60000"/>
                  </a:cubicBezTo>
                  <a:lnTo>
                    <a:pt x="15000" y="60000"/>
                  </a:lnTo>
                  <a:cubicBezTo>
                    <a:pt x="6716" y="60000"/>
                    <a:pt x="0" y="60000"/>
                    <a:pt x="0" y="6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4" name="Полилиния 1203">
              <a:extLst>
                <a:ext uri="{FF2B5EF4-FFF2-40B4-BE49-F238E27FC236}">
                  <a16:creationId xmlns:a16="http://schemas.microsoft.com/office/drawing/2014/main" id="{B003B1A5-8185-3A41-B039-7B2441A4B67A}"/>
                </a:ext>
              </a:extLst>
            </p:cNvPr>
            <p:cNvSpPr/>
            <p:nvPr/>
          </p:nvSpPr>
          <p:spPr>
            <a:xfrm>
              <a:off x="4560989" y="3522037"/>
              <a:ext cx="180000" cy="240000"/>
            </a:xfrm>
            <a:custGeom>
              <a:avLst/>
              <a:gdLst>
                <a:gd name="connsiteX0" fmla="*/ 177912 w 180000"/>
                <a:gd name="connsiteY0" fmla="*/ 103298 h 240000"/>
                <a:gd name="connsiteX1" fmla="*/ 180000 w 180000"/>
                <a:gd name="connsiteY1" fmla="*/ 127500 h 240000"/>
                <a:gd name="connsiteX2" fmla="*/ 90000 w 180000"/>
                <a:gd name="connsiteY2" fmla="*/ 240000 h 240000"/>
                <a:gd name="connsiteX3" fmla="*/ 0 w 180000"/>
                <a:gd name="connsiteY3" fmla="*/ 127500 h 240000"/>
                <a:gd name="connsiteX4" fmla="*/ 2088 w 180000"/>
                <a:gd name="connsiteY4" fmla="*/ 103298 h 240000"/>
                <a:gd name="connsiteX5" fmla="*/ 11715 w 180000"/>
                <a:gd name="connsiteY5" fmla="*/ 26279 h 240000"/>
                <a:gd name="connsiteX6" fmla="*/ 41483 w 180000"/>
                <a:gd name="connsiteY6" fmla="*/ 0 h 240000"/>
                <a:gd name="connsiteX7" fmla="*/ 138516 w 180000"/>
                <a:gd name="connsiteY7" fmla="*/ 0 h 240000"/>
                <a:gd name="connsiteX8" fmla="*/ 168285 w 180000"/>
                <a:gd name="connsiteY8" fmla="*/ 26279 h 240000"/>
                <a:gd name="connsiteX9" fmla="*/ 177912 w 180000"/>
                <a:gd name="connsiteY9" fmla="*/ 103298 h 240000"/>
                <a:gd name="connsiteX10" fmla="*/ 90000 w 180000"/>
                <a:gd name="connsiteY10" fmla="*/ 210000 h 240000"/>
                <a:gd name="connsiteX11" fmla="*/ 150000 w 180000"/>
                <a:gd name="connsiteY11" fmla="*/ 135000 h 240000"/>
                <a:gd name="connsiteX12" fmla="*/ 90000 w 180000"/>
                <a:gd name="connsiteY12" fmla="*/ 60000 h 240000"/>
                <a:gd name="connsiteX13" fmla="*/ 30000 w 180000"/>
                <a:gd name="connsiteY13" fmla="*/ 135000 h 240000"/>
                <a:gd name="connsiteX14" fmla="*/ 90000 w 180000"/>
                <a:gd name="connsiteY14" fmla="*/ 21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0000" h="240000">
                  <a:moveTo>
                    <a:pt x="177912" y="103298"/>
                  </a:moveTo>
                  <a:cubicBezTo>
                    <a:pt x="179280" y="111093"/>
                    <a:pt x="180000" y="119192"/>
                    <a:pt x="180000" y="127500"/>
                  </a:cubicBezTo>
                  <a:cubicBezTo>
                    <a:pt x="180000" y="189631"/>
                    <a:pt x="139706" y="240000"/>
                    <a:pt x="90000" y="240000"/>
                  </a:cubicBezTo>
                  <a:cubicBezTo>
                    <a:pt x="40294" y="240000"/>
                    <a:pt x="0" y="189631"/>
                    <a:pt x="0" y="127500"/>
                  </a:cubicBezTo>
                  <a:cubicBezTo>
                    <a:pt x="0" y="119192"/>
                    <a:pt x="721" y="111093"/>
                    <a:pt x="2088" y="103298"/>
                  </a:cubicBezTo>
                  <a:lnTo>
                    <a:pt x="11715" y="26279"/>
                  </a:lnTo>
                  <a:cubicBezTo>
                    <a:pt x="13592" y="11266"/>
                    <a:pt x="26354" y="0"/>
                    <a:pt x="41483" y="0"/>
                  </a:cubicBezTo>
                  <a:lnTo>
                    <a:pt x="138516" y="0"/>
                  </a:lnTo>
                  <a:cubicBezTo>
                    <a:pt x="153646" y="0"/>
                    <a:pt x="166409" y="11266"/>
                    <a:pt x="168285" y="26279"/>
                  </a:cubicBezTo>
                  <a:lnTo>
                    <a:pt x="177912" y="103298"/>
                  </a:lnTo>
                  <a:close/>
                  <a:moveTo>
                    <a:pt x="90000" y="210000"/>
                  </a:moveTo>
                  <a:cubicBezTo>
                    <a:pt x="123137" y="210000"/>
                    <a:pt x="150000" y="176421"/>
                    <a:pt x="150000" y="135000"/>
                  </a:cubicBezTo>
                  <a:cubicBezTo>
                    <a:pt x="150000" y="93579"/>
                    <a:pt x="123137" y="60000"/>
                    <a:pt x="90000" y="60000"/>
                  </a:cubicBezTo>
                  <a:cubicBezTo>
                    <a:pt x="56863" y="60000"/>
                    <a:pt x="30000" y="93579"/>
                    <a:pt x="30000" y="135000"/>
                  </a:cubicBezTo>
                  <a:cubicBezTo>
                    <a:pt x="30000" y="176421"/>
                    <a:pt x="56863" y="210000"/>
                    <a:pt x="90000" y="21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5" name="Полилиния 1204">
              <a:extLst>
                <a:ext uri="{FF2B5EF4-FFF2-40B4-BE49-F238E27FC236}">
                  <a16:creationId xmlns:a16="http://schemas.microsoft.com/office/drawing/2014/main" id="{B8D138C6-18C1-F641-BDAB-6980B26561B4}"/>
                </a:ext>
              </a:extLst>
            </p:cNvPr>
            <p:cNvSpPr/>
            <p:nvPr/>
          </p:nvSpPr>
          <p:spPr>
            <a:xfrm>
              <a:off x="4628489" y="3642037"/>
              <a:ext cx="45000" cy="45000"/>
            </a:xfrm>
            <a:custGeom>
              <a:avLst/>
              <a:gdLst>
                <a:gd name="connsiteX0" fmla="*/ 7500 w 45000"/>
                <a:gd name="connsiteY0" fmla="*/ 0 h 45000"/>
                <a:gd name="connsiteX1" fmla="*/ 37500 w 45000"/>
                <a:gd name="connsiteY1" fmla="*/ 0 h 45000"/>
                <a:gd name="connsiteX2" fmla="*/ 45000 w 45000"/>
                <a:gd name="connsiteY2" fmla="*/ 7500 h 45000"/>
                <a:gd name="connsiteX3" fmla="*/ 45000 w 45000"/>
                <a:gd name="connsiteY3" fmla="*/ 22500 h 45000"/>
                <a:gd name="connsiteX4" fmla="*/ 22500 w 45000"/>
                <a:gd name="connsiteY4" fmla="*/ 45000 h 45000"/>
                <a:gd name="connsiteX5" fmla="*/ 22500 w 45000"/>
                <a:gd name="connsiteY5" fmla="*/ 45000 h 45000"/>
                <a:gd name="connsiteX6" fmla="*/ 0 w 45000"/>
                <a:gd name="connsiteY6" fmla="*/ 22500 h 45000"/>
                <a:gd name="connsiteX7" fmla="*/ 0 w 45000"/>
                <a:gd name="connsiteY7" fmla="*/ 7500 h 45000"/>
                <a:gd name="connsiteX8" fmla="*/ 7500 w 45000"/>
                <a:gd name="connsiteY8" fmla="*/ 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000" h="45000">
                  <a:moveTo>
                    <a:pt x="7500" y="0"/>
                  </a:moveTo>
                  <a:lnTo>
                    <a:pt x="37500" y="0"/>
                  </a:lnTo>
                  <a:cubicBezTo>
                    <a:pt x="41642" y="0"/>
                    <a:pt x="45000" y="3358"/>
                    <a:pt x="45000" y="7500"/>
                  </a:cubicBezTo>
                  <a:lnTo>
                    <a:pt x="45000" y="22500"/>
                  </a:lnTo>
                  <a:cubicBezTo>
                    <a:pt x="45000" y="34926"/>
                    <a:pt x="34926" y="45000"/>
                    <a:pt x="22500" y="45000"/>
                  </a:cubicBezTo>
                  <a:lnTo>
                    <a:pt x="22500" y="45000"/>
                  </a:lnTo>
                  <a:cubicBezTo>
                    <a:pt x="10074" y="45000"/>
                    <a:pt x="0" y="34926"/>
                    <a:pt x="0" y="22500"/>
                  </a:cubicBezTo>
                  <a:lnTo>
                    <a:pt x="0" y="7500"/>
                  </a:lnTo>
                  <a:cubicBezTo>
                    <a:pt x="0" y="3358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06" name="Рисунок 297">
            <a:extLst>
              <a:ext uri="{FF2B5EF4-FFF2-40B4-BE49-F238E27FC236}">
                <a16:creationId xmlns:a16="http://schemas.microsoft.com/office/drawing/2014/main" id="{024EE50F-C9EF-304A-97CA-7C720F904EC1}"/>
              </a:ext>
            </a:extLst>
          </p:cNvPr>
          <p:cNvGrpSpPr/>
          <p:nvPr/>
        </p:nvGrpSpPr>
        <p:grpSpPr>
          <a:xfrm>
            <a:off x="2927270" y="3115315"/>
            <a:ext cx="360000" cy="360000"/>
            <a:chOff x="2960723" y="3432037"/>
            <a:chExt cx="360000" cy="360000"/>
          </a:xfrm>
        </p:grpSpPr>
        <p:sp>
          <p:nvSpPr>
            <p:cNvPr id="1207" name="Полилиния 1206">
              <a:extLst>
                <a:ext uri="{FF2B5EF4-FFF2-40B4-BE49-F238E27FC236}">
                  <a16:creationId xmlns:a16="http://schemas.microsoft.com/office/drawing/2014/main" id="{F34A8BD7-1AF6-6547-AFF4-989B62B6BA19}"/>
                </a:ext>
              </a:extLst>
            </p:cNvPr>
            <p:cNvSpPr/>
            <p:nvPr/>
          </p:nvSpPr>
          <p:spPr>
            <a:xfrm>
              <a:off x="2960723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8" name="Полилиния 1207">
              <a:extLst>
                <a:ext uri="{FF2B5EF4-FFF2-40B4-BE49-F238E27FC236}">
                  <a16:creationId xmlns:a16="http://schemas.microsoft.com/office/drawing/2014/main" id="{1D4FA9AA-671A-6242-853E-897F81672AA3}"/>
                </a:ext>
              </a:extLst>
            </p:cNvPr>
            <p:cNvSpPr/>
            <p:nvPr/>
          </p:nvSpPr>
          <p:spPr>
            <a:xfrm>
              <a:off x="3010870" y="3485996"/>
              <a:ext cx="255893" cy="255893"/>
            </a:xfrm>
            <a:custGeom>
              <a:avLst/>
              <a:gdLst>
                <a:gd name="connsiteX0" fmla="*/ 189098 w 255893"/>
                <a:gd name="connsiteY0" fmla="*/ 3154 h 255893"/>
                <a:gd name="connsiteX1" fmla="*/ 145222 w 255893"/>
                <a:gd name="connsiteY1" fmla="*/ 47032 h 255893"/>
                <a:gd name="connsiteX2" fmla="*/ 145222 w 255893"/>
                <a:gd name="connsiteY2" fmla="*/ 89458 h 255893"/>
                <a:gd name="connsiteX3" fmla="*/ 166435 w 255893"/>
                <a:gd name="connsiteY3" fmla="*/ 110671 h 255893"/>
                <a:gd name="connsiteX4" fmla="*/ 208862 w 255893"/>
                <a:gd name="connsiteY4" fmla="*/ 110671 h 255893"/>
                <a:gd name="connsiteX5" fmla="*/ 252739 w 255893"/>
                <a:gd name="connsiteY5" fmla="*/ 66794 h 255893"/>
                <a:gd name="connsiteX6" fmla="*/ 229972 w 255893"/>
                <a:gd name="connsiteY6" fmla="*/ 153201 h 255893"/>
                <a:gd name="connsiteX7" fmla="*/ 128113 w 255893"/>
                <a:gd name="connsiteY7" fmla="*/ 170206 h 255893"/>
                <a:gd name="connsiteX8" fmla="*/ 51213 w 255893"/>
                <a:gd name="connsiteY8" fmla="*/ 247107 h 255893"/>
                <a:gd name="connsiteX9" fmla="*/ 8787 w 255893"/>
                <a:gd name="connsiteY9" fmla="*/ 247107 h 255893"/>
                <a:gd name="connsiteX10" fmla="*/ 8787 w 255893"/>
                <a:gd name="connsiteY10" fmla="*/ 204679 h 255893"/>
                <a:gd name="connsiteX11" fmla="*/ 85686 w 255893"/>
                <a:gd name="connsiteY11" fmla="*/ 127780 h 255893"/>
                <a:gd name="connsiteX12" fmla="*/ 102692 w 255893"/>
                <a:gd name="connsiteY12" fmla="*/ 25922 h 255893"/>
                <a:gd name="connsiteX13" fmla="*/ 189098 w 255893"/>
                <a:gd name="connsiteY13" fmla="*/ 3154 h 255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5893" h="255893">
                  <a:moveTo>
                    <a:pt x="189098" y="3154"/>
                  </a:moveTo>
                  <a:lnTo>
                    <a:pt x="145222" y="47032"/>
                  </a:lnTo>
                  <a:cubicBezTo>
                    <a:pt x="133507" y="58747"/>
                    <a:pt x="133507" y="77742"/>
                    <a:pt x="145222" y="89458"/>
                  </a:cubicBezTo>
                  <a:lnTo>
                    <a:pt x="166435" y="110671"/>
                  </a:lnTo>
                  <a:cubicBezTo>
                    <a:pt x="178151" y="122386"/>
                    <a:pt x="197146" y="122386"/>
                    <a:pt x="208862" y="110671"/>
                  </a:cubicBezTo>
                  <a:lnTo>
                    <a:pt x="252739" y="66794"/>
                  </a:lnTo>
                  <a:cubicBezTo>
                    <a:pt x="260864" y="96712"/>
                    <a:pt x="253297" y="129876"/>
                    <a:pt x="229972" y="153201"/>
                  </a:cubicBezTo>
                  <a:cubicBezTo>
                    <a:pt x="202532" y="180639"/>
                    <a:pt x="161482" y="186273"/>
                    <a:pt x="128113" y="170206"/>
                  </a:cubicBezTo>
                  <a:lnTo>
                    <a:pt x="51213" y="247107"/>
                  </a:lnTo>
                  <a:cubicBezTo>
                    <a:pt x="39498" y="258822"/>
                    <a:pt x="20503" y="258822"/>
                    <a:pt x="8787" y="247107"/>
                  </a:cubicBezTo>
                  <a:cubicBezTo>
                    <a:pt x="-2929" y="235390"/>
                    <a:pt x="-2929" y="216396"/>
                    <a:pt x="8787" y="204679"/>
                  </a:cubicBezTo>
                  <a:lnTo>
                    <a:pt x="85686" y="127780"/>
                  </a:lnTo>
                  <a:cubicBezTo>
                    <a:pt x="69620" y="94412"/>
                    <a:pt x="75254" y="53360"/>
                    <a:pt x="102692" y="25922"/>
                  </a:cubicBezTo>
                  <a:cubicBezTo>
                    <a:pt x="126017" y="2596"/>
                    <a:pt x="159181" y="-4971"/>
                    <a:pt x="189098" y="3154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9" name="Полилиния 1208">
              <a:extLst>
                <a:ext uri="{FF2B5EF4-FFF2-40B4-BE49-F238E27FC236}">
                  <a16:creationId xmlns:a16="http://schemas.microsoft.com/office/drawing/2014/main" id="{25032C9D-DC88-7E40-8F14-E064397A6260}"/>
                </a:ext>
              </a:extLst>
            </p:cNvPr>
            <p:cNvSpPr/>
            <p:nvPr/>
          </p:nvSpPr>
          <p:spPr>
            <a:xfrm>
              <a:off x="3164273" y="3516577"/>
              <a:ext cx="71908" cy="71908"/>
            </a:xfrm>
            <a:custGeom>
              <a:avLst/>
              <a:gdLst>
                <a:gd name="connsiteX0" fmla="*/ 46303 w 71908"/>
                <a:gd name="connsiteY0" fmla="*/ 4393 h 71908"/>
                <a:gd name="connsiteX1" fmla="*/ 67516 w 71908"/>
                <a:gd name="connsiteY1" fmla="*/ 25607 h 71908"/>
                <a:gd name="connsiteX2" fmla="*/ 67516 w 71908"/>
                <a:gd name="connsiteY2" fmla="*/ 46820 h 71908"/>
                <a:gd name="connsiteX3" fmla="*/ 46820 w 71908"/>
                <a:gd name="connsiteY3" fmla="*/ 67514 h 71908"/>
                <a:gd name="connsiteX4" fmla="*/ 25607 w 71908"/>
                <a:gd name="connsiteY4" fmla="*/ 67514 h 71908"/>
                <a:gd name="connsiteX5" fmla="*/ 4394 w 71908"/>
                <a:gd name="connsiteY5" fmla="*/ 46302 h 71908"/>
                <a:gd name="connsiteX6" fmla="*/ 4394 w 71908"/>
                <a:gd name="connsiteY6" fmla="*/ 25089 h 71908"/>
                <a:gd name="connsiteX7" fmla="*/ 25088 w 71908"/>
                <a:gd name="connsiteY7" fmla="*/ 4393 h 71908"/>
                <a:gd name="connsiteX8" fmla="*/ 46303 w 71908"/>
                <a:gd name="connsiteY8" fmla="*/ 4393 h 71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908" h="71908">
                  <a:moveTo>
                    <a:pt x="46303" y="4393"/>
                  </a:moveTo>
                  <a:lnTo>
                    <a:pt x="67516" y="25607"/>
                  </a:lnTo>
                  <a:cubicBezTo>
                    <a:pt x="73373" y="31464"/>
                    <a:pt x="73373" y="40962"/>
                    <a:pt x="67516" y="46820"/>
                  </a:cubicBezTo>
                  <a:lnTo>
                    <a:pt x="46820" y="67514"/>
                  </a:lnTo>
                  <a:cubicBezTo>
                    <a:pt x="40963" y="73373"/>
                    <a:pt x="31465" y="73373"/>
                    <a:pt x="25607" y="67514"/>
                  </a:cubicBezTo>
                  <a:lnTo>
                    <a:pt x="4394" y="46302"/>
                  </a:lnTo>
                  <a:cubicBezTo>
                    <a:pt x="-1465" y="40444"/>
                    <a:pt x="-1465" y="30946"/>
                    <a:pt x="4394" y="25089"/>
                  </a:cubicBezTo>
                  <a:lnTo>
                    <a:pt x="25088" y="4393"/>
                  </a:lnTo>
                  <a:cubicBezTo>
                    <a:pt x="30947" y="-1464"/>
                    <a:pt x="40444" y="-1464"/>
                    <a:pt x="46303" y="4393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10" name="Рисунок 298">
            <a:extLst>
              <a:ext uri="{FF2B5EF4-FFF2-40B4-BE49-F238E27FC236}">
                <a16:creationId xmlns:a16="http://schemas.microsoft.com/office/drawing/2014/main" id="{BF0B9DEB-65E0-2B40-9645-71A00DF64D80}"/>
              </a:ext>
            </a:extLst>
          </p:cNvPr>
          <p:cNvGrpSpPr/>
          <p:nvPr/>
        </p:nvGrpSpPr>
        <p:grpSpPr>
          <a:xfrm>
            <a:off x="3682403" y="3115315"/>
            <a:ext cx="360000" cy="360000"/>
            <a:chOff x="3715856" y="3432037"/>
            <a:chExt cx="360000" cy="360000"/>
          </a:xfrm>
        </p:grpSpPr>
        <p:sp>
          <p:nvSpPr>
            <p:cNvPr id="1211" name="Полилиния 1210">
              <a:extLst>
                <a:ext uri="{FF2B5EF4-FFF2-40B4-BE49-F238E27FC236}">
                  <a16:creationId xmlns:a16="http://schemas.microsoft.com/office/drawing/2014/main" id="{059133AC-4876-3849-B58E-C944D0A78D97}"/>
                </a:ext>
              </a:extLst>
            </p:cNvPr>
            <p:cNvSpPr/>
            <p:nvPr/>
          </p:nvSpPr>
          <p:spPr>
            <a:xfrm>
              <a:off x="3715856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2" name="Полилиния 1211">
              <a:extLst>
                <a:ext uri="{FF2B5EF4-FFF2-40B4-BE49-F238E27FC236}">
                  <a16:creationId xmlns:a16="http://schemas.microsoft.com/office/drawing/2014/main" id="{4F2F0B01-EB3D-2A44-85FC-D744CA93B575}"/>
                </a:ext>
              </a:extLst>
            </p:cNvPr>
            <p:cNvSpPr/>
            <p:nvPr/>
          </p:nvSpPr>
          <p:spPr>
            <a:xfrm>
              <a:off x="3760856" y="3492037"/>
              <a:ext cx="270000" cy="240000"/>
            </a:xfrm>
            <a:custGeom>
              <a:avLst/>
              <a:gdLst>
                <a:gd name="connsiteX0" fmla="*/ 225000 w 270000"/>
                <a:gd name="connsiteY0" fmla="*/ 180000 h 240000"/>
                <a:gd name="connsiteX1" fmla="*/ 90000 w 270000"/>
                <a:gd name="connsiteY1" fmla="*/ 180000 h 240000"/>
                <a:gd name="connsiteX2" fmla="*/ 75000 w 270000"/>
                <a:gd name="connsiteY2" fmla="*/ 165000 h 240000"/>
                <a:gd name="connsiteX3" fmla="*/ 90000 w 270000"/>
                <a:gd name="connsiteY3" fmla="*/ 150000 h 240000"/>
                <a:gd name="connsiteX4" fmla="*/ 210000 w 270000"/>
                <a:gd name="connsiteY4" fmla="*/ 150000 h 240000"/>
                <a:gd name="connsiteX5" fmla="*/ 225000 w 270000"/>
                <a:gd name="connsiteY5" fmla="*/ 135000 h 240000"/>
                <a:gd name="connsiteX6" fmla="*/ 210000 w 270000"/>
                <a:gd name="connsiteY6" fmla="*/ 120000 h 240000"/>
                <a:gd name="connsiteX7" fmla="*/ 90000 w 270000"/>
                <a:gd name="connsiteY7" fmla="*/ 120000 h 240000"/>
                <a:gd name="connsiteX8" fmla="*/ 45000 w 270000"/>
                <a:gd name="connsiteY8" fmla="*/ 165000 h 240000"/>
                <a:gd name="connsiteX9" fmla="*/ 90000 w 270000"/>
                <a:gd name="connsiteY9" fmla="*/ 210000 h 240000"/>
                <a:gd name="connsiteX10" fmla="*/ 247500 w 270000"/>
                <a:gd name="connsiteY10" fmla="*/ 210000 h 240000"/>
                <a:gd name="connsiteX11" fmla="*/ 270000 w 270000"/>
                <a:gd name="connsiteY11" fmla="*/ 225000 h 240000"/>
                <a:gd name="connsiteX12" fmla="*/ 247500 w 270000"/>
                <a:gd name="connsiteY12" fmla="*/ 240000 h 240000"/>
                <a:gd name="connsiteX13" fmla="*/ 60000 w 270000"/>
                <a:gd name="connsiteY13" fmla="*/ 240000 h 240000"/>
                <a:gd name="connsiteX14" fmla="*/ 0 w 270000"/>
                <a:gd name="connsiteY14" fmla="*/ 180000 h 240000"/>
                <a:gd name="connsiteX15" fmla="*/ 0 w 270000"/>
                <a:gd name="connsiteY15" fmla="*/ 60000 h 240000"/>
                <a:gd name="connsiteX16" fmla="*/ 60000 w 270000"/>
                <a:gd name="connsiteY16" fmla="*/ 0 h 240000"/>
                <a:gd name="connsiteX17" fmla="*/ 210000 w 270000"/>
                <a:gd name="connsiteY17" fmla="*/ 0 h 240000"/>
                <a:gd name="connsiteX18" fmla="*/ 270000 w 270000"/>
                <a:gd name="connsiteY18" fmla="*/ 60000 h 240000"/>
                <a:gd name="connsiteX19" fmla="*/ 270000 w 270000"/>
                <a:gd name="connsiteY19" fmla="*/ 135000 h 240000"/>
                <a:gd name="connsiteX20" fmla="*/ 225000 w 270000"/>
                <a:gd name="connsiteY20" fmla="*/ 18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000" h="240000">
                  <a:moveTo>
                    <a:pt x="225000" y="180000"/>
                  </a:moveTo>
                  <a:lnTo>
                    <a:pt x="90000" y="180000"/>
                  </a:lnTo>
                  <a:cubicBezTo>
                    <a:pt x="81716" y="180000"/>
                    <a:pt x="75000" y="173285"/>
                    <a:pt x="75000" y="165000"/>
                  </a:cubicBezTo>
                  <a:cubicBezTo>
                    <a:pt x="75000" y="156716"/>
                    <a:pt x="81716" y="150000"/>
                    <a:pt x="90000" y="150000"/>
                  </a:cubicBezTo>
                  <a:lnTo>
                    <a:pt x="210000" y="150000"/>
                  </a:lnTo>
                  <a:cubicBezTo>
                    <a:pt x="218285" y="150000"/>
                    <a:pt x="225000" y="143285"/>
                    <a:pt x="225000" y="135000"/>
                  </a:cubicBezTo>
                  <a:cubicBezTo>
                    <a:pt x="225000" y="126715"/>
                    <a:pt x="218285" y="120000"/>
                    <a:pt x="210000" y="120000"/>
                  </a:cubicBezTo>
                  <a:lnTo>
                    <a:pt x="90000" y="120000"/>
                  </a:lnTo>
                  <a:cubicBezTo>
                    <a:pt x="65147" y="120000"/>
                    <a:pt x="45000" y="140147"/>
                    <a:pt x="45000" y="165000"/>
                  </a:cubicBezTo>
                  <a:cubicBezTo>
                    <a:pt x="45000" y="189854"/>
                    <a:pt x="65147" y="210000"/>
                    <a:pt x="90000" y="210000"/>
                  </a:cubicBezTo>
                  <a:lnTo>
                    <a:pt x="247500" y="210000"/>
                  </a:lnTo>
                  <a:cubicBezTo>
                    <a:pt x="270000" y="210000"/>
                    <a:pt x="270000" y="217500"/>
                    <a:pt x="270000" y="225000"/>
                  </a:cubicBezTo>
                  <a:cubicBezTo>
                    <a:pt x="270000" y="232500"/>
                    <a:pt x="270000" y="240000"/>
                    <a:pt x="247500" y="240000"/>
                  </a:cubicBezTo>
                  <a:lnTo>
                    <a:pt x="60000" y="240000"/>
                  </a:lnTo>
                  <a:cubicBezTo>
                    <a:pt x="26863" y="240000"/>
                    <a:pt x="0" y="213137"/>
                    <a:pt x="0" y="180000"/>
                  </a:cubicBezTo>
                  <a:lnTo>
                    <a:pt x="0" y="60000"/>
                  </a:lnTo>
                  <a:cubicBezTo>
                    <a:pt x="0" y="26863"/>
                    <a:pt x="26863" y="0"/>
                    <a:pt x="60000" y="0"/>
                  </a:cubicBezTo>
                  <a:lnTo>
                    <a:pt x="210000" y="0"/>
                  </a:lnTo>
                  <a:cubicBezTo>
                    <a:pt x="243137" y="0"/>
                    <a:pt x="270000" y="26863"/>
                    <a:pt x="270000" y="60000"/>
                  </a:cubicBezTo>
                  <a:lnTo>
                    <a:pt x="270000" y="135000"/>
                  </a:lnTo>
                  <a:cubicBezTo>
                    <a:pt x="270000" y="159854"/>
                    <a:pt x="249854" y="180000"/>
                    <a:pt x="225000" y="18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13" name="Рисунок 299">
            <a:extLst>
              <a:ext uri="{FF2B5EF4-FFF2-40B4-BE49-F238E27FC236}">
                <a16:creationId xmlns:a16="http://schemas.microsoft.com/office/drawing/2014/main" id="{BBF97FA7-4FC7-F640-918F-F95C856DFAE9}"/>
              </a:ext>
            </a:extLst>
          </p:cNvPr>
          <p:cNvGrpSpPr/>
          <p:nvPr/>
        </p:nvGrpSpPr>
        <p:grpSpPr>
          <a:xfrm>
            <a:off x="2172137" y="3115315"/>
            <a:ext cx="360000" cy="360000"/>
            <a:chOff x="2205590" y="3432037"/>
            <a:chExt cx="360000" cy="360000"/>
          </a:xfrm>
        </p:grpSpPr>
        <p:sp>
          <p:nvSpPr>
            <p:cNvPr id="1214" name="Полилиния 1213">
              <a:extLst>
                <a:ext uri="{FF2B5EF4-FFF2-40B4-BE49-F238E27FC236}">
                  <a16:creationId xmlns:a16="http://schemas.microsoft.com/office/drawing/2014/main" id="{5241B90D-F649-7E42-9CBF-8ADF5A0A660F}"/>
                </a:ext>
              </a:extLst>
            </p:cNvPr>
            <p:cNvSpPr/>
            <p:nvPr/>
          </p:nvSpPr>
          <p:spPr>
            <a:xfrm>
              <a:off x="2205590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5" name="Полилиния 1214">
              <a:extLst>
                <a:ext uri="{FF2B5EF4-FFF2-40B4-BE49-F238E27FC236}">
                  <a16:creationId xmlns:a16="http://schemas.microsoft.com/office/drawing/2014/main" id="{749851D1-ECD8-4B44-A06A-659EAE3A9CB9}"/>
                </a:ext>
              </a:extLst>
            </p:cNvPr>
            <p:cNvSpPr/>
            <p:nvPr/>
          </p:nvSpPr>
          <p:spPr>
            <a:xfrm>
              <a:off x="2295590" y="3552037"/>
              <a:ext cx="180000" cy="210000"/>
            </a:xfrm>
            <a:custGeom>
              <a:avLst/>
              <a:gdLst>
                <a:gd name="connsiteX0" fmla="*/ 0 w 180000"/>
                <a:gd name="connsiteY0" fmla="*/ 0 h 210000"/>
                <a:gd name="connsiteX1" fmla="*/ 0 w 180000"/>
                <a:gd name="connsiteY1" fmla="*/ 187500 h 210000"/>
                <a:gd name="connsiteX2" fmla="*/ 22500 w 180000"/>
                <a:gd name="connsiteY2" fmla="*/ 210000 h 210000"/>
                <a:gd name="connsiteX3" fmla="*/ 157500 w 180000"/>
                <a:gd name="connsiteY3" fmla="*/ 210000 h 210000"/>
                <a:gd name="connsiteX4" fmla="*/ 180000 w 180000"/>
                <a:gd name="connsiteY4" fmla="*/ 187500 h 210000"/>
                <a:gd name="connsiteX5" fmla="*/ 180000 w 180000"/>
                <a:gd name="connsiteY5" fmla="*/ 0 h 210000"/>
                <a:gd name="connsiteX6" fmla="*/ 0 w 180000"/>
                <a:gd name="connsiteY6" fmla="*/ 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000" h="210000">
                  <a:moveTo>
                    <a:pt x="0" y="0"/>
                  </a:moveTo>
                  <a:lnTo>
                    <a:pt x="0" y="187500"/>
                  </a:lnTo>
                  <a:cubicBezTo>
                    <a:pt x="0" y="199926"/>
                    <a:pt x="10074" y="210000"/>
                    <a:pt x="22500" y="210000"/>
                  </a:cubicBezTo>
                  <a:lnTo>
                    <a:pt x="157500" y="210000"/>
                  </a:lnTo>
                  <a:cubicBezTo>
                    <a:pt x="169926" y="210000"/>
                    <a:pt x="180000" y="199926"/>
                    <a:pt x="180000" y="187500"/>
                  </a:cubicBezTo>
                  <a:lnTo>
                    <a:pt x="1800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6" name="Полилиния 1215">
              <a:extLst>
                <a:ext uri="{FF2B5EF4-FFF2-40B4-BE49-F238E27FC236}">
                  <a16:creationId xmlns:a16="http://schemas.microsoft.com/office/drawing/2014/main" id="{C437F004-185D-9D4D-B9C0-315A69E25080}"/>
                </a:ext>
              </a:extLst>
            </p:cNvPr>
            <p:cNvSpPr/>
            <p:nvPr/>
          </p:nvSpPr>
          <p:spPr>
            <a:xfrm>
              <a:off x="2280590" y="3477037"/>
              <a:ext cx="210000" cy="45000"/>
            </a:xfrm>
            <a:custGeom>
              <a:avLst/>
              <a:gdLst>
                <a:gd name="connsiteX0" fmla="*/ 135000 w 210000"/>
                <a:gd name="connsiteY0" fmla="*/ 22500 h 45000"/>
                <a:gd name="connsiteX1" fmla="*/ 135000 w 210000"/>
                <a:gd name="connsiteY1" fmla="*/ 15000 h 45000"/>
                <a:gd name="connsiteX2" fmla="*/ 120000 w 210000"/>
                <a:gd name="connsiteY2" fmla="*/ 0 h 45000"/>
                <a:gd name="connsiteX3" fmla="*/ 90000 w 210000"/>
                <a:gd name="connsiteY3" fmla="*/ 0 h 45000"/>
                <a:gd name="connsiteX4" fmla="*/ 75000 w 210000"/>
                <a:gd name="connsiteY4" fmla="*/ 15000 h 45000"/>
                <a:gd name="connsiteX5" fmla="*/ 75000 w 210000"/>
                <a:gd name="connsiteY5" fmla="*/ 22500 h 45000"/>
                <a:gd name="connsiteX6" fmla="*/ 7500 w 210000"/>
                <a:gd name="connsiteY6" fmla="*/ 22500 h 45000"/>
                <a:gd name="connsiteX7" fmla="*/ 0 w 210000"/>
                <a:gd name="connsiteY7" fmla="*/ 30000 h 45000"/>
                <a:gd name="connsiteX8" fmla="*/ 0 w 210000"/>
                <a:gd name="connsiteY8" fmla="*/ 37500 h 45000"/>
                <a:gd name="connsiteX9" fmla="*/ 7500 w 210000"/>
                <a:gd name="connsiteY9" fmla="*/ 45000 h 45000"/>
                <a:gd name="connsiteX10" fmla="*/ 202500 w 210000"/>
                <a:gd name="connsiteY10" fmla="*/ 45000 h 45000"/>
                <a:gd name="connsiteX11" fmla="*/ 210000 w 210000"/>
                <a:gd name="connsiteY11" fmla="*/ 37500 h 45000"/>
                <a:gd name="connsiteX12" fmla="*/ 210000 w 210000"/>
                <a:gd name="connsiteY12" fmla="*/ 30000 h 45000"/>
                <a:gd name="connsiteX13" fmla="*/ 202500 w 210000"/>
                <a:gd name="connsiteY13" fmla="*/ 22500 h 45000"/>
                <a:gd name="connsiteX14" fmla="*/ 135000 w 210000"/>
                <a:gd name="connsiteY14" fmla="*/ 2250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0000" h="45000">
                  <a:moveTo>
                    <a:pt x="135000" y="22500"/>
                  </a:moveTo>
                  <a:lnTo>
                    <a:pt x="135000" y="15000"/>
                  </a:lnTo>
                  <a:cubicBezTo>
                    <a:pt x="135000" y="6716"/>
                    <a:pt x="128285" y="0"/>
                    <a:pt x="120000" y="0"/>
                  </a:cubicBezTo>
                  <a:lnTo>
                    <a:pt x="90000" y="0"/>
                  </a:lnTo>
                  <a:cubicBezTo>
                    <a:pt x="81715" y="0"/>
                    <a:pt x="75000" y="6716"/>
                    <a:pt x="75000" y="15000"/>
                  </a:cubicBezTo>
                  <a:lnTo>
                    <a:pt x="75000" y="22500"/>
                  </a:lnTo>
                  <a:lnTo>
                    <a:pt x="7500" y="22500"/>
                  </a:lnTo>
                  <a:cubicBezTo>
                    <a:pt x="3358" y="22500"/>
                    <a:pt x="0" y="25858"/>
                    <a:pt x="0" y="30000"/>
                  </a:cubicBezTo>
                  <a:lnTo>
                    <a:pt x="0" y="37500"/>
                  </a:lnTo>
                  <a:cubicBezTo>
                    <a:pt x="0" y="41642"/>
                    <a:pt x="3358" y="45000"/>
                    <a:pt x="7500" y="45000"/>
                  </a:cubicBezTo>
                  <a:lnTo>
                    <a:pt x="202500" y="45000"/>
                  </a:lnTo>
                  <a:cubicBezTo>
                    <a:pt x="206642" y="45000"/>
                    <a:pt x="210000" y="41642"/>
                    <a:pt x="210000" y="37500"/>
                  </a:cubicBezTo>
                  <a:lnTo>
                    <a:pt x="210000" y="30000"/>
                  </a:lnTo>
                  <a:cubicBezTo>
                    <a:pt x="210000" y="25858"/>
                    <a:pt x="206642" y="22500"/>
                    <a:pt x="202500" y="22500"/>
                  </a:cubicBezTo>
                  <a:lnTo>
                    <a:pt x="135000" y="225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17" name="Рисунок 300">
            <a:extLst>
              <a:ext uri="{FF2B5EF4-FFF2-40B4-BE49-F238E27FC236}">
                <a16:creationId xmlns:a16="http://schemas.microsoft.com/office/drawing/2014/main" id="{E7A5EE3A-EA08-C14F-A712-1991E9741CA4}"/>
              </a:ext>
            </a:extLst>
          </p:cNvPr>
          <p:cNvGrpSpPr/>
          <p:nvPr/>
        </p:nvGrpSpPr>
        <p:grpSpPr>
          <a:xfrm>
            <a:off x="1417004" y="3115315"/>
            <a:ext cx="360000" cy="360000"/>
            <a:chOff x="1450457" y="3432037"/>
            <a:chExt cx="360000" cy="360000"/>
          </a:xfrm>
        </p:grpSpPr>
        <p:sp>
          <p:nvSpPr>
            <p:cNvPr id="1218" name="Полилиния 1217">
              <a:extLst>
                <a:ext uri="{FF2B5EF4-FFF2-40B4-BE49-F238E27FC236}">
                  <a16:creationId xmlns:a16="http://schemas.microsoft.com/office/drawing/2014/main" id="{3AC9A0F6-2DB7-6F4B-BF8F-238F6604A75B}"/>
                </a:ext>
              </a:extLst>
            </p:cNvPr>
            <p:cNvSpPr/>
            <p:nvPr/>
          </p:nvSpPr>
          <p:spPr>
            <a:xfrm>
              <a:off x="1450457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9" name="Полилиния 1218">
              <a:extLst>
                <a:ext uri="{FF2B5EF4-FFF2-40B4-BE49-F238E27FC236}">
                  <a16:creationId xmlns:a16="http://schemas.microsoft.com/office/drawing/2014/main" id="{A7264CC6-B54E-CA43-91EA-DED76A8C7A99}"/>
                </a:ext>
              </a:extLst>
            </p:cNvPr>
            <p:cNvSpPr/>
            <p:nvPr/>
          </p:nvSpPr>
          <p:spPr>
            <a:xfrm>
              <a:off x="1502270" y="3527712"/>
              <a:ext cx="256371" cy="189324"/>
            </a:xfrm>
            <a:custGeom>
              <a:avLst/>
              <a:gdLst>
                <a:gd name="connsiteX0" fmla="*/ 7501 w 256371"/>
                <a:gd name="connsiteY0" fmla="*/ 189325 h 189324"/>
                <a:gd name="connsiteX1" fmla="*/ 248872 w 256371"/>
                <a:gd name="connsiteY1" fmla="*/ 189325 h 189324"/>
                <a:gd name="connsiteX2" fmla="*/ 256372 w 256371"/>
                <a:gd name="connsiteY2" fmla="*/ 181825 h 189324"/>
                <a:gd name="connsiteX3" fmla="*/ 255038 w 256371"/>
                <a:gd name="connsiteY3" fmla="*/ 177556 h 189324"/>
                <a:gd name="connsiteX4" fmla="*/ 134353 w 256371"/>
                <a:gd name="connsiteY4" fmla="*/ 3232 h 189324"/>
                <a:gd name="connsiteX5" fmla="*/ 123917 w 256371"/>
                <a:gd name="connsiteY5" fmla="*/ 1334 h 189324"/>
                <a:gd name="connsiteX6" fmla="*/ 122020 w 256371"/>
                <a:gd name="connsiteY6" fmla="*/ 3232 h 189324"/>
                <a:gd name="connsiteX7" fmla="*/ 1334 w 256371"/>
                <a:gd name="connsiteY7" fmla="*/ 177556 h 189324"/>
                <a:gd name="connsiteX8" fmla="*/ 3232 w 256371"/>
                <a:gd name="connsiteY8" fmla="*/ 187991 h 189324"/>
                <a:gd name="connsiteX9" fmla="*/ 7501 w 256371"/>
                <a:gd name="connsiteY9" fmla="*/ 189325 h 18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6371" h="189324">
                  <a:moveTo>
                    <a:pt x="7501" y="189325"/>
                  </a:moveTo>
                  <a:lnTo>
                    <a:pt x="248872" y="189325"/>
                  </a:lnTo>
                  <a:cubicBezTo>
                    <a:pt x="253015" y="189325"/>
                    <a:pt x="256372" y="185966"/>
                    <a:pt x="256372" y="181825"/>
                  </a:cubicBezTo>
                  <a:cubicBezTo>
                    <a:pt x="256372" y="180299"/>
                    <a:pt x="255907" y="178810"/>
                    <a:pt x="255038" y="177556"/>
                  </a:cubicBezTo>
                  <a:lnTo>
                    <a:pt x="134353" y="3232"/>
                  </a:lnTo>
                  <a:cubicBezTo>
                    <a:pt x="131995" y="-174"/>
                    <a:pt x="127322" y="-1023"/>
                    <a:pt x="123917" y="1334"/>
                  </a:cubicBezTo>
                  <a:cubicBezTo>
                    <a:pt x="123176" y="1848"/>
                    <a:pt x="122533" y="2490"/>
                    <a:pt x="122020" y="3232"/>
                  </a:cubicBezTo>
                  <a:lnTo>
                    <a:pt x="1334" y="177556"/>
                  </a:lnTo>
                  <a:cubicBezTo>
                    <a:pt x="-1023" y="180961"/>
                    <a:pt x="-174" y="185633"/>
                    <a:pt x="3232" y="187991"/>
                  </a:cubicBezTo>
                  <a:cubicBezTo>
                    <a:pt x="4486" y="188860"/>
                    <a:pt x="5975" y="189325"/>
                    <a:pt x="7501" y="18932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20" name="Рисунок 301">
            <a:extLst>
              <a:ext uri="{FF2B5EF4-FFF2-40B4-BE49-F238E27FC236}">
                <a16:creationId xmlns:a16="http://schemas.microsoft.com/office/drawing/2014/main" id="{3259C6D0-7347-864F-8BA6-A5097AB30541}"/>
              </a:ext>
            </a:extLst>
          </p:cNvPr>
          <p:cNvGrpSpPr/>
          <p:nvPr/>
        </p:nvGrpSpPr>
        <p:grpSpPr>
          <a:xfrm>
            <a:off x="661871" y="3115315"/>
            <a:ext cx="360000" cy="360000"/>
            <a:chOff x="695324" y="3432037"/>
            <a:chExt cx="360000" cy="360000"/>
          </a:xfrm>
        </p:grpSpPr>
        <p:sp>
          <p:nvSpPr>
            <p:cNvPr id="1221" name="Полилиния 1220">
              <a:extLst>
                <a:ext uri="{FF2B5EF4-FFF2-40B4-BE49-F238E27FC236}">
                  <a16:creationId xmlns:a16="http://schemas.microsoft.com/office/drawing/2014/main" id="{F980D9A2-A2F6-D546-8A25-012C8FC69D80}"/>
                </a:ext>
              </a:extLst>
            </p:cNvPr>
            <p:cNvSpPr/>
            <p:nvPr/>
          </p:nvSpPr>
          <p:spPr>
            <a:xfrm>
              <a:off x="695324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2" name="Полилиния 1221">
              <a:extLst>
                <a:ext uri="{FF2B5EF4-FFF2-40B4-BE49-F238E27FC236}">
                  <a16:creationId xmlns:a16="http://schemas.microsoft.com/office/drawing/2014/main" id="{8CB99502-8DF4-344E-B4B2-46BB47BBA415}"/>
                </a:ext>
              </a:extLst>
            </p:cNvPr>
            <p:cNvSpPr/>
            <p:nvPr/>
          </p:nvSpPr>
          <p:spPr>
            <a:xfrm>
              <a:off x="708987" y="3491946"/>
              <a:ext cx="332688" cy="255090"/>
            </a:xfrm>
            <a:custGeom>
              <a:avLst/>
              <a:gdLst>
                <a:gd name="connsiteX0" fmla="*/ 103861 w 332688"/>
                <a:gd name="connsiteY0" fmla="*/ 90 h 255090"/>
                <a:gd name="connsiteX1" fmla="*/ 166336 w 332688"/>
                <a:gd name="connsiteY1" fmla="*/ 31965 h 255090"/>
                <a:gd name="connsiteX2" fmla="*/ 228811 w 332688"/>
                <a:gd name="connsiteY2" fmla="*/ 90 h 255090"/>
                <a:gd name="connsiteX3" fmla="*/ 245422 w 332688"/>
                <a:gd name="connsiteY3" fmla="*/ 90 h 255090"/>
                <a:gd name="connsiteX4" fmla="*/ 248706 w 332688"/>
                <a:gd name="connsiteY4" fmla="*/ 90 h 255090"/>
                <a:gd name="connsiteX5" fmla="*/ 248836 w 332688"/>
                <a:gd name="connsiteY5" fmla="*/ 90 h 255090"/>
                <a:gd name="connsiteX6" fmla="*/ 260157 w 332688"/>
                <a:gd name="connsiteY6" fmla="*/ 5248 h 255090"/>
                <a:gd name="connsiteX7" fmla="*/ 325186 w 332688"/>
                <a:gd name="connsiteY7" fmla="*/ 42793 h 255090"/>
                <a:gd name="connsiteX8" fmla="*/ 330676 w 332688"/>
                <a:gd name="connsiteY8" fmla="*/ 63284 h 255090"/>
                <a:gd name="connsiteX9" fmla="*/ 305833 w 332688"/>
                <a:gd name="connsiteY9" fmla="*/ 106314 h 255090"/>
                <a:gd name="connsiteX10" fmla="*/ 285343 w 332688"/>
                <a:gd name="connsiteY10" fmla="*/ 111804 h 255090"/>
                <a:gd name="connsiteX11" fmla="*/ 263836 w 332688"/>
                <a:gd name="connsiteY11" fmla="*/ 99389 h 255090"/>
                <a:gd name="connsiteX12" fmla="*/ 263836 w 332688"/>
                <a:gd name="connsiteY12" fmla="*/ 240090 h 255090"/>
                <a:gd name="connsiteX13" fmla="*/ 248836 w 332688"/>
                <a:gd name="connsiteY13" fmla="*/ 255090 h 255090"/>
                <a:gd name="connsiteX14" fmla="*/ 83836 w 332688"/>
                <a:gd name="connsiteY14" fmla="*/ 255090 h 255090"/>
                <a:gd name="connsiteX15" fmla="*/ 68836 w 332688"/>
                <a:gd name="connsiteY15" fmla="*/ 240090 h 255090"/>
                <a:gd name="connsiteX16" fmla="*/ 68836 w 332688"/>
                <a:gd name="connsiteY16" fmla="*/ 99398 h 255090"/>
                <a:gd name="connsiteX17" fmla="*/ 47346 w 332688"/>
                <a:gd name="connsiteY17" fmla="*/ 111804 h 255090"/>
                <a:gd name="connsiteX18" fmla="*/ 26856 w 332688"/>
                <a:gd name="connsiteY18" fmla="*/ 106314 h 255090"/>
                <a:gd name="connsiteX19" fmla="*/ 2012 w 332688"/>
                <a:gd name="connsiteY19" fmla="*/ 63284 h 255090"/>
                <a:gd name="connsiteX20" fmla="*/ 7502 w 332688"/>
                <a:gd name="connsiteY20" fmla="*/ 42793 h 255090"/>
                <a:gd name="connsiteX21" fmla="*/ 72500 w 332688"/>
                <a:gd name="connsiteY21" fmla="*/ 5267 h 255090"/>
                <a:gd name="connsiteX22" fmla="*/ 83836 w 332688"/>
                <a:gd name="connsiteY22" fmla="*/ 90 h 255090"/>
                <a:gd name="connsiteX23" fmla="*/ 83983 w 332688"/>
                <a:gd name="connsiteY23" fmla="*/ 90 h 255090"/>
                <a:gd name="connsiteX24" fmla="*/ 87267 w 332688"/>
                <a:gd name="connsiteY24" fmla="*/ 90 h 255090"/>
                <a:gd name="connsiteX25" fmla="*/ 103861 w 332688"/>
                <a:gd name="connsiteY25" fmla="*/ 90 h 255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32688" h="255090">
                  <a:moveTo>
                    <a:pt x="103861" y="90"/>
                  </a:moveTo>
                  <a:cubicBezTo>
                    <a:pt x="109768" y="18277"/>
                    <a:pt x="135494" y="31965"/>
                    <a:pt x="166336" y="31965"/>
                  </a:cubicBezTo>
                  <a:cubicBezTo>
                    <a:pt x="197178" y="31965"/>
                    <a:pt x="222904" y="18277"/>
                    <a:pt x="228811" y="90"/>
                  </a:cubicBezTo>
                  <a:lnTo>
                    <a:pt x="245422" y="90"/>
                  </a:lnTo>
                  <a:cubicBezTo>
                    <a:pt x="246507" y="-29"/>
                    <a:pt x="247608" y="-31"/>
                    <a:pt x="248706" y="90"/>
                  </a:cubicBezTo>
                  <a:lnTo>
                    <a:pt x="248836" y="90"/>
                  </a:lnTo>
                  <a:cubicBezTo>
                    <a:pt x="253354" y="90"/>
                    <a:pt x="257406" y="2088"/>
                    <a:pt x="260157" y="5248"/>
                  </a:cubicBezTo>
                  <a:lnTo>
                    <a:pt x="325186" y="42793"/>
                  </a:lnTo>
                  <a:cubicBezTo>
                    <a:pt x="332361" y="46936"/>
                    <a:pt x="334819" y="56109"/>
                    <a:pt x="330676" y="63284"/>
                  </a:cubicBezTo>
                  <a:lnTo>
                    <a:pt x="305833" y="106314"/>
                  </a:lnTo>
                  <a:cubicBezTo>
                    <a:pt x="301690" y="113489"/>
                    <a:pt x="292516" y="115947"/>
                    <a:pt x="285343" y="111804"/>
                  </a:cubicBezTo>
                  <a:lnTo>
                    <a:pt x="263836" y="99389"/>
                  </a:lnTo>
                  <a:lnTo>
                    <a:pt x="263836" y="240090"/>
                  </a:lnTo>
                  <a:cubicBezTo>
                    <a:pt x="263836" y="248375"/>
                    <a:pt x="257121" y="255090"/>
                    <a:pt x="248836" y="255090"/>
                  </a:cubicBezTo>
                  <a:lnTo>
                    <a:pt x="83836" y="255090"/>
                  </a:lnTo>
                  <a:cubicBezTo>
                    <a:pt x="75552" y="255090"/>
                    <a:pt x="68836" y="248375"/>
                    <a:pt x="68836" y="240090"/>
                  </a:cubicBezTo>
                  <a:lnTo>
                    <a:pt x="68836" y="99398"/>
                  </a:lnTo>
                  <a:lnTo>
                    <a:pt x="47346" y="111804"/>
                  </a:lnTo>
                  <a:cubicBezTo>
                    <a:pt x="40172" y="115947"/>
                    <a:pt x="30998" y="113489"/>
                    <a:pt x="26856" y="106314"/>
                  </a:cubicBezTo>
                  <a:lnTo>
                    <a:pt x="2012" y="63284"/>
                  </a:lnTo>
                  <a:cubicBezTo>
                    <a:pt x="-2130" y="56109"/>
                    <a:pt x="328" y="46936"/>
                    <a:pt x="7502" y="42793"/>
                  </a:cubicBezTo>
                  <a:lnTo>
                    <a:pt x="72500" y="5267"/>
                  </a:lnTo>
                  <a:cubicBezTo>
                    <a:pt x="75250" y="2096"/>
                    <a:pt x="79309" y="90"/>
                    <a:pt x="83836" y="90"/>
                  </a:cubicBezTo>
                  <a:lnTo>
                    <a:pt x="83983" y="90"/>
                  </a:lnTo>
                  <a:cubicBezTo>
                    <a:pt x="85081" y="-31"/>
                    <a:pt x="86182" y="-29"/>
                    <a:pt x="87267" y="90"/>
                  </a:cubicBezTo>
                  <a:lnTo>
                    <a:pt x="103861" y="9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23" name="Рисунок 302">
            <a:extLst>
              <a:ext uri="{FF2B5EF4-FFF2-40B4-BE49-F238E27FC236}">
                <a16:creationId xmlns:a16="http://schemas.microsoft.com/office/drawing/2014/main" id="{33D405B1-BF5F-5B4B-867B-204C386C8E9A}"/>
              </a:ext>
            </a:extLst>
          </p:cNvPr>
          <p:cNvGrpSpPr/>
          <p:nvPr/>
        </p:nvGrpSpPr>
        <p:grpSpPr>
          <a:xfrm>
            <a:off x="11233735" y="2442261"/>
            <a:ext cx="360000" cy="360000"/>
            <a:chOff x="11267188" y="2758983"/>
            <a:chExt cx="360000" cy="360000"/>
          </a:xfrm>
        </p:grpSpPr>
        <p:sp>
          <p:nvSpPr>
            <p:cNvPr id="1224" name="Полилиния 1223">
              <a:extLst>
                <a:ext uri="{FF2B5EF4-FFF2-40B4-BE49-F238E27FC236}">
                  <a16:creationId xmlns:a16="http://schemas.microsoft.com/office/drawing/2014/main" id="{EF664E8B-E96C-B747-924B-7B99EB47FA43}"/>
                </a:ext>
              </a:extLst>
            </p:cNvPr>
            <p:cNvSpPr/>
            <p:nvPr/>
          </p:nvSpPr>
          <p:spPr>
            <a:xfrm>
              <a:off x="11267188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5" name="Полилиния 1224">
              <a:extLst>
                <a:ext uri="{FF2B5EF4-FFF2-40B4-BE49-F238E27FC236}">
                  <a16:creationId xmlns:a16="http://schemas.microsoft.com/office/drawing/2014/main" id="{4EBB3088-D1A0-E24D-A7AE-CE3023AD42F0}"/>
                </a:ext>
              </a:extLst>
            </p:cNvPr>
            <p:cNvSpPr/>
            <p:nvPr/>
          </p:nvSpPr>
          <p:spPr>
            <a:xfrm>
              <a:off x="11297188" y="2848983"/>
              <a:ext cx="300000" cy="195000"/>
            </a:xfrm>
            <a:custGeom>
              <a:avLst/>
              <a:gdLst>
                <a:gd name="connsiteX0" fmla="*/ 37500 w 300000"/>
                <a:gd name="connsiteY0" fmla="*/ 0 h 195000"/>
                <a:gd name="connsiteX1" fmla="*/ 262500 w 300000"/>
                <a:gd name="connsiteY1" fmla="*/ 0 h 195000"/>
                <a:gd name="connsiteX2" fmla="*/ 300000 w 300000"/>
                <a:gd name="connsiteY2" fmla="*/ 32500 h 195000"/>
                <a:gd name="connsiteX3" fmla="*/ 300000 w 300000"/>
                <a:gd name="connsiteY3" fmla="*/ 162500 h 195000"/>
                <a:gd name="connsiteX4" fmla="*/ 262500 w 300000"/>
                <a:gd name="connsiteY4" fmla="*/ 195000 h 195000"/>
                <a:gd name="connsiteX5" fmla="*/ 37500 w 300000"/>
                <a:gd name="connsiteY5" fmla="*/ 195000 h 195000"/>
                <a:gd name="connsiteX6" fmla="*/ 0 w 300000"/>
                <a:gd name="connsiteY6" fmla="*/ 162500 h 195000"/>
                <a:gd name="connsiteX7" fmla="*/ 0 w 300000"/>
                <a:gd name="connsiteY7" fmla="*/ 32500 h 195000"/>
                <a:gd name="connsiteX8" fmla="*/ 37500 w 300000"/>
                <a:gd name="connsiteY8" fmla="*/ 0 h 195000"/>
                <a:gd name="connsiteX9" fmla="*/ 30000 w 300000"/>
                <a:gd name="connsiteY9" fmla="*/ 30000 h 195000"/>
                <a:gd name="connsiteX10" fmla="*/ 30000 w 300000"/>
                <a:gd name="connsiteY10" fmla="*/ 165000 h 195000"/>
                <a:gd name="connsiteX11" fmla="*/ 270000 w 300000"/>
                <a:gd name="connsiteY11" fmla="*/ 165000 h 195000"/>
                <a:gd name="connsiteX12" fmla="*/ 270000 w 300000"/>
                <a:gd name="connsiteY12" fmla="*/ 30000 h 195000"/>
                <a:gd name="connsiteX13" fmla="*/ 30000 w 300000"/>
                <a:gd name="connsiteY13" fmla="*/ 300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000" h="195000">
                  <a:moveTo>
                    <a:pt x="37500" y="0"/>
                  </a:moveTo>
                  <a:lnTo>
                    <a:pt x="262500" y="0"/>
                  </a:lnTo>
                  <a:cubicBezTo>
                    <a:pt x="283211" y="0"/>
                    <a:pt x="300000" y="14551"/>
                    <a:pt x="300000" y="32500"/>
                  </a:cubicBezTo>
                  <a:lnTo>
                    <a:pt x="300000" y="162500"/>
                  </a:lnTo>
                  <a:cubicBezTo>
                    <a:pt x="300000" y="180450"/>
                    <a:pt x="283211" y="195000"/>
                    <a:pt x="262500" y="195000"/>
                  </a:cubicBezTo>
                  <a:lnTo>
                    <a:pt x="37500" y="195000"/>
                  </a:lnTo>
                  <a:cubicBezTo>
                    <a:pt x="16789" y="195000"/>
                    <a:pt x="0" y="180450"/>
                    <a:pt x="0" y="162500"/>
                  </a:cubicBezTo>
                  <a:lnTo>
                    <a:pt x="0" y="32500"/>
                  </a:lnTo>
                  <a:cubicBezTo>
                    <a:pt x="0" y="14551"/>
                    <a:pt x="16789" y="0"/>
                    <a:pt x="37500" y="0"/>
                  </a:cubicBezTo>
                  <a:close/>
                  <a:moveTo>
                    <a:pt x="30000" y="30000"/>
                  </a:moveTo>
                  <a:lnTo>
                    <a:pt x="30000" y="165000"/>
                  </a:lnTo>
                  <a:lnTo>
                    <a:pt x="270000" y="165000"/>
                  </a:lnTo>
                  <a:lnTo>
                    <a:pt x="270000" y="30000"/>
                  </a:lnTo>
                  <a:lnTo>
                    <a:pt x="30000" y="3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6" name="Полилиния 1225">
              <a:extLst>
                <a:ext uri="{FF2B5EF4-FFF2-40B4-BE49-F238E27FC236}">
                  <a16:creationId xmlns:a16="http://schemas.microsoft.com/office/drawing/2014/main" id="{FDC59093-194B-7844-8BC4-F7DA865C5DD3}"/>
                </a:ext>
              </a:extLst>
            </p:cNvPr>
            <p:cNvSpPr/>
            <p:nvPr/>
          </p:nvSpPr>
          <p:spPr>
            <a:xfrm>
              <a:off x="11327188" y="2878983"/>
              <a:ext cx="240000" cy="135000"/>
            </a:xfrm>
            <a:custGeom>
              <a:avLst/>
              <a:gdLst>
                <a:gd name="connsiteX0" fmla="*/ 0 w 240000"/>
                <a:gd name="connsiteY0" fmla="*/ 0 h 135000"/>
                <a:gd name="connsiteX1" fmla="*/ 0 w 240000"/>
                <a:gd name="connsiteY1" fmla="*/ 135000 h 135000"/>
                <a:gd name="connsiteX2" fmla="*/ 240000 w 240000"/>
                <a:gd name="connsiteY2" fmla="*/ 135000 h 135000"/>
                <a:gd name="connsiteX3" fmla="*/ 240000 w 240000"/>
                <a:gd name="connsiteY3" fmla="*/ 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000" h="135000">
                  <a:moveTo>
                    <a:pt x="0" y="0"/>
                  </a:moveTo>
                  <a:lnTo>
                    <a:pt x="0" y="135000"/>
                  </a:lnTo>
                  <a:lnTo>
                    <a:pt x="240000" y="135000"/>
                  </a:lnTo>
                  <a:lnTo>
                    <a:pt x="240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7" name="Полилиния 1226">
              <a:extLst>
                <a:ext uri="{FF2B5EF4-FFF2-40B4-BE49-F238E27FC236}">
                  <a16:creationId xmlns:a16="http://schemas.microsoft.com/office/drawing/2014/main" id="{522994A2-2C8A-8443-BF23-97A6BC18F5E3}"/>
                </a:ext>
              </a:extLst>
            </p:cNvPr>
            <p:cNvSpPr/>
            <p:nvPr/>
          </p:nvSpPr>
          <p:spPr>
            <a:xfrm>
              <a:off x="11372188" y="3058983"/>
              <a:ext cx="150000" cy="15000"/>
            </a:xfrm>
            <a:custGeom>
              <a:avLst/>
              <a:gdLst>
                <a:gd name="connsiteX0" fmla="*/ 142500 w 150000"/>
                <a:gd name="connsiteY0" fmla="*/ 0 h 15000"/>
                <a:gd name="connsiteX1" fmla="*/ 150000 w 150000"/>
                <a:gd name="connsiteY1" fmla="*/ 0 h 15000"/>
                <a:gd name="connsiteX2" fmla="*/ 150000 w 150000"/>
                <a:gd name="connsiteY2" fmla="*/ 15000 h 15000"/>
                <a:gd name="connsiteX3" fmla="*/ 142500 w 150000"/>
                <a:gd name="connsiteY3" fmla="*/ 15000 h 15000"/>
                <a:gd name="connsiteX4" fmla="*/ 7500 w 150000"/>
                <a:gd name="connsiteY4" fmla="*/ 15000 h 15000"/>
                <a:gd name="connsiteX5" fmla="*/ 0 w 150000"/>
                <a:gd name="connsiteY5" fmla="*/ 15000 h 15000"/>
                <a:gd name="connsiteX6" fmla="*/ 0 w 150000"/>
                <a:gd name="connsiteY6" fmla="*/ 0 h 15000"/>
                <a:gd name="connsiteX7" fmla="*/ 7500 w 150000"/>
                <a:gd name="connsiteY7" fmla="*/ 0 h 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0000" h="15000">
                  <a:moveTo>
                    <a:pt x="142500" y="0"/>
                  </a:moveTo>
                  <a:cubicBezTo>
                    <a:pt x="146642" y="0"/>
                    <a:pt x="150000" y="0"/>
                    <a:pt x="150000" y="0"/>
                  </a:cubicBezTo>
                  <a:lnTo>
                    <a:pt x="150000" y="15000"/>
                  </a:lnTo>
                  <a:cubicBezTo>
                    <a:pt x="150000" y="15000"/>
                    <a:pt x="146642" y="15000"/>
                    <a:pt x="142500" y="15000"/>
                  </a:cubicBezTo>
                  <a:lnTo>
                    <a:pt x="7500" y="15000"/>
                  </a:lnTo>
                  <a:cubicBezTo>
                    <a:pt x="3358" y="15000"/>
                    <a:pt x="0" y="15000"/>
                    <a:pt x="0" y="15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28" name="Рисунок 303">
            <a:extLst>
              <a:ext uri="{FF2B5EF4-FFF2-40B4-BE49-F238E27FC236}">
                <a16:creationId xmlns:a16="http://schemas.microsoft.com/office/drawing/2014/main" id="{0D502232-C6A0-C94B-A9D3-B191DCD1514A}"/>
              </a:ext>
            </a:extLst>
          </p:cNvPr>
          <p:cNvGrpSpPr/>
          <p:nvPr/>
        </p:nvGrpSpPr>
        <p:grpSpPr>
          <a:xfrm>
            <a:off x="8968334" y="2442261"/>
            <a:ext cx="360000" cy="360000"/>
            <a:chOff x="9001787" y="2758983"/>
            <a:chExt cx="360000" cy="360000"/>
          </a:xfrm>
        </p:grpSpPr>
        <p:sp>
          <p:nvSpPr>
            <p:cNvPr id="1229" name="Полилиния 1228">
              <a:extLst>
                <a:ext uri="{FF2B5EF4-FFF2-40B4-BE49-F238E27FC236}">
                  <a16:creationId xmlns:a16="http://schemas.microsoft.com/office/drawing/2014/main" id="{0060838B-7E6E-8D49-93AA-E43C485ED241}"/>
                </a:ext>
              </a:extLst>
            </p:cNvPr>
            <p:cNvSpPr/>
            <p:nvPr/>
          </p:nvSpPr>
          <p:spPr>
            <a:xfrm>
              <a:off x="9001787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0" name="Полилиния 1229">
              <a:extLst>
                <a:ext uri="{FF2B5EF4-FFF2-40B4-BE49-F238E27FC236}">
                  <a16:creationId xmlns:a16="http://schemas.microsoft.com/office/drawing/2014/main" id="{5B72FF98-6DDD-2E45-A46A-416B4BC13697}"/>
                </a:ext>
              </a:extLst>
            </p:cNvPr>
            <p:cNvSpPr/>
            <p:nvPr/>
          </p:nvSpPr>
          <p:spPr>
            <a:xfrm>
              <a:off x="9031787" y="2833983"/>
              <a:ext cx="300000" cy="195000"/>
            </a:xfrm>
            <a:custGeom>
              <a:avLst/>
              <a:gdLst>
                <a:gd name="connsiteX0" fmla="*/ 15000 w 300000"/>
                <a:gd name="connsiteY0" fmla="*/ 0 h 195000"/>
                <a:gd name="connsiteX1" fmla="*/ 285000 w 300000"/>
                <a:gd name="connsiteY1" fmla="*/ 0 h 195000"/>
                <a:gd name="connsiteX2" fmla="*/ 300000 w 300000"/>
                <a:gd name="connsiteY2" fmla="*/ 15000 h 195000"/>
                <a:gd name="connsiteX3" fmla="*/ 300000 w 300000"/>
                <a:gd name="connsiteY3" fmla="*/ 180000 h 195000"/>
                <a:gd name="connsiteX4" fmla="*/ 285000 w 300000"/>
                <a:gd name="connsiteY4" fmla="*/ 195000 h 195000"/>
                <a:gd name="connsiteX5" fmla="*/ 15000 w 300000"/>
                <a:gd name="connsiteY5" fmla="*/ 195000 h 195000"/>
                <a:gd name="connsiteX6" fmla="*/ 0 w 300000"/>
                <a:gd name="connsiteY6" fmla="*/ 180000 h 195000"/>
                <a:gd name="connsiteX7" fmla="*/ 0 w 300000"/>
                <a:gd name="connsiteY7" fmla="*/ 15000 h 195000"/>
                <a:gd name="connsiteX8" fmla="*/ 15000 w 300000"/>
                <a:gd name="connsiteY8" fmla="*/ 0 h 195000"/>
                <a:gd name="connsiteX9" fmla="*/ 114480 w 300000"/>
                <a:gd name="connsiteY9" fmla="*/ 75990 h 195000"/>
                <a:gd name="connsiteX10" fmla="*/ 135480 w 300000"/>
                <a:gd name="connsiteY10" fmla="*/ 75990 h 195000"/>
                <a:gd name="connsiteX11" fmla="*/ 135480 w 300000"/>
                <a:gd name="connsiteY11" fmla="*/ 60660 h 195000"/>
                <a:gd name="connsiteX12" fmla="*/ 75525 w 300000"/>
                <a:gd name="connsiteY12" fmla="*/ 60660 h 195000"/>
                <a:gd name="connsiteX13" fmla="*/ 75525 w 300000"/>
                <a:gd name="connsiteY13" fmla="*/ 75990 h 195000"/>
                <a:gd name="connsiteX14" fmla="*/ 96525 w 300000"/>
                <a:gd name="connsiteY14" fmla="*/ 75990 h 195000"/>
                <a:gd name="connsiteX15" fmla="*/ 96525 w 300000"/>
                <a:gd name="connsiteY15" fmla="*/ 135000 h 195000"/>
                <a:gd name="connsiteX16" fmla="*/ 114480 w 300000"/>
                <a:gd name="connsiteY16" fmla="*/ 135000 h 195000"/>
                <a:gd name="connsiteX17" fmla="*/ 114480 w 300000"/>
                <a:gd name="connsiteY17" fmla="*/ 75990 h 195000"/>
                <a:gd name="connsiteX18" fmla="*/ 194025 w 300000"/>
                <a:gd name="connsiteY18" fmla="*/ 135000 h 195000"/>
                <a:gd name="connsiteX19" fmla="*/ 222690 w 300000"/>
                <a:gd name="connsiteY19" fmla="*/ 60660 h 195000"/>
                <a:gd name="connsiteX20" fmla="*/ 202845 w 300000"/>
                <a:gd name="connsiteY20" fmla="*/ 60660 h 195000"/>
                <a:gd name="connsiteX21" fmla="*/ 185730 w 300000"/>
                <a:gd name="connsiteY21" fmla="*/ 113370 h 195000"/>
                <a:gd name="connsiteX22" fmla="*/ 185310 w 300000"/>
                <a:gd name="connsiteY22" fmla="*/ 113370 h 195000"/>
                <a:gd name="connsiteX23" fmla="*/ 168090 w 300000"/>
                <a:gd name="connsiteY23" fmla="*/ 60660 h 195000"/>
                <a:gd name="connsiteX24" fmla="*/ 147930 w 300000"/>
                <a:gd name="connsiteY24" fmla="*/ 60660 h 195000"/>
                <a:gd name="connsiteX25" fmla="*/ 176070 w 300000"/>
                <a:gd name="connsiteY25" fmla="*/ 135000 h 195000"/>
                <a:gd name="connsiteX26" fmla="*/ 194025 w 300000"/>
                <a:gd name="connsiteY26" fmla="*/ 1350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00000" h="195000">
                  <a:moveTo>
                    <a:pt x="15000" y="0"/>
                  </a:moveTo>
                  <a:lnTo>
                    <a:pt x="285000" y="0"/>
                  </a:lnTo>
                  <a:cubicBezTo>
                    <a:pt x="293285" y="0"/>
                    <a:pt x="300000" y="6716"/>
                    <a:pt x="300000" y="15000"/>
                  </a:cubicBezTo>
                  <a:lnTo>
                    <a:pt x="300000" y="180000"/>
                  </a:lnTo>
                  <a:cubicBezTo>
                    <a:pt x="300000" y="188285"/>
                    <a:pt x="293285" y="195000"/>
                    <a:pt x="285000" y="195000"/>
                  </a:cubicBezTo>
                  <a:lnTo>
                    <a:pt x="15000" y="195000"/>
                  </a:lnTo>
                  <a:cubicBezTo>
                    <a:pt x="6716" y="195000"/>
                    <a:pt x="0" y="188285"/>
                    <a:pt x="0" y="180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close/>
                  <a:moveTo>
                    <a:pt x="114480" y="75990"/>
                  </a:moveTo>
                  <a:lnTo>
                    <a:pt x="135480" y="75990"/>
                  </a:lnTo>
                  <a:lnTo>
                    <a:pt x="135480" y="60660"/>
                  </a:lnTo>
                  <a:lnTo>
                    <a:pt x="75525" y="60660"/>
                  </a:lnTo>
                  <a:lnTo>
                    <a:pt x="75525" y="75990"/>
                  </a:lnTo>
                  <a:lnTo>
                    <a:pt x="96525" y="75990"/>
                  </a:lnTo>
                  <a:lnTo>
                    <a:pt x="96525" y="135000"/>
                  </a:lnTo>
                  <a:lnTo>
                    <a:pt x="114480" y="135000"/>
                  </a:lnTo>
                  <a:lnTo>
                    <a:pt x="114480" y="75990"/>
                  </a:lnTo>
                  <a:close/>
                  <a:moveTo>
                    <a:pt x="194025" y="135000"/>
                  </a:moveTo>
                  <a:lnTo>
                    <a:pt x="222690" y="60660"/>
                  </a:lnTo>
                  <a:lnTo>
                    <a:pt x="202845" y="60660"/>
                  </a:lnTo>
                  <a:lnTo>
                    <a:pt x="185730" y="113370"/>
                  </a:lnTo>
                  <a:lnTo>
                    <a:pt x="185310" y="113370"/>
                  </a:lnTo>
                  <a:lnTo>
                    <a:pt x="168090" y="60660"/>
                  </a:lnTo>
                  <a:lnTo>
                    <a:pt x="147930" y="60660"/>
                  </a:lnTo>
                  <a:lnTo>
                    <a:pt x="176070" y="135000"/>
                  </a:lnTo>
                  <a:lnTo>
                    <a:pt x="194025" y="13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1" name="Полилиния 1230">
              <a:extLst>
                <a:ext uri="{FF2B5EF4-FFF2-40B4-BE49-F238E27FC236}">
                  <a16:creationId xmlns:a16="http://schemas.microsoft.com/office/drawing/2014/main" id="{C1680060-77DF-A04D-A8AB-5929578A4FA8}"/>
                </a:ext>
              </a:extLst>
            </p:cNvPr>
            <p:cNvSpPr/>
            <p:nvPr/>
          </p:nvSpPr>
          <p:spPr>
            <a:xfrm>
              <a:off x="9046787" y="3043983"/>
              <a:ext cx="270000" cy="15000"/>
            </a:xfrm>
            <a:custGeom>
              <a:avLst/>
              <a:gdLst>
                <a:gd name="connsiteX0" fmla="*/ 262500 w 270000"/>
                <a:gd name="connsiteY0" fmla="*/ 0 h 15000"/>
                <a:gd name="connsiteX1" fmla="*/ 270000 w 270000"/>
                <a:gd name="connsiteY1" fmla="*/ 0 h 15000"/>
                <a:gd name="connsiteX2" fmla="*/ 270000 w 270000"/>
                <a:gd name="connsiteY2" fmla="*/ 15000 h 15000"/>
                <a:gd name="connsiteX3" fmla="*/ 262500 w 270000"/>
                <a:gd name="connsiteY3" fmla="*/ 15000 h 15000"/>
                <a:gd name="connsiteX4" fmla="*/ 7500 w 270000"/>
                <a:gd name="connsiteY4" fmla="*/ 15000 h 15000"/>
                <a:gd name="connsiteX5" fmla="*/ 0 w 270000"/>
                <a:gd name="connsiteY5" fmla="*/ 15000 h 15000"/>
                <a:gd name="connsiteX6" fmla="*/ 0 w 270000"/>
                <a:gd name="connsiteY6" fmla="*/ 0 h 15000"/>
                <a:gd name="connsiteX7" fmla="*/ 7500 w 270000"/>
                <a:gd name="connsiteY7" fmla="*/ 0 h 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0000" h="15000">
                  <a:moveTo>
                    <a:pt x="262500" y="0"/>
                  </a:moveTo>
                  <a:cubicBezTo>
                    <a:pt x="266642" y="0"/>
                    <a:pt x="270000" y="0"/>
                    <a:pt x="270000" y="0"/>
                  </a:cubicBezTo>
                  <a:lnTo>
                    <a:pt x="270000" y="15000"/>
                  </a:lnTo>
                  <a:cubicBezTo>
                    <a:pt x="270000" y="15000"/>
                    <a:pt x="266642" y="15000"/>
                    <a:pt x="262500" y="15000"/>
                  </a:cubicBezTo>
                  <a:lnTo>
                    <a:pt x="7500" y="15000"/>
                  </a:lnTo>
                  <a:cubicBezTo>
                    <a:pt x="3358" y="15000"/>
                    <a:pt x="0" y="15000"/>
                    <a:pt x="0" y="15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32" name="Рисунок 304">
            <a:extLst>
              <a:ext uri="{FF2B5EF4-FFF2-40B4-BE49-F238E27FC236}">
                <a16:creationId xmlns:a16="http://schemas.microsoft.com/office/drawing/2014/main" id="{7687DD9A-E8AD-F640-A41F-350C2DB106AA}"/>
              </a:ext>
            </a:extLst>
          </p:cNvPr>
          <p:cNvGrpSpPr/>
          <p:nvPr/>
        </p:nvGrpSpPr>
        <p:grpSpPr>
          <a:xfrm>
            <a:off x="4437536" y="2442261"/>
            <a:ext cx="360000" cy="360000"/>
            <a:chOff x="4470989" y="2758983"/>
            <a:chExt cx="360000" cy="360000"/>
          </a:xfrm>
        </p:grpSpPr>
        <p:sp>
          <p:nvSpPr>
            <p:cNvPr id="1233" name="Полилиния 1232">
              <a:extLst>
                <a:ext uri="{FF2B5EF4-FFF2-40B4-BE49-F238E27FC236}">
                  <a16:creationId xmlns:a16="http://schemas.microsoft.com/office/drawing/2014/main" id="{08E6BD49-9DCA-4C4E-8552-279ADA38D33A}"/>
                </a:ext>
              </a:extLst>
            </p:cNvPr>
            <p:cNvSpPr/>
            <p:nvPr/>
          </p:nvSpPr>
          <p:spPr>
            <a:xfrm>
              <a:off x="4470989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4" name="Полилиния 1233">
              <a:extLst>
                <a:ext uri="{FF2B5EF4-FFF2-40B4-BE49-F238E27FC236}">
                  <a16:creationId xmlns:a16="http://schemas.microsoft.com/office/drawing/2014/main" id="{44E3F7C7-4EF4-7649-9B83-FEBCC806C2F8}"/>
                </a:ext>
              </a:extLst>
            </p:cNvPr>
            <p:cNvSpPr/>
            <p:nvPr/>
          </p:nvSpPr>
          <p:spPr>
            <a:xfrm>
              <a:off x="4515989" y="2803983"/>
              <a:ext cx="255000" cy="135000"/>
            </a:xfrm>
            <a:custGeom>
              <a:avLst/>
              <a:gdLst>
                <a:gd name="connsiteX0" fmla="*/ 127500 w 255000"/>
                <a:gd name="connsiteY0" fmla="*/ 0 h 135000"/>
                <a:gd name="connsiteX1" fmla="*/ 127500 w 255000"/>
                <a:gd name="connsiteY1" fmla="*/ 0 h 135000"/>
                <a:gd name="connsiteX2" fmla="*/ 255000 w 255000"/>
                <a:gd name="connsiteY2" fmla="*/ 127500 h 135000"/>
                <a:gd name="connsiteX3" fmla="*/ 255000 w 255000"/>
                <a:gd name="connsiteY3" fmla="*/ 135000 h 135000"/>
                <a:gd name="connsiteX4" fmla="*/ 0 w 255000"/>
                <a:gd name="connsiteY4" fmla="*/ 135000 h 135000"/>
                <a:gd name="connsiteX5" fmla="*/ 0 w 255000"/>
                <a:gd name="connsiteY5" fmla="*/ 127500 h 135000"/>
                <a:gd name="connsiteX6" fmla="*/ 127500 w 255000"/>
                <a:gd name="connsiteY6" fmla="*/ 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5000" h="135000">
                  <a:moveTo>
                    <a:pt x="127500" y="0"/>
                  </a:moveTo>
                  <a:lnTo>
                    <a:pt x="127500" y="0"/>
                  </a:lnTo>
                  <a:cubicBezTo>
                    <a:pt x="197916" y="0"/>
                    <a:pt x="255000" y="57084"/>
                    <a:pt x="255000" y="127500"/>
                  </a:cubicBezTo>
                  <a:lnTo>
                    <a:pt x="255000" y="135000"/>
                  </a:lnTo>
                  <a:lnTo>
                    <a:pt x="0" y="135000"/>
                  </a:lnTo>
                  <a:lnTo>
                    <a:pt x="0" y="127500"/>
                  </a:lnTo>
                  <a:cubicBezTo>
                    <a:pt x="0" y="57084"/>
                    <a:pt x="57084" y="0"/>
                    <a:pt x="1275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5" name="Полилиния 1234">
              <a:extLst>
                <a:ext uri="{FF2B5EF4-FFF2-40B4-BE49-F238E27FC236}">
                  <a16:creationId xmlns:a16="http://schemas.microsoft.com/office/drawing/2014/main" id="{C4F8EEE3-AC68-BD43-81F6-4B60B6486100}"/>
                </a:ext>
              </a:extLst>
            </p:cNvPr>
            <p:cNvSpPr/>
            <p:nvPr/>
          </p:nvSpPr>
          <p:spPr>
            <a:xfrm>
              <a:off x="4568489" y="2938983"/>
              <a:ext cx="97500" cy="150000"/>
            </a:xfrm>
            <a:custGeom>
              <a:avLst/>
              <a:gdLst>
                <a:gd name="connsiteX0" fmla="*/ 67500 w 97500"/>
                <a:gd name="connsiteY0" fmla="*/ 0 h 150000"/>
                <a:gd name="connsiteX1" fmla="*/ 97500 w 97500"/>
                <a:gd name="connsiteY1" fmla="*/ 0 h 150000"/>
                <a:gd name="connsiteX2" fmla="*/ 97500 w 97500"/>
                <a:gd name="connsiteY2" fmla="*/ 101250 h 150000"/>
                <a:gd name="connsiteX3" fmla="*/ 48750 w 97500"/>
                <a:gd name="connsiteY3" fmla="*/ 150000 h 150000"/>
                <a:gd name="connsiteX4" fmla="*/ 0 w 97500"/>
                <a:gd name="connsiteY4" fmla="*/ 101250 h 150000"/>
                <a:gd name="connsiteX5" fmla="*/ 0 w 97500"/>
                <a:gd name="connsiteY5" fmla="*/ 90000 h 150000"/>
                <a:gd name="connsiteX6" fmla="*/ 30000 w 97500"/>
                <a:gd name="connsiteY6" fmla="*/ 90000 h 150000"/>
                <a:gd name="connsiteX7" fmla="*/ 30000 w 97500"/>
                <a:gd name="connsiteY7" fmla="*/ 101250 h 150000"/>
                <a:gd name="connsiteX8" fmla="*/ 48750 w 97500"/>
                <a:gd name="connsiteY8" fmla="*/ 120000 h 150000"/>
                <a:gd name="connsiteX9" fmla="*/ 67500 w 97500"/>
                <a:gd name="connsiteY9" fmla="*/ 101250 h 150000"/>
                <a:gd name="connsiteX10" fmla="*/ 67500 w 97500"/>
                <a:gd name="connsiteY10" fmla="*/ 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500" h="150000">
                  <a:moveTo>
                    <a:pt x="67500" y="0"/>
                  </a:moveTo>
                  <a:lnTo>
                    <a:pt x="97500" y="0"/>
                  </a:lnTo>
                  <a:lnTo>
                    <a:pt x="97500" y="101250"/>
                  </a:lnTo>
                  <a:cubicBezTo>
                    <a:pt x="97500" y="128174"/>
                    <a:pt x="75674" y="150000"/>
                    <a:pt x="48750" y="150000"/>
                  </a:cubicBezTo>
                  <a:cubicBezTo>
                    <a:pt x="21826" y="150000"/>
                    <a:pt x="0" y="128174"/>
                    <a:pt x="0" y="101250"/>
                  </a:cubicBezTo>
                  <a:lnTo>
                    <a:pt x="0" y="90000"/>
                  </a:lnTo>
                  <a:lnTo>
                    <a:pt x="30000" y="90000"/>
                  </a:lnTo>
                  <a:lnTo>
                    <a:pt x="30000" y="101250"/>
                  </a:lnTo>
                  <a:cubicBezTo>
                    <a:pt x="30000" y="111606"/>
                    <a:pt x="38395" y="120000"/>
                    <a:pt x="48750" y="120000"/>
                  </a:cubicBezTo>
                  <a:cubicBezTo>
                    <a:pt x="59106" y="120000"/>
                    <a:pt x="67500" y="111606"/>
                    <a:pt x="67500" y="101250"/>
                  </a:cubicBezTo>
                  <a:lnTo>
                    <a:pt x="675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36" name="Рисунок 305">
            <a:extLst>
              <a:ext uri="{FF2B5EF4-FFF2-40B4-BE49-F238E27FC236}">
                <a16:creationId xmlns:a16="http://schemas.microsoft.com/office/drawing/2014/main" id="{5D747D85-67B3-974C-A92C-3BC772047583}"/>
              </a:ext>
            </a:extLst>
          </p:cNvPr>
          <p:cNvGrpSpPr/>
          <p:nvPr/>
        </p:nvGrpSpPr>
        <p:grpSpPr>
          <a:xfrm>
            <a:off x="5947802" y="2442261"/>
            <a:ext cx="360000" cy="360000"/>
            <a:chOff x="5981255" y="2758983"/>
            <a:chExt cx="360000" cy="360000"/>
          </a:xfrm>
        </p:grpSpPr>
        <p:sp>
          <p:nvSpPr>
            <p:cNvPr id="1237" name="Полилиния 1236">
              <a:extLst>
                <a:ext uri="{FF2B5EF4-FFF2-40B4-BE49-F238E27FC236}">
                  <a16:creationId xmlns:a16="http://schemas.microsoft.com/office/drawing/2014/main" id="{FA752D41-CF10-C340-865B-A31737805357}"/>
                </a:ext>
              </a:extLst>
            </p:cNvPr>
            <p:cNvSpPr/>
            <p:nvPr/>
          </p:nvSpPr>
          <p:spPr>
            <a:xfrm>
              <a:off x="5981255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8" name="Полилиния 1237">
              <a:extLst>
                <a:ext uri="{FF2B5EF4-FFF2-40B4-BE49-F238E27FC236}">
                  <a16:creationId xmlns:a16="http://schemas.microsoft.com/office/drawing/2014/main" id="{223CFF8C-2267-2749-845D-297298D8DD7A}"/>
                </a:ext>
              </a:extLst>
            </p:cNvPr>
            <p:cNvSpPr/>
            <p:nvPr/>
          </p:nvSpPr>
          <p:spPr>
            <a:xfrm>
              <a:off x="6077255" y="2830983"/>
              <a:ext cx="171299" cy="215399"/>
            </a:xfrm>
            <a:custGeom>
              <a:avLst/>
              <a:gdLst>
                <a:gd name="connsiteX0" fmla="*/ 85800 w 171299"/>
                <a:gd name="connsiteY0" fmla="*/ 215400 h 215399"/>
                <a:gd name="connsiteX1" fmla="*/ 0 w 171299"/>
                <a:gd name="connsiteY1" fmla="*/ 130200 h 215399"/>
                <a:gd name="connsiteX2" fmla="*/ 0 w 171299"/>
                <a:gd name="connsiteY2" fmla="*/ 0 h 215399"/>
                <a:gd name="connsiteX3" fmla="*/ 34800 w 171299"/>
                <a:gd name="connsiteY3" fmla="*/ 0 h 215399"/>
                <a:gd name="connsiteX4" fmla="*/ 34800 w 171299"/>
                <a:gd name="connsiteY4" fmla="*/ 131100 h 215399"/>
                <a:gd name="connsiteX5" fmla="*/ 85800 w 171299"/>
                <a:gd name="connsiteY5" fmla="*/ 182400 h 215399"/>
                <a:gd name="connsiteX6" fmla="*/ 136500 w 171299"/>
                <a:gd name="connsiteY6" fmla="*/ 131100 h 215399"/>
                <a:gd name="connsiteX7" fmla="*/ 136500 w 171299"/>
                <a:gd name="connsiteY7" fmla="*/ 0 h 215399"/>
                <a:gd name="connsiteX8" fmla="*/ 171300 w 171299"/>
                <a:gd name="connsiteY8" fmla="*/ 0 h 215399"/>
                <a:gd name="connsiteX9" fmla="*/ 171300 w 171299"/>
                <a:gd name="connsiteY9" fmla="*/ 130200 h 215399"/>
                <a:gd name="connsiteX10" fmla="*/ 85800 w 171299"/>
                <a:gd name="connsiteY10" fmla="*/ 215400 h 21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1299" h="215399">
                  <a:moveTo>
                    <a:pt x="85800" y="215400"/>
                  </a:moveTo>
                  <a:cubicBezTo>
                    <a:pt x="35700" y="215400"/>
                    <a:pt x="0" y="182700"/>
                    <a:pt x="0" y="130200"/>
                  </a:cubicBezTo>
                  <a:lnTo>
                    <a:pt x="0" y="0"/>
                  </a:lnTo>
                  <a:lnTo>
                    <a:pt x="34800" y="0"/>
                  </a:lnTo>
                  <a:lnTo>
                    <a:pt x="34800" y="131100"/>
                  </a:lnTo>
                  <a:cubicBezTo>
                    <a:pt x="34800" y="164100"/>
                    <a:pt x="55500" y="182400"/>
                    <a:pt x="85800" y="182400"/>
                  </a:cubicBezTo>
                  <a:cubicBezTo>
                    <a:pt x="116100" y="182400"/>
                    <a:pt x="136500" y="164100"/>
                    <a:pt x="136500" y="131100"/>
                  </a:cubicBezTo>
                  <a:lnTo>
                    <a:pt x="136500" y="0"/>
                  </a:lnTo>
                  <a:lnTo>
                    <a:pt x="171300" y="0"/>
                  </a:lnTo>
                  <a:lnTo>
                    <a:pt x="171300" y="130200"/>
                  </a:lnTo>
                  <a:cubicBezTo>
                    <a:pt x="171300" y="182700"/>
                    <a:pt x="135900" y="215400"/>
                    <a:pt x="85800" y="2154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9" name="Скругленный прямоугольник 1238">
              <a:extLst>
                <a:ext uri="{FF2B5EF4-FFF2-40B4-BE49-F238E27FC236}">
                  <a16:creationId xmlns:a16="http://schemas.microsoft.com/office/drawing/2014/main" id="{40CFB26D-A27F-5347-AE13-E162D65194D7}"/>
                </a:ext>
              </a:extLst>
            </p:cNvPr>
            <p:cNvSpPr/>
            <p:nvPr/>
          </p:nvSpPr>
          <p:spPr>
            <a:xfrm>
              <a:off x="6041255" y="3073983"/>
              <a:ext cx="240000" cy="3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40" name="Рисунок 306">
            <a:extLst>
              <a:ext uri="{FF2B5EF4-FFF2-40B4-BE49-F238E27FC236}">
                <a16:creationId xmlns:a16="http://schemas.microsoft.com/office/drawing/2014/main" id="{6F3E2A78-E526-654F-835A-F97A6C009CD8}"/>
              </a:ext>
            </a:extLst>
          </p:cNvPr>
          <p:cNvGrpSpPr/>
          <p:nvPr/>
        </p:nvGrpSpPr>
        <p:grpSpPr>
          <a:xfrm>
            <a:off x="7458068" y="2442261"/>
            <a:ext cx="360000" cy="360000"/>
            <a:chOff x="7491521" y="2758983"/>
            <a:chExt cx="360000" cy="360000"/>
          </a:xfrm>
        </p:grpSpPr>
        <p:sp>
          <p:nvSpPr>
            <p:cNvPr id="1241" name="Полилиния 1240">
              <a:extLst>
                <a:ext uri="{FF2B5EF4-FFF2-40B4-BE49-F238E27FC236}">
                  <a16:creationId xmlns:a16="http://schemas.microsoft.com/office/drawing/2014/main" id="{530E0743-8EF5-2543-8328-540423491001}"/>
                </a:ext>
              </a:extLst>
            </p:cNvPr>
            <p:cNvSpPr/>
            <p:nvPr/>
          </p:nvSpPr>
          <p:spPr>
            <a:xfrm>
              <a:off x="7491521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2" name="Полилиния 1241">
              <a:extLst>
                <a:ext uri="{FF2B5EF4-FFF2-40B4-BE49-F238E27FC236}">
                  <a16:creationId xmlns:a16="http://schemas.microsoft.com/office/drawing/2014/main" id="{D234DC6E-0A6B-044E-A954-4292A812F15A}"/>
                </a:ext>
              </a:extLst>
            </p:cNvPr>
            <p:cNvSpPr/>
            <p:nvPr/>
          </p:nvSpPr>
          <p:spPr>
            <a:xfrm>
              <a:off x="7537419" y="2818129"/>
              <a:ext cx="275851" cy="233353"/>
            </a:xfrm>
            <a:custGeom>
              <a:avLst/>
              <a:gdLst>
                <a:gd name="connsiteX0" fmla="*/ 275778 w 275851"/>
                <a:gd name="connsiteY0" fmla="*/ 207719 h 233353"/>
                <a:gd name="connsiteX1" fmla="*/ 240109 w 275851"/>
                <a:gd name="connsiteY1" fmla="*/ 108329 h 233353"/>
                <a:gd name="connsiteX2" fmla="*/ 129601 w 275851"/>
                <a:gd name="connsiteY2" fmla="*/ 75854 h 233353"/>
                <a:gd name="connsiteX3" fmla="*/ 129601 w 275851"/>
                <a:gd name="connsiteY3" fmla="*/ 11250 h 233353"/>
                <a:gd name="connsiteX4" fmla="*/ 118351 w 275851"/>
                <a:gd name="connsiteY4" fmla="*/ 0 h 233353"/>
                <a:gd name="connsiteX5" fmla="*/ 110793 w 275851"/>
                <a:gd name="connsiteY5" fmla="*/ 2918 h 233353"/>
                <a:gd name="connsiteX6" fmla="*/ 3691 w 275851"/>
                <a:gd name="connsiteY6" fmla="*/ 100083 h 233353"/>
                <a:gd name="connsiteX7" fmla="*/ 2918 w 275851"/>
                <a:gd name="connsiteY7" fmla="*/ 115974 h 233353"/>
                <a:gd name="connsiteX8" fmla="*/ 3606 w 275851"/>
                <a:gd name="connsiteY8" fmla="*/ 116669 h 233353"/>
                <a:gd name="connsiteX9" fmla="*/ 110707 w 275851"/>
                <a:gd name="connsiteY9" fmla="*/ 215856 h 233353"/>
                <a:gd name="connsiteX10" fmla="*/ 126606 w 275851"/>
                <a:gd name="connsiteY10" fmla="*/ 215246 h 233353"/>
                <a:gd name="connsiteX11" fmla="*/ 129601 w 275851"/>
                <a:gd name="connsiteY11" fmla="*/ 207602 h 233353"/>
                <a:gd name="connsiteX12" fmla="*/ 129601 w 275851"/>
                <a:gd name="connsiteY12" fmla="*/ 143354 h 233353"/>
                <a:gd name="connsiteX13" fmla="*/ 198727 w 275851"/>
                <a:gd name="connsiteY13" fmla="*/ 152055 h 233353"/>
                <a:gd name="connsiteX14" fmla="*/ 262021 w 275851"/>
                <a:gd name="connsiteY14" fmla="*/ 225978 h 233353"/>
                <a:gd name="connsiteX15" fmla="*/ 262021 w 275851"/>
                <a:gd name="connsiteY15" fmla="*/ 225978 h 233353"/>
                <a:gd name="connsiteX16" fmla="*/ 272583 w 275851"/>
                <a:gd name="connsiteY16" fmla="*/ 233354 h 233353"/>
                <a:gd name="connsiteX17" fmla="*/ 275851 w 275851"/>
                <a:gd name="connsiteY17" fmla="*/ 233354 h 233353"/>
                <a:gd name="connsiteX18" fmla="*/ 275778 w 275851"/>
                <a:gd name="connsiteY18" fmla="*/ 207719 h 233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851" h="233353">
                  <a:moveTo>
                    <a:pt x="275778" y="207719"/>
                  </a:moveTo>
                  <a:cubicBezTo>
                    <a:pt x="275778" y="195414"/>
                    <a:pt x="278415" y="146855"/>
                    <a:pt x="240109" y="108329"/>
                  </a:cubicBezTo>
                  <a:cubicBezTo>
                    <a:pt x="214327" y="82402"/>
                    <a:pt x="175744" y="77905"/>
                    <a:pt x="129601" y="75854"/>
                  </a:cubicBezTo>
                  <a:lnTo>
                    <a:pt x="129601" y="11250"/>
                  </a:lnTo>
                  <a:cubicBezTo>
                    <a:pt x="129601" y="5037"/>
                    <a:pt x="124564" y="0"/>
                    <a:pt x="118351" y="0"/>
                  </a:cubicBezTo>
                  <a:cubicBezTo>
                    <a:pt x="115557" y="0"/>
                    <a:pt x="112861" y="1040"/>
                    <a:pt x="110793" y="2918"/>
                  </a:cubicBezTo>
                  <a:lnTo>
                    <a:pt x="3691" y="100083"/>
                  </a:lnTo>
                  <a:cubicBezTo>
                    <a:pt x="-911" y="104258"/>
                    <a:pt x="-1257" y="111372"/>
                    <a:pt x="2918" y="115974"/>
                  </a:cubicBezTo>
                  <a:cubicBezTo>
                    <a:pt x="3137" y="116216"/>
                    <a:pt x="3367" y="116447"/>
                    <a:pt x="3606" y="116669"/>
                  </a:cubicBezTo>
                  <a:lnTo>
                    <a:pt x="110707" y="215856"/>
                  </a:lnTo>
                  <a:cubicBezTo>
                    <a:pt x="115266" y="220077"/>
                    <a:pt x="122383" y="219804"/>
                    <a:pt x="126606" y="215246"/>
                  </a:cubicBezTo>
                  <a:cubicBezTo>
                    <a:pt x="128532" y="213167"/>
                    <a:pt x="129601" y="210437"/>
                    <a:pt x="129601" y="207602"/>
                  </a:cubicBezTo>
                  <a:lnTo>
                    <a:pt x="129601" y="143354"/>
                  </a:lnTo>
                  <a:cubicBezTo>
                    <a:pt x="158898" y="144159"/>
                    <a:pt x="179767" y="146022"/>
                    <a:pt x="198727" y="152055"/>
                  </a:cubicBezTo>
                  <a:cubicBezTo>
                    <a:pt x="226027" y="160740"/>
                    <a:pt x="247126" y="185381"/>
                    <a:pt x="262021" y="225978"/>
                  </a:cubicBezTo>
                  <a:lnTo>
                    <a:pt x="262021" y="225978"/>
                  </a:lnTo>
                  <a:cubicBezTo>
                    <a:pt x="263647" y="230409"/>
                    <a:pt x="267864" y="233354"/>
                    <a:pt x="272583" y="233354"/>
                  </a:cubicBezTo>
                  <a:lnTo>
                    <a:pt x="275851" y="233354"/>
                  </a:lnTo>
                  <a:cubicBezTo>
                    <a:pt x="275851" y="225956"/>
                    <a:pt x="275778" y="214238"/>
                    <a:pt x="275778" y="20771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43" name="Рисунок 307">
            <a:extLst>
              <a:ext uri="{FF2B5EF4-FFF2-40B4-BE49-F238E27FC236}">
                <a16:creationId xmlns:a16="http://schemas.microsoft.com/office/drawing/2014/main" id="{32206FB2-E77B-DD49-B2C8-451640AF52BC}"/>
              </a:ext>
            </a:extLst>
          </p:cNvPr>
          <p:cNvGrpSpPr/>
          <p:nvPr/>
        </p:nvGrpSpPr>
        <p:grpSpPr>
          <a:xfrm>
            <a:off x="6702935" y="2442261"/>
            <a:ext cx="360000" cy="360000"/>
            <a:chOff x="6736388" y="2758983"/>
            <a:chExt cx="360000" cy="360000"/>
          </a:xfrm>
        </p:grpSpPr>
        <p:sp>
          <p:nvSpPr>
            <p:cNvPr id="1244" name="Полилиния 1243">
              <a:extLst>
                <a:ext uri="{FF2B5EF4-FFF2-40B4-BE49-F238E27FC236}">
                  <a16:creationId xmlns:a16="http://schemas.microsoft.com/office/drawing/2014/main" id="{F89D0002-16C3-EF43-9E7D-2465CF1C86B6}"/>
                </a:ext>
              </a:extLst>
            </p:cNvPr>
            <p:cNvSpPr/>
            <p:nvPr/>
          </p:nvSpPr>
          <p:spPr>
            <a:xfrm>
              <a:off x="6736388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5" name="Полилиния 1244">
              <a:extLst>
                <a:ext uri="{FF2B5EF4-FFF2-40B4-BE49-F238E27FC236}">
                  <a16:creationId xmlns:a16="http://schemas.microsoft.com/office/drawing/2014/main" id="{57D8F3DD-27E8-8E4E-9798-CE45DB11C57B}"/>
                </a:ext>
              </a:extLst>
            </p:cNvPr>
            <p:cNvSpPr/>
            <p:nvPr/>
          </p:nvSpPr>
          <p:spPr>
            <a:xfrm>
              <a:off x="6781388" y="2818983"/>
              <a:ext cx="255000" cy="255000"/>
            </a:xfrm>
            <a:custGeom>
              <a:avLst/>
              <a:gdLst>
                <a:gd name="connsiteX0" fmla="*/ 75000 w 255000"/>
                <a:gd name="connsiteY0" fmla="*/ 75000 h 255000"/>
                <a:gd name="connsiteX1" fmla="*/ 75000 w 255000"/>
                <a:gd name="connsiteY1" fmla="*/ 32727 h 255000"/>
                <a:gd name="connsiteX2" fmla="*/ 107727 w 255000"/>
                <a:gd name="connsiteY2" fmla="*/ 0 h 255000"/>
                <a:gd name="connsiteX3" fmla="*/ 222273 w 255000"/>
                <a:gd name="connsiteY3" fmla="*/ 0 h 255000"/>
                <a:gd name="connsiteX4" fmla="*/ 255000 w 255000"/>
                <a:gd name="connsiteY4" fmla="*/ 32727 h 255000"/>
                <a:gd name="connsiteX5" fmla="*/ 255000 w 255000"/>
                <a:gd name="connsiteY5" fmla="*/ 147273 h 255000"/>
                <a:gd name="connsiteX6" fmla="*/ 222273 w 255000"/>
                <a:gd name="connsiteY6" fmla="*/ 180000 h 255000"/>
                <a:gd name="connsiteX7" fmla="*/ 180000 w 255000"/>
                <a:gd name="connsiteY7" fmla="*/ 180000 h 255000"/>
                <a:gd name="connsiteX8" fmla="*/ 180000 w 255000"/>
                <a:gd name="connsiteY8" fmla="*/ 222273 h 255000"/>
                <a:gd name="connsiteX9" fmla="*/ 147273 w 255000"/>
                <a:gd name="connsiteY9" fmla="*/ 255000 h 255000"/>
                <a:gd name="connsiteX10" fmla="*/ 32727 w 255000"/>
                <a:gd name="connsiteY10" fmla="*/ 255000 h 255000"/>
                <a:gd name="connsiteX11" fmla="*/ 0 w 255000"/>
                <a:gd name="connsiteY11" fmla="*/ 222273 h 255000"/>
                <a:gd name="connsiteX12" fmla="*/ 0 w 255000"/>
                <a:gd name="connsiteY12" fmla="*/ 107727 h 255000"/>
                <a:gd name="connsiteX13" fmla="*/ 32727 w 255000"/>
                <a:gd name="connsiteY13" fmla="*/ 75000 h 255000"/>
                <a:gd name="connsiteX14" fmla="*/ 75000 w 255000"/>
                <a:gd name="connsiteY14" fmla="*/ 7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5000" h="255000">
                  <a:moveTo>
                    <a:pt x="75000" y="75000"/>
                  </a:moveTo>
                  <a:lnTo>
                    <a:pt x="75000" y="32727"/>
                  </a:lnTo>
                  <a:cubicBezTo>
                    <a:pt x="75000" y="11513"/>
                    <a:pt x="86513" y="0"/>
                    <a:pt x="107727" y="0"/>
                  </a:cubicBezTo>
                  <a:lnTo>
                    <a:pt x="222273" y="0"/>
                  </a:lnTo>
                  <a:cubicBezTo>
                    <a:pt x="243488" y="0"/>
                    <a:pt x="255000" y="11513"/>
                    <a:pt x="255000" y="32727"/>
                  </a:cubicBezTo>
                  <a:lnTo>
                    <a:pt x="255000" y="147273"/>
                  </a:lnTo>
                  <a:cubicBezTo>
                    <a:pt x="255000" y="168488"/>
                    <a:pt x="243488" y="180000"/>
                    <a:pt x="222273" y="180000"/>
                  </a:cubicBezTo>
                  <a:lnTo>
                    <a:pt x="180000" y="180000"/>
                  </a:lnTo>
                  <a:lnTo>
                    <a:pt x="180000" y="222273"/>
                  </a:lnTo>
                  <a:cubicBezTo>
                    <a:pt x="180000" y="243488"/>
                    <a:pt x="168488" y="255000"/>
                    <a:pt x="147273" y="255000"/>
                  </a:cubicBezTo>
                  <a:lnTo>
                    <a:pt x="32727" y="255000"/>
                  </a:lnTo>
                  <a:cubicBezTo>
                    <a:pt x="11513" y="255000"/>
                    <a:pt x="0" y="243488"/>
                    <a:pt x="0" y="222273"/>
                  </a:cubicBezTo>
                  <a:lnTo>
                    <a:pt x="0" y="107727"/>
                  </a:lnTo>
                  <a:cubicBezTo>
                    <a:pt x="0" y="86513"/>
                    <a:pt x="11513" y="75000"/>
                    <a:pt x="32727" y="75000"/>
                  </a:cubicBezTo>
                  <a:lnTo>
                    <a:pt x="75000" y="7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46" name="Рисунок 309">
            <a:extLst>
              <a:ext uri="{FF2B5EF4-FFF2-40B4-BE49-F238E27FC236}">
                <a16:creationId xmlns:a16="http://schemas.microsoft.com/office/drawing/2014/main" id="{A530FDB8-20B1-7043-A409-1B8797D3C953}"/>
              </a:ext>
            </a:extLst>
          </p:cNvPr>
          <p:cNvGrpSpPr/>
          <p:nvPr/>
        </p:nvGrpSpPr>
        <p:grpSpPr>
          <a:xfrm>
            <a:off x="5192669" y="2442261"/>
            <a:ext cx="360000" cy="360000"/>
            <a:chOff x="5226122" y="2758983"/>
            <a:chExt cx="360000" cy="360000"/>
          </a:xfrm>
        </p:grpSpPr>
        <p:sp>
          <p:nvSpPr>
            <p:cNvPr id="1247" name="Полилиния 1246">
              <a:extLst>
                <a:ext uri="{FF2B5EF4-FFF2-40B4-BE49-F238E27FC236}">
                  <a16:creationId xmlns:a16="http://schemas.microsoft.com/office/drawing/2014/main" id="{A0C8697E-55F9-E846-BDBB-116EE22A718C}"/>
                </a:ext>
              </a:extLst>
            </p:cNvPr>
            <p:cNvSpPr/>
            <p:nvPr/>
          </p:nvSpPr>
          <p:spPr>
            <a:xfrm>
              <a:off x="5226122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8" name="Скругленный прямоугольник 1247">
              <a:extLst>
                <a:ext uri="{FF2B5EF4-FFF2-40B4-BE49-F238E27FC236}">
                  <a16:creationId xmlns:a16="http://schemas.microsoft.com/office/drawing/2014/main" id="{4553B95F-E399-0A4E-9F63-6ED49335B762}"/>
                </a:ext>
              </a:extLst>
            </p:cNvPr>
            <p:cNvSpPr/>
            <p:nvPr/>
          </p:nvSpPr>
          <p:spPr>
            <a:xfrm>
              <a:off x="5391122" y="2908983"/>
              <a:ext cx="30000" cy="15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9" name="Полилиния 1248">
              <a:extLst>
                <a:ext uri="{FF2B5EF4-FFF2-40B4-BE49-F238E27FC236}">
                  <a16:creationId xmlns:a16="http://schemas.microsoft.com/office/drawing/2014/main" id="{47767CF9-5A3D-CA42-A5EB-4F5DB73693B7}"/>
                </a:ext>
              </a:extLst>
            </p:cNvPr>
            <p:cNvSpPr/>
            <p:nvPr/>
          </p:nvSpPr>
          <p:spPr>
            <a:xfrm>
              <a:off x="5301122" y="2833982"/>
              <a:ext cx="209999" cy="119999"/>
            </a:xfrm>
            <a:custGeom>
              <a:avLst/>
              <a:gdLst>
                <a:gd name="connsiteX0" fmla="*/ 25607 w 209999"/>
                <a:gd name="connsiteY0" fmla="*/ 115607 h 119999"/>
                <a:gd name="connsiteX1" fmla="*/ 4393 w 209999"/>
                <a:gd name="connsiteY1" fmla="*/ 115607 h 119999"/>
                <a:gd name="connsiteX2" fmla="*/ 4393 w 209999"/>
                <a:gd name="connsiteY2" fmla="*/ 94394 h 119999"/>
                <a:gd name="connsiteX3" fmla="*/ 94394 w 209999"/>
                <a:gd name="connsiteY3" fmla="*/ 4393 h 119999"/>
                <a:gd name="connsiteX4" fmla="*/ 115136 w 209999"/>
                <a:gd name="connsiteY4" fmla="*/ 3943 h 119999"/>
                <a:gd name="connsiteX5" fmla="*/ 205135 w 209999"/>
                <a:gd name="connsiteY5" fmla="*/ 86442 h 119999"/>
                <a:gd name="connsiteX6" fmla="*/ 206058 w 209999"/>
                <a:gd name="connsiteY6" fmla="*/ 107636 h 119999"/>
                <a:gd name="connsiteX7" fmla="*/ 184865 w 209999"/>
                <a:gd name="connsiteY7" fmla="*/ 108558 h 119999"/>
                <a:gd name="connsiteX8" fmla="*/ 105452 w 209999"/>
                <a:gd name="connsiteY8" fmla="*/ 35762 h 119999"/>
                <a:gd name="connsiteX9" fmla="*/ 25607 w 209999"/>
                <a:gd name="connsiteY9" fmla="*/ 115607 h 1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99" h="119999">
                  <a:moveTo>
                    <a:pt x="25607" y="115607"/>
                  </a:moveTo>
                  <a:cubicBezTo>
                    <a:pt x="19749" y="121464"/>
                    <a:pt x="10251" y="121464"/>
                    <a:pt x="4393" y="115607"/>
                  </a:cubicBezTo>
                  <a:cubicBezTo>
                    <a:pt x="-1464" y="109749"/>
                    <a:pt x="-1464" y="100251"/>
                    <a:pt x="4393" y="94394"/>
                  </a:cubicBezTo>
                  <a:lnTo>
                    <a:pt x="94394" y="4393"/>
                  </a:lnTo>
                  <a:cubicBezTo>
                    <a:pt x="100073" y="-1285"/>
                    <a:pt x="109217" y="-1484"/>
                    <a:pt x="115136" y="3943"/>
                  </a:cubicBezTo>
                  <a:lnTo>
                    <a:pt x="205135" y="86442"/>
                  </a:lnTo>
                  <a:cubicBezTo>
                    <a:pt x="211242" y="92040"/>
                    <a:pt x="211655" y="101529"/>
                    <a:pt x="206058" y="107636"/>
                  </a:cubicBezTo>
                  <a:cubicBezTo>
                    <a:pt x="200460" y="113742"/>
                    <a:pt x="190971" y="114155"/>
                    <a:pt x="184865" y="108558"/>
                  </a:cubicBezTo>
                  <a:lnTo>
                    <a:pt x="105452" y="35762"/>
                  </a:lnTo>
                  <a:lnTo>
                    <a:pt x="25607" y="11560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50" name="Рисунок 310">
            <a:extLst>
              <a:ext uri="{FF2B5EF4-FFF2-40B4-BE49-F238E27FC236}">
                <a16:creationId xmlns:a16="http://schemas.microsoft.com/office/drawing/2014/main" id="{B210BFAC-2FE4-AC46-ACC3-A7236E1A0B8C}"/>
              </a:ext>
            </a:extLst>
          </p:cNvPr>
          <p:cNvGrpSpPr/>
          <p:nvPr/>
        </p:nvGrpSpPr>
        <p:grpSpPr>
          <a:xfrm>
            <a:off x="9723467" y="2442261"/>
            <a:ext cx="360000" cy="360000"/>
            <a:chOff x="9756920" y="2758983"/>
            <a:chExt cx="360000" cy="360000"/>
          </a:xfrm>
        </p:grpSpPr>
        <p:sp>
          <p:nvSpPr>
            <p:cNvPr id="1251" name="Полилиния 1250">
              <a:extLst>
                <a:ext uri="{FF2B5EF4-FFF2-40B4-BE49-F238E27FC236}">
                  <a16:creationId xmlns:a16="http://schemas.microsoft.com/office/drawing/2014/main" id="{9A8EB1A9-A4D5-9949-922F-F48CDBFB3349}"/>
                </a:ext>
              </a:extLst>
            </p:cNvPr>
            <p:cNvSpPr/>
            <p:nvPr/>
          </p:nvSpPr>
          <p:spPr>
            <a:xfrm>
              <a:off x="9756920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2" name="Полилиния 1251">
              <a:extLst>
                <a:ext uri="{FF2B5EF4-FFF2-40B4-BE49-F238E27FC236}">
                  <a16:creationId xmlns:a16="http://schemas.microsoft.com/office/drawing/2014/main" id="{16267286-23D9-3541-9C4D-7E966C6AA51D}"/>
                </a:ext>
              </a:extLst>
            </p:cNvPr>
            <p:cNvSpPr/>
            <p:nvPr/>
          </p:nvSpPr>
          <p:spPr>
            <a:xfrm>
              <a:off x="9816920" y="2818983"/>
              <a:ext cx="240000" cy="240000"/>
            </a:xfrm>
            <a:custGeom>
              <a:avLst/>
              <a:gdLst>
                <a:gd name="connsiteX0" fmla="*/ 66495 w 240000"/>
                <a:gd name="connsiteY0" fmla="*/ 47614 h 240000"/>
                <a:gd name="connsiteX1" fmla="*/ 81117 w 240000"/>
                <a:gd name="connsiteY1" fmla="*/ 57853 h 240000"/>
                <a:gd name="connsiteX2" fmla="*/ 83938 w 240000"/>
                <a:gd name="connsiteY2" fmla="*/ 61649 h 240000"/>
                <a:gd name="connsiteX3" fmla="*/ 79163 w 240000"/>
                <a:gd name="connsiteY3" fmla="*/ 71120 h 240000"/>
                <a:gd name="connsiteX4" fmla="*/ 28362 w 240000"/>
                <a:gd name="connsiteY4" fmla="*/ 87865 h 240000"/>
                <a:gd name="connsiteX5" fmla="*/ 26221 w 240000"/>
                <a:gd name="connsiteY5" fmla="*/ 88239 h 240000"/>
                <a:gd name="connsiteX6" fmla="*/ 18517 w 240000"/>
                <a:gd name="connsiteY6" fmla="*/ 80950 h 240000"/>
                <a:gd name="connsiteX7" fmla="*/ 17041 w 240000"/>
                <a:gd name="connsiteY7" fmla="*/ 27600 h 240000"/>
                <a:gd name="connsiteX8" fmla="*/ 18395 w 240000"/>
                <a:gd name="connsiteY8" fmla="*/ 23091 h 240000"/>
                <a:gd name="connsiteX9" fmla="*/ 28840 w 240000"/>
                <a:gd name="connsiteY9" fmla="*/ 21249 h 240000"/>
                <a:gd name="connsiteX10" fmla="*/ 40937 w 240000"/>
                <a:gd name="connsiteY10" fmla="*/ 29718 h 240000"/>
                <a:gd name="connsiteX11" fmla="*/ 120000 w 240000"/>
                <a:gd name="connsiteY11" fmla="*/ 0 h 240000"/>
                <a:gd name="connsiteX12" fmla="*/ 240000 w 240000"/>
                <a:gd name="connsiteY12" fmla="*/ 120000 h 240000"/>
                <a:gd name="connsiteX13" fmla="*/ 120000 w 240000"/>
                <a:gd name="connsiteY13" fmla="*/ 240000 h 240000"/>
                <a:gd name="connsiteX14" fmla="*/ 0 w 240000"/>
                <a:gd name="connsiteY14" fmla="*/ 120000 h 240000"/>
                <a:gd name="connsiteX15" fmla="*/ 30000 w 240000"/>
                <a:gd name="connsiteY15" fmla="*/ 120000 h 240000"/>
                <a:gd name="connsiteX16" fmla="*/ 120000 w 240000"/>
                <a:gd name="connsiteY16" fmla="*/ 210000 h 240000"/>
                <a:gd name="connsiteX17" fmla="*/ 210000 w 240000"/>
                <a:gd name="connsiteY17" fmla="*/ 120000 h 240000"/>
                <a:gd name="connsiteX18" fmla="*/ 120000 w 240000"/>
                <a:gd name="connsiteY18" fmla="*/ 30000 h 240000"/>
                <a:gd name="connsiteX19" fmla="*/ 66495 w 240000"/>
                <a:gd name="connsiteY19" fmla="*/ 47614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40000" h="240000">
                  <a:moveTo>
                    <a:pt x="66495" y="47614"/>
                  </a:moveTo>
                  <a:lnTo>
                    <a:pt x="81117" y="57853"/>
                  </a:lnTo>
                  <a:cubicBezTo>
                    <a:pt x="82443" y="58781"/>
                    <a:pt x="83432" y="60113"/>
                    <a:pt x="83938" y="61649"/>
                  </a:cubicBezTo>
                  <a:cubicBezTo>
                    <a:pt x="85235" y="65583"/>
                    <a:pt x="83097" y="69823"/>
                    <a:pt x="79163" y="71120"/>
                  </a:cubicBezTo>
                  <a:lnTo>
                    <a:pt x="28362" y="87865"/>
                  </a:lnTo>
                  <a:cubicBezTo>
                    <a:pt x="27670" y="88093"/>
                    <a:pt x="26949" y="88219"/>
                    <a:pt x="26221" y="88239"/>
                  </a:cubicBezTo>
                  <a:cubicBezTo>
                    <a:pt x="22081" y="88354"/>
                    <a:pt x="18631" y="85090"/>
                    <a:pt x="18517" y="80950"/>
                  </a:cubicBezTo>
                  <a:lnTo>
                    <a:pt x="17041" y="27600"/>
                  </a:lnTo>
                  <a:cubicBezTo>
                    <a:pt x="16997" y="25990"/>
                    <a:pt x="17472" y="24409"/>
                    <a:pt x="18395" y="23091"/>
                  </a:cubicBezTo>
                  <a:cubicBezTo>
                    <a:pt x="20771" y="19698"/>
                    <a:pt x="25447" y="18873"/>
                    <a:pt x="28840" y="21249"/>
                  </a:cubicBezTo>
                  <a:lnTo>
                    <a:pt x="40937" y="29718"/>
                  </a:lnTo>
                  <a:cubicBezTo>
                    <a:pt x="62482" y="10827"/>
                    <a:pt x="90360" y="0"/>
                    <a:pt x="120000" y="0"/>
                  </a:cubicBezTo>
                  <a:cubicBezTo>
                    <a:pt x="186275" y="0"/>
                    <a:pt x="240000" y="53726"/>
                    <a:pt x="240000" y="120000"/>
                  </a:cubicBezTo>
                  <a:cubicBezTo>
                    <a:pt x="240000" y="186275"/>
                    <a:pt x="186275" y="240000"/>
                    <a:pt x="120000" y="240000"/>
                  </a:cubicBezTo>
                  <a:cubicBezTo>
                    <a:pt x="53726" y="240000"/>
                    <a:pt x="0" y="186275"/>
                    <a:pt x="0" y="120000"/>
                  </a:cubicBezTo>
                  <a:lnTo>
                    <a:pt x="30000" y="120000"/>
                  </a:lnTo>
                  <a:cubicBezTo>
                    <a:pt x="30000" y="169706"/>
                    <a:pt x="70294" y="210000"/>
                    <a:pt x="120000" y="210000"/>
                  </a:cubicBezTo>
                  <a:cubicBezTo>
                    <a:pt x="169706" y="210000"/>
                    <a:pt x="210000" y="169706"/>
                    <a:pt x="210000" y="120000"/>
                  </a:cubicBezTo>
                  <a:cubicBezTo>
                    <a:pt x="210000" y="70294"/>
                    <a:pt x="169706" y="30000"/>
                    <a:pt x="120000" y="30000"/>
                  </a:cubicBezTo>
                  <a:cubicBezTo>
                    <a:pt x="100328" y="30000"/>
                    <a:pt x="81715" y="36342"/>
                    <a:pt x="66495" y="47614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53" name="Рисунок 311">
            <a:extLst>
              <a:ext uri="{FF2B5EF4-FFF2-40B4-BE49-F238E27FC236}">
                <a16:creationId xmlns:a16="http://schemas.microsoft.com/office/drawing/2014/main" id="{894A4107-3530-4E45-8EF6-96EEDFA12BCD}"/>
              </a:ext>
            </a:extLst>
          </p:cNvPr>
          <p:cNvGrpSpPr/>
          <p:nvPr/>
        </p:nvGrpSpPr>
        <p:grpSpPr>
          <a:xfrm>
            <a:off x="1417004" y="2442261"/>
            <a:ext cx="360000" cy="360000"/>
            <a:chOff x="1450457" y="2758983"/>
            <a:chExt cx="360000" cy="360000"/>
          </a:xfrm>
        </p:grpSpPr>
        <p:sp>
          <p:nvSpPr>
            <p:cNvPr id="1254" name="Полилиния 1253">
              <a:extLst>
                <a:ext uri="{FF2B5EF4-FFF2-40B4-BE49-F238E27FC236}">
                  <a16:creationId xmlns:a16="http://schemas.microsoft.com/office/drawing/2014/main" id="{A4901146-CDFD-5C46-9C82-7FDCCF34CB6C}"/>
                </a:ext>
              </a:extLst>
            </p:cNvPr>
            <p:cNvSpPr/>
            <p:nvPr/>
          </p:nvSpPr>
          <p:spPr>
            <a:xfrm>
              <a:off x="1450457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5" name="Скругленный прямоугольник 1254">
              <a:extLst>
                <a:ext uri="{FF2B5EF4-FFF2-40B4-BE49-F238E27FC236}">
                  <a16:creationId xmlns:a16="http://schemas.microsoft.com/office/drawing/2014/main" id="{13CC3D5D-0C30-614A-A9A8-B2072BD25035}"/>
                </a:ext>
              </a:extLst>
            </p:cNvPr>
            <p:cNvSpPr/>
            <p:nvPr/>
          </p:nvSpPr>
          <p:spPr>
            <a:xfrm rot="-10800000">
              <a:off x="1525457" y="2833983"/>
              <a:ext cx="30000" cy="18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6" name="Полилиния 1255">
              <a:extLst>
                <a:ext uri="{FF2B5EF4-FFF2-40B4-BE49-F238E27FC236}">
                  <a16:creationId xmlns:a16="http://schemas.microsoft.com/office/drawing/2014/main" id="{ABB1B6E6-4B66-054B-B369-7A87154FE36D}"/>
                </a:ext>
              </a:extLst>
            </p:cNvPr>
            <p:cNvSpPr/>
            <p:nvPr/>
          </p:nvSpPr>
          <p:spPr>
            <a:xfrm>
              <a:off x="1480457" y="2968983"/>
              <a:ext cx="119999" cy="74999"/>
            </a:xfrm>
            <a:custGeom>
              <a:avLst/>
              <a:gdLst>
                <a:gd name="connsiteX0" fmla="*/ 94393 w 119999"/>
                <a:gd name="connsiteY0" fmla="*/ 4393 h 74999"/>
                <a:gd name="connsiteX1" fmla="*/ 115607 w 119999"/>
                <a:gd name="connsiteY1" fmla="*/ 4393 h 74999"/>
                <a:gd name="connsiteX2" fmla="*/ 115607 w 119999"/>
                <a:gd name="connsiteY2" fmla="*/ 25606 h 74999"/>
                <a:gd name="connsiteX3" fmla="*/ 70607 w 119999"/>
                <a:gd name="connsiteY3" fmla="*/ 70606 h 74999"/>
                <a:gd name="connsiteX4" fmla="*/ 49393 w 119999"/>
                <a:gd name="connsiteY4" fmla="*/ 70606 h 74999"/>
                <a:gd name="connsiteX5" fmla="*/ 4393 w 119999"/>
                <a:gd name="connsiteY5" fmla="*/ 25606 h 74999"/>
                <a:gd name="connsiteX6" fmla="*/ 4393 w 119999"/>
                <a:gd name="connsiteY6" fmla="*/ 4393 h 74999"/>
                <a:gd name="connsiteX7" fmla="*/ 25607 w 119999"/>
                <a:gd name="connsiteY7" fmla="*/ 4393 h 74999"/>
                <a:gd name="connsiteX8" fmla="*/ 60000 w 119999"/>
                <a:gd name="connsiteY8" fmla="*/ 38787 h 74999"/>
                <a:gd name="connsiteX9" fmla="*/ 94393 w 119999"/>
                <a:gd name="connsiteY9" fmla="*/ 4393 h 7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74999">
                  <a:moveTo>
                    <a:pt x="94393" y="4393"/>
                  </a:moveTo>
                  <a:cubicBezTo>
                    <a:pt x="100251" y="-1464"/>
                    <a:pt x="109749" y="-1464"/>
                    <a:pt x="115607" y="4393"/>
                  </a:cubicBezTo>
                  <a:cubicBezTo>
                    <a:pt x="121464" y="10251"/>
                    <a:pt x="121464" y="19749"/>
                    <a:pt x="115607" y="25606"/>
                  </a:cubicBezTo>
                  <a:lnTo>
                    <a:pt x="70607" y="70606"/>
                  </a:lnTo>
                  <a:cubicBezTo>
                    <a:pt x="64749" y="76464"/>
                    <a:pt x="55251" y="76464"/>
                    <a:pt x="49393" y="70606"/>
                  </a:cubicBezTo>
                  <a:lnTo>
                    <a:pt x="4393" y="25606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7" y="4393"/>
                  </a:cubicBezTo>
                  <a:lnTo>
                    <a:pt x="60000" y="38787"/>
                  </a:lnTo>
                  <a:lnTo>
                    <a:pt x="94393" y="439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7" name="Скругленный прямоугольник 1256">
              <a:extLst>
                <a:ext uri="{FF2B5EF4-FFF2-40B4-BE49-F238E27FC236}">
                  <a16:creationId xmlns:a16="http://schemas.microsoft.com/office/drawing/2014/main" id="{7E80FD4C-0880-4C42-B369-6274A14701DA}"/>
                </a:ext>
              </a:extLst>
            </p:cNvPr>
            <p:cNvSpPr/>
            <p:nvPr/>
          </p:nvSpPr>
          <p:spPr>
            <a:xfrm rot="10800000" flipV="1">
              <a:off x="1705457" y="2863983"/>
              <a:ext cx="30000" cy="18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8" name="Полилиния 1257">
              <a:extLst>
                <a:ext uri="{FF2B5EF4-FFF2-40B4-BE49-F238E27FC236}">
                  <a16:creationId xmlns:a16="http://schemas.microsoft.com/office/drawing/2014/main" id="{27290741-10D2-D54D-9139-0F55D4FE2F6B}"/>
                </a:ext>
              </a:extLst>
            </p:cNvPr>
            <p:cNvSpPr/>
            <p:nvPr/>
          </p:nvSpPr>
          <p:spPr>
            <a:xfrm flipV="1">
              <a:off x="1660457" y="2833983"/>
              <a:ext cx="119999" cy="74999"/>
            </a:xfrm>
            <a:custGeom>
              <a:avLst/>
              <a:gdLst>
                <a:gd name="connsiteX0" fmla="*/ 94393 w 119999"/>
                <a:gd name="connsiteY0" fmla="*/ 4393 h 74999"/>
                <a:gd name="connsiteX1" fmla="*/ 115606 w 119999"/>
                <a:gd name="connsiteY1" fmla="*/ 4393 h 74999"/>
                <a:gd name="connsiteX2" fmla="*/ 115606 w 119999"/>
                <a:gd name="connsiteY2" fmla="*/ 25607 h 74999"/>
                <a:gd name="connsiteX3" fmla="*/ 70606 w 119999"/>
                <a:gd name="connsiteY3" fmla="*/ 70607 h 74999"/>
                <a:gd name="connsiteX4" fmla="*/ 49393 w 119999"/>
                <a:gd name="connsiteY4" fmla="*/ 70607 h 74999"/>
                <a:gd name="connsiteX5" fmla="*/ 4393 w 119999"/>
                <a:gd name="connsiteY5" fmla="*/ 25607 h 74999"/>
                <a:gd name="connsiteX6" fmla="*/ 4393 w 119999"/>
                <a:gd name="connsiteY6" fmla="*/ 4393 h 74999"/>
                <a:gd name="connsiteX7" fmla="*/ 25606 w 119999"/>
                <a:gd name="connsiteY7" fmla="*/ 4393 h 74999"/>
                <a:gd name="connsiteX8" fmla="*/ 60000 w 119999"/>
                <a:gd name="connsiteY8" fmla="*/ 38787 h 74999"/>
                <a:gd name="connsiteX9" fmla="*/ 94393 w 119999"/>
                <a:gd name="connsiteY9" fmla="*/ 4393 h 7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999" h="74999">
                  <a:moveTo>
                    <a:pt x="94393" y="4393"/>
                  </a:moveTo>
                  <a:cubicBezTo>
                    <a:pt x="100251" y="-1464"/>
                    <a:pt x="109749" y="-1464"/>
                    <a:pt x="115606" y="4393"/>
                  </a:cubicBezTo>
                  <a:cubicBezTo>
                    <a:pt x="121464" y="10251"/>
                    <a:pt x="121464" y="19749"/>
                    <a:pt x="115606" y="25607"/>
                  </a:cubicBezTo>
                  <a:lnTo>
                    <a:pt x="70606" y="70607"/>
                  </a:lnTo>
                  <a:cubicBezTo>
                    <a:pt x="64749" y="76464"/>
                    <a:pt x="55251" y="76464"/>
                    <a:pt x="49393" y="70607"/>
                  </a:cubicBezTo>
                  <a:lnTo>
                    <a:pt x="4393" y="25607"/>
                  </a:ln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6" y="4393"/>
                  </a:cubicBezTo>
                  <a:lnTo>
                    <a:pt x="60000" y="38787"/>
                  </a:lnTo>
                  <a:lnTo>
                    <a:pt x="94393" y="439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59" name="Рисунок 312">
            <a:extLst>
              <a:ext uri="{FF2B5EF4-FFF2-40B4-BE49-F238E27FC236}">
                <a16:creationId xmlns:a16="http://schemas.microsoft.com/office/drawing/2014/main" id="{9FD2EB9A-B98F-5A42-88FA-7BC38B0FF749}"/>
              </a:ext>
            </a:extLst>
          </p:cNvPr>
          <p:cNvGrpSpPr/>
          <p:nvPr/>
        </p:nvGrpSpPr>
        <p:grpSpPr>
          <a:xfrm>
            <a:off x="8213201" y="2442261"/>
            <a:ext cx="360000" cy="360000"/>
            <a:chOff x="8246654" y="2758983"/>
            <a:chExt cx="360000" cy="360000"/>
          </a:xfrm>
        </p:grpSpPr>
        <p:sp>
          <p:nvSpPr>
            <p:cNvPr id="1260" name="Полилиния 1259">
              <a:extLst>
                <a:ext uri="{FF2B5EF4-FFF2-40B4-BE49-F238E27FC236}">
                  <a16:creationId xmlns:a16="http://schemas.microsoft.com/office/drawing/2014/main" id="{ABF81FA1-7978-DF45-BC54-506343CCA07E}"/>
                </a:ext>
              </a:extLst>
            </p:cNvPr>
            <p:cNvSpPr/>
            <p:nvPr/>
          </p:nvSpPr>
          <p:spPr>
            <a:xfrm>
              <a:off x="8246654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1" name="Скругленный прямоугольник 1260">
              <a:extLst>
                <a:ext uri="{FF2B5EF4-FFF2-40B4-BE49-F238E27FC236}">
                  <a16:creationId xmlns:a16="http://schemas.microsoft.com/office/drawing/2014/main" id="{22D6C4A6-D3B7-D740-8501-CE1D0CE1F89F}"/>
                </a:ext>
              </a:extLst>
            </p:cNvPr>
            <p:cNvSpPr/>
            <p:nvPr/>
          </p:nvSpPr>
          <p:spPr>
            <a:xfrm rot="-2700000">
              <a:off x="8416957" y="2846785"/>
              <a:ext cx="30000" cy="21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262" name="Полилиния 1261">
              <a:extLst>
                <a:ext uri="{FF2B5EF4-FFF2-40B4-BE49-F238E27FC236}">
                  <a16:creationId xmlns:a16="http://schemas.microsoft.com/office/drawing/2014/main" id="{49E14620-8E79-0F40-B934-CADA6471F38E}"/>
                </a:ext>
              </a:extLst>
            </p:cNvPr>
            <p:cNvSpPr/>
            <p:nvPr/>
          </p:nvSpPr>
          <p:spPr>
            <a:xfrm>
              <a:off x="8342711" y="2857236"/>
              <a:ext cx="151976" cy="162582"/>
            </a:xfrm>
            <a:custGeom>
              <a:avLst/>
              <a:gdLst>
                <a:gd name="connsiteX0" fmla="*/ 30000 w 151976"/>
                <a:gd name="connsiteY0" fmla="*/ 147583 h 162582"/>
                <a:gd name="connsiteX1" fmla="*/ 15000 w 151976"/>
                <a:gd name="connsiteY1" fmla="*/ 162583 h 162582"/>
                <a:gd name="connsiteX2" fmla="*/ 0 w 151976"/>
                <a:gd name="connsiteY2" fmla="*/ 147583 h 162582"/>
                <a:gd name="connsiteX3" fmla="*/ 0 w 151976"/>
                <a:gd name="connsiteY3" fmla="*/ 20304 h 162582"/>
                <a:gd name="connsiteX4" fmla="*/ 14348 w 151976"/>
                <a:gd name="connsiteY4" fmla="*/ 5318 h 162582"/>
                <a:gd name="connsiteX5" fmla="*/ 136324 w 151976"/>
                <a:gd name="connsiteY5" fmla="*/ 14 h 162582"/>
                <a:gd name="connsiteX6" fmla="*/ 151962 w 151976"/>
                <a:gd name="connsiteY6" fmla="*/ 14349 h 162582"/>
                <a:gd name="connsiteX7" fmla="*/ 137628 w 151976"/>
                <a:gd name="connsiteY7" fmla="*/ 29986 h 162582"/>
                <a:gd name="connsiteX8" fmla="*/ 30000 w 151976"/>
                <a:gd name="connsiteY8" fmla="*/ 34665 h 162582"/>
                <a:gd name="connsiteX9" fmla="*/ 30000 w 151976"/>
                <a:gd name="connsiteY9" fmla="*/ 147583 h 162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976" h="162582">
                  <a:moveTo>
                    <a:pt x="30000" y="147583"/>
                  </a:moveTo>
                  <a:cubicBezTo>
                    <a:pt x="30000" y="155867"/>
                    <a:pt x="23284" y="162583"/>
                    <a:pt x="15000" y="162583"/>
                  </a:cubicBezTo>
                  <a:cubicBezTo>
                    <a:pt x="6716" y="162583"/>
                    <a:pt x="0" y="155867"/>
                    <a:pt x="0" y="147583"/>
                  </a:cubicBezTo>
                  <a:lnTo>
                    <a:pt x="0" y="20304"/>
                  </a:lnTo>
                  <a:cubicBezTo>
                    <a:pt x="0" y="12273"/>
                    <a:pt x="6325" y="5667"/>
                    <a:pt x="14348" y="5318"/>
                  </a:cubicBezTo>
                  <a:lnTo>
                    <a:pt x="136324" y="14"/>
                  </a:lnTo>
                  <a:cubicBezTo>
                    <a:pt x="144601" y="-345"/>
                    <a:pt x="151602" y="6072"/>
                    <a:pt x="151962" y="14349"/>
                  </a:cubicBezTo>
                  <a:cubicBezTo>
                    <a:pt x="152322" y="22625"/>
                    <a:pt x="145903" y="29626"/>
                    <a:pt x="137628" y="29986"/>
                  </a:cubicBezTo>
                  <a:lnTo>
                    <a:pt x="30000" y="34665"/>
                  </a:lnTo>
                  <a:lnTo>
                    <a:pt x="30000" y="14758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63" name="Рисунок 313">
            <a:extLst>
              <a:ext uri="{FF2B5EF4-FFF2-40B4-BE49-F238E27FC236}">
                <a16:creationId xmlns:a16="http://schemas.microsoft.com/office/drawing/2014/main" id="{F8FE61DF-8040-5642-9FDB-9839E67E3250}"/>
              </a:ext>
            </a:extLst>
          </p:cNvPr>
          <p:cNvGrpSpPr/>
          <p:nvPr/>
        </p:nvGrpSpPr>
        <p:grpSpPr>
          <a:xfrm>
            <a:off x="2927270" y="2442261"/>
            <a:ext cx="360000" cy="360000"/>
            <a:chOff x="2960723" y="2758983"/>
            <a:chExt cx="360000" cy="360000"/>
          </a:xfrm>
        </p:grpSpPr>
        <p:sp>
          <p:nvSpPr>
            <p:cNvPr id="1264" name="Полилиния 1263">
              <a:extLst>
                <a:ext uri="{FF2B5EF4-FFF2-40B4-BE49-F238E27FC236}">
                  <a16:creationId xmlns:a16="http://schemas.microsoft.com/office/drawing/2014/main" id="{524130A1-44A3-C144-A021-E7BFACE9C87F}"/>
                </a:ext>
              </a:extLst>
            </p:cNvPr>
            <p:cNvSpPr/>
            <p:nvPr/>
          </p:nvSpPr>
          <p:spPr>
            <a:xfrm>
              <a:off x="2960723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5" name="Полилиния 1264">
              <a:extLst>
                <a:ext uri="{FF2B5EF4-FFF2-40B4-BE49-F238E27FC236}">
                  <a16:creationId xmlns:a16="http://schemas.microsoft.com/office/drawing/2014/main" id="{6A96D757-3375-AF4E-9452-F65A6A051FC1}"/>
                </a:ext>
              </a:extLst>
            </p:cNvPr>
            <p:cNvSpPr/>
            <p:nvPr/>
          </p:nvSpPr>
          <p:spPr>
            <a:xfrm>
              <a:off x="2990723" y="2938983"/>
              <a:ext cx="300000" cy="150000"/>
            </a:xfrm>
            <a:custGeom>
              <a:avLst/>
              <a:gdLst>
                <a:gd name="connsiteX0" fmla="*/ 0 w 300000"/>
                <a:gd name="connsiteY0" fmla="*/ 15000 h 150000"/>
                <a:gd name="connsiteX1" fmla="*/ 15000 w 300000"/>
                <a:gd name="connsiteY1" fmla="*/ 0 h 150000"/>
                <a:gd name="connsiteX2" fmla="*/ 30000 w 300000"/>
                <a:gd name="connsiteY2" fmla="*/ 15000 h 150000"/>
                <a:gd name="connsiteX3" fmla="*/ 30000 w 300000"/>
                <a:gd name="connsiteY3" fmla="*/ 90000 h 150000"/>
                <a:gd name="connsiteX4" fmla="*/ 60000 w 300000"/>
                <a:gd name="connsiteY4" fmla="*/ 120000 h 150000"/>
                <a:gd name="connsiteX5" fmla="*/ 240000 w 300000"/>
                <a:gd name="connsiteY5" fmla="*/ 120000 h 150000"/>
                <a:gd name="connsiteX6" fmla="*/ 270000 w 300000"/>
                <a:gd name="connsiteY6" fmla="*/ 90000 h 150000"/>
                <a:gd name="connsiteX7" fmla="*/ 270000 w 300000"/>
                <a:gd name="connsiteY7" fmla="*/ 15000 h 150000"/>
                <a:gd name="connsiteX8" fmla="*/ 285000 w 300000"/>
                <a:gd name="connsiteY8" fmla="*/ 0 h 150000"/>
                <a:gd name="connsiteX9" fmla="*/ 300000 w 300000"/>
                <a:gd name="connsiteY9" fmla="*/ 15000 h 150000"/>
                <a:gd name="connsiteX10" fmla="*/ 300000 w 300000"/>
                <a:gd name="connsiteY10" fmla="*/ 90000 h 150000"/>
                <a:gd name="connsiteX11" fmla="*/ 240000 w 300000"/>
                <a:gd name="connsiteY11" fmla="*/ 150000 h 150000"/>
                <a:gd name="connsiteX12" fmla="*/ 60000 w 300000"/>
                <a:gd name="connsiteY12" fmla="*/ 150000 h 150000"/>
                <a:gd name="connsiteX13" fmla="*/ 0 w 300000"/>
                <a:gd name="connsiteY13" fmla="*/ 90000 h 150000"/>
                <a:gd name="connsiteX14" fmla="*/ 0 w 300000"/>
                <a:gd name="connsiteY14" fmla="*/ 1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0000" h="150000">
                  <a:moveTo>
                    <a:pt x="0" y="15000"/>
                  </a:moveTo>
                  <a:cubicBezTo>
                    <a:pt x="0" y="7500"/>
                    <a:pt x="7500" y="0"/>
                    <a:pt x="15000" y="0"/>
                  </a:cubicBezTo>
                  <a:cubicBezTo>
                    <a:pt x="22500" y="0"/>
                    <a:pt x="30000" y="7500"/>
                    <a:pt x="30000" y="15000"/>
                  </a:cubicBezTo>
                  <a:cubicBezTo>
                    <a:pt x="30000" y="19999"/>
                    <a:pt x="30000" y="45000"/>
                    <a:pt x="30000" y="90000"/>
                  </a:cubicBezTo>
                  <a:cubicBezTo>
                    <a:pt x="30000" y="106569"/>
                    <a:pt x="43431" y="120000"/>
                    <a:pt x="60000" y="120000"/>
                  </a:cubicBezTo>
                  <a:lnTo>
                    <a:pt x="240000" y="120000"/>
                  </a:lnTo>
                  <a:cubicBezTo>
                    <a:pt x="256569" y="120000"/>
                    <a:pt x="270000" y="106569"/>
                    <a:pt x="270000" y="90000"/>
                  </a:cubicBezTo>
                  <a:lnTo>
                    <a:pt x="270000" y="15000"/>
                  </a:lnTo>
                  <a:cubicBezTo>
                    <a:pt x="270000" y="6715"/>
                    <a:pt x="276716" y="0"/>
                    <a:pt x="285000" y="0"/>
                  </a:cubicBezTo>
                  <a:cubicBezTo>
                    <a:pt x="293285" y="0"/>
                    <a:pt x="300000" y="6715"/>
                    <a:pt x="300000" y="15000"/>
                  </a:cubicBezTo>
                  <a:lnTo>
                    <a:pt x="300000" y="90000"/>
                  </a:lnTo>
                  <a:cubicBezTo>
                    <a:pt x="300000" y="123137"/>
                    <a:pt x="273137" y="150000"/>
                    <a:pt x="240000" y="150000"/>
                  </a:cubicBezTo>
                  <a:lnTo>
                    <a:pt x="60000" y="150000"/>
                  </a:lnTo>
                  <a:cubicBezTo>
                    <a:pt x="26863" y="150000"/>
                    <a:pt x="0" y="123137"/>
                    <a:pt x="0" y="90000"/>
                  </a:cubicBezTo>
                  <a:cubicBezTo>
                    <a:pt x="0" y="45000"/>
                    <a:pt x="0" y="19999"/>
                    <a:pt x="0" y="1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6" name="Скругленный прямоугольник 1265">
              <a:extLst>
                <a:ext uri="{FF2B5EF4-FFF2-40B4-BE49-F238E27FC236}">
                  <a16:creationId xmlns:a16="http://schemas.microsoft.com/office/drawing/2014/main" id="{E1CAFBEB-63E4-984E-9FD5-C59D836557B6}"/>
                </a:ext>
              </a:extLst>
            </p:cNvPr>
            <p:cNvSpPr/>
            <p:nvPr/>
          </p:nvSpPr>
          <p:spPr>
            <a:xfrm>
              <a:off x="3125723" y="2788983"/>
              <a:ext cx="30000" cy="21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7" name="Полилиния 1266">
              <a:extLst>
                <a:ext uri="{FF2B5EF4-FFF2-40B4-BE49-F238E27FC236}">
                  <a16:creationId xmlns:a16="http://schemas.microsoft.com/office/drawing/2014/main" id="{3444897D-3001-9B44-BC82-3F51AD286B55}"/>
                </a:ext>
              </a:extLst>
            </p:cNvPr>
            <p:cNvSpPr/>
            <p:nvPr/>
          </p:nvSpPr>
          <p:spPr>
            <a:xfrm>
              <a:off x="3050723" y="2773982"/>
              <a:ext cx="180000" cy="105000"/>
            </a:xfrm>
            <a:custGeom>
              <a:avLst/>
              <a:gdLst>
                <a:gd name="connsiteX0" fmla="*/ 90543 w 180000"/>
                <a:gd name="connsiteY0" fmla="*/ 35670 h 105000"/>
                <a:gd name="connsiteX1" fmla="*/ 25607 w 180000"/>
                <a:gd name="connsiteY1" fmla="*/ 100607 h 105000"/>
                <a:gd name="connsiteX2" fmla="*/ 4393 w 180000"/>
                <a:gd name="connsiteY2" fmla="*/ 100607 h 105000"/>
                <a:gd name="connsiteX3" fmla="*/ 4393 w 180000"/>
                <a:gd name="connsiteY3" fmla="*/ 79393 h 105000"/>
                <a:gd name="connsiteX4" fmla="*/ 79394 w 180000"/>
                <a:gd name="connsiteY4" fmla="*/ 4393 h 105000"/>
                <a:gd name="connsiteX5" fmla="*/ 100035 w 180000"/>
                <a:gd name="connsiteY5" fmla="*/ 3851 h 105000"/>
                <a:gd name="connsiteX6" fmla="*/ 175035 w 180000"/>
                <a:gd name="connsiteY6" fmla="*/ 71351 h 105000"/>
                <a:gd name="connsiteX7" fmla="*/ 176150 w 180000"/>
                <a:gd name="connsiteY7" fmla="*/ 92534 h 105000"/>
                <a:gd name="connsiteX8" fmla="*/ 154965 w 180000"/>
                <a:gd name="connsiteY8" fmla="*/ 93649 h 105000"/>
                <a:gd name="connsiteX9" fmla="*/ 90543 w 180000"/>
                <a:gd name="connsiteY9" fmla="*/ 3567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000" h="105000">
                  <a:moveTo>
                    <a:pt x="90543" y="35670"/>
                  </a:moveTo>
                  <a:lnTo>
                    <a:pt x="25607" y="100607"/>
                  </a:lnTo>
                  <a:cubicBezTo>
                    <a:pt x="19749" y="106464"/>
                    <a:pt x="10251" y="106464"/>
                    <a:pt x="4393" y="100607"/>
                  </a:cubicBezTo>
                  <a:cubicBezTo>
                    <a:pt x="-1464" y="94749"/>
                    <a:pt x="-1464" y="85251"/>
                    <a:pt x="4393" y="79393"/>
                  </a:cubicBezTo>
                  <a:lnTo>
                    <a:pt x="79394" y="4393"/>
                  </a:lnTo>
                  <a:cubicBezTo>
                    <a:pt x="85035" y="-1248"/>
                    <a:pt x="94104" y="-1486"/>
                    <a:pt x="100035" y="3851"/>
                  </a:cubicBezTo>
                  <a:lnTo>
                    <a:pt x="175035" y="71351"/>
                  </a:lnTo>
                  <a:cubicBezTo>
                    <a:pt x="181193" y="76892"/>
                    <a:pt x="181692" y="86377"/>
                    <a:pt x="176150" y="92534"/>
                  </a:cubicBezTo>
                  <a:cubicBezTo>
                    <a:pt x="170607" y="98692"/>
                    <a:pt x="161123" y="99191"/>
                    <a:pt x="154965" y="93649"/>
                  </a:cubicBezTo>
                  <a:lnTo>
                    <a:pt x="90543" y="3567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68" name="Рисунок 314">
            <a:extLst>
              <a:ext uri="{FF2B5EF4-FFF2-40B4-BE49-F238E27FC236}">
                <a16:creationId xmlns:a16="http://schemas.microsoft.com/office/drawing/2014/main" id="{6E6DB6F3-1514-BC4D-AEDD-47CAF7A740B8}"/>
              </a:ext>
            </a:extLst>
          </p:cNvPr>
          <p:cNvGrpSpPr/>
          <p:nvPr/>
        </p:nvGrpSpPr>
        <p:grpSpPr>
          <a:xfrm>
            <a:off x="2172137" y="2442261"/>
            <a:ext cx="360000" cy="360000"/>
            <a:chOff x="2205590" y="2758983"/>
            <a:chExt cx="360000" cy="360000"/>
          </a:xfrm>
        </p:grpSpPr>
        <p:sp>
          <p:nvSpPr>
            <p:cNvPr id="1269" name="Полилиния 1268">
              <a:extLst>
                <a:ext uri="{FF2B5EF4-FFF2-40B4-BE49-F238E27FC236}">
                  <a16:creationId xmlns:a16="http://schemas.microsoft.com/office/drawing/2014/main" id="{43D6DCB2-E91B-6247-A4D6-E4ECD505B931}"/>
                </a:ext>
              </a:extLst>
            </p:cNvPr>
            <p:cNvSpPr/>
            <p:nvPr/>
          </p:nvSpPr>
          <p:spPr>
            <a:xfrm>
              <a:off x="2205590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0" name="Полилиния 1269">
              <a:extLst>
                <a:ext uri="{FF2B5EF4-FFF2-40B4-BE49-F238E27FC236}">
                  <a16:creationId xmlns:a16="http://schemas.microsoft.com/office/drawing/2014/main" id="{08606D56-1EE1-7D4A-A6D8-322D4B5C12C4}"/>
                </a:ext>
              </a:extLst>
            </p:cNvPr>
            <p:cNvSpPr/>
            <p:nvPr/>
          </p:nvSpPr>
          <p:spPr>
            <a:xfrm>
              <a:off x="2265590" y="2788983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1" name="Полилиния 1270">
              <a:extLst>
                <a:ext uri="{FF2B5EF4-FFF2-40B4-BE49-F238E27FC236}">
                  <a16:creationId xmlns:a16="http://schemas.microsoft.com/office/drawing/2014/main" id="{3A22C492-65F0-7046-8185-764428CAF4B2}"/>
                </a:ext>
              </a:extLst>
            </p:cNvPr>
            <p:cNvSpPr/>
            <p:nvPr/>
          </p:nvSpPr>
          <p:spPr>
            <a:xfrm>
              <a:off x="2332359" y="2898628"/>
              <a:ext cx="104043" cy="105199"/>
            </a:xfrm>
            <a:custGeom>
              <a:avLst/>
              <a:gdLst>
                <a:gd name="connsiteX0" fmla="*/ 7500 w 104043"/>
                <a:gd name="connsiteY0" fmla="*/ 67584 h 105199"/>
                <a:gd name="connsiteX1" fmla="*/ 36848 w 104043"/>
                <a:gd name="connsiteY1" fmla="*/ 67584 h 105199"/>
                <a:gd name="connsiteX2" fmla="*/ 36848 w 104043"/>
                <a:gd name="connsiteY2" fmla="*/ 97700 h 105199"/>
                <a:gd name="connsiteX3" fmla="*/ 44348 w 104043"/>
                <a:gd name="connsiteY3" fmla="*/ 105200 h 105199"/>
                <a:gd name="connsiteX4" fmla="*/ 59697 w 104043"/>
                <a:gd name="connsiteY4" fmla="*/ 105200 h 105199"/>
                <a:gd name="connsiteX5" fmla="*/ 67197 w 104043"/>
                <a:gd name="connsiteY5" fmla="*/ 97700 h 105199"/>
                <a:gd name="connsiteX6" fmla="*/ 67197 w 104043"/>
                <a:gd name="connsiteY6" fmla="*/ 67584 h 105199"/>
                <a:gd name="connsiteX7" fmla="*/ 96543 w 104043"/>
                <a:gd name="connsiteY7" fmla="*/ 67584 h 105199"/>
                <a:gd name="connsiteX8" fmla="*/ 104043 w 104043"/>
                <a:gd name="connsiteY8" fmla="*/ 60084 h 105199"/>
                <a:gd name="connsiteX9" fmla="*/ 102267 w 104043"/>
                <a:gd name="connsiteY9" fmla="*/ 55239 h 105199"/>
                <a:gd name="connsiteX10" fmla="*/ 57746 w 104043"/>
                <a:gd name="connsiteY10" fmla="*/ 2654 h 105199"/>
                <a:gd name="connsiteX11" fmla="*/ 47175 w 104043"/>
                <a:gd name="connsiteY11" fmla="*/ 1776 h 105199"/>
                <a:gd name="connsiteX12" fmla="*/ 46298 w 104043"/>
                <a:gd name="connsiteY12" fmla="*/ 2654 h 105199"/>
                <a:gd name="connsiteX13" fmla="*/ 1776 w 104043"/>
                <a:gd name="connsiteY13" fmla="*/ 55239 h 105199"/>
                <a:gd name="connsiteX14" fmla="*/ 2654 w 104043"/>
                <a:gd name="connsiteY14" fmla="*/ 65808 h 105199"/>
                <a:gd name="connsiteX15" fmla="*/ 7500 w 104043"/>
                <a:gd name="connsiteY15" fmla="*/ 67584 h 10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4043" h="105199">
                  <a:moveTo>
                    <a:pt x="7500" y="67584"/>
                  </a:moveTo>
                  <a:lnTo>
                    <a:pt x="36848" y="67584"/>
                  </a:lnTo>
                  <a:lnTo>
                    <a:pt x="36848" y="97700"/>
                  </a:lnTo>
                  <a:cubicBezTo>
                    <a:pt x="36848" y="101843"/>
                    <a:pt x="40205" y="105200"/>
                    <a:pt x="44348" y="105200"/>
                  </a:cubicBezTo>
                  <a:lnTo>
                    <a:pt x="59697" y="105200"/>
                  </a:lnTo>
                  <a:cubicBezTo>
                    <a:pt x="63839" y="105200"/>
                    <a:pt x="67197" y="101843"/>
                    <a:pt x="67197" y="97700"/>
                  </a:cubicBezTo>
                  <a:lnTo>
                    <a:pt x="67197" y="67584"/>
                  </a:lnTo>
                  <a:lnTo>
                    <a:pt x="96543" y="67584"/>
                  </a:lnTo>
                  <a:cubicBezTo>
                    <a:pt x="100686" y="67584"/>
                    <a:pt x="104043" y="64227"/>
                    <a:pt x="104043" y="60084"/>
                  </a:cubicBezTo>
                  <a:cubicBezTo>
                    <a:pt x="104043" y="58310"/>
                    <a:pt x="103415" y="56594"/>
                    <a:pt x="102267" y="55239"/>
                  </a:cubicBezTo>
                  <a:lnTo>
                    <a:pt x="57746" y="2654"/>
                  </a:lnTo>
                  <a:cubicBezTo>
                    <a:pt x="55070" y="-507"/>
                    <a:pt x="50337" y="-900"/>
                    <a:pt x="47175" y="1776"/>
                  </a:cubicBezTo>
                  <a:cubicBezTo>
                    <a:pt x="46859" y="2044"/>
                    <a:pt x="46566" y="2338"/>
                    <a:pt x="46298" y="2654"/>
                  </a:cubicBezTo>
                  <a:lnTo>
                    <a:pt x="1776" y="55239"/>
                  </a:lnTo>
                  <a:cubicBezTo>
                    <a:pt x="-900" y="58400"/>
                    <a:pt x="-507" y="63132"/>
                    <a:pt x="2654" y="65808"/>
                  </a:cubicBezTo>
                  <a:cubicBezTo>
                    <a:pt x="4008" y="66956"/>
                    <a:pt x="5725" y="67584"/>
                    <a:pt x="7500" y="67584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272" name="Рисунок 315">
            <a:extLst>
              <a:ext uri="{FF2B5EF4-FFF2-40B4-BE49-F238E27FC236}">
                <a16:creationId xmlns:a16="http://schemas.microsoft.com/office/drawing/2014/main" id="{0F9D4458-C0B5-BC41-8BEB-74490FC24893}"/>
              </a:ext>
            </a:extLst>
          </p:cNvPr>
          <p:cNvGrpSpPr/>
          <p:nvPr/>
        </p:nvGrpSpPr>
        <p:grpSpPr>
          <a:xfrm>
            <a:off x="3682403" y="2442261"/>
            <a:ext cx="360000" cy="360000"/>
            <a:chOff x="3715856" y="2758983"/>
            <a:chExt cx="360000" cy="360000"/>
          </a:xfrm>
        </p:grpSpPr>
        <p:sp>
          <p:nvSpPr>
            <p:cNvPr id="1273" name="Полилиния 1272">
              <a:extLst>
                <a:ext uri="{FF2B5EF4-FFF2-40B4-BE49-F238E27FC236}">
                  <a16:creationId xmlns:a16="http://schemas.microsoft.com/office/drawing/2014/main" id="{271FAFEC-F78C-8844-9288-D01C8661926D}"/>
                </a:ext>
              </a:extLst>
            </p:cNvPr>
            <p:cNvSpPr/>
            <p:nvPr/>
          </p:nvSpPr>
          <p:spPr>
            <a:xfrm>
              <a:off x="3715856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4" name="Полилиния 1273">
              <a:extLst>
                <a:ext uri="{FF2B5EF4-FFF2-40B4-BE49-F238E27FC236}">
                  <a16:creationId xmlns:a16="http://schemas.microsoft.com/office/drawing/2014/main" id="{811971C0-6A59-654A-A0B6-9C67E9B5C466}"/>
                </a:ext>
              </a:extLst>
            </p:cNvPr>
            <p:cNvSpPr/>
            <p:nvPr/>
          </p:nvSpPr>
          <p:spPr>
            <a:xfrm>
              <a:off x="3745856" y="2818983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5" name="Полилиния 1274">
              <a:extLst>
                <a:ext uri="{FF2B5EF4-FFF2-40B4-BE49-F238E27FC236}">
                  <a16:creationId xmlns:a16="http://schemas.microsoft.com/office/drawing/2014/main" id="{E6813EA0-2543-2644-A52A-7606B211CDC8}"/>
                </a:ext>
              </a:extLst>
            </p:cNvPr>
            <p:cNvSpPr/>
            <p:nvPr/>
          </p:nvSpPr>
          <p:spPr>
            <a:xfrm>
              <a:off x="3836501" y="2908338"/>
              <a:ext cx="111209" cy="105644"/>
            </a:xfrm>
            <a:custGeom>
              <a:avLst/>
              <a:gdLst>
                <a:gd name="connsiteX0" fmla="*/ 7500 w 111209"/>
                <a:gd name="connsiteY0" fmla="*/ 68029 h 105644"/>
                <a:gd name="connsiteX1" fmla="*/ 39346 w 111209"/>
                <a:gd name="connsiteY1" fmla="*/ 68029 h 105644"/>
                <a:gd name="connsiteX2" fmla="*/ 39346 w 111209"/>
                <a:gd name="connsiteY2" fmla="*/ 98144 h 105644"/>
                <a:gd name="connsiteX3" fmla="*/ 46846 w 111209"/>
                <a:gd name="connsiteY3" fmla="*/ 105644 h 105644"/>
                <a:gd name="connsiteX4" fmla="*/ 64363 w 111209"/>
                <a:gd name="connsiteY4" fmla="*/ 105644 h 105644"/>
                <a:gd name="connsiteX5" fmla="*/ 71863 w 111209"/>
                <a:gd name="connsiteY5" fmla="*/ 98144 h 105644"/>
                <a:gd name="connsiteX6" fmla="*/ 71863 w 111209"/>
                <a:gd name="connsiteY6" fmla="*/ 68029 h 105644"/>
                <a:gd name="connsiteX7" fmla="*/ 103710 w 111209"/>
                <a:gd name="connsiteY7" fmla="*/ 68029 h 105644"/>
                <a:gd name="connsiteX8" fmla="*/ 111210 w 111209"/>
                <a:gd name="connsiteY8" fmla="*/ 60529 h 105644"/>
                <a:gd name="connsiteX9" fmla="*/ 109264 w 111209"/>
                <a:gd name="connsiteY9" fmla="*/ 55490 h 105644"/>
                <a:gd name="connsiteX10" fmla="*/ 61159 w 111209"/>
                <a:gd name="connsiteY10" fmla="*/ 2461 h 105644"/>
                <a:gd name="connsiteX11" fmla="*/ 50566 w 111209"/>
                <a:gd name="connsiteY11" fmla="*/ 1945 h 105644"/>
                <a:gd name="connsiteX12" fmla="*/ 50050 w 111209"/>
                <a:gd name="connsiteY12" fmla="*/ 2461 h 105644"/>
                <a:gd name="connsiteX13" fmla="*/ 1945 w 111209"/>
                <a:gd name="connsiteY13" fmla="*/ 55490 h 105644"/>
                <a:gd name="connsiteX14" fmla="*/ 2461 w 111209"/>
                <a:gd name="connsiteY14" fmla="*/ 66085 h 105644"/>
                <a:gd name="connsiteX15" fmla="*/ 7500 w 111209"/>
                <a:gd name="connsiteY15" fmla="*/ 68029 h 10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1209" h="105644">
                  <a:moveTo>
                    <a:pt x="7500" y="68029"/>
                  </a:moveTo>
                  <a:lnTo>
                    <a:pt x="39346" y="68029"/>
                  </a:lnTo>
                  <a:lnTo>
                    <a:pt x="39346" y="98144"/>
                  </a:lnTo>
                  <a:cubicBezTo>
                    <a:pt x="39346" y="102286"/>
                    <a:pt x="42705" y="105644"/>
                    <a:pt x="46846" y="105644"/>
                  </a:cubicBezTo>
                  <a:lnTo>
                    <a:pt x="64363" y="105644"/>
                  </a:lnTo>
                  <a:cubicBezTo>
                    <a:pt x="68506" y="105644"/>
                    <a:pt x="71863" y="102286"/>
                    <a:pt x="71863" y="98144"/>
                  </a:cubicBezTo>
                  <a:lnTo>
                    <a:pt x="71863" y="68029"/>
                  </a:lnTo>
                  <a:lnTo>
                    <a:pt x="103710" y="68029"/>
                  </a:lnTo>
                  <a:cubicBezTo>
                    <a:pt x="107851" y="68029"/>
                    <a:pt x="111210" y="64672"/>
                    <a:pt x="111210" y="60529"/>
                  </a:cubicBezTo>
                  <a:cubicBezTo>
                    <a:pt x="111210" y="58666"/>
                    <a:pt x="110517" y="56870"/>
                    <a:pt x="109264" y="55490"/>
                  </a:cubicBezTo>
                  <a:lnTo>
                    <a:pt x="61159" y="2461"/>
                  </a:lnTo>
                  <a:cubicBezTo>
                    <a:pt x="58377" y="-607"/>
                    <a:pt x="53634" y="-838"/>
                    <a:pt x="50566" y="1945"/>
                  </a:cubicBezTo>
                  <a:cubicBezTo>
                    <a:pt x="50386" y="2108"/>
                    <a:pt x="50214" y="2281"/>
                    <a:pt x="50050" y="2461"/>
                  </a:cubicBezTo>
                  <a:lnTo>
                    <a:pt x="1945" y="55490"/>
                  </a:lnTo>
                  <a:cubicBezTo>
                    <a:pt x="-838" y="58558"/>
                    <a:pt x="-607" y="63301"/>
                    <a:pt x="2461" y="66085"/>
                  </a:cubicBezTo>
                  <a:cubicBezTo>
                    <a:pt x="3841" y="67336"/>
                    <a:pt x="5637" y="68029"/>
                    <a:pt x="7500" y="68029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76" name="Рисунок 316">
            <a:extLst>
              <a:ext uri="{FF2B5EF4-FFF2-40B4-BE49-F238E27FC236}">
                <a16:creationId xmlns:a16="http://schemas.microsoft.com/office/drawing/2014/main" id="{3269E9E9-C7FB-E944-9036-BF6A69004E0D}"/>
              </a:ext>
            </a:extLst>
          </p:cNvPr>
          <p:cNvGrpSpPr/>
          <p:nvPr/>
        </p:nvGrpSpPr>
        <p:grpSpPr>
          <a:xfrm>
            <a:off x="661871" y="2442261"/>
            <a:ext cx="360000" cy="360000"/>
            <a:chOff x="695324" y="2758983"/>
            <a:chExt cx="360000" cy="360000"/>
          </a:xfrm>
        </p:grpSpPr>
        <p:sp>
          <p:nvSpPr>
            <p:cNvPr id="1277" name="Полилиния 1276">
              <a:extLst>
                <a:ext uri="{FF2B5EF4-FFF2-40B4-BE49-F238E27FC236}">
                  <a16:creationId xmlns:a16="http://schemas.microsoft.com/office/drawing/2014/main" id="{6F63C5CA-A27D-B448-9828-72AEE3284865}"/>
                </a:ext>
              </a:extLst>
            </p:cNvPr>
            <p:cNvSpPr/>
            <p:nvPr/>
          </p:nvSpPr>
          <p:spPr>
            <a:xfrm>
              <a:off x="695324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8" name="Скругленный прямоугольник 1277">
              <a:extLst>
                <a:ext uri="{FF2B5EF4-FFF2-40B4-BE49-F238E27FC236}">
                  <a16:creationId xmlns:a16="http://schemas.microsoft.com/office/drawing/2014/main" id="{BFA60A74-E372-3B42-919A-7F05EFDF3708}"/>
                </a:ext>
              </a:extLst>
            </p:cNvPr>
            <p:cNvSpPr/>
            <p:nvPr/>
          </p:nvSpPr>
          <p:spPr>
            <a:xfrm rot="2700000">
              <a:off x="855020" y="2846785"/>
              <a:ext cx="30000" cy="21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9" name="Полилиния 1278">
              <a:extLst>
                <a:ext uri="{FF2B5EF4-FFF2-40B4-BE49-F238E27FC236}">
                  <a16:creationId xmlns:a16="http://schemas.microsoft.com/office/drawing/2014/main" id="{A3E74DF8-221C-7447-9478-93E4851BA70B}"/>
                </a:ext>
              </a:extLst>
            </p:cNvPr>
            <p:cNvSpPr/>
            <p:nvPr/>
          </p:nvSpPr>
          <p:spPr>
            <a:xfrm>
              <a:off x="801987" y="2862540"/>
              <a:ext cx="162582" cy="151976"/>
            </a:xfrm>
            <a:custGeom>
              <a:avLst/>
              <a:gdLst>
                <a:gd name="connsiteX0" fmla="*/ 15000 w 162582"/>
                <a:gd name="connsiteY0" fmla="*/ 30000 h 151976"/>
                <a:gd name="connsiteX1" fmla="*/ 0 w 162582"/>
                <a:gd name="connsiteY1" fmla="*/ 15000 h 151976"/>
                <a:gd name="connsiteX2" fmla="*/ 15000 w 162582"/>
                <a:gd name="connsiteY2" fmla="*/ 0 h 151976"/>
                <a:gd name="connsiteX3" fmla="*/ 142279 w 162582"/>
                <a:gd name="connsiteY3" fmla="*/ 0 h 151976"/>
                <a:gd name="connsiteX4" fmla="*/ 157266 w 162582"/>
                <a:gd name="connsiteY4" fmla="*/ 14348 h 151976"/>
                <a:gd name="connsiteX5" fmla="*/ 162568 w 162582"/>
                <a:gd name="connsiteY5" fmla="*/ 136324 h 151976"/>
                <a:gd name="connsiteX6" fmla="*/ 148234 w 162582"/>
                <a:gd name="connsiteY6" fmla="*/ 151962 h 151976"/>
                <a:gd name="connsiteX7" fmla="*/ 132597 w 162582"/>
                <a:gd name="connsiteY7" fmla="*/ 137628 h 151976"/>
                <a:gd name="connsiteX8" fmla="*/ 127917 w 162582"/>
                <a:gd name="connsiteY8" fmla="*/ 30000 h 151976"/>
                <a:gd name="connsiteX9" fmla="*/ 15000 w 162582"/>
                <a:gd name="connsiteY9" fmla="*/ 30000 h 151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582" h="151976">
                  <a:moveTo>
                    <a:pt x="15000" y="30000"/>
                  </a:move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lnTo>
                    <a:pt x="142279" y="0"/>
                  </a:lnTo>
                  <a:cubicBezTo>
                    <a:pt x="150310" y="0"/>
                    <a:pt x="156916" y="6325"/>
                    <a:pt x="157266" y="14348"/>
                  </a:cubicBezTo>
                  <a:lnTo>
                    <a:pt x="162568" y="136324"/>
                  </a:lnTo>
                  <a:cubicBezTo>
                    <a:pt x="162928" y="144601"/>
                    <a:pt x="156510" y="151602"/>
                    <a:pt x="148234" y="151962"/>
                  </a:cubicBezTo>
                  <a:cubicBezTo>
                    <a:pt x="139957" y="152322"/>
                    <a:pt x="132957" y="145903"/>
                    <a:pt x="132597" y="137628"/>
                  </a:cubicBezTo>
                  <a:lnTo>
                    <a:pt x="127917" y="30000"/>
                  </a:lnTo>
                  <a:lnTo>
                    <a:pt x="15000" y="3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80" name="Рисунок 317">
            <a:extLst>
              <a:ext uri="{FF2B5EF4-FFF2-40B4-BE49-F238E27FC236}">
                <a16:creationId xmlns:a16="http://schemas.microsoft.com/office/drawing/2014/main" id="{58EBF006-DD63-C148-9683-F62B818E143D}"/>
              </a:ext>
            </a:extLst>
          </p:cNvPr>
          <p:cNvGrpSpPr/>
          <p:nvPr/>
        </p:nvGrpSpPr>
        <p:grpSpPr>
          <a:xfrm>
            <a:off x="11233735" y="1769207"/>
            <a:ext cx="360000" cy="360000"/>
            <a:chOff x="11267188" y="2085929"/>
            <a:chExt cx="360000" cy="360000"/>
          </a:xfrm>
        </p:grpSpPr>
        <p:sp>
          <p:nvSpPr>
            <p:cNvPr id="1281" name="Полилиния 1280">
              <a:extLst>
                <a:ext uri="{FF2B5EF4-FFF2-40B4-BE49-F238E27FC236}">
                  <a16:creationId xmlns:a16="http://schemas.microsoft.com/office/drawing/2014/main" id="{28034B9E-DCF2-294F-8B8A-43A1DB1D481B}"/>
                </a:ext>
              </a:extLst>
            </p:cNvPr>
            <p:cNvSpPr/>
            <p:nvPr/>
          </p:nvSpPr>
          <p:spPr>
            <a:xfrm>
              <a:off x="11267188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2" name="Полилиния 1281">
              <a:extLst>
                <a:ext uri="{FF2B5EF4-FFF2-40B4-BE49-F238E27FC236}">
                  <a16:creationId xmlns:a16="http://schemas.microsoft.com/office/drawing/2014/main" id="{90449CC8-1D96-014A-8681-C2B0185E0F34}"/>
                </a:ext>
              </a:extLst>
            </p:cNvPr>
            <p:cNvSpPr/>
            <p:nvPr/>
          </p:nvSpPr>
          <p:spPr>
            <a:xfrm>
              <a:off x="11342188" y="2115929"/>
              <a:ext cx="210000" cy="180000"/>
            </a:xfrm>
            <a:custGeom>
              <a:avLst/>
              <a:gdLst>
                <a:gd name="connsiteX0" fmla="*/ 115556 w 210000"/>
                <a:gd name="connsiteY0" fmla="*/ 180000 h 180000"/>
                <a:gd name="connsiteX1" fmla="*/ 160001 w 210000"/>
                <a:gd name="connsiteY1" fmla="*/ 120000 h 180000"/>
                <a:gd name="connsiteX2" fmla="*/ 126666 w 210000"/>
                <a:gd name="connsiteY2" fmla="*/ 120000 h 180000"/>
                <a:gd name="connsiteX3" fmla="*/ 126666 w 210000"/>
                <a:gd name="connsiteY3" fmla="*/ 60000 h 180000"/>
                <a:gd name="connsiteX4" fmla="*/ 60000 w 210000"/>
                <a:gd name="connsiteY4" fmla="*/ 150000 h 180000"/>
                <a:gd name="connsiteX5" fmla="*/ 93333 w 210000"/>
                <a:gd name="connsiteY5" fmla="*/ 150000 h 180000"/>
                <a:gd name="connsiteX6" fmla="*/ 93333 w 210000"/>
                <a:gd name="connsiteY6" fmla="*/ 180000 h 180000"/>
                <a:gd name="connsiteX7" fmla="*/ 15000 w 210000"/>
                <a:gd name="connsiteY7" fmla="*/ 180000 h 180000"/>
                <a:gd name="connsiteX8" fmla="*/ 0 w 210000"/>
                <a:gd name="connsiteY8" fmla="*/ 165000 h 180000"/>
                <a:gd name="connsiteX9" fmla="*/ 0 w 210000"/>
                <a:gd name="connsiteY9" fmla="*/ 15000 h 180000"/>
                <a:gd name="connsiteX10" fmla="*/ 15000 w 210000"/>
                <a:gd name="connsiteY10" fmla="*/ 0 h 180000"/>
                <a:gd name="connsiteX11" fmla="*/ 195000 w 210000"/>
                <a:gd name="connsiteY11" fmla="*/ 0 h 180000"/>
                <a:gd name="connsiteX12" fmla="*/ 210000 w 210000"/>
                <a:gd name="connsiteY12" fmla="*/ 15000 h 180000"/>
                <a:gd name="connsiteX13" fmla="*/ 210000 w 210000"/>
                <a:gd name="connsiteY13" fmla="*/ 165000 h 180000"/>
                <a:gd name="connsiteX14" fmla="*/ 195000 w 210000"/>
                <a:gd name="connsiteY14" fmla="*/ 180000 h 180000"/>
                <a:gd name="connsiteX15" fmla="*/ 115556 w 210000"/>
                <a:gd name="connsiteY15" fmla="*/ 18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000" h="180000">
                  <a:moveTo>
                    <a:pt x="115556" y="180000"/>
                  </a:moveTo>
                  <a:lnTo>
                    <a:pt x="160001" y="120000"/>
                  </a:lnTo>
                  <a:lnTo>
                    <a:pt x="126666" y="120000"/>
                  </a:lnTo>
                  <a:lnTo>
                    <a:pt x="126666" y="60000"/>
                  </a:lnTo>
                  <a:lnTo>
                    <a:pt x="60000" y="150000"/>
                  </a:lnTo>
                  <a:lnTo>
                    <a:pt x="93333" y="150000"/>
                  </a:lnTo>
                  <a:lnTo>
                    <a:pt x="93333" y="180000"/>
                  </a:lnTo>
                  <a:lnTo>
                    <a:pt x="15000" y="180000"/>
                  </a:lnTo>
                  <a:cubicBezTo>
                    <a:pt x="6716" y="180000"/>
                    <a:pt x="0" y="173285"/>
                    <a:pt x="0" y="165000"/>
                  </a:cubicBezTo>
                  <a:lnTo>
                    <a:pt x="0" y="15000"/>
                  </a:lnTo>
                  <a:cubicBezTo>
                    <a:pt x="0" y="6716"/>
                    <a:pt x="6716" y="0"/>
                    <a:pt x="15000" y="0"/>
                  </a:cubicBezTo>
                  <a:lnTo>
                    <a:pt x="195000" y="0"/>
                  </a:lnTo>
                  <a:cubicBezTo>
                    <a:pt x="203285" y="0"/>
                    <a:pt x="210000" y="6716"/>
                    <a:pt x="210000" y="15000"/>
                  </a:cubicBezTo>
                  <a:lnTo>
                    <a:pt x="210000" y="165000"/>
                  </a:lnTo>
                  <a:cubicBezTo>
                    <a:pt x="210000" y="173285"/>
                    <a:pt x="203285" y="180000"/>
                    <a:pt x="195000" y="180000"/>
                  </a:cubicBezTo>
                  <a:lnTo>
                    <a:pt x="115556" y="18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3" name="Полилиния 1282">
              <a:extLst>
                <a:ext uri="{FF2B5EF4-FFF2-40B4-BE49-F238E27FC236}">
                  <a16:creationId xmlns:a16="http://schemas.microsoft.com/office/drawing/2014/main" id="{47640399-E026-6641-B0A6-9A211C065F7E}"/>
                </a:ext>
              </a:extLst>
            </p:cNvPr>
            <p:cNvSpPr/>
            <p:nvPr/>
          </p:nvSpPr>
          <p:spPr>
            <a:xfrm>
              <a:off x="11312188" y="2183096"/>
              <a:ext cx="270000" cy="187832"/>
            </a:xfrm>
            <a:custGeom>
              <a:avLst/>
              <a:gdLst>
                <a:gd name="connsiteX0" fmla="*/ 102064 w 270000"/>
                <a:gd name="connsiteY0" fmla="*/ 66545 h 187832"/>
                <a:gd name="connsiteX1" fmla="*/ 90000 w 270000"/>
                <a:gd name="connsiteY1" fmla="*/ 82832 h 187832"/>
                <a:gd name="connsiteX2" fmla="*/ 123333 w 270000"/>
                <a:gd name="connsiteY2" fmla="*/ 82832 h 187832"/>
                <a:gd name="connsiteX3" fmla="*/ 123333 w 270000"/>
                <a:gd name="connsiteY3" fmla="*/ 142832 h 187832"/>
                <a:gd name="connsiteX4" fmla="*/ 190001 w 270000"/>
                <a:gd name="connsiteY4" fmla="*/ 52832 h 187832"/>
                <a:gd name="connsiteX5" fmla="*/ 186923 w 270000"/>
                <a:gd name="connsiteY5" fmla="*/ 52832 h 187832"/>
                <a:gd name="connsiteX6" fmla="*/ 258110 w 270000"/>
                <a:gd name="connsiteY6" fmla="*/ 1420 h 187832"/>
                <a:gd name="connsiteX7" fmla="*/ 268580 w 270000"/>
                <a:gd name="connsiteY7" fmla="*/ 3109 h 187832"/>
                <a:gd name="connsiteX8" fmla="*/ 270000 w 270000"/>
                <a:gd name="connsiteY8" fmla="*/ 7501 h 187832"/>
                <a:gd name="connsiteX9" fmla="*/ 270000 w 270000"/>
                <a:gd name="connsiteY9" fmla="*/ 157832 h 187832"/>
                <a:gd name="connsiteX10" fmla="*/ 240000 w 270000"/>
                <a:gd name="connsiteY10" fmla="*/ 187832 h 187832"/>
                <a:gd name="connsiteX11" fmla="*/ 30000 w 270000"/>
                <a:gd name="connsiteY11" fmla="*/ 187832 h 187832"/>
                <a:gd name="connsiteX12" fmla="*/ 0 w 270000"/>
                <a:gd name="connsiteY12" fmla="*/ 157832 h 187832"/>
                <a:gd name="connsiteX13" fmla="*/ 0 w 270000"/>
                <a:gd name="connsiteY13" fmla="*/ 7501 h 187832"/>
                <a:gd name="connsiteX14" fmla="*/ 7500 w 270000"/>
                <a:gd name="connsiteY14" fmla="*/ 1 h 187832"/>
                <a:gd name="connsiteX15" fmla="*/ 11891 w 270000"/>
                <a:gd name="connsiteY15" fmla="*/ 1420 h 187832"/>
                <a:gd name="connsiteX16" fmla="*/ 102064 w 270000"/>
                <a:gd name="connsiteY16" fmla="*/ 66545 h 18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0000" h="187832">
                  <a:moveTo>
                    <a:pt x="102064" y="66545"/>
                  </a:moveTo>
                  <a:lnTo>
                    <a:pt x="90000" y="82832"/>
                  </a:lnTo>
                  <a:lnTo>
                    <a:pt x="123333" y="82832"/>
                  </a:lnTo>
                  <a:lnTo>
                    <a:pt x="123333" y="142832"/>
                  </a:lnTo>
                  <a:lnTo>
                    <a:pt x="190001" y="52832"/>
                  </a:lnTo>
                  <a:lnTo>
                    <a:pt x="186923" y="52832"/>
                  </a:lnTo>
                  <a:lnTo>
                    <a:pt x="258110" y="1420"/>
                  </a:lnTo>
                  <a:cubicBezTo>
                    <a:pt x="261467" y="-1005"/>
                    <a:pt x="266156" y="-249"/>
                    <a:pt x="268580" y="3109"/>
                  </a:cubicBezTo>
                  <a:cubicBezTo>
                    <a:pt x="269504" y="4387"/>
                    <a:pt x="270000" y="5924"/>
                    <a:pt x="270000" y="7501"/>
                  </a:cubicBezTo>
                  <a:lnTo>
                    <a:pt x="270000" y="157832"/>
                  </a:lnTo>
                  <a:cubicBezTo>
                    <a:pt x="270000" y="174401"/>
                    <a:pt x="256569" y="187832"/>
                    <a:pt x="240000" y="187832"/>
                  </a:cubicBezTo>
                  <a:lnTo>
                    <a:pt x="30000" y="187832"/>
                  </a:lnTo>
                  <a:cubicBezTo>
                    <a:pt x="13431" y="187832"/>
                    <a:pt x="0" y="174401"/>
                    <a:pt x="0" y="157832"/>
                  </a:cubicBezTo>
                  <a:lnTo>
                    <a:pt x="0" y="7501"/>
                  </a:lnTo>
                  <a:cubicBezTo>
                    <a:pt x="0" y="3358"/>
                    <a:pt x="3358" y="1"/>
                    <a:pt x="7500" y="1"/>
                  </a:cubicBezTo>
                  <a:cubicBezTo>
                    <a:pt x="9077" y="1"/>
                    <a:pt x="10613" y="497"/>
                    <a:pt x="11891" y="1420"/>
                  </a:cubicBezTo>
                  <a:lnTo>
                    <a:pt x="102064" y="66545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84" name="Рисунок 318">
            <a:extLst>
              <a:ext uri="{FF2B5EF4-FFF2-40B4-BE49-F238E27FC236}">
                <a16:creationId xmlns:a16="http://schemas.microsoft.com/office/drawing/2014/main" id="{26B7BC0C-0B1D-B141-9310-607FD8F05B50}"/>
              </a:ext>
            </a:extLst>
          </p:cNvPr>
          <p:cNvGrpSpPr/>
          <p:nvPr/>
        </p:nvGrpSpPr>
        <p:grpSpPr>
          <a:xfrm>
            <a:off x="8968334" y="1769207"/>
            <a:ext cx="360000" cy="360000"/>
            <a:chOff x="9001787" y="2085929"/>
            <a:chExt cx="360000" cy="360000"/>
          </a:xfrm>
        </p:grpSpPr>
        <p:sp>
          <p:nvSpPr>
            <p:cNvPr id="1285" name="Полилиния 1284">
              <a:extLst>
                <a:ext uri="{FF2B5EF4-FFF2-40B4-BE49-F238E27FC236}">
                  <a16:creationId xmlns:a16="http://schemas.microsoft.com/office/drawing/2014/main" id="{5B29138F-A565-8A42-B8A1-F17169510572}"/>
                </a:ext>
              </a:extLst>
            </p:cNvPr>
            <p:cNvSpPr/>
            <p:nvPr/>
          </p:nvSpPr>
          <p:spPr>
            <a:xfrm>
              <a:off x="9001787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6" name="Скругленный прямоугольник 1285">
              <a:extLst>
                <a:ext uri="{FF2B5EF4-FFF2-40B4-BE49-F238E27FC236}">
                  <a16:creationId xmlns:a16="http://schemas.microsoft.com/office/drawing/2014/main" id="{55687041-E4A8-E94F-84BA-0B715B21373D}"/>
                </a:ext>
              </a:extLst>
            </p:cNvPr>
            <p:cNvSpPr/>
            <p:nvPr/>
          </p:nvSpPr>
          <p:spPr>
            <a:xfrm>
              <a:off x="9061787" y="2220929"/>
              <a:ext cx="240000" cy="135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7" name="Полилиния 1286">
              <a:extLst>
                <a:ext uri="{FF2B5EF4-FFF2-40B4-BE49-F238E27FC236}">
                  <a16:creationId xmlns:a16="http://schemas.microsoft.com/office/drawing/2014/main" id="{29B7AF54-BEAB-A840-AA0E-0D65BD0BA4CF}"/>
                </a:ext>
              </a:extLst>
            </p:cNvPr>
            <p:cNvSpPr/>
            <p:nvPr/>
          </p:nvSpPr>
          <p:spPr>
            <a:xfrm>
              <a:off x="9106787" y="2130929"/>
              <a:ext cx="150000" cy="90000"/>
            </a:xfrm>
            <a:custGeom>
              <a:avLst/>
              <a:gdLst>
                <a:gd name="connsiteX0" fmla="*/ 0 w 150000"/>
                <a:gd name="connsiteY0" fmla="*/ 0 h 90000"/>
                <a:gd name="connsiteX1" fmla="*/ 150000 w 150000"/>
                <a:gd name="connsiteY1" fmla="*/ 0 h 90000"/>
                <a:gd name="connsiteX2" fmla="*/ 150000 w 150000"/>
                <a:gd name="connsiteY2" fmla="*/ 90000 h 90000"/>
                <a:gd name="connsiteX3" fmla="*/ 0 w 150000"/>
                <a:gd name="connsiteY3" fmla="*/ 90000 h 90000"/>
                <a:gd name="connsiteX4" fmla="*/ 0 w 150000"/>
                <a:gd name="connsiteY4" fmla="*/ 0 h 90000"/>
                <a:gd name="connsiteX5" fmla="*/ 30000 w 150000"/>
                <a:gd name="connsiteY5" fmla="*/ 30000 h 90000"/>
                <a:gd name="connsiteX6" fmla="*/ 30000 w 150000"/>
                <a:gd name="connsiteY6" fmla="*/ 60000 h 90000"/>
                <a:gd name="connsiteX7" fmla="*/ 60000 w 150000"/>
                <a:gd name="connsiteY7" fmla="*/ 60000 h 90000"/>
                <a:gd name="connsiteX8" fmla="*/ 60000 w 150000"/>
                <a:gd name="connsiteY8" fmla="*/ 30000 h 90000"/>
                <a:gd name="connsiteX9" fmla="*/ 30000 w 150000"/>
                <a:gd name="connsiteY9" fmla="*/ 30000 h 90000"/>
                <a:gd name="connsiteX10" fmla="*/ 90000 w 150000"/>
                <a:gd name="connsiteY10" fmla="*/ 30000 h 90000"/>
                <a:gd name="connsiteX11" fmla="*/ 90000 w 150000"/>
                <a:gd name="connsiteY11" fmla="*/ 60000 h 90000"/>
                <a:gd name="connsiteX12" fmla="*/ 120000 w 150000"/>
                <a:gd name="connsiteY12" fmla="*/ 60000 h 90000"/>
                <a:gd name="connsiteX13" fmla="*/ 120000 w 150000"/>
                <a:gd name="connsiteY13" fmla="*/ 30000 h 90000"/>
                <a:gd name="connsiteX14" fmla="*/ 90000 w 150000"/>
                <a:gd name="connsiteY14" fmla="*/ 3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0000" h="90000">
                  <a:moveTo>
                    <a:pt x="0" y="0"/>
                  </a:moveTo>
                  <a:lnTo>
                    <a:pt x="150000" y="0"/>
                  </a:lnTo>
                  <a:lnTo>
                    <a:pt x="150000" y="90000"/>
                  </a:lnTo>
                  <a:lnTo>
                    <a:pt x="0" y="90000"/>
                  </a:lnTo>
                  <a:lnTo>
                    <a:pt x="0" y="0"/>
                  </a:lnTo>
                  <a:close/>
                  <a:moveTo>
                    <a:pt x="30000" y="30000"/>
                  </a:moveTo>
                  <a:lnTo>
                    <a:pt x="30000" y="60000"/>
                  </a:lnTo>
                  <a:lnTo>
                    <a:pt x="60000" y="60000"/>
                  </a:lnTo>
                  <a:lnTo>
                    <a:pt x="60000" y="30000"/>
                  </a:lnTo>
                  <a:lnTo>
                    <a:pt x="30000" y="30000"/>
                  </a:lnTo>
                  <a:close/>
                  <a:moveTo>
                    <a:pt x="90000" y="30000"/>
                  </a:moveTo>
                  <a:lnTo>
                    <a:pt x="90000" y="60000"/>
                  </a:lnTo>
                  <a:lnTo>
                    <a:pt x="120000" y="60000"/>
                  </a:lnTo>
                  <a:lnTo>
                    <a:pt x="120000" y="30000"/>
                  </a:lnTo>
                  <a:lnTo>
                    <a:pt x="90000" y="3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8" name="Полилиния 1287">
              <a:extLst>
                <a:ext uri="{FF2B5EF4-FFF2-40B4-BE49-F238E27FC236}">
                  <a16:creationId xmlns:a16="http://schemas.microsoft.com/office/drawing/2014/main" id="{ED7B277F-7785-F34F-B4C4-0A472C4EDE36}"/>
                </a:ext>
              </a:extLst>
            </p:cNvPr>
            <p:cNvSpPr/>
            <p:nvPr/>
          </p:nvSpPr>
          <p:spPr>
            <a:xfrm>
              <a:off x="9151787" y="2355929"/>
              <a:ext cx="60000" cy="45000"/>
            </a:xfrm>
            <a:custGeom>
              <a:avLst/>
              <a:gdLst>
                <a:gd name="connsiteX0" fmla="*/ 0 w 60000"/>
                <a:gd name="connsiteY0" fmla="*/ 0 h 45000"/>
                <a:gd name="connsiteX1" fmla="*/ 60000 w 60000"/>
                <a:gd name="connsiteY1" fmla="*/ 0 h 45000"/>
                <a:gd name="connsiteX2" fmla="*/ 60000 w 60000"/>
                <a:gd name="connsiteY2" fmla="*/ 30000 h 45000"/>
                <a:gd name="connsiteX3" fmla="*/ 45000 w 60000"/>
                <a:gd name="connsiteY3" fmla="*/ 45000 h 45000"/>
                <a:gd name="connsiteX4" fmla="*/ 15000 w 60000"/>
                <a:gd name="connsiteY4" fmla="*/ 45000 h 45000"/>
                <a:gd name="connsiteX5" fmla="*/ 0 w 60000"/>
                <a:gd name="connsiteY5" fmla="*/ 30000 h 45000"/>
                <a:gd name="connsiteX6" fmla="*/ 0 w 60000"/>
                <a:gd name="connsiteY6" fmla="*/ 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000" h="45000">
                  <a:moveTo>
                    <a:pt x="0" y="0"/>
                  </a:moveTo>
                  <a:lnTo>
                    <a:pt x="60000" y="0"/>
                  </a:lnTo>
                  <a:lnTo>
                    <a:pt x="60000" y="30000"/>
                  </a:lnTo>
                  <a:cubicBezTo>
                    <a:pt x="60000" y="38284"/>
                    <a:pt x="53285" y="45000"/>
                    <a:pt x="45000" y="45000"/>
                  </a:cubicBezTo>
                  <a:lnTo>
                    <a:pt x="15000" y="45000"/>
                  </a:lnTo>
                  <a:cubicBezTo>
                    <a:pt x="6715" y="45000"/>
                    <a:pt x="0" y="38284"/>
                    <a:pt x="0" y="300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89" name="Рисунок 319">
            <a:extLst>
              <a:ext uri="{FF2B5EF4-FFF2-40B4-BE49-F238E27FC236}">
                <a16:creationId xmlns:a16="http://schemas.microsoft.com/office/drawing/2014/main" id="{1A6AF8EC-7075-0042-B966-C1437C54D450}"/>
              </a:ext>
            </a:extLst>
          </p:cNvPr>
          <p:cNvGrpSpPr/>
          <p:nvPr/>
        </p:nvGrpSpPr>
        <p:grpSpPr>
          <a:xfrm>
            <a:off x="10478600" y="1769207"/>
            <a:ext cx="360000" cy="360000"/>
            <a:chOff x="10512053" y="2085929"/>
            <a:chExt cx="360000" cy="360000"/>
          </a:xfrm>
        </p:grpSpPr>
        <p:sp>
          <p:nvSpPr>
            <p:cNvPr id="1290" name="Полилиния 1289">
              <a:extLst>
                <a:ext uri="{FF2B5EF4-FFF2-40B4-BE49-F238E27FC236}">
                  <a16:creationId xmlns:a16="http://schemas.microsoft.com/office/drawing/2014/main" id="{926B0BD0-F72B-6B49-96DB-191CC7775464}"/>
                </a:ext>
              </a:extLst>
            </p:cNvPr>
            <p:cNvSpPr/>
            <p:nvPr/>
          </p:nvSpPr>
          <p:spPr>
            <a:xfrm>
              <a:off x="10512053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1" name="Полилиния 1290">
              <a:extLst>
                <a:ext uri="{FF2B5EF4-FFF2-40B4-BE49-F238E27FC236}">
                  <a16:creationId xmlns:a16="http://schemas.microsoft.com/office/drawing/2014/main" id="{1443E968-86A8-CB41-AEB9-568658FB7366}"/>
                </a:ext>
              </a:extLst>
            </p:cNvPr>
            <p:cNvSpPr/>
            <p:nvPr/>
          </p:nvSpPr>
          <p:spPr>
            <a:xfrm>
              <a:off x="10605913" y="2137362"/>
              <a:ext cx="214705" cy="214705"/>
            </a:xfrm>
            <a:custGeom>
              <a:avLst/>
              <a:gdLst>
                <a:gd name="connsiteX0" fmla="*/ 78640 w 214705"/>
                <a:gd name="connsiteY0" fmla="*/ 210312 h 214705"/>
                <a:gd name="connsiteX1" fmla="*/ 4393 w 214705"/>
                <a:gd name="connsiteY1" fmla="*/ 136066 h 214705"/>
                <a:gd name="connsiteX2" fmla="*/ 4393 w 214705"/>
                <a:gd name="connsiteY2" fmla="*/ 114853 h 214705"/>
                <a:gd name="connsiteX3" fmla="*/ 110459 w 214705"/>
                <a:gd name="connsiteY3" fmla="*/ 8787 h 214705"/>
                <a:gd name="connsiteX4" fmla="*/ 152885 w 214705"/>
                <a:gd name="connsiteY4" fmla="*/ 8787 h 214705"/>
                <a:gd name="connsiteX5" fmla="*/ 205919 w 214705"/>
                <a:gd name="connsiteY5" fmla="*/ 61820 h 214705"/>
                <a:gd name="connsiteX6" fmla="*/ 205919 w 214705"/>
                <a:gd name="connsiteY6" fmla="*/ 104247 h 214705"/>
                <a:gd name="connsiteX7" fmla="*/ 99853 w 214705"/>
                <a:gd name="connsiteY7" fmla="*/ 210312 h 214705"/>
                <a:gd name="connsiteX8" fmla="*/ 78640 w 214705"/>
                <a:gd name="connsiteY8" fmla="*/ 210312 h 21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705" h="214705">
                  <a:moveTo>
                    <a:pt x="78640" y="210312"/>
                  </a:moveTo>
                  <a:lnTo>
                    <a:pt x="4393" y="136066"/>
                  </a:lnTo>
                  <a:cubicBezTo>
                    <a:pt x="-1464" y="130209"/>
                    <a:pt x="-1464" y="120711"/>
                    <a:pt x="4393" y="114853"/>
                  </a:cubicBezTo>
                  <a:lnTo>
                    <a:pt x="110459" y="8787"/>
                  </a:lnTo>
                  <a:cubicBezTo>
                    <a:pt x="122176" y="-2929"/>
                    <a:pt x="141170" y="-2929"/>
                    <a:pt x="152885" y="8787"/>
                  </a:cubicBezTo>
                  <a:lnTo>
                    <a:pt x="205919" y="61820"/>
                  </a:lnTo>
                  <a:cubicBezTo>
                    <a:pt x="217634" y="73536"/>
                    <a:pt x="217634" y="92530"/>
                    <a:pt x="205919" y="104247"/>
                  </a:cubicBezTo>
                  <a:lnTo>
                    <a:pt x="99853" y="210312"/>
                  </a:lnTo>
                  <a:cubicBezTo>
                    <a:pt x="93995" y="216171"/>
                    <a:pt x="84497" y="216171"/>
                    <a:pt x="78640" y="210312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2" name="Полилиния 1291">
              <a:extLst>
                <a:ext uri="{FF2B5EF4-FFF2-40B4-BE49-F238E27FC236}">
                  <a16:creationId xmlns:a16="http://schemas.microsoft.com/office/drawing/2014/main" id="{AE5B317B-2B9F-1A4B-8D91-3E99E1B11E8A}"/>
                </a:ext>
              </a:extLst>
            </p:cNvPr>
            <p:cNvSpPr/>
            <p:nvPr/>
          </p:nvSpPr>
          <p:spPr>
            <a:xfrm>
              <a:off x="10570987" y="2294641"/>
              <a:ext cx="92352" cy="92353"/>
            </a:xfrm>
            <a:custGeom>
              <a:avLst/>
              <a:gdLst>
                <a:gd name="connsiteX0" fmla="*/ 44623 w 92352"/>
                <a:gd name="connsiteY0" fmla="*/ 90156 h 92353"/>
                <a:gd name="connsiteX1" fmla="*/ 2197 w 92352"/>
                <a:gd name="connsiteY1" fmla="*/ 47730 h 92353"/>
                <a:gd name="connsiteX2" fmla="*/ 2197 w 92352"/>
                <a:gd name="connsiteY2" fmla="*/ 37123 h 92353"/>
                <a:gd name="connsiteX3" fmla="*/ 39320 w 92352"/>
                <a:gd name="connsiteY3" fmla="*/ 0 h 92353"/>
                <a:gd name="connsiteX4" fmla="*/ 92353 w 92352"/>
                <a:gd name="connsiteY4" fmla="*/ 53032 h 92353"/>
                <a:gd name="connsiteX5" fmla="*/ 55230 w 92352"/>
                <a:gd name="connsiteY5" fmla="*/ 90156 h 92353"/>
                <a:gd name="connsiteX6" fmla="*/ 44623 w 92352"/>
                <a:gd name="connsiteY6" fmla="*/ 90156 h 92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52" h="92353">
                  <a:moveTo>
                    <a:pt x="44623" y="90156"/>
                  </a:moveTo>
                  <a:lnTo>
                    <a:pt x="2197" y="47730"/>
                  </a:lnTo>
                  <a:cubicBezTo>
                    <a:pt x="-732" y="44801"/>
                    <a:pt x="-732" y="40051"/>
                    <a:pt x="2197" y="37123"/>
                  </a:cubicBezTo>
                  <a:lnTo>
                    <a:pt x="39320" y="0"/>
                  </a:lnTo>
                  <a:lnTo>
                    <a:pt x="92353" y="53032"/>
                  </a:lnTo>
                  <a:lnTo>
                    <a:pt x="55230" y="90156"/>
                  </a:lnTo>
                  <a:cubicBezTo>
                    <a:pt x="52301" y="93086"/>
                    <a:pt x="47552" y="93086"/>
                    <a:pt x="44623" y="90156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93" name="Рисунок 320">
            <a:extLst>
              <a:ext uri="{FF2B5EF4-FFF2-40B4-BE49-F238E27FC236}">
                <a16:creationId xmlns:a16="http://schemas.microsoft.com/office/drawing/2014/main" id="{F65E0EB1-26F7-E74E-A2F8-71500D753E56}"/>
              </a:ext>
            </a:extLst>
          </p:cNvPr>
          <p:cNvGrpSpPr/>
          <p:nvPr/>
        </p:nvGrpSpPr>
        <p:grpSpPr>
          <a:xfrm>
            <a:off x="8213201" y="1769207"/>
            <a:ext cx="360000" cy="360000"/>
            <a:chOff x="8246654" y="2085929"/>
            <a:chExt cx="360000" cy="360000"/>
          </a:xfrm>
        </p:grpSpPr>
        <p:sp>
          <p:nvSpPr>
            <p:cNvPr id="1294" name="Полилиния 1293">
              <a:extLst>
                <a:ext uri="{FF2B5EF4-FFF2-40B4-BE49-F238E27FC236}">
                  <a16:creationId xmlns:a16="http://schemas.microsoft.com/office/drawing/2014/main" id="{C32431C8-AB7E-D642-A9BD-F158FDB3F445}"/>
                </a:ext>
              </a:extLst>
            </p:cNvPr>
            <p:cNvSpPr/>
            <p:nvPr/>
          </p:nvSpPr>
          <p:spPr>
            <a:xfrm>
              <a:off x="8246654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5" name="Полилиния 1294">
              <a:extLst>
                <a:ext uri="{FF2B5EF4-FFF2-40B4-BE49-F238E27FC236}">
                  <a16:creationId xmlns:a16="http://schemas.microsoft.com/office/drawing/2014/main" id="{7D28A2D7-DA45-3B4E-B291-2AD36A184882}"/>
                </a:ext>
              </a:extLst>
            </p:cNvPr>
            <p:cNvSpPr/>
            <p:nvPr/>
          </p:nvSpPr>
          <p:spPr>
            <a:xfrm>
              <a:off x="8366654" y="2130929"/>
              <a:ext cx="120000" cy="120000"/>
            </a:xfrm>
            <a:custGeom>
              <a:avLst/>
              <a:gdLst>
                <a:gd name="connsiteX0" fmla="*/ 60000 w 120000"/>
                <a:gd name="connsiteY0" fmla="*/ 120000 h 120000"/>
                <a:gd name="connsiteX1" fmla="*/ 0 w 120000"/>
                <a:gd name="connsiteY1" fmla="*/ 60000 h 120000"/>
                <a:gd name="connsiteX2" fmla="*/ 60000 w 120000"/>
                <a:gd name="connsiteY2" fmla="*/ 0 h 120000"/>
                <a:gd name="connsiteX3" fmla="*/ 120000 w 120000"/>
                <a:gd name="connsiteY3" fmla="*/ 60000 h 120000"/>
                <a:gd name="connsiteX4" fmla="*/ 60000 w 120000"/>
                <a:gd name="connsiteY4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00" h="120000"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6" name="Полилиния 1295">
              <a:extLst>
                <a:ext uri="{FF2B5EF4-FFF2-40B4-BE49-F238E27FC236}">
                  <a16:creationId xmlns:a16="http://schemas.microsoft.com/office/drawing/2014/main" id="{5FBFE8B2-087E-9344-8380-C46C4DF06D6D}"/>
                </a:ext>
              </a:extLst>
            </p:cNvPr>
            <p:cNvSpPr/>
            <p:nvPr/>
          </p:nvSpPr>
          <p:spPr>
            <a:xfrm>
              <a:off x="8291653" y="2280929"/>
              <a:ext cx="269999" cy="120000"/>
            </a:xfrm>
            <a:custGeom>
              <a:avLst/>
              <a:gdLst>
                <a:gd name="connsiteX0" fmla="*/ 10 w 269999"/>
                <a:gd name="connsiteY0" fmla="*/ 107988 h 120000"/>
                <a:gd name="connsiteX1" fmla="*/ 134750 w 269999"/>
                <a:gd name="connsiteY1" fmla="*/ 0 h 120000"/>
                <a:gd name="connsiteX2" fmla="*/ 269969 w 269999"/>
                <a:gd name="connsiteY2" fmla="*/ 108000 h 120000"/>
                <a:gd name="connsiteX3" fmla="*/ 258701 w 269999"/>
                <a:gd name="connsiteY3" fmla="*/ 120000 h 120000"/>
                <a:gd name="connsiteX4" fmla="*/ 10913 w 269999"/>
                <a:gd name="connsiteY4" fmla="*/ 120000 h 120000"/>
                <a:gd name="connsiteX5" fmla="*/ 10 w 269999"/>
                <a:gd name="connsiteY5" fmla="*/ 107988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999" h="120000">
                  <a:moveTo>
                    <a:pt x="10" y="107988"/>
                  </a:moveTo>
                  <a:cubicBezTo>
                    <a:pt x="5824" y="36398"/>
                    <a:pt x="63929" y="0"/>
                    <a:pt x="134750" y="0"/>
                  </a:cubicBezTo>
                  <a:cubicBezTo>
                    <a:pt x="206568" y="0"/>
                    <a:pt x="265574" y="34398"/>
                    <a:pt x="269969" y="108000"/>
                  </a:cubicBezTo>
                  <a:cubicBezTo>
                    <a:pt x="270144" y="110933"/>
                    <a:pt x="269969" y="120000"/>
                    <a:pt x="258701" y="120000"/>
                  </a:cubicBezTo>
                  <a:cubicBezTo>
                    <a:pt x="203117" y="120000"/>
                    <a:pt x="120521" y="120000"/>
                    <a:pt x="10913" y="120000"/>
                  </a:cubicBezTo>
                  <a:cubicBezTo>
                    <a:pt x="7151" y="120000"/>
                    <a:pt x="-307" y="111888"/>
                    <a:pt x="10" y="107988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97" name="Рисунок 321">
            <a:extLst>
              <a:ext uri="{FF2B5EF4-FFF2-40B4-BE49-F238E27FC236}">
                <a16:creationId xmlns:a16="http://schemas.microsoft.com/office/drawing/2014/main" id="{6B8A59C7-BDA2-524F-A40B-10401669C209}"/>
              </a:ext>
            </a:extLst>
          </p:cNvPr>
          <p:cNvGrpSpPr/>
          <p:nvPr/>
        </p:nvGrpSpPr>
        <p:grpSpPr>
          <a:xfrm>
            <a:off x="7458068" y="1769207"/>
            <a:ext cx="360000" cy="360000"/>
            <a:chOff x="7491521" y="2085929"/>
            <a:chExt cx="360000" cy="360000"/>
          </a:xfrm>
        </p:grpSpPr>
        <p:sp>
          <p:nvSpPr>
            <p:cNvPr id="1298" name="Полилиния 1297">
              <a:extLst>
                <a:ext uri="{FF2B5EF4-FFF2-40B4-BE49-F238E27FC236}">
                  <a16:creationId xmlns:a16="http://schemas.microsoft.com/office/drawing/2014/main" id="{F384FDD2-93B2-CD43-8D4C-D7025D8171CF}"/>
                </a:ext>
              </a:extLst>
            </p:cNvPr>
            <p:cNvSpPr/>
            <p:nvPr/>
          </p:nvSpPr>
          <p:spPr>
            <a:xfrm>
              <a:off x="7491521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9" name="Полилиния 1298">
              <a:extLst>
                <a:ext uri="{FF2B5EF4-FFF2-40B4-BE49-F238E27FC236}">
                  <a16:creationId xmlns:a16="http://schemas.microsoft.com/office/drawing/2014/main" id="{582FDEB7-6BD8-8548-AB29-B7AE449C0D2C}"/>
                </a:ext>
              </a:extLst>
            </p:cNvPr>
            <p:cNvSpPr/>
            <p:nvPr/>
          </p:nvSpPr>
          <p:spPr>
            <a:xfrm>
              <a:off x="7521521" y="2145929"/>
              <a:ext cx="300000" cy="255000"/>
            </a:xfrm>
            <a:custGeom>
              <a:avLst/>
              <a:gdLst>
                <a:gd name="connsiteX0" fmla="*/ 22500 w 300000"/>
                <a:gd name="connsiteY0" fmla="*/ 255000 h 255000"/>
                <a:gd name="connsiteX1" fmla="*/ 277500 w 300000"/>
                <a:gd name="connsiteY1" fmla="*/ 255000 h 255000"/>
                <a:gd name="connsiteX2" fmla="*/ 300000 w 300000"/>
                <a:gd name="connsiteY2" fmla="*/ 232500 h 255000"/>
                <a:gd name="connsiteX3" fmla="*/ 300000 w 300000"/>
                <a:gd name="connsiteY3" fmla="*/ 67500 h 255000"/>
                <a:gd name="connsiteX4" fmla="*/ 277500 w 300000"/>
                <a:gd name="connsiteY4" fmla="*/ 45000 h 255000"/>
                <a:gd name="connsiteX5" fmla="*/ 120000 w 300000"/>
                <a:gd name="connsiteY5" fmla="*/ 45000 h 255000"/>
                <a:gd name="connsiteX6" fmla="*/ 81590 w 300000"/>
                <a:gd name="connsiteY6" fmla="*/ 6590 h 255000"/>
                <a:gd name="connsiteX7" fmla="*/ 65680 w 300000"/>
                <a:gd name="connsiteY7" fmla="*/ 0 h 255000"/>
                <a:gd name="connsiteX8" fmla="*/ 22500 w 300000"/>
                <a:gd name="connsiteY8" fmla="*/ 0 h 255000"/>
                <a:gd name="connsiteX9" fmla="*/ 0 w 300000"/>
                <a:gd name="connsiteY9" fmla="*/ 22500 h 255000"/>
                <a:gd name="connsiteX10" fmla="*/ 0 w 300000"/>
                <a:gd name="connsiteY10" fmla="*/ 232500 h 255000"/>
                <a:gd name="connsiteX11" fmla="*/ 22500 w 300000"/>
                <a:gd name="connsiteY11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0000" h="255000">
                  <a:moveTo>
                    <a:pt x="22500" y="255000"/>
                  </a:moveTo>
                  <a:lnTo>
                    <a:pt x="277500" y="255000"/>
                  </a:lnTo>
                  <a:cubicBezTo>
                    <a:pt x="289926" y="255000"/>
                    <a:pt x="300000" y="244926"/>
                    <a:pt x="300000" y="232500"/>
                  </a:cubicBezTo>
                  <a:lnTo>
                    <a:pt x="300000" y="67500"/>
                  </a:lnTo>
                  <a:cubicBezTo>
                    <a:pt x="300000" y="55074"/>
                    <a:pt x="289926" y="45000"/>
                    <a:pt x="277500" y="45000"/>
                  </a:cubicBezTo>
                  <a:lnTo>
                    <a:pt x="120000" y="45000"/>
                  </a:lnTo>
                  <a:lnTo>
                    <a:pt x="81590" y="6590"/>
                  </a:lnTo>
                  <a:cubicBezTo>
                    <a:pt x="77371" y="2371"/>
                    <a:pt x="71648" y="0"/>
                    <a:pt x="65680" y="0"/>
                  </a:cubicBez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232500"/>
                  </a:lnTo>
                  <a:cubicBezTo>
                    <a:pt x="0" y="244926"/>
                    <a:pt x="10074" y="255000"/>
                    <a:pt x="225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0" name="Полилиния 1299">
              <a:extLst>
                <a:ext uri="{FF2B5EF4-FFF2-40B4-BE49-F238E27FC236}">
                  <a16:creationId xmlns:a16="http://schemas.microsoft.com/office/drawing/2014/main" id="{9173A29A-0C7E-DC47-AA79-137127D33C0F}"/>
                </a:ext>
              </a:extLst>
            </p:cNvPr>
            <p:cNvSpPr/>
            <p:nvPr/>
          </p:nvSpPr>
          <p:spPr>
            <a:xfrm>
              <a:off x="7641521" y="2220929"/>
              <a:ext cx="60000" cy="60000"/>
            </a:xfrm>
            <a:custGeom>
              <a:avLst/>
              <a:gdLst>
                <a:gd name="connsiteX0" fmla="*/ 30000 w 60000"/>
                <a:gd name="connsiteY0" fmla="*/ 60000 h 60000"/>
                <a:gd name="connsiteX1" fmla="*/ 0 w 60000"/>
                <a:gd name="connsiteY1" fmla="*/ 30000 h 60000"/>
                <a:gd name="connsiteX2" fmla="*/ 30000 w 60000"/>
                <a:gd name="connsiteY2" fmla="*/ 0 h 60000"/>
                <a:gd name="connsiteX3" fmla="*/ 60000 w 60000"/>
                <a:gd name="connsiteY3" fmla="*/ 30000 h 60000"/>
                <a:gd name="connsiteX4" fmla="*/ 30000 w 60000"/>
                <a:gd name="connsiteY4" fmla="*/ 600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60000">
                  <a:moveTo>
                    <a:pt x="30000" y="60000"/>
                  </a:moveTo>
                  <a:cubicBezTo>
                    <a:pt x="13431" y="60000"/>
                    <a:pt x="0" y="46569"/>
                    <a:pt x="0" y="30000"/>
                  </a:cubicBezTo>
                  <a:cubicBezTo>
                    <a:pt x="0" y="13431"/>
                    <a:pt x="13431" y="0"/>
                    <a:pt x="30000" y="0"/>
                  </a:cubicBezTo>
                  <a:cubicBezTo>
                    <a:pt x="46569" y="0"/>
                    <a:pt x="60000" y="13431"/>
                    <a:pt x="60000" y="30000"/>
                  </a:cubicBezTo>
                  <a:cubicBezTo>
                    <a:pt x="60000" y="46569"/>
                    <a:pt x="46569" y="60000"/>
                    <a:pt x="30000" y="6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1" name="Полилиния 1300">
              <a:extLst>
                <a:ext uri="{FF2B5EF4-FFF2-40B4-BE49-F238E27FC236}">
                  <a16:creationId xmlns:a16="http://schemas.microsoft.com/office/drawing/2014/main" id="{E5963C85-ACCD-A04C-A406-91B03EE221E9}"/>
                </a:ext>
              </a:extLst>
            </p:cNvPr>
            <p:cNvSpPr/>
            <p:nvPr/>
          </p:nvSpPr>
          <p:spPr>
            <a:xfrm>
              <a:off x="7596520" y="2295929"/>
              <a:ext cx="149999" cy="75000"/>
            </a:xfrm>
            <a:custGeom>
              <a:avLst/>
              <a:gdLst>
                <a:gd name="connsiteX0" fmla="*/ 5 w 149999"/>
                <a:gd name="connsiteY0" fmla="*/ 67493 h 75000"/>
                <a:gd name="connsiteX1" fmla="*/ 74861 w 149999"/>
                <a:gd name="connsiteY1" fmla="*/ 0 h 75000"/>
                <a:gd name="connsiteX2" fmla="*/ 149982 w 149999"/>
                <a:gd name="connsiteY2" fmla="*/ 67500 h 75000"/>
                <a:gd name="connsiteX3" fmla="*/ 143723 w 149999"/>
                <a:gd name="connsiteY3" fmla="*/ 75000 h 75000"/>
                <a:gd name="connsiteX4" fmla="*/ 6063 w 149999"/>
                <a:gd name="connsiteY4" fmla="*/ 75000 h 75000"/>
                <a:gd name="connsiteX5" fmla="*/ 5 w 149999"/>
                <a:gd name="connsiteY5" fmla="*/ 67493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999" h="75000">
                  <a:moveTo>
                    <a:pt x="5" y="67493"/>
                  </a:moveTo>
                  <a:cubicBezTo>
                    <a:pt x="3236" y="22749"/>
                    <a:pt x="35516" y="0"/>
                    <a:pt x="74861" y="0"/>
                  </a:cubicBezTo>
                  <a:cubicBezTo>
                    <a:pt x="114761" y="0"/>
                    <a:pt x="147540" y="21498"/>
                    <a:pt x="149982" y="67500"/>
                  </a:cubicBezTo>
                  <a:cubicBezTo>
                    <a:pt x="150080" y="69333"/>
                    <a:pt x="149982" y="75000"/>
                    <a:pt x="143723" y="75000"/>
                  </a:cubicBezTo>
                  <a:cubicBezTo>
                    <a:pt x="112842" y="75000"/>
                    <a:pt x="66956" y="75000"/>
                    <a:pt x="6063" y="75000"/>
                  </a:cubicBezTo>
                  <a:cubicBezTo>
                    <a:pt x="3973" y="75000"/>
                    <a:pt x="-171" y="69930"/>
                    <a:pt x="5" y="67493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02" name="Рисунок 322">
            <a:extLst>
              <a:ext uri="{FF2B5EF4-FFF2-40B4-BE49-F238E27FC236}">
                <a16:creationId xmlns:a16="http://schemas.microsoft.com/office/drawing/2014/main" id="{D5F6A7C8-1416-B04C-A732-AA32769EA87D}"/>
              </a:ext>
            </a:extLst>
          </p:cNvPr>
          <p:cNvGrpSpPr/>
          <p:nvPr/>
        </p:nvGrpSpPr>
        <p:grpSpPr>
          <a:xfrm>
            <a:off x="9723467" y="1769207"/>
            <a:ext cx="360000" cy="360000"/>
            <a:chOff x="9756920" y="2085929"/>
            <a:chExt cx="360000" cy="360000"/>
          </a:xfrm>
        </p:grpSpPr>
        <p:sp>
          <p:nvSpPr>
            <p:cNvPr id="1303" name="Полилиния 1302">
              <a:extLst>
                <a:ext uri="{FF2B5EF4-FFF2-40B4-BE49-F238E27FC236}">
                  <a16:creationId xmlns:a16="http://schemas.microsoft.com/office/drawing/2014/main" id="{4D104161-1583-224C-9DCD-A18A5520747D}"/>
                </a:ext>
              </a:extLst>
            </p:cNvPr>
            <p:cNvSpPr/>
            <p:nvPr/>
          </p:nvSpPr>
          <p:spPr>
            <a:xfrm>
              <a:off x="9756920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4" name="Полилиния 1303">
              <a:extLst>
                <a:ext uri="{FF2B5EF4-FFF2-40B4-BE49-F238E27FC236}">
                  <a16:creationId xmlns:a16="http://schemas.microsoft.com/office/drawing/2014/main" id="{F1F9CC28-62E8-2A4C-BD05-DEC1D77980AA}"/>
                </a:ext>
              </a:extLst>
            </p:cNvPr>
            <p:cNvSpPr/>
            <p:nvPr/>
          </p:nvSpPr>
          <p:spPr>
            <a:xfrm>
              <a:off x="9921920" y="2130929"/>
              <a:ext cx="30000" cy="270000"/>
            </a:xfrm>
            <a:custGeom>
              <a:avLst/>
              <a:gdLst>
                <a:gd name="connsiteX0" fmla="*/ 15000 w 30000"/>
                <a:gd name="connsiteY0" fmla="*/ 0 h 270000"/>
                <a:gd name="connsiteX1" fmla="*/ 30000 w 30000"/>
                <a:gd name="connsiteY1" fmla="*/ 15000 h 270000"/>
                <a:gd name="connsiteX2" fmla="*/ 30000 w 30000"/>
                <a:gd name="connsiteY2" fmla="*/ 30000 h 270000"/>
                <a:gd name="connsiteX3" fmla="*/ 15000 w 30000"/>
                <a:gd name="connsiteY3" fmla="*/ 45000 h 270000"/>
                <a:gd name="connsiteX4" fmla="*/ 0 w 30000"/>
                <a:gd name="connsiteY4" fmla="*/ 30000 h 270000"/>
                <a:gd name="connsiteX5" fmla="*/ 0 w 30000"/>
                <a:gd name="connsiteY5" fmla="*/ 15000 h 270000"/>
                <a:gd name="connsiteX6" fmla="*/ 15000 w 30000"/>
                <a:gd name="connsiteY6" fmla="*/ 0 h 270000"/>
                <a:gd name="connsiteX7" fmla="*/ 15000 w 30000"/>
                <a:gd name="connsiteY7" fmla="*/ 75000 h 270000"/>
                <a:gd name="connsiteX8" fmla="*/ 30000 w 30000"/>
                <a:gd name="connsiteY8" fmla="*/ 90000 h 270000"/>
                <a:gd name="connsiteX9" fmla="*/ 30000 w 30000"/>
                <a:gd name="connsiteY9" fmla="*/ 105000 h 270000"/>
                <a:gd name="connsiteX10" fmla="*/ 15000 w 30000"/>
                <a:gd name="connsiteY10" fmla="*/ 120000 h 270000"/>
                <a:gd name="connsiteX11" fmla="*/ 0 w 30000"/>
                <a:gd name="connsiteY11" fmla="*/ 105000 h 270000"/>
                <a:gd name="connsiteX12" fmla="*/ 0 w 30000"/>
                <a:gd name="connsiteY12" fmla="*/ 90000 h 270000"/>
                <a:gd name="connsiteX13" fmla="*/ 15000 w 30000"/>
                <a:gd name="connsiteY13" fmla="*/ 75000 h 270000"/>
                <a:gd name="connsiteX14" fmla="*/ 15000 w 30000"/>
                <a:gd name="connsiteY14" fmla="*/ 150000 h 270000"/>
                <a:gd name="connsiteX15" fmla="*/ 30000 w 30000"/>
                <a:gd name="connsiteY15" fmla="*/ 165000 h 270000"/>
                <a:gd name="connsiteX16" fmla="*/ 30000 w 30000"/>
                <a:gd name="connsiteY16" fmla="*/ 180000 h 270000"/>
                <a:gd name="connsiteX17" fmla="*/ 15000 w 30000"/>
                <a:gd name="connsiteY17" fmla="*/ 195000 h 270000"/>
                <a:gd name="connsiteX18" fmla="*/ 0 w 30000"/>
                <a:gd name="connsiteY18" fmla="*/ 180000 h 270000"/>
                <a:gd name="connsiteX19" fmla="*/ 0 w 30000"/>
                <a:gd name="connsiteY19" fmla="*/ 165000 h 270000"/>
                <a:gd name="connsiteX20" fmla="*/ 15000 w 30000"/>
                <a:gd name="connsiteY20" fmla="*/ 150000 h 270000"/>
                <a:gd name="connsiteX21" fmla="*/ 15000 w 30000"/>
                <a:gd name="connsiteY21" fmla="*/ 225000 h 270000"/>
                <a:gd name="connsiteX22" fmla="*/ 30000 w 30000"/>
                <a:gd name="connsiteY22" fmla="*/ 240000 h 270000"/>
                <a:gd name="connsiteX23" fmla="*/ 30000 w 30000"/>
                <a:gd name="connsiteY23" fmla="*/ 255000 h 270000"/>
                <a:gd name="connsiteX24" fmla="*/ 15000 w 30000"/>
                <a:gd name="connsiteY24" fmla="*/ 270000 h 270000"/>
                <a:gd name="connsiteX25" fmla="*/ 0 w 30000"/>
                <a:gd name="connsiteY25" fmla="*/ 255000 h 270000"/>
                <a:gd name="connsiteX26" fmla="*/ 0 w 30000"/>
                <a:gd name="connsiteY26" fmla="*/ 240000 h 270000"/>
                <a:gd name="connsiteX27" fmla="*/ 15000 w 30000"/>
                <a:gd name="connsiteY27" fmla="*/ 225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000" h="270000">
                  <a:moveTo>
                    <a:pt x="15000" y="0"/>
                  </a:moveTo>
                  <a:cubicBezTo>
                    <a:pt x="23285" y="0"/>
                    <a:pt x="30000" y="6716"/>
                    <a:pt x="30000" y="15000"/>
                  </a:cubicBezTo>
                  <a:lnTo>
                    <a:pt x="30000" y="30000"/>
                  </a:lnTo>
                  <a:cubicBezTo>
                    <a:pt x="30000" y="38284"/>
                    <a:pt x="23285" y="45000"/>
                    <a:pt x="15000" y="45000"/>
                  </a:cubicBezTo>
                  <a:cubicBezTo>
                    <a:pt x="6715" y="45000"/>
                    <a:pt x="0" y="38284"/>
                    <a:pt x="0" y="30000"/>
                  </a:cubicBezTo>
                  <a:lnTo>
                    <a:pt x="0" y="15000"/>
                  </a:lnTo>
                  <a:cubicBezTo>
                    <a:pt x="0" y="6716"/>
                    <a:pt x="6715" y="0"/>
                    <a:pt x="15000" y="0"/>
                  </a:cubicBezTo>
                  <a:close/>
                  <a:moveTo>
                    <a:pt x="15000" y="75000"/>
                  </a:moveTo>
                  <a:cubicBezTo>
                    <a:pt x="23285" y="75000"/>
                    <a:pt x="30000" y="81716"/>
                    <a:pt x="30000" y="90000"/>
                  </a:cubicBezTo>
                  <a:lnTo>
                    <a:pt x="30000" y="105000"/>
                  </a:lnTo>
                  <a:cubicBezTo>
                    <a:pt x="30000" y="113285"/>
                    <a:pt x="23285" y="120000"/>
                    <a:pt x="15000" y="120000"/>
                  </a:cubicBezTo>
                  <a:cubicBezTo>
                    <a:pt x="6715" y="120000"/>
                    <a:pt x="0" y="113285"/>
                    <a:pt x="0" y="105000"/>
                  </a:cubicBezTo>
                  <a:lnTo>
                    <a:pt x="0" y="90000"/>
                  </a:lnTo>
                  <a:cubicBezTo>
                    <a:pt x="0" y="81716"/>
                    <a:pt x="6715" y="75000"/>
                    <a:pt x="15000" y="75000"/>
                  </a:cubicBezTo>
                  <a:close/>
                  <a:moveTo>
                    <a:pt x="15000" y="150000"/>
                  </a:moveTo>
                  <a:cubicBezTo>
                    <a:pt x="23285" y="150000"/>
                    <a:pt x="30000" y="156716"/>
                    <a:pt x="30000" y="165000"/>
                  </a:cubicBezTo>
                  <a:lnTo>
                    <a:pt x="30000" y="180000"/>
                  </a:lnTo>
                  <a:cubicBezTo>
                    <a:pt x="30000" y="188285"/>
                    <a:pt x="23285" y="195000"/>
                    <a:pt x="15000" y="195000"/>
                  </a:cubicBezTo>
                  <a:cubicBezTo>
                    <a:pt x="6715" y="195000"/>
                    <a:pt x="0" y="188285"/>
                    <a:pt x="0" y="180000"/>
                  </a:cubicBezTo>
                  <a:lnTo>
                    <a:pt x="0" y="165000"/>
                  </a:lnTo>
                  <a:cubicBezTo>
                    <a:pt x="0" y="156716"/>
                    <a:pt x="6715" y="150000"/>
                    <a:pt x="15000" y="150000"/>
                  </a:cubicBezTo>
                  <a:close/>
                  <a:moveTo>
                    <a:pt x="15000" y="225000"/>
                  </a:moveTo>
                  <a:cubicBezTo>
                    <a:pt x="23285" y="225000"/>
                    <a:pt x="30000" y="231716"/>
                    <a:pt x="30000" y="240000"/>
                  </a:cubicBezTo>
                  <a:lnTo>
                    <a:pt x="30000" y="255000"/>
                  </a:lnTo>
                  <a:cubicBezTo>
                    <a:pt x="30000" y="263285"/>
                    <a:pt x="23285" y="270000"/>
                    <a:pt x="15000" y="270000"/>
                  </a:cubicBezTo>
                  <a:cubicBezTo>
                    <a:pt x="6715" y="270000"/>
                    <a:pt x="0" y="263285"/>
                    <a:pt x="0" y="255000"/>
                  </a:cubicBezTo>
                  <a:lnTo>
                    <a:pt x="0" y="240000"/>
                  </a:lnTo>
                  <a:cubicBezTo>
                    <a:pt x="0" y="231716"/>
                    <a:pt x="6715" y="225000"/>
                    <a:pt x="15000" y="22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5" name="Полилиния 1304">
              <a:extLst>
                <a:ext uri="{FF2B5EF4-FFF2-40B4-BE49-F238E27FC236}">
                  <a16:creationId xmlns:a16="http://schemas.microsoft.com/office/drawing/2014/main" id="{E6B9A863-D7A0-014B-86BE-BB9029D294AB}"/>
                </a:ext>
              </a:extLst>
            </p:cNvPr>
            <p:cNvSpPr/>
            <p:nvPr/>
          </p:nvSpPr>
          <p:spPr>
            <a:xfrm>
              <a:off x="9801920" y="2214033"/>
              <a:ext cx="270000" cy="103791"/>
            </a:xfrm>
            <a:custGeom>
              <a:avLst/>
              <a:gdLst>
                <a:gd name="connsiteX0" fmla="*/ 270000 w 270000"/>
                <a:gd name="connsiteY0" fmla="*/ 7500 h 103791"/>
                <a:gd name="connsiteX1" fmla="*/ 270000 w 270000"/>
                <a:gd name="connsiteY1" fmla="*/ 96291 h 103791"/>
                <a:gd name="connsiteX2" fmla="*/ 262500 w 270000"/>
                <a:gd name="connsiteY2" fmla="*/ 103791 h 103791"/>
                <a:gd name="connsiteX3" fmla="*/ 257816 w 270000"/>
                <a:gd name="connsiteY3" fmla="*/ 102147 h 103791"/>
                <a:gd name="connsiteX4" fmla="*/ 202320 w 270000"/>
                <a:gd name="connsiteY4" fmla="*/ 57752 h 103791"/>
                <a:gd name="connsiteX5" fmla="*/ 201150 w 270000"/>
                <a:gd name="connsiteY5" fmla="*/ 47211 h 103791"/>
                <a:gd name="connsiteX6" fmla="*/ 202320 w 270000"/>
                <a:gd name="connsiteY6" fmla="*/ 46040 h 103791"/>
                <a:gd name="connsiteX7" fmla="*/ 257816 w 270000"/>
                <a:gd name="connsiteY7" fmla="*/ 1644 h 103791"/>
                <a:gd name="connsiteX8" fmla="*/ 268356 w 270000"/>
                <a:gd name="connsiteY8" fmla="*/ 2815 h 103791"/>
                <a:gd name="connsiteX9" fmla="*/ 270000 w 270000"/>
                <a:gd name="connsiteY9" fmla="*/ 7500 h 103791"/>
                <a:gd name="connsiteX10" fmla="*/ 0 w 270000"/>
                <a:gd name="connsiteY10" fmla="*/ 96291 h 103791"/>
                <a:gd name="connsiteX11" fmla="*/ 0 w 270000"/>
                <a:gd name="connsiteY11" fmla="*/ 7500 h 103791"/>
                <a:gd name="connsiteX12" fmla="*/ 7500 w 270000"/>
                <a:gd name="connsiteY12" fmla="*/ 0 h 103791"/>
                <a:gd name="connsiteX13" fmla="*/ 12185 w 270000"/>
                <a:gd name="connsiteY13" fmla="*/ 1644 h 103791"/>
                <a:gd name="connsiteX14" fmla="*/ 67679 w 270000"/>
                <a:gd name="connsiteY14" fmla="*/ 46040 h 103791"/>
                <a:gd name="connsiteX15" fmla="*/ 68851 w 270000"/>
                <a:gd name="connsiteY15" fmla="*/ 56580 h 103791"/>
                <a:gd name="connsiteX16" fmla="*/ 67679 w 270000"/>
                <a:gd name="connsiteY16" fmla="*/ 57752 h 103791"/>
                <a:gd name="connsiteX17" fmla="*/ 12185 w 270000"/>
                <a:gd name="connsiteY17" fmla="*/ 102147 h 103791"/>
                <a:gd name="connsiteX18" fmla="*/ 1644 w 270000"/>
                <a:gd name="connsiteY18" fmla="*/ 100976 h 103791"/>
                <a:gd name="connsiteX19" fmla="*/ 0 w 270000"/>
                <a:gd name="connsiteY19" fmla="*/ 96291 h 103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0000" h="103791">
                  <a:moveTo>
                    <a:pt x="270000" y="7500"/>
                  </a:moveTo>
                  <a:lnTo>
                    <a:pt x="270000" y="96291"/>
                  </a:lnTo>
                  <a:cubicBezTo>
                    <a:pt x="270000" y="100433"/>
                    <a:pt x="266642" y="103791"/>
                    <a:pt x="262500" y="103791"/>
                  </a:cubicBezTo>
                  <a:cubicBezTo>
                    <a:pt x="260797" y="103791"/>
                    <a:pt x="259145" y="103211"/>
                    <a:pt x="257816" y="102147"/>
                  </a:cubicBezTo>
                  <a:lnTo>
                    <a:pt x="202320" y="57752"/>
                  </a:lnTo>
                  <a:cubicBezTo>
                    <a:pt x="199086" y="55164"/>
                    <a:pt x="198562" y="50445"/>
                    <a:pt x="201150" y="47211"/>
                  </a:cubicBezTo>
                  <a:cubicBezTo>
                    <a:pt x="201495" y="46778"/>
                    <a:pt x="201888" y="46385"/>
                    <a:pt x="202320" y="46040"/>
                  </a:cubicBezTo>
                  <a:lnTo>
                    <a:pt x="257816" y="1644"/>
                  </a:lnTo>
                  <a:cubicBezTo>
                    <a:pt x="261049" y="-944"/>
                    <a:pt x="265769" y="-419"/>
                    <a:pt x="268356" y="2815"/>
                  </a:cubicBezTo>
                  <a:cubicBezTo>
                    <a:pt x="269421" y="4145"/>
                    <a:pt x="270000" y="5797"/>
                    <a:pt x="270000" y="7500"/>
                  </a:cubicBezTo>
                  <a:close/>
                  <a:moveTo>
                    <a:pt x="0" y="96291"/>
                  </a:moveTo>
                  <a:lnTo>
                    <a:pt x="0" y="7500"/>
                  </a:lnTo>
                  <a:cubicBezTo>
                    <a:pt x="0" y="3358"/>
                    <a:pt x="3358" y="0"/>
                    <a:pt x="7500" y="0"/>
                  </a:cubicBezTo>
                  <a:cubicBezTo>
                    <a:pt x="9203" y="0"/>
                    <a:pt x="10855" y="580"/>
                    <a:pt x="12185" y="1644"/>
                  </a:cubicBezTo>
                  <a:lnTo>
                    <a:pt x="67679" y="46040"/>
                  </a:lnTo>
                  <a:cubicBezTo>
                    <a:pt x="70914" y="48627"/>
                    <a:pt x="71438" y="53346"/>
                    <a:pt x="68851" y="56580"/>
                  </a:cubicBezTo>
                  <a:cubicBezTo>
                    <a:pt x="68505" y="57014"/>
                    <a:pt x="68112" y="57407"/>
                    <a:pt x="67679" y="57752"/>
                  </a:cubicBezTo>
                  <a:lnTo>
                    <a:pt x="12185" y="102147"/>
                  </a:lnTo>
                  <a:cubicBezTo>
                    <a:pt x="8951" y="104735"/>
                    <a:pt x="4231" y="104211"/>
                    <a:pt x="1644" y="100976"/>
                  </a:cubicBezTo>
                  <a:cubicBezTo>
                    <a:pt x="580" y="99647"/>
                    <a:pt x="0" y="97994"/>
                    <a:pt x="0" y="96291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06" name="Рисунок 323">
            <a:extLst>
              <a:ext uri="{FF2B5EF4-FFF2-40B4-BE49-F238E27FC236}">
                <a16:creationId xmlns:a16="http://schemas.microsoft.com/office/drawing/2014/main" id="{645D8E29-45FE-1243-9429-BB33DD003444}"/>
              </a:ext>
            </a:extLst>
          </p:cNvPr>
          <p:cNvGrpSpPr/>
          <p:nvPr/>
        </p:nvGrpSpPr>
        <p:grpSpPr>
          <a:xfrm>
            <a:off x="6702935" y="1769207"/>
            <a:ext cx="360000" cy="360000"/>
            <a:chOff x="6736388" y="2085929"/>
            <a:chExt cx="360000" cy="360000"/>
          </a:xfrm>
        </p:grpSpPr>
        <p:sp>
          <p:nvSpPr>
            <p:cNvPr id="1307" name="Полилиния 1306">
              <a:extLst>
                <a:ext uri="{FF2B5EF4-FFF2-40B4-BE49-F238E27FC236}">
                  <a16:creationId xmlns:a16="http://schemas.microsoft.com/office/drawing/2014/main" id="{AE433AAC-22B1-F748-B625-7908C56307CF}"/>
                </a:ext>
              </a:extLst>
            </p:cNvPr>
            <p:cNvSpPr/>
            <p:nvPr/>
          </p:nvSpPr>
          <p:spPr>
            <a:xfrm>
              <a:off x="6736388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8" name="Скругленный прямоугольник 1307">
              <a:extLst>
                <a:ext uri="{FF2B5EF4-FFF2-40B4-BE49-F238E27FC236}">
                  <a16:creationId xmlns:a16="http://schemas.microsoft.com/office/drawing/2014/main" id="{4A89306B-0678-7845-BDE1-8E06C3A6FDD5}"/>
                </a:ext>
              </a:extLst>
            </p:cNvPr>
            <p:cNvSpPr/>
            <p:nvPr/>
          </p:nvSpPr>
          <p:spPr>
            <a:xfrm>
              <a:off x="6766388" y="2175929"/>
              <a:ext cx="195000" cy="180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9" name="Полилиния 1308">
              <a:extLst>
                <a:ext uri="{FF2B5EF4-FFF2-40B4-BE49-F238E27FC236}">
                  <a16:creationId xmlns:a16="http://schemas.microsoft.com/office/drawing/2014/main" id="{13D77D31-B5F6-9148-AFAC-D278D4F650C4}"/>
                </a:ext>
              </a:extLst>
            </p:cNvPr>
            <p:cNvSpPr/>
            <p:nvPr/>
          </p:nvSpPr>
          <p:spPr>
            <a:xfrm>
              <a:off x="6982601" y="2197142"/>
              <a:ext cx="83786" cy="137573"/>
            </a:xfrm>
            <a:custGeom>
              <a:avLst/>
              <a:gdLst>
                <a:gd name="connsiteX0" fmla="*/ 83787 w 83786"/>
                <a:gd name="connsiteY0" fmla="*/ 15000 h 137573"/>
                <a:gd name="connsiteX1" fmla="*/ 83787 w 83786"/>
                <a:gd name="connsiteY1" fmla="*/ 122574 h 137573"/>
                <a:gd name="connsiteX2" fmla="*/ 68787 w 83786"/>
                <a:gd name="connsiteY2" fmla="*/ 137574 h 137573"/>
                <a:gd name="connsiteX3" fmla="*/ 58180 w 83786"/>
                <a:gd name="connsiteY3" fmla="*/ 133180 h 137573"/>
                <a:gd name="connsiteX4" fmla="*/ 4393 w 83786"/>
                <a:gd name="connsiteY4" fmla="*/ 79393 h 137573"/>
                <a:gd name="connsiteX5" fmla="*/ 4393 w 83786"/>
                <a:gd name="connsiteY5" fmla="*/ 58180 h 137573"/>
                <a:gd name="connsiteX6" fmla="*/ 58180 w 83786"/>
                <a:gd name="connsiteY6" fmla="*/ 4393 h 137573"/>
                <a:gd name="connsiteX7" fmla="*/ 79393 w 83786"/>
                <a:gd name="connsiteY7" fmla="*/ 4393 h 137573"/>
                <a:gd name="connsiteX8" fmla="*/ 83787 w 83786"/>
                <a:gd name="connsiteY8" fmla="*/ 15000 h 13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786" h="137573">
                  <a:moveTo>
                    <a:pt x="83787" y="15000"/>
                  </a:moveTo>
                  <a:lnTo>
                    <a:pt x="83787" y="122574"/>
                  </a:lnTo>
                  <a:cubicBezTo>
                    <a:pt x="83787" y="130858"/>
                    <a:pt x="77071" y="137574"/>
                    <a:pt x="68787" y="137574"/>
                  </a:cubicBezTo>
                  <a:cubicBezTo>
                    <a:pt x="64809" y="137574"/>
                    <a:pt x="60993" y="135993"/>
                    <a:pt x="58180" y="133180"/>
                  </a:cubicBezTo>
                  <a:lnTo>
                    <a:pt x="4393" y="79393"/>
                  </a:lnTo>
                  <a:cubicBezTo>
                    <a:pt x="-1464" y="73536"/>
                    <a:pt x="-1464" y="64038"/>
                    <a:pt x="4393" y="58180"/>
                  </a:cubicBezTo>
                  <a:lnTo>
                    <a:pt x="58180" y="4393"/>
                  </a:lnTo>
                  <a:cubicBezTo>
                    <a:pt x="64038" y="-1464"/>
                    <a:pt x="73536" y="-1464"/>
                    <a:pt x="79393" y="4393"/>
                  </a:cubicBezTo>
                  <a:cubicBezTo>
                    <a:pt x="82206" y="7206"/>
                    <a:pt x="83787" y="11022"/>
                    <a:pt x="83787" y="1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10" name="Рисунок 324">
            <a:extLst>
              <a:ext uri="{FF2B5EF4-FFF2-40B4-BE49-F238E27FC236}">
                <a16:creationId xmlns:a16="http://schemas.microsoft.com/office/drawing/2014/main" id="{6A3296D8-E31D-824E-8521-D050954ADEAE}"/>
              </a:ext>
            </a:extLst>
          </p:cNvPr>
          <p:cNvGrpSpPr/>
          <p:nvPr/>
        </p:nvGrpSpPr>
        <p:grpSpPr>
          <a:xfrm>
            <a:off x="5192669" y="1769207"/>
            <a:ext cx="360000" cy="360000"/>
            <a:chOff x="5226122" y="2085929"/>
            <a:chExt cx="360000" cy="360000"/>
          </a:xfrm>
        </p:grpSpPr>
        <p:sp>
          <p:nvSpPr>
            <p:cNvPr id="1311" name="Полилиния 1310">
              <a:extLst>
                <a:ext uri="{FF2B5EF4-FFF2-40B4-BE49-F238E27FC236}">
                  <a16:creationId xmlns:a16="http://schemas.microsoft.com/office/drawing/2014/main" id="{DD249620-30B0-5346-AE57-1F5CF2F5A41A}"/>
                </a:ext>
              </a:extLst>
            </p:cNvPr>
            <p:cNvSpPr/>
            <p:nvPr/>
          </p:nvSpPr>
          <p:spPr>
            <a:xfrm>
              <a:off x="5226122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2" name="Полилиния 1311">
              <a:extLst>
                <a:ext uri="{FF2B5EF4-FFF2-40B4-BE49-F238E27FC236}">
                  <a16:creationId xmlns:a16="http://schemas.microsoft.com/office/drawing/2014/main" id="{8CA48111-B10E-494B-89CE-35BF590F9014}"/>
                </a:ext>
              </a:extLst>
            </p:cNvPr>
            <p:cNvSpPr/>
            <p:nvPr/>
          </p:nvSpPr>
          <p:spPr>
            <a:xfrm>
              <a:off x="5271122" y="2175929"/>
              <a:ext cx="270000" cy="180000"/>
            </a:xfrm>
            <a:custGeom>
              <a:avLst/>
              <a:gdLst>
                <a:gd name="connsiteX0" fmla="*/ 0 w 270000"/>
                <a:gd name="connsiteY0" fmla="*/ 90000 h 180000"/>
                <a:gd name="connsiteX1" fmla="*/ 135000 w 270000"/>
                <a:gd name="connsiteY1" fmla="*/ 0 h 180000"/>
                <a:gd name="connsiteX2" fmla="*/ 270000 w 270000"/>
                <a:gd name="connsiteY2" fmla="*/ 90000 h 180000"/>
                <a:gd name="connsiteX3" fmla="*/ 135000 w 270000"/>
                <a:gd name="connsiteY3" fmla="*/ 180000 h 180000"/>
                <a:gd name="connsiteX4" fmla="*/ 0 w 270000"/>
                <a:gd name="connsiteY4" fmla="*/ 9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000" h="180000">
                  <a:moveTo>
                    <a:pt x="0" y="90000"/>
                  </a:moveTo>
                  <a:cubicBezTo>
                    <a:pt x="0" y="90000"/>
                    <a:pt x="36818" y="0"/>
                    <a:pt x="135000" y="0"/>
                  </a:cubicBezTo>
                  <a:cubicBezTo>
                    <a:pt x="208637" y="0"/>
                    <a:pt x="270000" y="90000"/>
                    <a:pt x="270000" y="90000"/>
                  </a:cubicBezTo>
                  <a:cubicBezTo>
                    <a:pt x="270000" y="90000"/>
                    <a:pt x="208637" y="180000"/>
                    <a:pt x="135000" y="180000"/>
                  </a:cubicBezTo>
                  <a:cubicBezTo>
                    <a:pt x="36818" y="180000"/>
                    <a:pt x="0" y="90000"/>
                    <a:pt x="0" y="9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3" name="Полилиния 1312">
              <a:extLst>
                <a:ext uri="{FF2B5EF4-FFF2-40B4-BE49-F238E27FC236}">
                  <a16:creationId xmlns:a16="http://schemas.microsoft.com/office/drawing/2014/main" id="{68013702-F125-BE48-81BF-11BD40A8E5DD}"/>
                </a:ext>
              </a:extLst>
            </p:cNvPr>
            <p:cNvSpPr/>
            <p:nvPr/>
          </p:nvSpPr>
          <p:spPr>
            <a:xfrm>
              <a:off x="5361122" y="2220929"/>
              <a:ext cx="90000" cy="90000"/>
            </a:xfrm>
            <a:custGeom>
              <a:avLst/>
              <a:gdLst>
                <a:gd name="connsiteX0" fmla="*/ 45000 w 90000"/>
                <a:gd name="connsiteY0" fmla="*/ 90000 h 90000"/>
                <a:gd name="connsiteX1" fmla="*/ 0 w 90000"/>
                <a:gd name="connsiteY1" fmla="*/ 45000 h 90000"/>
                <a:gd name="connsiteX2" fmla="*/ 45000 w 90000"/>
                <a:gd name="connsiteY2" fmla="*/ 0 h 90000"/>
                <a:gd name="connsiteX3" fmla="*/ 90000 w 90000"/>
                <a:gd name="connsiteY3" fmla="*/ 45000 h 90000"/>
                <a:gd name="connsiteX4" fmla="*/ 45000 w 90000"/>
                <a:gd name="connsiteY4" fmla="*/ 9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00" h="90000">
                  <a:moveTo>
                    <a:pt x="45000" y="90000"/>
                  </a:moveTo>
                  <a:cubicBezTo>
                    <a:pt x="20146" y="90000"/>
                    <a:pt x="0" y="69854"/>
                    <a:pt x="0" y="45000"/>
                  </a:cubicBezTo>
                  <a:cubicBezTo>
                    <a:pt x="0" y="20146"/>
                    <a:pt x="20146" y="0"/>
                    <a:pt x="45000" y="0"/>
                  </a:cubicBezTo>
                  <a:cubicBezTo>
                    <a:pt x="69854" y="0"/>
                    <a:pt x="90000" y="20146"/>
                    <a:pt x="90000" y="45000"/>
                  </a:cubicBezTo>
                  <a:cubicBezTo>
                    <a:pt x="90000" y="69854"/>
                    <a:pt x="69854" y="90000"/>
                    <a:pt x="45000" y="9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14" name="Рисунок 325">
            <a:extLst>
              <a:ext uri="{FF2B5EF4-FFF2-40B4-BE49-F238E27FC236}">
                <a16:creationId xmlns:a16="http://schemas.microsoft.com/office/drawing/2014/main" id="{FBC01037-33FA-8A4A-B5A6-B3D332B4D088}"/>
              </a:ext>
            </a:extLst>
          </p:cNvPr>
          <p:cNvGrpSpPr/>
          <p:nvPr/>
        </p:nvGrpSpPr>
        <p:grpSpPr>
          <a:xfrm>
            <a:off x="5947802" y="1769207"/>
            <a:ext cx="360000" cy="360000"/>
            <a:chOff x="5981255" y="2085929"/>
            <a:chExt cx="360000" cy="360000"/>
          </a:xfrm>
        </p:grpSpPr>
        <p:sp>
          <p:nvSpPr>
            <p:cNvPr id="1315" name="Полилиния 1314">
              <a:extLst>
                <a:ext uri="{FF2B5EF4-FFF2-40B4-BE49-F238E27FC236}">
                  <a16:creationId xmlns:a16="http://schemas.microsoft.com/office/drawing/2014/main" id="{E7721DF3-15EC-4E40-A6E2-ADDFB2708BE6}"/>
                </a:ext>
              </a:extLst>
            </p:cNvPr>
            <p:cNvSpPr/>
            <p:nvPr/>
          </p:nvSpPr>
          <p:spPr>
            <a:xfrm>
              <a:off x="5981255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6" name="Полилиния 1315">
              <a:extLst>
                <a:ext uri="{FF2B5EF4-FFF2-40B4-BE49-F238E27FC236}">
                  <a16:creationId xmlns:a16="http://schemas.microsoft.com/office/drawing/2014/main" id="{C96A6C12-FCF8-C241-920D-826E5B230083}"/>
                </a:ext>
              </a:extLst>
            </p:cNvPr>
            <p:cNvSpPr/>
            <p:nvPr/>
          </p:nvSpPr>
          <p:spPr>
            <a:xfrm>
              <a:off x="6221255" y="2250929"/>
              <a:ext cx="105000" cy="30000"/>
            </a:xfrm>
            <a:custGeom>
              <a:avLst/>
              <a:gdLst>
                <a:gd name="connsiteX0" fmla="*/ 90000 w 105000"/>
                <a:gd name="connsiteY0" fmla="*/ 0 h 30000"/>
                <a:gd name="connsiteX1" fmla="*/ 105000 w 105000"/>
                <a:gd name="connsiteY1" fmla="*/ 0 h 30000"/>
                <a:gd name="connsiteX2" fmla="*/ 105000 w 105000"/>
                <a:gd name="connsiteY2" fmla="*/ 30000 h 30000"/>
                <a:gd name="connsiteX3" fmla="*/ 90000 w 105000"/>
                <a:gd name="connsiteY3" fmla="*/ 30000 h 30000"/>
                <a:gd name="connsiteX4" fmla="*/ 15000 w 105000"/>
                <a:gd name="connsiteY4" fmla="*/ 30000 h 30000"/>
                <a:gd name="connsiteX5" fmla="*/ 0 w 105000"/>
                <a:gd name="connsiteY5" fmla="*/ 30000 h 30000"/>
                <a:gd name="connsiteX6" fmla="*/ 0 w 105000"/>
                <a:gd name="connsiteY6" fmla="*/ 0 h 30000"/>
                <a:gd name="connsiteX7" fmla="*/ 15000 w 105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000" h="30000">
                  <a:moveTo>
                    <a:pt x="90000" y="0"/>
                  </a:moveTo>
                  <a:cubicBezTo>
                    <a:pt x="98284" y="0"/>
                    <a:pt x="105000" y="0"/>
                    <a:pt x="105000" y="0"/>
                  </a:cubicBezTo>
                  <a:lnTo>
                    <a:pt x="105000" y="30000"/>
                  </a:lnTo>
                  <a:cubicBezTo>
                    <a:pt x="105000" y="30000"/>
                    <a:pt x="98284" y="30000"/>
                    <a:pt x="90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7" name="Полилиния 1316">
              <a:extLst>
                <a:ext uri="{FF2B5EF4-FFF2-40B4-BE49-F238E27FC236}">
                  <a16:creationId xmlns:a16="http://schemas.microsoft.com/office/drawing/2014/main" id="{4A369FDD-78A9-6940-A84F-D8407F085C30}"/>
                </a:ext>
              </a:extLst>
            </p:cNvPr>
            <p:cNvSpPr/>
            <p:nvPr/>
          </p:nvSpPr>
          <p:spPr>
            <a:xfrm>
              <a:off x="6011255" y="2152142"/>
              <a:ext cx="150000" cy="227573"/>
            </a:xfrm>
            <a:custGeom>
              <a:avLst/>
              <a:gdLst>
                <a:gd name="connsiteX0" fmla="*/ 75000 w 150000"/>
                <a:gd name="connsiteY0" fmla="*/ 173787 h 227573"/>
                <a:gd name="connsiteX1" fmla="*/ 24117 w 150000"/>
                <a:gd name="connsiteY1" fmla="*/ 163611 h 227573"/>
                <a:gd name="connsiteX2" fmla="*/ 0 w 150000"/>
                <a:gd name="connsiteY2" fmla="*/ 134193 h 227573"/>
                <a:gd name="connsiteX3" fmla="*/ 0 w 150000"/>
                <a:gd name="connsiteY3" fmla="*/ 93381 h 227573"/>
                <a:gd name="connsiteX4" fmla="*/ 24117 w 150000"/>
                <a:gd name="connsiteY4" fmla="*/ 63964 h 227573"/>
                <a:gd name="connsiteX5" fmla="*/ 75000 w 150000"/>
                <a:gd name="connsiteY5" fmla="*/ 53787 h 227573"/>
                <a:gd name="connsiteX6" fmla="*/ 124394 w 150000"/>
                <a:gd name="connsiteY6" fmla="*/ 4393 h 227573"/>
                <a:gd name="connsiteX7" fmla="*/ 145607 w 150000"/>
                <a:gd name="connsiteY7" fmla="*/ 4393 h 227573"/>
                <a:gd name="connsiteX8" fmla="*/ 150000 w 150000"/>
                <a:gd name="connsiteY8" fmla="*/ 15000 h 227573"/>
                <a:gd name="connsiteX9" fmla="*/ 150000 w 150000"/>
                <a:gd name="connsiteY9" fmla="*/ 212574 h 227573"/>
                <a:gd name="connsiteX10" fmla="*/ 135000 w 150000"/>
                <a:gd name="connsiteY10" fmla="*/ 227574 h 227573"/>
                <a:gd name="connsiteX11" fmla="*/ 124394 w 150000"/>
                <a:gd name="connsiteY11" fmla="*/ 223180 h 227573"/>
                <a:gd name="connsiteX12" fmla="*/ 75000 w 150000"/>
                <a:gd name="connsiteY12" fmla="*/ 173787 h 22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0000" h="227573">
                  <a:moveTo>
                    <a:pt x="75000" y="173787"/>
                  </a:moveTo>
                  <a:lnTo>
                    <a:pt x="24117" y="163611"/>
                  </a:lnTo>
                  <a:cubicBezTo>
                    <a:pt x="10094" y="160806"/>
                    <a:pt x="0" y="148494"/>
                    <a:pt x="0" y="134193"/>
                  </a:cubicBezTo>
                  <a:lnTo>
                    <a:pt x="0" y="93381"/>
                  </a:lnTo>
                  <a:cubicBezTo>
                    <a:pt x="0" y="79081"/>
                    <a:pt x="10094" y="66768"/>
                    <a:pt x="24117" y="63964"/>
                  </a:cubicBezTo>
                  <a:lnTo>
                    <a:pt x="75000" y="53787"/>
                  </a:lnTo>
                  <a:lnTo>
                    <a:pt x="124394" y="4393"/>
                  </a:lnTo>
                  <a:cubicBezTo>
                    <a:pt x="130251" y="-1464"/>
                    <a:pt x="139749" y="-1464"/>
                    <a:pt x="145607" y="4393"/>
                  </a:cubicBezTo>
                  <a:cubicBezTo>
                    <a:pt x="148419" y="7206"/>
                    <a:pt x="150000" y="11022"/>
                    <a:pt x="150000" y="15000"/>
                  </a:cubicBezTo>
                  <a:lnTo>
                    <a:pt x="150000" y="212574"/>
                  </a:lnTo>
                  <a:cubicBezTo>
                    <a:pt x="150000" y="220858"/>
                    <a:pt x="143285" y="227574"/>
                    <a:pt x="135000" y="227574"/>
                  </a:cubicBezTo>
                  <a:cubicBezTo>
                    <a:pt x="131022" y="227574"/>
                    <a:pt x="127206" y="225993"/>
                    <a:pt x="124394" y="223180"/>
                  </a:cubicBezTo>
                  <a:lnTo>
                    <a:pt x="75000" y="17378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18" name="Рисунок 326">
            <a:extLst>
              <a:ext uri="{FF2B5EF4-FFF2-40B4-BE49-F238E27FC236}">
                <a16:creationId xmlns:a16="http://schemas.microsoft.com/office/drawing/2014/main" id="{6A39AA36-9EFE-0043-86ED-F10F4605639B}"/>
              </a:ext>
            </a:extLst>
          </p:cNvPr>
          <p:cNvGrpSpPr/>
          <p:nvPr/>
        </p:nvGrpSpPr>
        <p:grpSpPr>
          <a:xfrm>
            <a:off x="4437536" y="1769207"/>
            <a:ext cx="360000" cy="360000"/>
            <a:chOff x="4470989" y="2085929"/>
            <a:chExt cx="360000" cy="360000"/>
          </a:xfrm>
        </p:grpSpPr>
        <p:sp>
          <p:nvSpPr>
            <p:cNvPr id="1319" name="Полилиния 1318">
              <a:extLst>
                <a:ext uri="{FF2B5EF4-FFF2-40B4-BE49-F238E27FC236}">
                  <a16:creationId xmlns:a16="http://schemas.microsoft.com/office/drawing/2014/main" id="{945F3622-FB04-544A-89FC-64709955C0D3}"/>
                </a:ext>
              </a:extLst>
            </p:cNvPr>
            <p:cNvSpPr/>
            <p:nvPr/>
          </p:nvSpPr>
          <p:spPr>
            <a:xfrm>
              <a:off x="4470989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0" name="Полилиния 1319">
              <a:extLst>
                <a:ext uri="{FF2B5EF4-FFF2-40B4-BE49-F238E27FC236}">
                  <a16:creationId xmlns:a16="http://schemas.microsoft.com/office/drawing/2014/main" id="{172D516F-1DE1-2048-AC2F-45661B47465D}"/>
                </a:ext>
              </a:extLst>
            </p:cNvPr>
            <p:cNvSpPr/>
            <p:nvPr/>
          </p:nvSpPr>
          <p:spPr>
            <a:xfrm>
              <a:off x="4698979" y="2147021"/>
              <a:ext cx="98259" cy="238360"/>
            </a:xfrm>
            <a:custGeom>
              <a:avLst/>
              <a:gdLst>
                <a:gd name="connsiteX0" fmla="*/ 16744 w 98259"/>
                <a:gd name="connsiteY0" fmla="*/ 181130 h 238360"/>
                <a:gd name="connsiteX1" fmla="*/ 1433 w 98259"/>
                <a:gd name="connsiteY1" fmla="*/ 176803 h 238360"/>
                <a:gd name="connsiteX2" fmla="*/ 5761 w 98259"/>
                <a:gd name="connsiteY2" fmla="*/ 161492 h 238360"/>
                <a:gd name="connsiteX3" fmla="*/ 30760 w 98259"/>
                <a:gd name="connsiteY3" fmla="*/ 118907 h 238360"/>
                <a:gd name="connsiteX4" fmla="*/ 6083 w 98259"/>
                <a:gd name="connsiteY4" fmla="*/ 76504 h 238360"/>
                <a:gd name="connsiteX5" fmla="*/ 1871 w 98259"/>
                <a:gd name="connsiteY5" fmla="*/ 61162 h 238360"/>
                <a:gd name="connsiteX6" fmla="*/ 17213 w 98259"/>
                <a:gd name="connsiteY6" fmla="*/ 56950 h 238360"/>
                <a:gd name="connsiteX7" fmla="*/ 53260 w 98259"/>
                <a:gd name="connsiteY7" fmla="*/ 118907 h 238360"/>
                <a:gd name="connsiteX8" fmla="*/ 16744 w 98259"/>
                <a:gd name="connsiteY8" fmla="*/ 181130 h 238360"/>
                <a:gd name="connsiteX9" fmla="*/ 23842 w 98259"/>
                <a:gd name="connsiteY9" fmla="*/ 237246 h 238360"/>
                <a:gd name="connsiteX10" fmla="*/ 8827 w 98259"/>
                <a:gd name="connsiteY10" fmla="*/ 231985 h 238360"/>
                <a:gd name="connsiteX11" fmla="*/ 14087 w 98259"/>
                <a:gd name="connsiteY11" fmla="*/ 216970 h 238360"/>
                <a:gd name="connsiteX12" fmla="*/ 75760 w 98259"/>
                <a:gd name="connsiteY12" fmla="*/ 118907 h 238360"/>
                <a:gd name="connsiteX13" fmla="*/ 15101 w 98259"/>
                <a:gd name="connsiteY13" fmla="*/ 21339 h 238360"/>
                <a:gd name="connsiteX14" fmla="*/ 9997 w 98259"/>
                <a:gd name="connsiteY14" fmla="*/ 6270 h 238360"/>
                <a:gd name="connsiteX15" fmla="*/ 25066 w 98259"/>
                <a:gd name="connsiteY15" fmla="*/ 1166 h 238360"/>
                <a:gd name="connsiteX16" fmla="*/ 98260 w 98259"/>
                <a:gd name="connsiteY16" fmla="*/ 118907 h 238360"/>
                <a:gd name="connsiteX17" fmla="*/ 23842 w 98259"/>
                <a:gd name="connsiteY17" fmla="*/ 237246 h 238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8259" h="238360">
                  <a:moveTo>
                    <a:pt x="16744" y="181130"/>
                  </a:moveTo>
                  <a:cubicBezTo>
                    <a:pt x="11320" y="184164"/>
                    <a:pt x="4466" y="182226"/>
                    <a:pt x="1433" y="176803"/>
                  </a:cubicBezTo>
                  <a:cubicBezTo>
                    <a:pt x="-1600" y="171379"/>
                    <a:pt x="338" y="164525"/>
                    <a:pt x="5761" y="161492"/>
                  </a:cubicBezTo>
                  <a:cubicBezTo>
                    <a:pt x="21077" y="152927"/>
                    <a:pt x="30760" y="136771"/>
                    <a:pt x="30760" y="118907"/>
                  </a:cubicBezTo>
                  <a:cubicBezTo>
                    <a:pt x="30760" y="101174"/>
                    <a:pt x="21221" y="85121"/>
                    <a:pt x="6083" y="76504"/>
                  </a:cubicBezTo>
                  <a:cubicBezTo>
                    <a:pt x="683" y="73430"/>
                    <a:pt x="-1202" y="66561"/>
                    <a:pt x="1871" y="61162"/>
                  </a:cubicBezTo>
                  <a:cubicBezTo>
                    <a:pt x="4945" y="55762"/>
                    <a:pt x="11813" y="53876"/>
                    <a:pt x="17213" y="56950"/>
                  </a:cubicBezTo>
                  <a:cubicBezTo>
                    <a:pt x="39311" y="69528"/>
                    <a:pt x="53260" y="93005"/>
                    <a:pt x="53260" y="118907"/>
                  </a:cubicBezTo>
                  <a:cubicBezTo>
                    <a:pt x="53260" y="145003"/>
                    <a:pt x="39103" y="168627"/>
                    <a:pt x="16744" y="181130"/>
                  </a:cubicBezTo>
                  <a:close/>
                  <a:moveTo>
                    <a:pt x="23842" y="237246"/>
                  </a:moveTo>
                  <a:cubicBezTo>
                    <a:pt x="18242" y="239940"/>
                    <a:pt x="11519" y="237585"/>
                    <a:pt x="8827" y="231985"/>
                  </a:cubicBezTo>
                  <a:cubicBezTo>
                    <a:pt x="6133" y="226385"/>
                    <a:pt x="8489" y="219664"/>
                    <a:pt x="14087" y="216970"/>
                  </a:cubicBezTo>
                  <a:cubicBezTo>
                    <a:pt x="51478" y="198984"/>
                    <a:pt x="75760" y="161135"/>
                    <a:pt x="75760" y="118907"/>
                  </a:cubicBezTo>
                  <a:cubicBezTo>
                    <a:pt x="75760" y="77083"/>
                    <a:pt x="51943" y="39537"/>
                    <a:pt x="15101" y="21339"/>
                  </a:cubicBezTo>
                  <a:cubicBezTo>
                    <a:pt x="9530" y="18587"/>
                    <a:pt x="7246" y="11841"/>
                    <a:pt x="9997" y="6270"/>
                  </a:cubicBezTo>
                  <a:cubicBezTo>
                    <a:pt x="12748" y="700"/>
                    <a:pt x="19495" y="-1586"/>
                    <a:pt x="25066" y="1166"/>
                  </a:cubicBezTo>
                  <a:cubicBezTo>
                    <a:pt x="69512" y="23120"/>
                    <a:pt x="98260" y="68439"/>
                    <a:pt x="98260" y="118907"/>
                  </a:cubicBezTo>
                  <a:cubicBezTo>
                    <a:pt x="98260" y="169864"/>
                    <a:pt x="68953" y="215545"/>
                    <a:pt x="23842" y="237246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1" name="Полилиния 1320">
              <a:extLst>
                <a:ext uri="{FF2B5EF4-FFF2-40B4-BE49-F238E27FC236}">
                  <a16:creationId xmlns:a16="http://schemas.microsoft.com/office/drawing/2014/main" id="{32EF7BE3-D13F-534F-801D-36C2B98EC27F}"/>
                </a:ext>
              </a:extLst>
            </p:cNvPr>
            <p:cNvSpPr/>
            <p:nvPr/>
          </p:nvSpPr>
          <p:spPr>
            <a:xfrm>
              <a:off x="4500989" y="2152142"/>
              <a:ext cx="150000" cy="227573"/>
            </a:xfrm>
            <a:custGeom>
              <a:avLst/>
              <a:gdLst>
                <a:gd name="connsiteX0" fmla="*/ 75000 w 150000"/>
                <a:gd name="connsiteY0" fmla="*/ 173787 h 227573"/>
                <a:gd name="connsiteX1" fmla="*/ 24117 w 150000"/>
                <a:gd name="connsiteY1" fmla="*/ 163611 h 227573"/>
                <a:gd name="connsiteX2" fmla="*/ 0 w 150000"/>
                <a:gd name="connsiteY2" fmla="*/ 134193 h 227573"/>
                <a:gd name="connsiteX3" fmla="*/ 0 w 150000"/>
                <a:gd name="connsiteY3" fmla="*/ 93381 h 227573"/>
                <a:gd name="connsiteX4" fmla="*/ 24117 w 150000"/>
                <a:gd name="connsiteY4" fmla="*/ 63964 h 227573"/>
                <a:gd name="connsiteX5" fmla="*/ 75000 w 150000"/>
                <a:gd name="connsiteY5" fmla="*/ 53787 h 227573"/>
                <a:gd name="connsiteX6" fmla="*/ 124394 w 150000"/>
                <a:gd name="connsiteY6" fmla="*/ 4393 h 227573"/>
                <a:gd name="connsiteX7" fmla="*/ 145607 w 150000"/>
                <a:gd name="connsiteY7" fmla="*/ 4393 h 227573"/>
                <a:gd name="connsiteX8" fmla="*/ 150000 w 150000"/>
                <a:gd name="connsiteY8" fmla="*/ 15000 h 227573"/>
                <a:gd name="connsiteX9" fmla="*/ 150000 w 150000"/>
                <a:gd name="connsiteY9" fmla="*/ 212574 h 227573"/>
                <a:gd name="connsiteX10" fmla="*/ 135000 w 150000"/>
                <a:gd name="connsiteY10" fmla="*/ 227574 h 227573"/>
                <a:gd name="connsiteX11" fmla="*/ 124394 w 150000"/>
                <a:gd name="connsiteY11" fmla="*/ 223180 h 227573"/>
                <a:gd name="connsiteX12" fmla="*/ 75000 w 150000"/>
                <a:gd name="connsiteY12" fmla="*/ 173787 h 22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0000" h="227573">
                  <a:moveTo>
                    <a:pt x="75000" y="173787"/>
                  </a:moveTo>
                  <a:lnTo>
                    <a:pt x="24117" y="163611"/>
                  </a:lnTo>
                  <a:cubicBezTo>
                    <a:pt x="10094" y="160806"/>
                    <a:pt x="0" y="148494"/>
                    <a:pt x="0" y="134193"/>
                  </a:cubicBezTo>
                  <a:lnTo>
                    <a:pt x="0" y="93381"/>
                  </a:lnTo>
                  <a:cubicBezTo>
                    <a:pt x="0" y="79081"/>
                    <a:pt x="10094" y="66768"/>
                    <a:pt x="24117" y="63964"/>
                  </a:cubicBezTo>
                  <a:lnTo>
                    <a:pt x="75000" y="53787"/>
                  </a:lnTo>
                  <a:lnTo>
                    <a:pt x="124394" y="4393"/>
                  </a:lnTo>
                  <a:cubicBezTo>
                    <a:pt x="130251" y="-1464"/>
                    <a:pt x="139749" y="-1464"/>
                    <a:pt x="145607" y="4393"/>
                  </a:cubicBezTo>
                  <a:cubicBezTo>
                    <a:pt x="148419" y="7206"/>
                    <a:pt x="150000" y="11022"/>
                    <a:pt x="150000" y="15000"/>
                  </a:cubicBezTo>
                  <a:lnTo>
                    <a:pt x="150000" y="212574"/>
                  </a:lnTo>
                  <a:cubicBezTo>
                    <a:pt x="150000" y="220858"/>
                    <a:pt x="143285" y="227574"/>
                    <a:pt x="135000" y="227574"/>
                  </a:cubicBezTo>
                  <a:cubicBezTo>
                    <a:pt x="131022" y="227574"/>
                    <a:pt x="127206" y="225993"/>
                    <a:pt x="124394" y="223180"/>
                  </a:cubicBezTo>
                  <a:lnTo>
                    <a:pt x="75000" y="17378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22" name="Рисунок 327">
            <a:extLst>
              <a:ext uri="{FF2B5EF4-FFF2-40B4-BE49-F238E27FC236}">
                <a16:creationId xmlns:a16="http://schemas.microsoft.com/office/drawing/2014/main" id="{832B122F-BFC3-7745-8773-FE7CF888C132}"/>
              </a:ext>
            </a:extLst>
          </p:cNvPr>
          <p:cNvGrpSpPr/>
          <p:nvPr/>
        </p:nvGrpSpPr>
        <p:grpSpPr>
          <a:xfrm>
            <a:off x="3682403" y="1769207"/>
            <a:ext cx="360000" cy="360000"/>
            <a:chOff x="3715856" y="2085929"/>
            <a:chExt cx="360000" cy="360000"/>
          </a:xfrm>
        </p:grpSpPr>
        <p:sp>
          <p:nvSpPr>
            <p:cNvPr id="1323" name="Полилиния 1322">
              <a:extLst>
                <a:ext uri="{FF2B5EF4-FFF2-40B4-BE49-F238E27FC236}">
                  <a16:creationId xmlns:a16="http://schemas.microsoft.com/office/drawing/2014/main" id="{94398910-051D-5E46-B933-CF547594CC16}"/>
                </a:ext>
              </a:extLst>
            </p:cNvPr>
            <p:cNvSpPr/>
            <p:nvPr/>
          </p:nvSpPr>
          <p:spPr>
            <a:xfrm>
              <a:off x="3715856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4" name="Полилиния 1323">
              <a:extLst>
                <a:ext uri="{FF2B5EF4-FFF2-40B4-BE49-F238E27FC236}">
                  <a16:creationId xmlns:a16="http://schemas.microsoft.com/office/drawing/2014/main" id="{9F577C61-DE1C-A64F-8FDF-581719E41360}"/>
                </a:ext>
              </a:extLst>
            </p:cNvPr>
            <p:cNvSpPr/>
            <p:nvPr/>
          </p:nvSpPr>
          <p:spPr>
            <a:xfrm>
              <a:off x="3943846" y="2202496"/>
              <a:ext cx="53259" cy="127088"/>
            </a:xfrm>
            <a:custGeom>
              <a:avLst/>
              <a:gdLst>
                <a:gd name="connsiteX0" fmla="*/ 16744 w 53259"/>
                <a:gd name="connsiteY0" fmla="*/ 125655 h 127088"/>
                <a:gd name="connsiteX1" fmla="*/ 1433 w 53259"/>
                <a:gd name="connsiteY1" fmla="*/ 121328 h 127088"/>
                <a:gd name="connsiteX2" fmla="*/ 5761 w 53259"/>
                <a:gd name="connsiteY2" fmla="*/ 106017 h 127088"/>
                <a:gd name="connsiteX3" fmla="*/ 30760 w 53259"/>
                <a:gd name="connsiteY3" fmla="*/ 63432 h 127088"/>
                <a:gd name="connsiteX4" fmla="*/ 6083 w 53259"/>
                <a:gd name="connsiteY4" fmla="*/ 21029 h 127088"/>
                <a:gd name="connsiteX5" fmla="*/ 1871 w 53259"/>
                <a:gd name="connsiteY5" fmla="*/ 5687 h 127088"/>
                <a:gd name="connsiteX6" fmla="*/ 17213 w 53259"/>
                <a:gd name="connsiteY6" fmla="*/ 1475 h 127088"/>
                <a:gd name="connsiteX7" fmla="*/ 53260 w 53259"/>
                <a:gd name="connsiteY7" fmla="*/ 63432 h 127088"/>
                <a:gd name="connsiteX8" fmla="*/ 16744 w 53259"/>
                <a:gd name="connsiteY8" fmla="*/ 125655 h 12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259" h="127088">
                  <a:moveTo>
                    <a:pt x="16744" y="125655"/>
                  </a:moveTo>
                  <a:cubicBezTo>
                    <a:pt x="11320" y="128688"/>
                    <a:pt x="4466" y="126750"/>
                    <a:pt x="1433" y="121328"/>
                  </a:cubicBezTo>
                  <a:cubicBezTo>
                    <a:pt x="-1600" y="115904"/>
                    <a:pt x="338" y="109050"/>
                    <a:pt x="5761" y="106017"/>
                  </a:cubicBezTo>
                  <a:cubicBezTo>
                    <a:pt x="21077" y="97452"/>
                    <a:pt x="30760" y="81296"/>
                    <a:pt x="30760" y="63432"/>
                  </a:cubicBezTo>
                  <a:cubicBezTo>
                    <a:pt x="30760" y="45699"/>
                    <a:pt x="21221" y="29646"/>
                    <a:pt x="6083" y="21029"/>
                  </a:cubicBezTo>
                  <a:cubicBezTo>
                    <a:pt x="683" y="17955"/>
                    <a:pt x="-1202" y="11086"/>
                    <a:pt x="1871" y="5687"/>
                  </a:cubicBezTo>
                  <a:cubicBezTo>
                    <a:pt x="4945" y="287"/>
                    <a:pt x="11813" y="-1599"/>
                    <a:pt x="17213" y="1475"/>
                  </a:cubicBezTo>
                  <a:cubicBezTo>
                    <a:pt x="39311" y="14053"/>
                    <a:pt x="53260" y="37530"/>
                    <a:pt x="53260" y="63432"/>
                  </a:cubicBezTo>
                  <a:cubicBezTo>
                    <a:pt x="53260" y="89528"/>
                    <a:pt x="39103" y="113151"/>
                    <a:pt x="16744" y="125655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5" name="Полилиния 1324">
              <a:extLst>
                <a:ext uri="{FF2B5EF4-FFF2-40B4-BE49-F238E27FC236}">
                  <a16:creationId xmlns:a16="http://schemas.microsoft.com/office/drawing/2014/main" id="{C3147100-5649-D640-BB47-58B853633DFE}"/>
                </a:ext>
              </a:extLst>
            </p:cNvPr>
            <p:cNvSpPr/>
            <p:nvPr/>
          </p:nvSpPr>
          <p:spPr>
            <a:xfrm>
              <a:off x="3745856" y="2152142"/>
              <a:ext cx="150000" cy="227573"/>
            </a:xfrm>
            <a:custGeom>
              <a:avLst/>
              <a:gdLst>
                <a:gd name="connsiteX0" fmla="*/ 75000 w 150000"/>
                <a:gd name="connsiteY0" fmla="*/ 173787 h 227573"/>
                <a:gd name="connsiteX1" fmla="*/ 24117 w 150000"/>
                <a:gd name="connsiteY1" fmla="*/ 163611 h 227573"/>
                <a:gd name="connsiteX2" fmla="*/ 0 w 150000"/>
                <a:gd name="connsiteY2" fmla="*/ 134193 h 227573"/>
                <a:gd name="connsiteX3" fmla="*/ 0 w 150000"/>
                <a:gd name="connsiteY3" fmla="*/ 93381 h 227573"/>
                <a:gd name="connsiteX4" fmla="*/ 24117 w 150000"/>
                <a:gd name="connsiteY4" fmla="*/ 63964 h 227573"/>
                <a:gd name="connsiteX5" fmla="*/ 75000 w 150000"/>
                <a:gd name="connsiteY5" fmla="*/ 53787 h 227573"/>
                <a:gd name="connsiteX6" fmla="*/ 124394 w 150000"/>
                <a:gd name="connsiteY6" fmla="*/ 4393 h 227573"/>
                <a:gd name="connsiteX7" fmla="*/ 145607 w 150000"/>
                <a:gd name="connsiteY7" fmla="*/ 4393 h 227573"/>
                <a:gd name="connsiteX8" fmla="*/ 150000 w 150000"/>
                <a:gd name="connsiteY8" fmla="*/ 15000 h 227573"/>
                <a:gd name="connsiteX9" fmla="*/ 150000 w 150000"/>
                <a:gd name="connsiteY9" fmla="*/ 212574 h 227573"/>
                <a:gd name="connsiteX10" fmla="*/ 135000 w 150000"/>
                <a:gd name="connsiteY10" fmla="*/ 227574 h 227573"/>
                <a:gd name="connsiteX11" fmla="*/ 124394 w 150000"/>
                <a:gd name="connsiteY11" fmla="*/ 223180 h 227573"/>
                <a:gd name="connsiteX12" fmla="*/ 75000 w 150000"/>
                <a:gd name="connsiteY12" fmla="*/ 173787 h 22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0000" h="227573">
                  <a:moveTo>
                    <a:pt x="75000" y="173787"/>
                  </a:moveTo>
                  <a:lnTo>
                    <a:pt x="24117" y="163611"/>
                  </a:lnTo>
                  <a:cubicBezTo>
                    <a:pt x="10094" y="160806"/>
                    <a:pt x="0" y="148494"/>
                    <a:pt x="0" y="134193"/>
                  </a:cubicBezTo>
                  <a:lnTo>
                    <a:pt x="0" y="93381"/>
                  </a:lnTo>
                  <a:cubicBezTo>
                    <a:pt x="0" y="79081"/>
                    <a:pt x="10094" y="66768"/>
                    <a:pt x="24117" y="63964"/>
                  </a:cubicBezTo>
                  <a:lnTo>
                    <a:pt x="75000" y="53787"/>
                  </a:lnTo>
                  <a:lnTo>
                    <a:pt x="124394" y="4393"/>
                  </a:lnTo>
                  <a:cubicBezTo>
                    <a:pt x="130251" y="-1464"/>
                    <a:pt x="139749" y="-1464"/>
                    <a:pt x="145607" y="4393"/>
                  </a:cubicBezTo>
                  <a:cubicBezTo>
                    <a:pt x="148419" y="7206"/>
                    <a:pt x="150000" y="11022"/>
                    <a:pt x="150000" y="15000"/>
                  </a:cubicBezTo>
                  <a:lnTo>
                    <a:pt x="150000" y="212574"/>
                  </a:lnTo>
                  <a:cubicBezTo>
                    <a:pt x="150000" y="220858"/>
                    <a:pt x="143285" y="227574"/>
                    <a:pt x="135000" y="227574"/>
                  </a:cubicBezTo>
                  <a:cubicBezTo>
                    <a:pt x="131022" y="227574"/>
                    <a:pt x="127206" y="225993"/>
                    <a:pt x="124394" y="223180"/>
                  </a:cubicBezTo>
                  <a:lnTo>
                    <a:pt x="75000" y="17378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26" name="Рисунок 328">
            <a:extLst>
              <a:ext uri="{FF2B5EF4-FFF2-40B4-BE49-F238E27FC236}">
                <a16:creationId xmlns:a16="http://schemas.microsoft.com/office/drawing/2014/main" id="{77CA171C-2C0A-F24A-AB54-1C9DD2F60ED8}"/>
              </a:ext>
            </a:extLst>
          </p:cNvPr>
          <p:cNvGrpSpPr/>
          <p:nvPr/>
        </p:nvGrpSpPr>
        <p:grpSpPr>
          <a:xfrm>
            <a:off x="2927270" y="1769207"/>
            <a:ext cx="360000" cy="360000"/>
            <a:chOff x="2960723" y="2085929"/>
            <a:chExt cx="360000" cy="360000"/>
          </a:xfrm>
        </p:grpSpPr>
        <p:sp>
          <p:nvSpPr>
            <p:cNvPr id="1327" name="Полилиния 1326">
              <a:extLst>
                <a:ext uri="{FF2B5EF4-FFF2-40B4-BE49-F238E27FC236}">
                  <a16:creationId xmlns:a16="http://schemas.microsoft.com/office/drawing/2014/main" id="{37384C72-7C68-CD49-AEA6-7EF74EB00642}"/>
                </a:ext>
              </a:extLst>
            </p:cNvPr>
            <p:cNvSpPr/>
            <p:nvPr/>
          </p:nvSpPr>
          <p:spPr>
            <a:xfrm>
              <a:off x="2960723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8" name="Полилиния 1327">
              <a:extLst>
                <a:ext uri="{FF2B5EF4-FFF2-40B4-BE49-F238E27FC236}">
                  <a16:creationId xmlns:a16="http://schemas.microsoft.com/office/drawing/2014/main" id="{3BCA2B96-6135-BE46-BE5D-858B2138530C}"/>
                </a:ext>
              </a:extLst>
            </p:cNvPr>
            <p:cNvSpPr/>
            <p:nvPr/>
          </p:nvSpPr>
          <p:spPr>
            <a:xfrm>
              <a:off x="3185723" y="2205929"/>
              <a:ext cx="120000" cy="120000"/>
            </a:xfrm>
            <a:custGeom>
              <a:avLst/>
              <a:gdLst>
                <a:gd name="connsiteX0" fmla="*/ 45000 w 120000"/>
                <a:gd name="connsiteY0" fmla="*/ 45000 h 120000"/>
                <a:gd name="connsiteX1" fmla="*/ 45000 w 120000"/>
                <a:gd name="connsiteY1" fmla="*/ 15000 h 120000"/>
                <a:gd name="connsiteX2" fmla="*/ 60000 w 120000"/>
                <a:gd name="connsiteY2" fmla="*/ 0 h 120000"/>
                <a:gd name="connsiteX3" fmla="*/ 75000 w 120000"/>
                <a:gd name="connsiteY3" fmla="*/ 15000 h 120000"/>
                <a:gd name="connsiteX4" fmla="*/ 75000 w 120000"/>
                <a:gd name="connsiteY4" fmla="*/ 45000 h 120000"/>
                <a:gd name="connsiteX5" fmla="*/ 105000 w 120000"/>
                <a:gd name="connsiteY5" fmla="*/ 45000 h 120000"/>
                <a:gd name="connsiteX6" fmla="*/ 120000 w 120000"/>
                <a:gd name="connsiteY6" fmla="*/ 60000 h 120000"/>
                <a:gd name="connsiteX7" fmla="*/ 105000 w 120000"/>
                <a:gd name="connsiteY7" fmla="*/ 75000 h 120000"/>
                <a:gd name="connsiteX8" fmla="*/ 75000 w 120000"/>
                <a:gd name="connsiteY8" fmla="*/ 75000 h 120000"/>
                <a:gd name="connsiteX9" fmla="*/ 75000 w 120000"/>
                <a:gd name="connsiteY9" fmla="*/ 105000 h 120000"/>
                <a:gd name="connsiteX10" fmla="*/ 60000 w 120000"/>
                <a:gd name="connsiteY10" fmla="*/ 120000 h 120000"/>
                <a:gd name="connsiteX11" fmla="*/ 45000 w 120000"/>
                <a:gd name="connsiteY11" fmla="*/ 105000 h 120000"/>
                <a:gd name="connsiteX12" fmla="*/ 45000 w 120000"/>
                <a:gd name="connsiteY12" fmla="*/ 75000 h 120000"/>
                <a:gd name="connsiteX13" fmla="*/ 15000 w 120000"/>
                <a:gd name="connsiteY13" fmla="*/ 75000 h 120000"/>
                <a:gd name="connsiteX14" fmla="*/ 0 w 120000"/>
                <a:gd name="connsiteY14" fmla="*/ 60000 h 120000"/>
                <a:gd name="connsiteX15" fmla="*/ 15000 w 120000"/>
                <a:gd name="connsiteY15" fmla="*/ 45000 h 120000"/>
                <a:gd name="connsiteX16" fmla="*/ 45000 w 120000"/>
                <a:gd name="connsiteY16" fmla="*/ 45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0000" h="120000">
                  <a:moveTo>
                    <a:pt x="45000" y="45000"/>
                  </a:moveTo>
                  <a:lnTo>
                    <a:pt x="45000" y="15000"/>
                  </a:lnTo>
                  <a:cubicBezTo>
                    <a:pt x="45000" y="6716"/>
                    <a:pt x="51716" y="0"/>
                    <a:pt x="60000" y="0"/>
                  </a:cubicBezTo>
                  <a:cubicBezTo>
                    <a:pt x="68284" y="0"/>
                    <a:pt x="75000" y="6716"/>
                    <a:pt x="75000" y="15000"/>
                  </a:cubicBezTo>
                  <a:lnTo>
                    <a:pt x="75000" y="45000"/>
                  </a:lnTo>
                  <a:lnTo>
                    <a:pt x="105000" y="45000"/>
                  </a:lnTo>
                  <a:cubicBezTo>
                    <a:pt x="113284" y="45000"/>
                    <a:pt x="120000" y="51715"/>
                    <a:pt x="120000" y="60000"/>
                  </a:cubicBezTo>
                  <a:cubicBezTo>
                    <a:pt x="120000" y="68285"/>
                    <a:pt x="113284" y="75000"/>
                    <a:pt x="105000" y="75000"/>
                  </a:cubicBezTo>
                  <a:lnTo>
                    <a:pt x="75000" y="75000"/>
                  </a:lnTo>
                  <a:lnTo>
                    <a:pt x="75000" y="105000"/>
                  </a:lnTo>
                  <a:cubicBezTo>
                    <a:pt x="75000" y="113285"/>
                    <a:pt x="68284" y="120000"/>
                    <a:pt x="60000" y="120000"/>
                  </a:cubicBezTo>
                  <a:cubicBezTo>
                    <a:pt x="51716" y="120000"/>
                    <a:pt x="45000" y="113285"/>
                    <a:pt x="45000" y="105000"/>
                  </a:cubicBezTo>
                  <a:lnTo>
                    <a:pt x="45000" y="75000"/>
                  </a:lnTo>
                  <a:lnTo>
                    <a:pt x="15000" y="75000"/>
                  </a:lnTo>
                  <a:cubicBezTo>
                    <a:pt x="6715" y="75000"/>
                    <a:pt x="0" y="68285"/>
                    <a:pt x="0" y="60000"/>
                  </a:cubicBezTo>
                  <a:cubicBezTo>
                    <a:pt x="0" y="51715"/>
                    <a:pt x="6715" y="45000"/>
                    <a:pt x="15000" y="45000"/>
                  </a:cubicBezTo>
                  <a:lnTo>
                    <a:pt x="45000" y="4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9" name="Полилиния 1328">
              <a:extLst>
                <a:ext uri="{FF2B5EF4-FFF2-40B4-BE49-F238E27FC236}">
                  <a16:creationId xmlns:a16="http://schemas.microsoft.com/office/drawing/2014/main" id="{B0D5313B-0B2D-3742-B7D2-94B1C177288B}"/>
                </a:ext>
              </a:extLst>
            </p:cNvPr>
            <p:cNvSpPr/>
            <p:nvPr/>
          </p:nvSpPr>
          <p:spPr>
            <a:xfrm>
              <a:off x="2990723" y="2152142"/>
              <a:ext cx="150000" cy="227573"/>
            </a:xfrm>
            <a:custGeom>
              <a:avLst/>
              <a:gdLst>
                <a:gd name="connsiteX0" fmla="*/ 75000 w 150000"/>
                <a:gd name="connsiteY0" fmla="*/ 173787 h 227573"/>
                <a:gd name="connsiteX1" fmla="*/ 24117 w 150000"/>
                <a:gd name="connsiteY1" fmla="*/ 163611 h 227573"/>
                <a:gd name="connsiteX2" fmla="*/ 0 w 150000"/>
                <a:gd name="connsiteY2" fmla="*/ 134193 h 227573"/>
                <a:gd name="connsiteX3" fmla="*/ 0 w 150000"/>
                <a:gd name="connsiteY3" fmla="*/ 93381 h 227573"/>
                <a:gd name="connsiteX4" fmla="*/ 24117 w 150000"/>
                <a:gd name="connsiteY4" fmla="*/ 63964 h 227573"/>
                <a:gd name="connsiteX5" fmla="*/ 75000 w 150000"/>
                <a:gd name="connsiteY5" fmla="*/ 53787 h 227573"/>
                <a:gd name="connsiteX6" fmla="*/ 124394 w 150000"/>
                <a:gd name="connsiteY6" fmla="*/ 4393 h 227573"/>
                <a:gd name="connsiteX7" fmla="*/ 145607 w 150000"/>
                <a:gd name="connsiteY7" fmla="*/ 4393 h 227573"/>
                <a:gd name="connsiteX8" fmla="*/ 150000 w 150000"/>
                <a:gd name="connsiteY8" fmla="*/ 15000 h 227573"/>
                <a:gd name="connsiteX9" fmla="*/ 150000 w 150000"/>
                <a:gd name="connsiteY9" fmla="*/ 212574 h 227573"/>
                <a:gd name="connsiteX10" fmla="*/ 135000 w 150000"/>
                <a:gd name="connsiteY10" fmla="*/ 227574 h 227573"/>
                <a:gd name="connsiteX11" fmla="*/ 124394 w 150000"/>
                <a:gd name="connsiteY11" fmla="*/ 223180 h 227573"/>
                <a:gd name="connsiteX12" fmla="*/ 75000 w 150000"/>
                <a:gd name="connsiteY12" fmla="*/ 173787 h 22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0000" h="227573">
                  <a:moveTo>
                    <a:pt x="75000" y="173787"/>
                  </a:moveTo>
                  <a:lnTo>
                    <a:pt x="24117" y="163611"/>
                  </a:lnTo>
                  <a:cubicBezTo>
                    <a:pt x="10094" y="160806"/>
                    <a:pt x="0" y="148494"/>
                    <a:pt x="0" y="134193"/>
                  </a:cubicBezTo>
                  <a:lnTo>
                    <a:pt x="0" y="93381"/>
                  </a:lnTo>
                  <a:cubicBezTo>
                    <a:pt x="0" y="79081"/>
                    <a:pt x="10094" y="66768"/>
                    <a:pt x="24117" y="63964"/>
                  </a:cubicBezTo>
                  <a:lnTo>
                    <a:pt x="75000" y="53787"/>
                  </a:lnTo>
                  <a:lnTo>
                    <a:pt x="124394" y="4393"/>
                  </a:lnTo>
                  <a:cubicBezTo>
                    <a:pt x="130251" y="-1464"/>
                    <a:pt x="139749" y="-1464"/>
                    <a:pt x="145607" y="4393"/>
                  </a:cubicBezTo>
                  <a:cubicBezTo>
                    <a:pt x="148419" y="7206"/>
                    <a:pt x="150000" y="11022"/>
                    <a:pt x="150000" y="15000"/>
                  </a:cubicBezTo>
                  <a:lnTo>
                    <a:pt x="150000" y="212574"/>
                  </a:lnTo>
                  <a:cubicBezTo>
                    <a:pt x="150000" y="220858"/>
                    <a:pt x="143285" y="227574"/>
                    <a:pt x="135000" y="227574"/>
                  </a:cubicBezTo>
                  <a:cubicBezTo>
                    <a:pt x="131022" y="227574"/>
                    <a:pt x="127206" y="225993"/>
                    <a:pt x="124394" y="223180"/>
                  </a:cubicBezTo>
                  <a:lnTo>
                    <a:pt x="75000" y="173787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30" name="Рисунок 329">
            <a:extLst>
              <a:ext uri="{FF2B5EF4-FFF2-40B4-BE49-F238E27FC236}">
                <a16:creationId xmlns:a16="http://schemas.microsoft.com/office/drawing/2014/main" id="{096AAE75-634D-2646-94C5-A162AC51BC3D}"/>
              </a:ext>
            </a:extLst>
          </p:cNvPr>
          <p:cNvGrpSpPr/>
          <p:nvPr/>
        </p:nvGrpSpPr>
        <p:grpSpPr>
          <a:xfrm>
            <a:off x="2172137" y="1769207"/>
            <a:ext cx="360000" cy="360000"/>
            <a:chOff x="2205590" y="2085929"/>
            <a:chExt cx="360000" cy="360000"/>
          </a:xfrm>
        </p:grpSpPr>
        <p:sp>
          <p:nvSpPr>
            <p:cNvPr id="1331" name="Полилиния 1330">
              <a:extLst>
                <a:ext uri="{FF2B5EF4-FFF2-40B4-BE49-F238E27FC236}">
                  <a16:creationId xmlns:a16="http://schemas.microsoft.com/office/drawing/2014/main" id="{036D7FF2-ED16-5949-8D45-CC6E2C615C7F}"/>
                </a:ext>
              </a:extLst>
            </p:cNvPr>
            <p:cNvSpPr/>
            <p:nvPr/>
          </p:nvSpPr>
          <p:spPr>
            <a:xfrm>
              <a:off x="2205590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2" name="Полилиния 1331">
              <a:extLst>
                <a:ext uri="{FF2B5EF4-FFF2-40B4-BE49-F238E27FC236}">
                  <a16:creationId xmlns:a16="http://schemas.microsoft.com/office/drawing/2014/main" id="{77D8E43C-A50D-D84B-A251-F56DF7E227C7}"/>
                </a:ext>
              </a:extLst>
            </p:cNvPr>
            <p:cNvSpPr/>
            <p:nvPr/>
          </p:nvSpPr>
          <p:spPr>
            <a:xfrm>
              <a:off x="2250590" y="2130929"/>
              <a:ext cx="270000" cy="270000"/>
            </a:xfrm>
            <a:custGeom>
              <a:avLst/>
              <a:gdLst>
                <a:gd name="connsiteX0" fmla="*/ 135000 w 270000"/>
                <a:gd name="connsiteY0" fmla="*/ 270000 h 270000"/>
                <a:gd name="connsiteX1" fmla="*/ 0 w 270000"/>
                <a:gd name="connsiteY1" fmla="*/ 135000 h 270000"/>
                <a:gd name="connsiteX2" fmla="*/ 135000 w 270000"/>
                <a:gd name="connsiteY2" fmla="*/ 0 h 270000"/>
                <a:gd name="connsiteX3" fmla="*/ 270000 w 270000"/>
                <a:gd name="connsiteY3" fmla="*/ 135000 h 270000"/>
                <a:gd name="connsiteX4" fmla="*/ 135000 w 270000"/>
                <a:gd name="connsiteY4" fmla="*/ 270000 h 270000"/>
                <a:gd name="connsiteX5" fmla="*/ 135000 w 270000"/>
                <a:gd name="connsiteY5" fmla="*/ 195000 h 270000"/>
                <a:gd name="connsiteX6" fmla="*/ 195000 w 270000"/>
                <a:gd name="connsiteY6" fmla="*/ 135000 h 270000"/>
                <a:gd name="connsiteX7" fmla="*/ 135000 w 270000"/>
                <a:gd name="connsiteY7" fmla="*/ 75000 h 270000"/>
                <a:gd name="connsiteX8" fmla="*/ 75000 w 270000"/>
                <a:gd name="connsiteY8" fmla="*/ 135000 h 270000"/>
                <a:gd name="connsiteX9" fmla="*/ 135000 w 270000"/>
                <a:gd name="connsiteY9" fmla="*/ 195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00" h="270000">
                  <a:moveTo>
                    <a:pt x="135000" y="270000"/>
                  </a:moveTo>
                  <a:cubicBezTo>
                    <a:pt x="60442" y="270000"/>
                    <a:pt x="0" y="209559"/>
                    <a:pt x="0" y="135000"/>
                  </a:cubicBezTo>
                  <a:cubicBezTo>
                    <a:pt x="0" y="60442"/>
                    <a:pt x="60442" y="0"/>
                    <a:pt x="135000" y="0"/>
                  </a:cubicBezTo>
                  <a:cubicBezTo>
                    <a:pt x="209559" y="0"/>
                    <a:pt x="270000" y="60442"/>
                    <a:pt x="270000" y="135000"/>
                  </a:cubicBezTo>
                  <a:cubicBezTo>
                    <a:pt x="270000" y="209559"/>
                    <a:pt x="209559" y="270000"/>
                    <a:pt x="135000" y="270000"/>
                  </a:cubicBezTo>
                  <a:close/>
                  <a:moveTo>
                    <a:pt x="135000" y="195000"/>
                  </a:moveTo>
                  <a:cubicBezTo>
                    <a:pt x="168137" y="195000"/>
                    <a:pt x="195000" y="168137"/>
                    <a:pt x="195000" y="135000"/>
                  </a:cubicBezTo>
                  <a:cubicBezTo>
                    <a:pt x="195000" y="101863"/>
                    <a:pt x="168137" y="75000"/>
                    <a:pt x="135000" y="75000"/>
                  </a:cubicBezTo>
                  <a:cubicBezTo>
                    <a:pt x="101863" y="75000"/>
                    <a:pt x="75000" y="101863"/>
                    <a:pt x="75000" y="135000"/>
                  </a:cubicBezTo>
                  <a:cubicBezTo>
                    <a:pt x="75000" y="168137"/>
                    <a:pt x="101863" y="195000"/>
                    <a:pt x="135000" y="19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3" name="Полилиния 1332">
              <a:extLst>
                <a:ext uri="{FF2B5EF4-FFF2-40B4-BE49-F238E27FC236}">
                  <a16:creationId xmlns:a16="http://schemas.microsoft.com/office/drawing/2014/main" id="{82CE0B47-D29D-974A-BCE6-1E4B39DAD801}"/>
                </a:ext>
              </a:extLst>
            </p:cNvPr>
            <p:cNvSpPr/>
            <p:nvPr/>
          </p:nvSpPr>
          <p:spPr>
            <a:xfrm>
              <a:off x="2370590" y="2250929"/>
              <a:ext cx="30000" cy="30000"/>
            </a:xfrm>
            <a:custGeom>
              <a:avLst/>
              <a:gdLst>
                <a:gd name="connsiteX0" fmla="*/ 30000 w 30000"/>
                <a:gd name="connsiteY0" fmla="*/ 15000 h 30000"/>
                <a:gd name="connsiteX1" fmla="*/ 15000 w 30000"/>
                <a:gd name="connsiteY1" fmla="*/ 30000 h 30000"/>
                <a:gd name="connsiteX2" fmla="*/ 0 w 30000"/>
                <a:gd name="connsiteY2" fmla="*/ 15000 h 30000"/>
                <a:gd name="connsiteX3" fmla="*/ 15000 w 30000"/>
                <a:gd name="connsiteY3" fmla="*/ 0 h 30000"/>
                <a:gd name="connsiteX4" fmla="*/ 30000 w 30000"/>
                <a:gd name="connsiteY4" fmla="*/ 1500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" h="30000">
                  <a:moveTo>
                    <a:pt x="30000" y="15000"/>
                  </a:moveTo>
                  <a:cubicBezTo>
                    <a:pt x="30000" y="23284"/>
                    <a:pt x="23284" y="30000"/>
                    <a:pt x="15000" y="30000"/>
                  </a:cubicBezTo>
                  <a:cubicBezTo>
                    <a:pt x="6716" y="30000"/>
                    <a:pt x="0" y="23284"/>
                    <a:pt x="0" y="15000"/>
                  </a:cubicBezTo>
                  <a:cubicBezTo>
                    <a:pt x="0" y="6716"/>
                    <a:pt x="6716" y="0"/>
                    <a:pt x="15000" y="0"/>
                  </a:cubicBezTo>
                  <a:cubicBezTo>
                    <a:pt x="23284" y="0"/>
                    <a:pt x="30000" y="6716"/>
                    <a:pt x="30000" y="1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34" name="Рисунок 330">
            <a:extLst>
              <a:ext uri="{FF2B5EF4-FFF2-40B4-BE49-F238E27FC236}">
                <a16:creationId xmlns:a16="http://schemas.microsoft.com/office/drawing/2014/main" id="{25311381-5689-F746-9EEB-67482760284F}"/>
              </a:ext>
            </a:extLst>
          </p:cNvPr>
          <p:cNvGrpSpPr/>
          <p:nvPr/>
        </p:nvGrpSpPr>
        <p:grpSpPr>
          <a:xfrm>
            <a:off x="1417004" y="1769207"/>
            <a:ext cx="360000" cy="360000"/>
            <a:chOff x="1450457" y="2085929"/>
            <a:chExt cx="360000" cy="360000"/>
          </a:xfrm>
        </p:grpSpPr>
        <p:sp>
          <p:nvSpPr>
            <p:cNvPr id="1335" name="Полилиния 1334">
              <a:extLst>
                <a:ext uri="{FF2B5EF4-FFF2-40B4-BE49-F238E27FC236}">
                  <a16:creationId xmlns:a16="http://schemas.microsoft.com/office/drawing/2014/main" id="{E3A23595-B773-F140-9382-49A7112A1DCF}"/>
                </a:ext>
              </a:extLst>
            </p:cNvPr>
            <p:cNvSpPr/>
            <p:nvPr/>
          </p:nvSpPr>
          <p:spPr>
            <a:xfrm>
              <a:off x="1450457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6" name="Полилиния 1335">
              <a:extLst>
                <a:ext uri="{FF2B5EF4-FFF2-40B4-BE49-F238E27FC236}">
                  <a16:creationId xmlns:a16="http://schemas.microsoft.com/office/drawing/2014/main" id="{4625C74E-E160-E84C-871E-3D71B8CE3497}"/>
                </a:ext>
              </a:extLst>
            </p:cNvPr>
            <p:cNvSpPr/>
            <p:nvPr/>
          </p:nvSpPr>
          <p:spPr>
            <a:xfrm>
              <a:off x="1472957" y="2108429"/>
              <a:ext cx="315000" cy="315000"/>
            </a:xfrm>
            <a:custGeom>
              <a:avLst/>
              <a:gdLst>
                <a:gd name="connsiteX0" fmla="*/ 270000 w 315000"/>
                <a:gd name="connsiteY0" fmla="*/ 135000 h 315000"/>
                <a:gd name="connsiteX1" fmla="*/ 292500 w 315000"/>
                <a:gd name="connsiteY1" fmla="*/ 135000 h 315000"/>
                <a:gd name="connsiteX2" fmla="*/ 315000 w 315000"/>
                <a:gd name="connsiteY2" fmla="*/ 157500 h 315000"/>
                <a:gd name="connsiteX3" fmla="*/ 292500 w 315000"/>
                <a:gd name="connsiteY3" fmla="*/ 180000 h 315000"/>
                <a:gd name="connsiteX4" fmla="*/ 270000 w 315000"/>
                <a:gd name="connsiteY4" fmla="*/ 180000 h 315000"/>
                <a:gd name="connsiteX5" fmla="*/ 247500 w 315000"/>
                <a:gd name="connsiteY5" fmla="*/ 157500 h 315000"/>
                <a:gd name="connsiteX6" fmla="*/ 270000 w 315000"/>
                <a:gd name="connsiteY6" fmla="*/ 135000 h 315000"/>
                <a:gd name="connsiteX7" fmla="*/ 218410 w 315000"/>
                <a:gd name="connsiteY7" fmla="*/ 65570 h 315000"/>
                <a:gd name="connsiteX8" fmla="*/ 234320 w 315000"/>
                <a:gd name="connsiteY8" fmla="*/ 49660 h 315000"/>
                <a:gd name="connsiteX9" fmla="*/ 266139 w 315000"/>
                <a:gd name="connsiteY9" fmla="*/ 49660 h 315000"/>
                <a:gd name="connsiteX10" fmla="*/ 266139 w 315000"/>
                <a:gd name="connsiteY10" fmla="*/ 81480 h 315000"/>
                <a:gd name="connsiteX11" fmla="*/ 250230 w 315000"/>
                <a:gd name="connsiteY11" fmla="*/ 97390 h 315000"/>
                <a:gd name="connsiteX12" fmla="*/ 218410 w 315000"/>
                <a:gd name="connsiteY12" fmla="*/ 97390 h 315000"/>
                <a:gd name="connsiteX13" fmla="*/ 218410 w 315000"/>
                <a:gd name="connsiteY13" fmla="*/ 65570 h 315000"/>
                <a:gd name="connsiteX14" fmla="*/ 218410 w 315000"/>
                <a:gd name="connsiteY14" fmla="*/ 250230 h 315000"/>
                <a:gd name="connsiteX15" fmla="*/ 218410 w 315000"/>
                <a:gd name="connsiteY15" fmla="*/ 218410 h 315000"/>
                <a:gd name="connsiteX16" fmla="*/ 250230 w 315000"/>
                <a:gd name="connsiteY16" fmla="*/ 218410 h 315000"/>
                <a:gd name="connsiteX17" fmla="*/ 266139 w 315000"/>
                <a:gd name="connsiteY17" fmla="*/ 234320 h 315000"/>
                <a:gd name="connsiteX18" fmla="*/ 266139 w 315000"/>
                <a:gd name="connsiteY18" fmla="*/ 266139 h 315000"/>
                <a:gd name="connsiteX19" fmla="*/ 234320 w 315000"/>
                <a:gd name="connsiteY19" fmla="*/ 266139 h 315000"/>
                <a:gd name="connsiteX20" fmla="*/ 218410 w 315000"/>
                <a:gd name="connsiteY20" fmla="*/ 250230 h 315000"/>
                <a:gd name="connsiteX21" fmla="*/ 22500 w 315000"/>
                <a:gd name="connsiteY21" fmla="*/ 135000 h 315000"/>
                <a:gd name="connsiteX22" fmla="*/ 45000 w 315000"/>
                <a:gd name="connsiteY22" fmla="*/ 135000 h 315000"/>
                <a:gd name="connsiteX23" fmla="*/ 67500 w 315000"/>
                <a:gd name="connsiteY23" fmla="*/ 157500 h 315000"/>
                <a:gd name="connsiteX24" fmla="*/ 45000 w 315000"/>
                <a:gd name="connsiteY24" fmla="*/ 180000 h 315000"/>
                <a:gd name="connsiteX25" fmla="*/ 22500 w 315000"/>
                <a:gd name="connsiteY25" fmla="*/ 180000 h 315000"/>
                <a:gd name="connsiteX26" fmla="*/ 0 w 315000"/>
                <a:gd name="connsiteY26" fmla="*/ 157500 h 315000"/>
                <a:gd name="connsiteX27" fmla="*/ 22500 w 315000"/>
                <a:gd name="connsiteY27" fmla="*/ 135000 h 315000"/>
                <a:gd name="connsiteX28" fmla="*/ 157500 w 315000"/>
                <a:gd name="connsiteY28" fmla="*/ 0 h 315000"/>
                <a:gd name="connsiteX29" fmla="*/ 180000 w 315000"/>
                <a:gd name="connsiteY29" fmla="*/ 22500 h 315000"/>
                <a:gd name="connsiteX30" fmla="*/ 180000 w 315000"/>
                <a:gd name="connsiteY30" fmla="*/ 45000 h 315000"/>
                <a:gd name="connsiteX31" fmla="*/ 157500 w 315000"/>
                <a:gd name="connsiteY31" fmla="*/ 67500 h 315000"/>
                <a:gd name="connsiteX32" fmla="*/ 135000 w 315000"/>
                <a:gd name="connsiteY32" fmla="*/ 45000 h 315000"/>
                <a:gd name="connsiteX33" fmla="*/ 135000 w 315000"/>
                <a:gd name="connsiteY33" fmla="*/ 22500 h 315000"/>
                <a:gd name="connsiteX34" fmla="*/ 157500 w 315000"/>
                <a:gd name="connsiteY34" fmla="*/ 0 h 315000"/>
                <a:gd name="connsiteX35" fmla="*/ 157500 w 315000"/>
                <a:gd name="connsiteY35" fmla="*/ 247500 h 315000"/>
                <a:gd name="connsiteX36" fmla="*/ 180000 w 315000"/>
                <a:gd name="connsiteY36" fmla="*/ 270000 h 315000"/>
                <a:gd name="connsiteX37" fmla="*/ 180000 w 315000"/>
                <a:gd name="connsiteY37" fmla="*/ 292500 h 315000"/>
                <a:gd name="connsiteX38" fmla="*/ 157500 w 315000"/>
                <a:gd name="connsiteY38" fmla="*/ 315000 h 315000"/>
                <a:gd name="connsiteX39" fmla="*/ 135000 w 315000"/>
                <a:gd name="connsiteY39" fmla="*/ 292500 h 315000"/>
                <a:gd name="connsiteX40" fmla="*/ 135000 w 315000"/>
                <a:gd name="connsiteY40" fmla="*/ 270000 h 315000"/>
                <a:gd name="connsiteX41" fmla="*/ 157500 w 315000"/>
                <a:gd name="connsiteY41" fmla="*/ 247500 h 315000"/>
                <a:gd name="connsiteX42" fmla="*/ 49660 w 315000"/>
                <a:gd name="connsiteY42" fmla="*/ 49660 h 315000"/>
                <a:gd name="connsiteX43" fmla="*/ 81480 w 315000"/>
                <a:gd name="connsiteY43" fmla="*/ 49660 h 315000"/>
                <a:gd name="connsiteX44" fmla="*/ 97390 w 315000"/>
                <a:gd name="connsiteY44" fmla="*/ 65570 h 315000"/>
                <a:gd name="connsiteX45" fmla="*/ 97390 w 315000"/>
                <a:gd name="connsiteY45" fmla="*/ 97390 h 315000"/>
                <a:gd name="connsiteX46" fmla="*/ 65570 w 315000"/>
                <a:gd name="connsiteY46" fmla="*/ 97390 h 315000"/>
                <a:gd name="connsiteX47" fmla="*/ 49660 w 315000"/>
                <a:gd name="connsiteY47" fmla="*/ 81480 h 315000"/>
                <a:gd name="connsiteX48" fmla="*/ 49660 w 315000"/>
                <a:gd name="connsiteY48" fmla="*/ 49660 h 315000"/>
                <a:gd name="connsiteX49" fmla="*/ 49660 w 315000"/>
                <a:gd name="connsiteY49" fmla="*/ 266139 h 315000"/>
                <a:gd name="connsiteX50" fmla="*/ 49660 w 315000"/>
                <a:gd name="connsiteY50" fmla="*/ 234320 h 315000"/>
                <a:gd name="connsiteX51" fmla="*/ 65570 w 315000"/>
                <a:gd name="connsiteY51" fmla="*/ 218410 h 315000"/>
                <a:gd name="connsiteX52" fmla="*/ 97390 w 315000"/>
                <a:gd name="connsiteY52" fmla="*/ 218410 h 315000"/>
                <a:gd name="connsiteX53" fmla="*/ 97390 w 315000"/>
                <a:gd name="connsiteY53" fmla="*/ 250230 h 315000"/>
                <a:gd name="connsiteX54" fmla="*/ 81480 w 315000"/>
                <a:gd name="connsiteY54" fmla="*/ 266139 h 315000"/>
                <a:gd name="connsiteX55" fmla="*/ 49660 w 315000"/>
                <a:gd name="connsiteY55" fmla="*/ 266139 h 3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315000" h="315000">
                  <a:moveTo>
                    <a:pt x="270000" y="135000"/>
                  </a:moveTo>
                  <a:lnTo>
                    <a:pt x="292500" y="135000"/>
                  </a:lnTo>
                  <a:cubicBezTo>
                    <a:pt x="304926" y="135000"/>
                    <a:pt x="315000" y="145074"/>
                    <a:pt x="315000" y="157500"/>
                  </a:cubicBezTo>
                  <a:cubicBezTo>
                    <a:pt x="315000" y="169926"/>
                    <a:pt x="304926" y="180000"/>
                    <a:pt x="292500" y="180000"/>
                  </a:cubicBezTo>
                  <a:lnTo>
                    <a:pt x="270000" y="180000"/>
                  </a:lnTo>
                  <a:cubicBezTo>
                    <a:pt x="257574" y="180000"/>
                    <a:pt x="247500" y="169926"/>
                    <a:pt x="247500" y="157500"/>
                  </a:cubicBezTo>
                  <a:cubicBezTo>
                    <a:pt x="247500" y="145074"/>
                    <a:pt x="257574" y="135000"/>
                    <a:pt x="270000" y="135000"/>
                  </a:cubicBezTo>
                  <a:close/>
                  <a:moveTo>
                    <a:pt x="218410" y="65570"/>
                  </a:moveTo>
                  <a:lnTo>
                    <a:pt x="234320" y="49660"/>
                  </a:lnTo>
                  <a:cubicBezTo>
                    <a:pt x="243107" y="40873"/>
                    <a:pt x="257354" y="40873"/>
                    <a:pt x="266139" y="49660"/>
                  </a:cubicBezTo>
                  <a:cubicBezTo>
                    <a:pt x="274926" y="58447"/>
                    <a:pt x="274926" y="72693"/>
                    <a:pt x="266139" y="81480"/>
                  </a:cubicBezTo>
                  <a:lnTo>
                    <a:pt x="250230" y="97390"/>
                  </a:lnTo>
                  <a:cubicBezTo>
                    <a:pt x="241443" y="106176"/>
                    <a:pt x="227196" y="106176"/>
                    <a:pt x="218410" y="97390"/>
                  </a:cubicBezTo>
                  <a:cubicBezTo>
                    <a:pt x="209624" y="88603"/>
                    <a:pt x="209624" y="74357"/>
                    <a:pt x="218410" y="65570"/>
                  </a:cubicBezTo>
                  <a:close/>
                  <a:moveTo>
                    <a:pt x="218410" y="250230"/>
                  </a:moveTo>
                  <a:cubicBezTo>
                    <a:pt x="209624" y="241443"/>
                    <a:pt x="209624" y="227196"/>
                    <a:pt x="218410" y="218410"/>
                  </a:cubicBezTo>
                  <a:cubicBezTo>
                    <a:pt x="227196" y="209624"/>
                    <a:pt x="241443" y="209624"/>
                    <a:pt x="250230" y="218410"/>
                  </a:cubicBezTo>
                  <a:lnTo>
                    <a:pt x="266139" y="234320"/>
                  </a:lnTo>
                  <a:cubicBezTo>
                    <a:pt x="274926" y="243107"/>
                    <a:pt x="274926" y="257354"/>
                    <a:pt x="266139" y="266139"/>
                  </a:cubicBezTo>
                  <a:cubicBezTo>
                    <a:pt x="257354" y="274926"/>
                    <a:pt x="243107" y="274926"/>
                    <a:pt x="234320" y="266139"/>
                  </a:cubicBezTo>
                  <a:lnTo>
                    <a:pt x="218410" y="250230"/>
                  </a:lnTo>
                  <a:close/>
                  <a:moveTo>
                    <a:pt x="22500" y="135000"/>
                  </a:moveTo>
                  <a:lnTo>
                    <a:pt x="45000" y="135000"/>
                  </a:lnTo>
                  <a:cubicBezTo>
                    <a:pt x="57426" y="135000"/>
                    <a:pt x="67500" y="145074"/>
                    <a:pt x="67500" y="157500"/>
                  </a:cubicBezTo>
                  <a:cubicBezTo>
                    <a:pt x="67500" y="169926"/>
                    <a:pt x="57426" y="180000"/>
                    <a:pt x="45000" y="180000"/>
                  </a:cubicBezTo>
                  <a:lnTo>
                    <a:pt x="22500" y="180000"/>
                  </a:lnTo>
                  <a:cubicBezTo>
                    <a:pt x="10074" y="180000"/>
                    <a:pt x="0" y="169926"/>
                    <a:pt x="0" y="157500"/>
                  </a:cubicBezTo>
                  <a:cubicBezTo>
                    <a:pt x="0" y="145074"/>
                    <a:pt x="10074" y="135000"/>
                    <a:pt x="22500" y="135000"/>
                  </a:cubicBezTo>
                  <a:close/>
                  <a:moveTo>
                    <a:pt x="157500" y="0"/>
                  </a:moveTo>
                  <a:cubicBezTo>
                    <a:pt x="169926" y="0"/>
                    <a:pt x="180000" y="10074"/>
                    <a:pt x="180000" y="22500"/>
                  </a:cubicBezTo>
                  <a:lnTo>
                    <a:pt x="180000" y="45000"/>
                  </a:lnTo>
                  <a:cubicBezTo>
                    <a:pt x="180000" y="57426"/>
                    <a:pt x="169926" y="67500"/>
                    <a:pt x="157500" y="67500"/>
                  </a:cubicBezTo>
                  <a:cubicBezTo>
                    <a:pt x="145074" y="67500"/>
                    <a:pt x="135000" y="57426"/>
                    <a:pt x="135000" y="45000"/>
                  </a:cubicBezTo>
                  <a:lnTo>
                    <a:pt x="135000" y="22500"/>
                  </a:lnTo>
                  <a:cubicBezTo>
                    <a:pt x="135000" y="10074"/>
                    <a:pt x="145074" y="0"/>
                    <a:pt x="157500" y="0"/>
                  </a:cubicBezTo>
                  <a:close/>
                  <a:moveTo>
                    <a:pt x="157500" y="247500"/>
                  </a:moveTo>
                  <a:cubicBezTo>
                    <a:pt x="169926" y="247500"/>
                    <a:pt x="180000" y="257574"/>
                    <a:pt x="180000" y="270000"/>
                  </a:cubicBezTo>
                  <a:lnTo>
                    <a:pt x="180000" y="292500"/>
                  </a:lnTo>
                  <a:cubicBezTo>
                    <a:pt x="180000" y="304926"/>
                    <a:pt x="169926" y="315000"/>
                    <a:pt x="157500" y="315000"/>
                  </a:cubicBezTo>
                  <a:cubicBezTo>
                    <a:pt x="145074" y="315000"/>
                    <a:pt x="135000" y="304926"/>
                    <a:pt x="135000" y="292500"/>
                  </a:cubicBezTo>
                  <a:lnTo>
                    <a:pt x="135000" y="270000"/>
                  </a:lnTo>
                  <a:cubicBezTo>
                    <a:pt x="135000" y="257574"/>
                    <a:pt x="145074" y="247500"/>
                    <a:pt x="157500" y="247500"/>
                  </a:cubicBezTo>
                  <a:close/>
                  <a:moveTo>
                    <a:pt x="49660" y="49660"/>
                  </a:moveTo>
                  <a:cubicBezTo>
                    <a:pt x="58447" y="40873"/>
                    <a:pt x="72693" y="40873"/>
                    <a:pt x="81480" y="49660"/>
                  </a:cubicBezTo>
                  <a:lnTo>
                    <a:pt x="97390" y="65570"/>
                  </a:lnTo>
                  <a:cubicBezTo>
                    <a:pt x="106176" y="74357"/>
                    <a:pt x="106176" y="88603"/>
                    <a:pt x="97390" y="97390"/>
                  </a:cubicBezTo>
                  <a:cubicBezTo>
                    <a:pt x="88603" y="106176"/>
                    <a:pt x="74357" y="106176"/>
                    <a:pt x="65570" y="97390"/>
                  </a:cubicBezTo>
                  <a:lnTo>
                    <a:pt x="49660" y="81480"/>
                  </a:lnTo>
                  <a:cubicBezTo>
                    <a:pt x="40873" y="72693"/>
                    <a:pt x="40873" y="58447"/>
                    <a:pt x="49660" y="49660"/>
                  </a:cubicBezTo>
                  <a:close/>
                  <a:moveTo>
                    <a:pt x="49660" y="266139"/>
                  </a:moveTo>
                  <a:cubicBezTo>
                    <a:pt x="40873" y="257354"/>
                    <a:pt x="40873" y="243107"/>
                    <a:pt x="49660" y="234320"/>
                  </a:cubicBezTo>
                  <a:lnTo>
                    <a:pt x="65570" y="218410"/>
                  </a:lnTo>
                  <a:cubicBezTo>
                    <a:pt x="74357" y="209624"/>
                    <a:pt x="88603" y="209624"/>
                    <a:pt x="97390" y="218410"/>
                  </a:cubicBezTo>
                  <a:cubicBezTo>
                    <a:pt x="106176" y="227196"/>
                    <a:pt x="106176" y="241443"/>
                    <a:pt x="97390" y="250230"/>
                  </a:cubicBezTo>
                  <a:lnTo>
                    <a:pt x="81480" y="266139"/>
                  </a:lnTo>
                  <a:cubicBezTo>
                    <a:pt x="72693" y="274926"/>
                    <a:pt x="58447" y="274926"/>
                    <a:pt x="49660" y="266139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37" name="Рисунок 331">
            <a:extLst>
              <a:ext uri="{FF2B5EF4-FFF2-40B4-BE49-F238E27FC236}">
                <a16:creationId xmlns:a16="http://schemas.microsoft.com/office/drawing/2014/main" id="{32D83111-F7EE-DA4A-8884-741E9DEA314C}"/>
              </a:ext>
            </a:extLst>
          </p:cNvPr>
          <p:cNvGrpSpPr/>
          <p:nvPr/>
        </p:nvGrpSpPr>
        <p:grpSpPr>
          <a:xfrm>
            <a:off x="661871" y="1769207"/>
            <a:ext cx="360000" cy="360000"/>
            <a:chOff x="695324" y="2085929"/>
            <a:chExt cx="360000" cy="360000"/>
          </a:xfrm>
        </p:grpSpPr>
        <p:sp>
          <p:nvSpPr>
            <p:cNvPr id="1338" name="Полилиния 1337">
              <a:extLst>
                <a:ext uri="{FF2B5EF4-FFF2-40B4-BE49-F238E27FC236}">
                  <a16:creationId xmlns:a16="http://schemas.microsoft.com/office/drawing/2014/main" id="{9E2C724E-6028-AF47-AC97-F5C1ACB31A99}"/>
                </a:ext>
              </a:extLst>
            </p:cNvPr>
            <p:cNvSpPr/>
            <p:nvPr/>
          </p:nvSpPr>
          <p:spPr>
            <a:xfrm>
              <a:off x="695324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9" name="Скругленный прямоугольник 1338">
              <a:extLst>
                <a:ext uri="{FF2B5EF4-FFF2-40B4-BE49-F238E27FC236}">
                  <a16:creationId xmlns:a16="http://schemas.microsoft.com/office/drawing/2014/main" id="{037D811D-2420-5B4E-B0F0-59C79981AFEE}"/>
                </a:ext>
              </a:extLst>
            </p:cNvPr>
            <p:cNvSpPr/>
            <p:nvPr/>
          </p:nvSpPr>
          <p:spPr>
            <a:xfrm>
              <a:off x="725324" y="2115929"/>
              <a:ext cx="150000" cy="18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0" name="Полилиния 1339">
              <a:extLst>
                <a:ext uri="{FF2B5EF4-FFF2-40B4-BE49-F238E27FC236}">
                  <a16:creationId xmlns:a16="http://schemas.microsoft.com/office/drawing/2014/main" id="{03212D38-FBED-D34B-B508-52EDDDBBF38A}"/>
                </a:ext>
              </a:extLst>
            </p:cNvPr>
            <p:cNvSpPr/>
            <p:nvPr/>
          </p:nvSpPr>
          <p:spPr>
            <a:xfrm>
              <a:off x="725324" y="2175929"/>
              <a:ext cx="300000" cy="240000"/>
            </a:xfrm>
            <a:custGeom>
              <a:avLst/>
              <a:gdLst>
                <a:gd name="connsiteX0" fmla="*/ 30000 w 300000"/>
                <a:gd name="connsiteY0" fmla="*/ 0 h 240000"/>
                <a:gd name="connsiteX1" fmla="*/ 270000 w 300000"/>
                <a:gd name="connsiteY1" fmla="*/ 0 h 240000"/>
                <a:gd name="connsiteX2" fmla="*/ 300000 w 300000"/>
                <a:gd name="connsiteY2" fmla="*/ 30000 h 240000"/>
                <a:gd name="connsiteX3" fmla="*/ 300000 w 300000"/>
                <a:gd name="connsiteY3" fmla="*/ 210000 h 240000"/>
                <a:gd name="connsiteX4" fmla="*/ 270000 w 300000"/>
                <a:gd name="connsiteY4" fmla="*/ 240000 h 240000"/>
                <a:gd name="connsiteX5" fmla="*/ 30000 w 300000"/>
                <a:gd name="connsiteY5" fmla="*/ 240000 h 240000"/>
                <a:gd name="connsiteX6" fmla="*/ 0 w 300000"/>
                <a:gd name="connsiteY6" fmla="*/ 210000 h 240000"/>
                <a:gd name="connsiteX7" fmla="*/ 0 w 300000"/>
                <a:gd name="connsiteY7" fmla="*/ 30000 h 240000"/>
                <a:gd name="connsiteX8" fmla="*/ 30000 w 300000"/>
                <a:gd name="connsiteY8" fmla="*/ 0 h 240000"/>
                <a:gd name="connsiteX9" fmla="*/ 240000 w 300000"/>
                <a:gd name="connsiteY9" fmla="*/ 150000 h 240000"/>
                <a:gd name="connsiteX10" fmla="*/ 270000 w 300000"/>
                <a:gd name="connsiteY10" fmla="*/ 120000 h 240000"/>
                <a:gd name="connsiteX11" fmla="*/ 240000 w 300000"/>
                <a:gd name="connsiteY11" fmla="*/ 90000 h 240000"/>
                <a:gd name="connsiteX12" fmla="*/ 210000 w 300000"/>
                <a:gd name="connsiteY12" fmla="*/ 120000 h 240000"/>
                <a:gd name="connsiteX13" fmla="*/ 240000 w 300000"/>
                <a:gd name="connsiteY13" fmla="*/ 15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000" h="240000">
                  <a:moveTo>
                    <a:pt x="30000" y="0"/>
                  </a:moveTo>
                  <a:lnTo>
                    <a:pt x="270000" y="0"/>
                  </a:lnTo>
                  <a:cubicBezTo>
                    <a:pt x="286569" y="0"/>
                    <a:pt x="300000" y="13431"/>
                    <a:pt x="300000" y="30000"/>
                  </a:cubicBezTo>
                  <a:lnTo>
                    <a:pt x="300000" y="210000"/>
                  </a:lnTo>
                  <a:cubicBezTo>
                    <a:pt x="300000" y="226569"/>
                    <a:pt x="286569" y="240000"/>
                    <a:pt x="270000" y="240000"/>
                  </a:cubicBezTo>
                  <a:lnTo>
                    <a:pt x="30000" y="240000"/>
                  </a:lnTo>
                  <a:cubicBezTo>
                    <a:pt x="13431" y="240000"/>
                    <a:pt x="0" y="226569"/>
                    <a:pt x="0" y="21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  <a:moveTo>
                    <a:pt x="240000" y="150000"/>
                  </a:moveTo>
                  <a:cubicBezTo>
                    <a:pt x="256569" y="150000"/>
                    <a:pt x="270000" y="136569"/>
                    <a:pt x="270000" y="120000"/>
                  </a:cubicBezTo>
                  <a:cubicBezTo>
                    <a:pt x="270000" y="103431"/>
                    <a:pt x="256569" y="90000"/>
                    <a:pt x="240000" y="90000"/>
                  </a:cubicBezTo>
                  <a:cubicBezTo>
                    <a:pt x="223431" y="90000"/>
                    <a:pt x="210000" y="103431"/>
                    <a:pt x="210000" y="120000"/>
                  </a:cubicBezTo>
                  <a:cubicBezTo>
                    <a:pt x="210000" y="136569"/>
                    <a:pt x="223431" y="150000"/>
                    <a:pt x="240000" y="15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41" name="Рисунок 332">
            <a:extLst>
              <a:ext uri="{FF2B5EF4-FFF2-40B4-BE49-F238E27FC236}">
                <a16:creationId xmlns:a16="http://schemas.microsoft.com/office/drawing/2014/main" id="{CA08C15F-46CA-8945-9C6A-5359C2F0D894}"/>
              </a:ext>
            </a:extLst>
          </p:cNvPr>
          <p:cNvGrpSpPr/>
          <p:nvPr/>
        </p:nvGrpSpPr>
        <p:grpSpPr>
          <a:xfrm>
            <a:off x="10478600" y="1096153"/>
            <a:ext cx="360000" cy="360000"/>
            <a:chOff x="10512053" y="1412875"/>
            <a:chExt cx="360000" cy="360000"/>
          </a:xfrm>
        </p:grpSpPr>
        <p:sp>
          <p:nvSpPr>
            <p:cNvPr id="1342" name="Полилиния 1341">
              <a:extLst>
                <a:ext uri="{FF2B5EF4-FFF2-40B4-BE49-F238E27FC236}">
                  <a16:creationId xmlns:a16="http://schemas.microsoft.com/office/drawing/2014/main" id="{6E03E959-071C-2F41-912F-1DBDB6C11A0F}"/>
                </a:ext>
              </a:extLst>
            </p:cNvPr>
            <p:cNvSpPr/>
            <p:nvPr/>
          </p:nvSpPr>
          <p:spPr>
            <a:xfrm>
              <a:off x="10512053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3" name="Полилиния 1342">
              <a:extLst>
                <a:ext uri="{FF2B5EF4-FFF2-40B4-BE49-F238E27FC236}">
                  <a16:creationId xmlns:a16="http://schemas.microsoft.com/office/drawing/2014/main" id="{3A3D9AF4-4EF7-4D43-B185-E4E2E3E78613}"/>
                </a:ext>
              </a:extLst>
            </p:cNvPr>
            <p:cNvSpPr/>
            <p:nvPr/>
          </p:nvSpPr>
          <p:spPr>
            <a:xfrm>
              <a:off x="10542053" y="1472875"/>
              <a:ext cx="300000" cy="240000"/>
            </a:xfrm>
            <a:custGeom>
              <a:avLst/>
              <a:gdLst>
                <a:gd name="connsiteX0" fmla="*/ 30000 w 300000"/>
                <a:gd name="connsiteY0" fmla="*/ 0 h 240000"/>
                <a:gd name="connsiteX1" fmla="*/ 270000 w 300000"/>
                <a:gd name="connsiteY1" fmla="*/ 0 h 240000"/>
                <a:gd name="connsiteX2" fmla="*/ 300000 w 300000"/>
                <a:gd name="connsiteY2" fmla="*/ 30000 h 240000"/>
                <a:gd name="connsiteX3" fmla="*/ 300000 w 300000"/>
                <a:gd name="connsiteY3" fmla="*/ 210000 h 240000"/>
                <a:gd name="connsiteX4" fmla="*/ 270000 w 300000"/>
                <a:gd name="connsiteY4" fmla="*/ 240000 h 240000"/>
                <a:gd name="connsiteX5" fmla="*/ 30000 w 300000"/>
                <a:gd name="connsiteY5" fmla="*/ 240000 h 240000"/>
                <a:gd name="connsiteX6" fmla="*/ 0 w 300000"/>
                <a:gd name="connsiteY6" fmla="*/ 210000 h 240000"/>
                <a:gd name="connsiteX7" fmla="*/ 0 w 300000"/>
                <a:gd name="connsiteY7" fmla="*/ 30000 h 240000"/>
                <a:gd name="connsiteX8" fmla="*/ 30000 w 300000"/>
                <a:gd name="connsiteY8" fmla="*/ 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000" h="240000">
                  <a:moveTo>
                    <a:pt x="30000" y="0"/>
                  </a:moveTo>
                  <a:lnTo>
                    <a:pt x="270000" y="0"/>
                  </a:lnTo>
                  <a:cubicBezTo>
                    <a:pt x="286569" y="0"/>
                    <a:pt x="300000" y="13431"/>
                    <a:pt x="300000" y="30000"/>
                  </a:cubicBezTo>
                  <a:lnTo>
                    <a:pt x="300000" y="210000"/>
                  </a:lnTo>
                  <a:cubicBezTo>
                    <a:pt x="300000" y="226569"/>
                    <a:pt x="286569" y="240000"/>
                    <a:pt x="270000" y="240000"/>
                  </a:cubicBezTo>
                  <a:lnTo>
                    <a:pt x="30000" y="240000"/>
                  </a:lnTo>
                  <a:cubicBezTo>
                    <a:pt x="13431" y="240000"/>
                    <a:pt x="0" y="226569"/>
                    <a:pt x="0" y="21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4" name="Полилиния 1343">
              <a:extLst>
                <a:ext uri="{FF2B5EF4-FFF2-40B4-BE49-F238E27FC236}">
                  <a16:creationId xmlns:a16="http://schemas.microsoft.com/office/drawing/2014/main" id="{FE7B6287-EC14-7F4F-A732-C67ED3622C48}"/>
                </a:ext>
              </a:extLst>
            </p:cNvPr>
            <p:cNvSpPr/>
            <p:nvPr/>
          </p:nvSpPr>
          <p:spPr>
            <a:xfrm>
              <a:off x="10572053" y="1577875"/>
              <a:ext cx="240000" cy="60000"/>
            </a:xfrm>
            <a:custGeom>
              <a:avLst/>
              <a:gdLst>
                <a:gd name="connsiteX0" fmla="*/ 217500 w 240000"/>
                <a:gd name="connsiteY0" fmla="*/ 0 h 60000"/>
                <a:gd name="connsiteX1" fmla="*/ 22500 w 240000"/>
                <a:gd name="connsiteY1" fmla="*/ 0 h 60000"/>
                <a:gd name="connsiteX2" fmla="*/ 0 w 240000"/>
                <a:gd name="connsiteY2" fmla="*/ 22500 h 60000"/>
                <a:gd name="connsiteX3" fmla="*/ 0 w 240000"/>
                <a:gd name="connsiteY3" fmla="*/ 30000 h 60000"/>
                <a:gd name="connsiteX4" fmla="*/ 68787 w 240000"/>
                <a:gd name="connsiteY4" fmla="*/ 30000 h 60000"/>
                <a:gd name="connsiteX5" fmla="*/ 79393 w 240000"/>
                <a:gd name="connsiteY5" fmla="*/ 34394 h 60000"/>
                <a:gd name="connsiteX6" fmla="*/ 94394 w 240000"/>
                <a:gd name="connsiteY6" fmla="*/ 49394 h 60000"/>
                <a:gd name="connsiteX7" fmla="*/ 120000 w 240000"/>
                <a:gd name="connsiteY7" fmla="*/ 60000 h 60000"/>
                <a:gd name="connsiteX8" fmla="*/ 145607 w 240000"/>
                <a:gd name="connsiteY8" fmla="*/ 49394 h 60000"/>
                <a:gd name="connsiteX9" fmla="*/ 160607 w 240000"/>
                <a:gd name="connsiteY9" fmla="*/ 34394 h 60000"/>
                <a:gd name="connsiteX10" fmla="*/ 171213 w 240000"/>
                <a:gd name="connsiteY10" fmla="*/ 30000 h 60000"/>
                <a:gd name="connsiteX11" fmla="*/ 240000 w 240000"/>
                <a:gd name="connsiteY11" fmla="*/ 30000 h 60000"/>
                <a:gd name="connsiteX12" fmla="*/ 240000 w 240000"/>
                <a:gd name="connsiteY12" fmla="*/ 22500 h 60000"/>
                <a:gd name="connsiteX13" fmla="*/ 217500 w 240000"/>
                <a:gd name="connsiteY13" fmla="*/ 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60000">
                  <a:moveTo>
                    <a:pt x="217500" y="0"/>
                  </a:moveTo>
                  <a:lnTo>
                    <a:pt x="22500" y="0"/>
                  </a:lnTo>
                  <a:cubicBezTo>
                    <a:pt x="10074" y="0"/>
                    <a:pt x="0" y="10074"/>
                    <a:pt x="0" y="22500"/>
                  </a:cubicBezTo>
                  <a:lnTo>
                    <a:pt x="0" y="30000"/>
                  </a:lnTo>
                  <a:lnTo>
                    <a:pt x="68787" y="30000"/>
                  </a:lnTo>
                  <a:cubicBezTo>
                    <a:pt x="72765" y="30000"/>
                    <a:pt x="76580" y="31581"/>
                    <a:pt x="79393" y="34394"/>
                  </a:cubicBezTo>
                  <a:lnTo>
                    <a:pt x="94394" y="49394"/>
                  </a:lnTo>
                  <a:cubicBezTo>
                    <a:pt x="101184" y="56184"/>
                    <a:pt x="110396" y="60000"/>
                    <a:pt x="120000" y="60000"/>
                  </a:cubicBezTo>
                  <a:cubicBezTo>
                    <a:pt x="129605" y="60000"/>
                    <a:pt x="138816" y="56184"/>
                    <a:pt x="145607" y="49394"/>
                  </a:cubicBezTo>
                  <a:lnTo>
                    <a:pt x="160607" y="34394"/>
                  </a:lnTo>
                  <a:cubicBezTo>
                    <a:pt x="163419" y="31581"/>
                    <a:pt x="167235" y="30000"/>
                    <a:pt x="171213" y="30000"/>
                  </a:cubicBezTo>
                  <a:lnTo>
                    <a:pt x="240000" y="30000"/>
                  </a:lnTo>
                  <a:lnTo>
                    <a:pt x="240000" y="22500"/>
                  </a:lnTo>
                  <a:cubicBezTo>
                    <a:pt x="240000" y="10074"/>
                    <a:pt x="229926" y="0"/>
                    <a:pt x="2175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5" name="Полилиния 1344">
              <a:extLst>
                <a:ext uri="{FF2B5EF4-FFF2-40B4-BE49-F238E27FC236}">
                  <a16:creationId xmlns:a16="http://schemas.microsoft.com/office/drawing/2014/main" id="{C35303C2-7650-7D44-98F6-0081B6D75271}"/>
                </a:ext>
              </a:extLst>
            </p:cNvPr>
            <p:cNvSpPr/>
            <p:nvPr/>
          </p:nvSpPr>
          <p:spPr>
            <a:xfrm>
              <a:off x="10572053" y="1502875"/>
              <a:ext cx="240000" cy="30000"/>
            </a:xfrm>
            <a:custGeom>
              <a:avLst/>
              <a:gdLst>
                <a:gd name="connsiteX0" fmla="*/ 22500 w 240000"/>
                <a:gd name="connsiteY0" fmla="*/ 0 h 30000"/>
                <a:gd name="connsiteX1" fmla="*/ 0 w 240000"/>
                <a:gd name="connsiteY1" fmla="*/ 22500 h 30000"/>
                <a:gd name="connsiteX2" fmla="*/ 0 w 240000"/>
                <a:gd name="connsiteY2" fmla="*/ 30000 h 30000"/>
                <a:gd name="connsiteX3" fmla="*/ 240000 w 240000"/>
                <a:gd name="connsiteY3" fmla="*/ 30000 h 30000"/>
                <a:gd name="connsiteX4" fmla="*/ 240000 w 240000"/>
                <a:gd name="connsiteY4" fmla="*/ 22500 h 30000"/>
                <a:gd name="connsiteX5" fmla="*/ 217500 w 240000"/>
                <a:gd name="connsiteY5" fmla="*/ 0 h 30000"/>
                <a:gd name="connsiteX6" fmla="*/ 22500 w 240000"/>
                <a:gd name="connsiteY6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0000" h="30000">
                  <a:moveTo>
                    <a:pt x="22500" y="0"/>
                  </a:moveTo>
                  <a:cubicBezTo>
                    <a:pt x="10074" y="0"/>
                    <a:pt x="0" y="10074"/>
                    <a:pt x="0" y="22500"/>
                  </a:cubicBezTo>
                  <a:lnTo>
                    <a:pt x="0" y="30000"/>
                  </a:lnTo>
                  <a:lnTo>
                    <a:pt x="240000" y="30000"/>
                  </a:lnTo>
                  <a:lnTo>
                    <a:pt x="240000" y="22500"/>
                  </a:lnTo>
                  <a:cubicBezTo>
                    <a:pt x="240000" y="10074"/>
                    <a:pt x="229926" y="0"/>
                    <a:pt x="217500" y="0"/>
                  </a:cubicBezTo>
                  <a:lnTo>
                    <a:pt x="2250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46" name="Рисунок 333">
            <a:extLst>
              <a:ext uri="{FF2B5EF4-FFF2-40B4-BE49-F238E27FC236}">
                <a16:creationId xmlns:a16="http://schemas.microsoft.com/office/drawing/2014/main" id="{E0901BCA-395A-E247-92EB-FC427EE17E09}"/>
              </a:ext>
            </a:extLst>
          </p:cNvPr>
          <p:cNvGrpSpPr/>
          <p:nvPr/>
        </p:nvGrpSpPr>
        <p:grpSpPr>
          <a:xfrm>
            <a:off x="8213201" y="1096153"/>
            <a:ext cx="360000" cy="360000"/>
            <a:chOff x="8246654" y="1412875"/>
            <a:chExt cx="360000" cy="360000"/>
          </a:xfrm>
        </p:grpSpPr>
        <p:sp>
          <p:nvSpPr>
            <p:cNvPr id="1347" name="Полилиния 1346">
              <a:extLst>
                <a:ext uri="{FF2B5EF4-FFF2-40B4-BE49-F238E27FC236}">
                  <a16:creationId xmlns:a16="http://schemas.microsoft.com/office/drawing/2014/main" id="{4E50E331-AC39-AE45-955E-D3ABE6E88219}"/>
                </a:ext>
              </a:extLst>
            </p:cNvPr>
            <p:cNvSpPr/>
            <p:nvPr/>
          </p:nvSpPr>
          <p:spPr>
            <a:xfrm>
              <a:off x="824665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8" name="Полилиния 1347">
              <a:extLst>
                <a:ext uri="{FF2B5EF4-FFF2-40B4-BE49-F238E27FC236}">
                  <a16:creationId xmlns:a16="http://schemas.microsoft.com/office/drawing/2014/main" id="{23F4D7E4-EECE-184D-9A87-7615B5D8C732}"/>
                </a:ext>
              </a:extLst>
            </p:cNvPr>
            <p:cNvSpPr/>
            <p:nvPr/>
          </p:nvSpPr>
          <p:spPr>
            <a:xfrm>
              <a:off x="8531654" y="1577875"/>
              <a:ext cx="45000" cy="45000"/>
            </a:xfrm>
            <a:custGeom>
              <a:avLst/>
              <a:gdLst>
                <a:gd name="connsiteX0" fmla="*/ 45000 w 45000"/>
                <a:gd name="connsiteY0" fmla="*/ 22500 h 45000"/>
                <a:gd name="connsiteX1" fmla="*/ 22500 w 45000"/>
                <a:gd name="connsiteY1" fmla="*/ 45000 h 45000"/>
                <a:gd name="connsiteX2" fmla="*/ 0 w 45000"/>
                <a:gd name="connsiteY2" fmla="*/ 22500 h 45000"/>
                <a:gd name="connsiteX3" fmla="*/ 22500 w 45000"/>
                <a:gd name="connsiteY3" fmla="*/ 0 h 45000"/>
                <a:gd name="connsiteX4" fmla="*/ 45000 w 45000"/>
                <a:gd name="connsiteY4" fmla="*/ 2250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00" h="45000">
                  <a:moveTo>
                    <a:pt x="45000" y="22500"/>
                  </a:moveTo>
                  <a:cubicBezTo>
                    <a:pt x="45000" y="34926"/>
                    <a:pt x="34926" y="45000"/>
                    <a:pt x="22500" y="45000"/>
                  </a:cubicBez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ubicBezTo>
                    <a:pt x="34926" y="0"/>
                    <a:pt x="45000" y="10074"/>
                    <a:pt x="45000" y="22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9" name="Полилиния 1348">
              <a:extLst>
                <a:ext uri="{FF2B5EF4-FFF2-40B4-BE49-F238E27FC236}">
                  <a16:creationId xmlns:a16="http://schemas.microsoft.com/office/drawing/2014/main" id="{E1C4B5DD-DC8C-AF4C-B130-B6E49FA6DF63}"/>
                </a:ext>
              </a:extLst>
            </p:cNvPr>
            <p:cNvSpPr/>
            <p:nvPr/>
          </p:nvSpPr>
          <p:spPr>
            <a:xfrm rot="-900000">
              <a:off x="8291654" y="1457875"/>
              <a:ext cx="270000" cy="105000"/>
            </a:xfrm>
            <a:custGeom>
              <a:avLst/>
              <a:gdLst>
                <a:gd name="connsiteX0" fmla="*/ 255000 w 270000"/>
                <a:gd name="connsiteY0" fmla="*/ 0 h 105000"/>
                <a:gd name="connsiteX1" fmla="*/ 270000 w 270000"/>
                <a:gd name="connsiteY1" fmla="*/ 0 h 105000"/>
                <a:gd name="connsiteX2" fmla="*/ 270000 w 270000"/>
                <a:gd name="connsiteY2" fmla="*/ 105000 h 105000"/>
                <a:gd name="connsiteX3" fmla="*/ 255000 w 270000"/>
                <a:gd name="connsiteY3" fmla="*/ 105000 h 105000"/>
                <a:gd name="connsiteX4" fmla="*/ 15000 w 270000"/>
                <a:gd name="connsiteY4" fmla="*/ 105000 h 105000"/>
                <a:gd name="connsiteX5" fmla="*/ 0 w 270000"/>
                <a:gd name="connsiteY5" fmla="*/ 105000 h 105000"/>
                <a:gd name="connsiteX6" fmla="*/ 0 w 270000"/>
                <a:gd name="connsiteY6" fmla="*/ 0 h 105000"/>
                <a:gd name="connsiteX7" fmla="*/ 15000 w 270000"/>
                <a:gd name="connsiteY7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0000" h="105000">
                  <a:moveTo>
                    <a:pt x="255000" y="0"/>
                  </a:moveTo>
                  <a:cubicBezTo>
                    <a:pt x="263284" y="0"/>
                    <a:pt x="270000" y="0"/>
                    <a:pt x="270000" y="0"/>
                  </a:cubicBezTo>
                  <a:lnTo>
                    <a:pt x="270000" y="105000"/>
                  </a:lnTo>
                  <a:cubicBezTo>
                    <a:pt x="270000" y="105000"/>
                    <a:pt x="263284" y="105000"/>
                    <a:pt x="255000" y="105000"/>
                  </a:cubicBezTo>
                  <a:lnTo>
                    <a:pt x="15000" y="105000"/>
                  </a:lnTo>
                  <a:cubicBezTo>
                    <a:pt x="6716" y="105000"/>
                    <a:pt x="0" y="105000"/>
                    <a:pt x="0" y="105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0" name="Полилиния 1349">
              <a:extLst>
                <a:ext uri="{FF2B5EF4-FFF2-40B4-BE49-F238E27FC236}">
                  <a16:creationId xmlns:a16="http://schemas.microsoft.com/office/drawing/2014/main" id="{E510D361-9E5E-C54B-9B29-FFA005152A75}"/>
                </a:ext>
              </a:extLst>
            </p:cNvPr>
            <p:cNvSpPr/>
            <p:nvPr/>
          </p:nvSpPr>
          <p:spPr>
            <a:xfrm>
              <a:off x="8276654" y="1472875"/>
              <a:ext cx="300000" cy="240000"/>
            </a:xfrm>
            <a:custGeom>
              <a:avLst/>
              <a:gdLst>
                <a:gd name="connsiteX0" fmla="*/ 300000 w 300000"/>
                <a:gd name="connsiteY0" fmla="*/ 80052 h 240000"/>
                <a:gd name="connsiteX1" fmla="*/ 277500 w 300000"/>
                <a:gd name="connsiteY1" fmla="*/ 75000 h 240000"/>
                <a:gd name="connsiteX2" fmla="*/ 225000 w 300000"/>
                <a:gd name="connsiteY2" fmla="*/ 127500 h 240000"/>
                <a:gd name="connsiteX3" fmla="*/ 277500 w 300000"/>
                <a:gd name="connsiteY3" fmla="*/ 180000 h 240000"/>
                <a:gd name="connsiteX4" fmla="*/ 300000 w 300000"/>
                <a:gd name="connsiteY4" fmla="*/ 174948 h 240000"/>
                <a:gd name="connsiteX5" fmla="*/ 300000 w 300000"/>
                <a:gd name="connsiteY5" fmla="*/ 210000 h 240000"/>
                <a:gd name="connsiteX6" fmla="*/ 270000 w 300000"/>
                <a:gd name="connsiteY6" fmla="*/ 240000 h 240000"/>
                <a:gd name="connsiteX7" fmla="*/ 30000 w 300000"/>
                <a:gd name="connsiteY7" fmla="*/ 240000 h 240000"/>
                <a:gd name="connsiteX8" fmla="*/ 0 w 300000"/>
                <a:gd name="connsiteY8" fmla="*/ 210000 h 240000"/>
                <a:gd name="connsiteX9" fmla="*/ 0 w 300000"/>
                <a:gd name="connsiteY9" fmla="*/ 30000 h 240000"/>
                <a:gd name="connsiteX10" fmla="*/ 30000 w 300000"/>
                <a:gd name="connsiteY10" fmla="*/ 0 h 240000"/>
                <a:gd name="connsiteX11" fmla="*/ 270000 w 300000"/>
                <a:gd name="connsiteY11" fmla="*/ 0 h 240000"/>
                <a:gd name="connsiteX12" fmla="*/ 300000 w 300000"/>
                <a:gd name="connsiteY12" fmla="*/ 30000 h 240000"/>
                <a:gd name="connsiteX13" fmla="*/ 300000 w 300000"/>
                <a:gd name="connsiteY13" fmla="*/ 80052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000" h="240000">
                  <a:moveTo>
                    <a:pt x="300000" y="80052"/>
                  </a:moveTo>
                  <a:cubicBezTo>
                    <a:pt x="293181" y="76813"/>
                    <a:pt x="285552" y="75000"/>
                    <a:pt x="277500" y="75000"/>
                  </a:cubicBezTo>
                  <a:cubicBezTo>
                    <a:pt x="248505" y="75000"/>
                    <a:pt x="225000" y="98505"/>
                    <a:pt x="225000" y="127500"/>
                  </a:cubicBezTo>
                  <a:cubicBezTo>
                    <a:pt x="225000" y="156495"/>
                    <a:pt x="248505" y="180000"/>
                    <a:pt x="277500" y="180000"/>
                  </a:cubicBezTo>
                  <a:cubicBezTo>
                    <a:pt x="285552" y="180000"/>
                    <a:pt x="293181" y="178188"/>
                    <a:pt x="300000" y="174948"/>
                  </a:cubicBezTo>
                  <a:lnTo>
                    <a:pt x="300000" y="210000"/>
                  </a:lnTo>
                  <a:cubicBezTo>
                    <a:pt x="300000" y="226569"/>
                    <a:pt x="286569" y="240000"/>
                    <a:pt x="270000" y="240000"/>
                  </a:cubicBezTo>
                  <a:lnTo>
                    <a:pt x="30000" y="240000"/>
                  </a:lnTo>
                  <a:cubicBezTo>
                    <a:pt x="13431" y="240000"/>
                    <a:pt x="0" y="226569"/>
                    <a:pt x="0" y="21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270000" y="0"/>
                  </a:lnTo>
                  <a:cubicBezTo>
                    <a:pt x="286569" y="0"/>
                    <a:pt x="300000" y="13431"/>
                    <a:pt x="300000" y="30000"/>
                  </a:cubicBezTo>
                  <a:lnTo>
                    <a:pt x="300000" y="80052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51" name="Рисунок 334">
            <a:extLst>
              <a:ext uri="{FF2B5EF4-FFF2-40B4-BE49-F238E27FC236}">
                <a16:creationId xmlns:a16="http://schemas.microsoft.com/office/drawing/2014/main" id="{17EA4C6B-ECF9-4D4D-A63B-1A9EDC07BC9C}"/>
              </a:ext>
            </a:extLst>
          </p:cNvPr>
          <p:cNvGrpSpPr/>
          <p:nvPr/>
        </p:nvGrpSpPr>
        <p:grpSpPr>
          <a:xfrm>
            <a:off x="9723467" y="1096153"/>
            <a:ext cx="360000" cy="360000"/>
            <a:chOff x="9756920" y="1412875"/>
            <a:chExt cx="360000" cy="360000"/>
          </a:xfrm>
        </p:grpSpPr>
        <p:sp>
          <p:nvSpPr>
            <p:cNvPr id="1352" name="Полилиния 1351">
              <a:extLst>
                <a:ext uri="{FF2B5EF4-FFF2-40B4-BE49-F238E27FC236}">
                  <a16:creationId xmlns:a16="http://schemas.microsoft.com/office/drawing/2014/main" id="{468819B0-1C4E-4A4A-B9A6-56469BFE7689}"/>
                </a:ext>
              </a:extLst>
            </p:cNvPr>
            <p:cNvSpPr/>
            <p:nvPr/>
          </p:nvSpPr>
          <p:spPr>
            <a:xfrm>
              <a:off x="975692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3" name="Полилиния 1352">
              <a:extLst>
                <a:ext uri="{FF2B5EF4-FFF2-40B4-BE49-F238E27FC236}">
                  <a16:creationId xmlns:a16="http://schemas.microsoft.com/office/drawing/2014/main" id="{21ADFCC2-FAB3-BF4A-9EDB-EEA6CB316BCA}"/>
                </a:ext>
              </a:extLst>
            </p:cNvPr>
            <p:cNvSpPr/>
            <p:nvPr/>
          </p:nvSpPr>
          <p:spPr>
            <a:xfrm>
              <a:off x="9786920" y="1442875"/>
              <a:ext cx="300000" cy="300000"/>
            </a:xfrm>
            <a:custGeom>
              <a:avLst/>
              <a:gdLst>
                <a:gd name="connsiteX0" fmla="*/ 300000 w 300000"/>
                <a:gd name="connsiteY0" fmla="*/ 150000 h 300000"/>
                <a:gd name="connsiteX1" fmla="*/ 150000 w 300000"/>
                <a:gd name="connsiteY1" fmla="*/ 300000 h 300000"/>
                <a:gd name="connsiteX2" fmla="*/ 0 w 300000"/>
                <a:gd name="connsiteY2" fmla="*/ 150000 h 300000"/>
                <a:gd name="connsiteX3" fmla="*/ 150000 w 300000"/>
                <a:gd name="connsiteY3" fmla="*/ 0 h 300000"/>
                <a:gd name="connsiteX4" fmla="*/ 300000 w 300000"/>
                <a:gd name="connsiteY4" fmla="*/ 150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000" h="300000">
                  <a:moveTo>
                    <a:pt x="300000" y="150000"/>
                  </a:moveTo>
                  <a:cubicBezTo>
                    <a:pt x="300000" y="232843"/>
                    <a:pt x="232843" y="300000"/>
                    <a:pt x="150000" y="300000"/>
                  </a:cubicBezTo>
                  <a:cubicBezTo>
                    <a:pt x="67157" y="300000"/>
                    <a:pt x="0" y="232843"/>
                    <a:pt x="0" y="150000"/>
                  </a:cubicBezTo>
                  <a:cubicBezTo>
                    <a:pt x="0" y="67157"/>
                    <a:pt x="67157" y="0"/>
                    <a:pt x="150000" y="0"/>
                  </a:cubicBezTo>
                  <a:cubicBezTo>
                    <a:pt x="232843" y="0"/>
                    <a:pt x="300000" y="67157"/>
                    <a:pt x="300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4" name="Полилиния 1353">
              <a:extLst>
                <a:ext uri="{FF2B5EF4-FFF2-40B4-BE49-F238E27FC236}">
                  <a16:creationId xmlns:a16="http://schemas.microsoft.com/office/drawing/2014/main" id="{4415FBA8-3EC8-8B48-9ED3-9ADBC6A84E9E}"/>
                </a:ext>
              </a:extLst>
            </p:cNvPr>
            <p:cNvSpPr/>
            <p:nvPr/>
          </p:nvSpPr>
          <p:spPr>
            <a:xfrm>
              <a:off x="9921920" y="1517875"/>
              <a:ext cx="30000" cy="120000"/>
            </a:xfrm>
            <a:custGeom>
              <a:avLst/>
              <a:gdLst>
                <a:gd name="connsiteX0" fmla="*/ 15000 w 30000"/>
                <a:gd name="connsiteY0" fmla="*/ 0 h 120000"/>
                <a:gd name="connsiteX1" fmla="*/ 30000 w 30000"/>
                <a:gd name="connsiteY1" fmla="*/ 0 h 120000"/>
                <a:gd name="connsiteX2" fmla="*/ 30000 w 30000"/>
                <a:gd name="connsiteY2" fmla="*/ 120000 h 120000"/>
                <a:gd name="connsiteX3" fmla="*/ 15000 w 30000"/>
                <a:gd name="connsiteY3" fmla="*/ 120000 h 120000"/>
                <a:gd name="connsiteX4" fmla="*/ 15000 w 30000"/>
                <a:gd name="connsiteY4" fmla="*/ 120000 h 120000"/>
                <a:gd name="connsiteX5" fmla="*/ 0 w 30000"/>
                <a:gd name="connsiteY5" fmla="*/ 120000 h 120000"/>
                <a:gd name="connsiteX6" fmla="*/ 0 w 30000"/>
                <a:gd name="connsiteY6" fmla="*/ 0 h 120000"/>
                <a:gd name="connsiteX7" fmla="*/ 15000 w 30000"/>
                <a:gd name="connsiteY7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120000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120000"/>
                  </a:lnTo>
                  <a:cubicBezTo>
                    <a:pt x="30000" y="120000"/>
                    <a:pt x="23284" y="120000"/>
                    <a:pt x="15000" y="120000"/>
                  </a:cubicBezTo>
                  <a:lnTo>
                    <a:pt x="15000" y="120000"/>
                  </a:lnTo>
                  <a:cubicBezTo>
                    <a:pt x="6716" y="120000"/>
                    <a:pt x="0" y="120000"/>
                    <a:pt x="0" y="12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5" name="Полилиния 1354">
              <a:extLst>
                <a:ext uri="{FF2B5EF4-FFF2-40B4-BE49-F238E27FC236}">
                  <a16:creationId xmlns:a16="http://schemas.microsoft.com/office/drawing/2014/main" id="{DADC7927-CD75-EF45-9D0D-C35151197075}"/>
                </a:ext>
              </a:extLst>
            </p:cNvPr>
            <p:cNvSpPr/>
            <p:nvPr/>
          </p:nvSpPr>
          <p:spPr>
            <a:xfrm>
              <a:off x="9921920" y="1652875"/>
              <a:ext cx="30000" cy="30000"/>
            </a:xfrm>
            <a:custGeom>
              <a:avLst/>
              <a:gdLst>
                <a:gd name="connsiteX0" fmla="*/ 150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15000 w 30000"/>
                <a:gd name="connsiteY3" fmla="*/ 30000 h 30000"/>
                <a:gd name="connsiteX4" fmla="*/ 150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150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3284" y="30000"/>
                    <a:pt x="15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56" name="Рисунок 335">
            <a:extLst>
              <a:ext uri="{FF2B5EF4-FFF2-40B4-BE49-F238E27FC236}">
                <a16:creationId xmlns:a16="http://schemas.microsoft.com/office/drawing/2014/main" id="{DD5A9DF8-8B4E-1A49-8120-9E8F0445332A}"/>
              </a:ext>
            </a:extLst>
          </p:cNvPr>
          <p:cNvGrpSpPr/>
          <p:nvPr/>
        </p:nvGrpSpPr>
        <p:grpSpPr>
          <a:xfrm>
            <a:off x="8968334" y="1096153"/>
            <a:ext cx="360000" cy="360000"/>
            <a:chOff x="9001787" y="1412875"/>
            <a:chExt cx="360000" cy="360000"/>
          </a:xfrm>
        </p:grpSpPr>
        <p:sp>
          <p:nvSpPr>
            <p:cNvPr id="1357" name="Полилиния 1356">
              <a:extLst>
                <a:ext uri="{FF2B5EF4-FFF2-40B4-BE49-F238E27FC236}">
                  <a16:creationId xmlns:a16="http://schemas.microsoft.com/office/drawing/2014/main" id="{C24BE4EF-902E-2647-9A66-9941075027D1}"/>
                </a:ext>
              </a:extLst>
            </p:cNvPr>
            <p:cNvSpPr/>
            <p:nvPr/>
          </p:nvSpPr>
          <p:spPr>
            <a:xfrm>
              <a:off x="9001787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8" name="Полилиния 1357">
              <a:extLst>
                <a:ext uri="{FF2B5EF4-FFF2-40B4-BE49-F238E27FC236}">
                  <a16:creationId xmlns:a16="http://schemas.microsoft.com/office/drawing/2014/main" id="{5CE4E3E3-A86A-CD40-90CD-8C1BA834B21D}"/>
                </a:ext>
              </a:extLst>
            </p:cNvPr>
            <p:cNvSpPr/>
            <p:nvPr/>
          </p:nvSpPr>
          <p:spPr>
            <a:xfrm>
              <a:off x="9042276" y="1472648"/>
              <a:ext cx="292763" cy="255226"/>
            </a:xfrm>
            <a:custGeom>
              <a:avLst/>
              <a:gdLst>
                <a:gd name="connsiteX0" fmla="*/ 127015 w 292763"/>
                <a:gd name="connsiteY0" fmla="*/ 7718 h 255226"/>
                <a:gd name="connsiteX1" fmla="*/ 1890 w 292763"/>
                <a:gd name="connsiteY1" fmla="*/ 232942 h 255226"/>
                <a:gd name="connsiteX2" fmla="*/ 7718 w 292763"/>
                <a:gd name="connsiteY2" fmla="*/ 253339 h 255226"/>
                <a:gd name="connsiteX3" fmla="*/ 15003 w 292763"/>
                <a:gd name="connsiteY3" fmla="*/ 255226 h 255226"/>
                <a:gd name="connsiteX4" fmla="*/ 277764 w 292763"/>
                <a:gd name="connsiteY4" fmla="*/ 255226 h 255226"/>
                <a:gd name="connsiteX5" fmla="*/ 292764 w 292763"/>
                <a:gd name="connsiteY5" fmla="*/ 240226 h 255226"/>
                <a:gd name="connsiteX6" fmla="*/ 290563 w 292763"/>
                <a:gd name="connsiteY6" fmla="*/ 232404 h 255226"/>
                <a:gd name="connsiteX7" fmla="*/ 152926 w 292763"/>
                <a:gd name="connsiteY7" fmla="*/ 7180 h 255226"/>
                <a:gd name="connsiteX8" fmla="*/ 132306 w 292763"/>
                <a:gd name="connsiteY8" fmla="*/ 2203 h 255226"/>
                <a:gd name="connsiteX9" fmla="*/ 127015 w 292763"/>
                <a:gd name="connsiteY9" fmla="*/ 7718 h 255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2763" h="255226">
                  <a:moveTo>
                    <a:pt x="127015" y="7718"/>
                  </a:moveTo>
                  <a:lnTo>
                    <a:pt x="1890" y="232942"/>
                  </a:lnTo>
                  <a:cubicBezTo>
                    <a:pt x="-2133" y="240183"/>
                    <a:pt x="476" y="249315"/>
                    <a:pt x="7718" y="253339"/>
                  </a:cubicBezTo>
                  <a:cubicBezTo>
                    <a:pt x="9946" y="254577"/>
                    <a:pt x="12454" y="255226"/>
                    <a:pt x="15003" y="255226"/>
                  </a:cubicBezTo>
                  <a:lnTo>
                    <a:pt x="277764" y="255226"/>
                  </a:lnTo>
                  <a:cubicBezTo>
                    <a:pt x="286048" y="255226"/>
                    <a:pt x="292764" y="248511"/>
                    <a:pt x="292764" y="240226"/>
                  </a:cubicBezTo>
                  <a:cubicBezTo>
                    <a:pt x="292764" y="237466"/>
                    <a:pt x="292003" y="234760"/>
                    <a:pt x="290563" y="232404"/>
                  </a:cubicBezTo>
                  <a:lnTo>
                    <a:pt x="152926" y="7180"/>
                  </a:lnTo>
                  <a:cubicBezTo>
                    <a:pt x="148606" y="112"/>
                    <a:pt x="139375" y="-2117"/>
                    <a:pt x="132306" y="2203"/>
                  </a:cubicBezTo>
                  <a:cubicBezTo>
                    <a:pt x="130096" y="3554"/>
                    <a:pt x="128272" y="5453"/>
                    <a:pt x="127015" y="7718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9" name="Полилиния 1358">
              <a:extLst>
                <a:ext uri="{FF2B5EF4-FFF2-40B4-BE49-F238E27FC236}">
                  <a16:creationId xmlns:a16="http://schemas.microsoft.com/office/drawing/2014/main" id="{866FE9E1-3D16-0747-9087-FCFFAEB8F67F}"/>
                </a:ext>
              </a:extLst>
            </p:cNvPr>
            <p:cNvSpPr/>
            <p:nvPr/>
          </p:nvSpPr>
          <p:spPr>
            <a:xfrm>
              <a:off x="9166787" y="1547875"/>
              <a:ext cx="30000" cy="105000"/>
            </a:xfrm>
            <a:custGeom>
              <a:avLst/>
              <a:gdLst>
                <a:gd name="connsiteX0" fmla="*/ 15000 w 30000"/>
                <a:gd name="connsiteY0" fmla="*/ 0 h 105000"/>
                <a:gd name="connsiteX1" fmla="*/ 30000 w 30000"/>
                <a:gd name="connsiteY1" fmla="*/ 0 h 105000"/>
                <a:gd name="connsiteX2" fmla="*/ 30000 w 30000"/>
                <a:gd name="connsiteY2" fmla="*/ 105000 h 105000"/>
                <a:gd name="connsiteX3" fmla="*/ 15000 w 30000"/>
                <a:gd name="connsiteY3" fmla="*/ 105000 h 105000"/>
                <a:gd name="connsiteX4" fmla="*/ 15000 w 30000"/>
                <a:gd name="connsiteY4" fmla="*/ 105000 h 105000"/>
                <a:gd name="connsiteX5" fmla="*/ 0 w 30000"/>
                <a:gd name="connsiteY5" fmla="*/ 105000 h 105000"/>
                <a:gd name="connsiteX6" fmla="*/ 0 w 30000"/>
                <a:gd name="connsiteY6" fmla="*/ 0 h 105000"/>
                <a:gd name="connsiteX7" fmla="*/ 15000 w 30000"/>
                <a:gd name="connsiteY7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105000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105000"/>
                  </a:lnTo>
                  <a:cubicBezTo>
                    <a:pt x="30000" y="105000"/>
                    <a:pt x="23284" y="105000"/>
                    <a:pt x="15000" y="105000"/>
                  </a:cubicBezTo>
                  <a:lnTo>
                    <a:pt x="15000" y="105000"/>
                  </a:lnTo>
                  <a:cubicBezTo>
                    <a:pt x="6716" y="105000"/>
                    <a:pt x="0" y="105000"/>
                    <a:pt x="0" y="105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0" name="Полилиния 1359">
              <a:extLst>
                <a:ext uri="{FF2B5EF4-FFF2-40B4-BE49-F238E27FC236}">
                  <a16:creationId xmlns:a16="http://schemas.microsoft.com/office/drawing/2014/main" id="{0DFCDBF0-A0BC-A043-8401-EB3E4FDD3296}"/>
                </a:ext>
              </a:extLst>
            </p:cNvPr>
            <p:cNvSpPr/>
            <p:nvPr/>
          </p:nvSpPr>
          <p:spPr>
            <a:xfrm>
              <a:off x="9166787" y="1667875"/>
              <a:ext cx="30000" cy="30000"/>
            </a:xfrm>
            <a:custGeom>
              <a:avLst/>
              <a:gdLst>
                <a:gd name="connsiteX0" fmla="*/ 15000 w 30000"/>
                <a:gd name="connsiteY0" fmla="*/ 0 h 30000"/>
                <a:gd name="connsiteX1" fmla="*/ 30000 w 30000"/>
                <a:gd name="connsiteY1" fmla="*/ 0 h 30000"/>
                <a:gd name="connsiteX2" fmla="*/ 30000 w 30000"/>
                <a:gd name="connsiteY2" fmla="*/ 30000 h 30000"/>
                <a:gd name="connsiteX3" fmla="*/ 15000 w 30000"/>
                <a:gd name="connsiteY3" fmla="*/ 30000 h 30000"/>
                <a:gd name="connsiteX4" fmla="*/ 15000 w 30000"/>
                <a:gd name="connsiteY4" fmla="*/ 30000 h 30000"/>
                <a:gd name="connsiteX5" fmla="*/ 0 w 30000"/>
                <a:gd name="connsiteY5" fmla="*/ 30000 h 30000"/>
                <a:gd name="connsiteX6" fmla="*/ 0 w 30000"/>
                <a:gd name="connsiteY6" fmla="*/ 0 h 30000"/>
                <a:gd name="connsiteX7" fmla="*/ 15000 w 30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30000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30000"/>
                  </a:lnTo>
                  <a:cubicBezTo>
                    <a:pt x="30000" y="30000"/>
                    <a:pt x="23284" y="30000"/>
                    <a:pt x="15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61" name="Рисунок 336">
            <a:extLst>
              <a:ext uri="{FF2B5EF4-FFF2-40B4-BE49-F238E27FC236}">
                <a16:creationId xmlns:a16="http://schemas.microsoft.com/office/drawing/2014/main" id="{EA3B21F4-24CE-634E-9FA9-B96518B052D8}"/>
              </a:ext>
            </a:extLst>
          </p:cNvPr>
          <p:cNvGrpSpPr/>
          <p:nvPr/>
        </p:nvGrpSpPr>
        <p:grpSpPr>
          <a:xfrm>
            <a:off x="4437536" y="1096153"/>
            <a:ext cx="360000" cy="360000"/>
            <a:chOff x="4470989" y="1412875"/>
            <a:chExt cx="360000" cy="360000"/>
          </a:xfrm>
        </p:grpSpPr>
        <p:sp>
          <p:nvSpPr>
            <p:cNvPr id="1362" name="Полилиния 1361">
              <a:extLst>
                <a:ext uri="{FF2B5EF4-FFF2-40B4-BE49-F238E27FC236}">
                  <a16:creationId xmlns:a16="http://schemas.microsoft.com/office/drawing/2014/main" id="{32007E28-E71F-B948-A201-CAF993ACC668}"/>
                </a:ext>
              </a:extLst>
            </p:cNvPr>
            <p:cNvSpPr/>
            <p:nvPr/>
          </p:nvSpPr>
          <p:spPr>
            <a:xfrm>
              <a:off x="4470989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3" name="Полилиния 1362">
              <a:extLst>
                <a:ext uri="{FF2B5EF4-FFF2-40B4-BE49-F238E27FC236}">
                  <a16:creationId xmlns:a16="http://schemas.microsoft.com/office/drawing/2014/main" id="{0448FAE6-1FED-7C4C-9DC2-03395B06C169}"/>
                </a:ext>
              </a:extLst>
            </p:cNvPr>
            <p:cNvSpPr/>
            <p:nvPr/>
          </p:nvSpPr>
          <p:spPr>
            <a:xfrm>
              <a:off x="4515989" y="1442875"/>
              <a:ext cx="270000" cy="315000"/>
            </a:xfrm>
            <a:custGeom>
              <a:avLst/>
              <a:gdLst>
                <a:gd name="connsiteX0" fmla="*/ 45000 w 270000"/>
                <a:gd name="connsiteY0" fmla="*/ 30000 h 315000"/>
                <a:gd name="connsiteX1" fmla="*/ 30000 w 270000"/>
                <a:gd name="connsiteY1" fmla="*/ 45000 h 315000"/>
                <a:gd name="connsiteX2" fmla="*/ 30000 w 270000"/>
                <a:gd name="connsiteY2" fmla="*/ 90000 h 315000"/>
                <a:gd name="connsiteX3" fmla="*/ 240000 w 270000"/>
                <a:gd name="connsiteY3" fmla="*/ 90000 h 315000"/>
                <a:gd name="connsiteX4" fmla="*/ 240000 w 270000"/>
                <a:gd name="connsiteY4" fmla="*/ 45000 h 315000"/>
                <a:gd name="connsiteX5" fmla="*/ 225000 w 270000"/>
                <a:gd name="connsiteY5" fmla="*/ 30000 h 315000"/>
                <a:gd name="connsiteX6" fmla="*/ 45000 w 270000"/>
                <a:gd name="connsiteY6" fmla="*/ 30000 h 315000"/>
                <a:gd name="connsiteX7" fmla="*/ 45000 w 270000"/>
                <a:gd name="connsiteY7" fmla="*/ 0 h 315000"/>
                <a:gd name="connsiteX8" fmla="*/ 225000 w 270000"/>
                <a:gd name="connsiteY8" fmla="*/ 0 h 315000"/>
                <a:gd name="connsiteX9" fmla="*/ 270000 w 270000"/>
                <a:gd name="connsiteY9" fmla="*/ 45000 h 315000"/>
                <a:gd name="connsiteX10" fmla="*/ 270000 w 270000"/>
                <a:gd name="connsiteY10" fmla="*/ 270000 h 315000"/>
                <a:gd name="connsiteX11" fmla="*/ 225000 w 270000"/>
                <a:gd name="connsiteY11" fmla="*/ 315000 h 315000"/>
                <a:gd name="connsiteX12" fmla="*/ 45000 w 270000"/>
                <a:gd name="connsiteY12" fmla="*/ 315000 h 315000"/>
                <a:gd name="connsiteX13" fmla="*/ 0 w 270000"/>
                <a:gd name="connsiteY13" fmla="*/ 270000 h 315000"/>
                <a:gd name="connsiteX14" fmla="*/ 0 w 270000"/>
                <a:gd name="connsiteY14" fmla="*/ 45000 h 315000"/>
                <a:gd name="connsiteX15" fmla="*/ 45000 w 270000"/>
                <a:gd name="connsiteY15" fmla="*/ 0 h 315000"/>
                <a:gd name="connsiteX16" fmla="*/ 135000 w 270000"/>
                <a:gd name="connsiteY16" fmla="*/ 292500 h 315000"/>
                <a:gd name="connsiteX17" fmla="*/ 225000 w 270000"/>
                <a:gd name="connsiteY17" fmla="*/ 202500 h 315000"/>
                <a:gd name="connsiteX18" fmla="*/ 135000 w 270000"/>
                <a:gd name="connsiteY18" fmla="*/ 112500 h 315000"/>
                <a:gd name="connsiteX19" fmla="*/ 45000 w 270000"/>
                <a:gd name="connsiteY19" fmla="*/ 202500 h 315000"/>
                <a:gd name="connsiteX20" fmla="*/ 135000 w 270000"/>
                <a:gd name="connsiteY20" fmla="*/ 292500 h 315000"/>
                <a:gd name="connsiteX21" fmla="*/ 60000 w 270000"/>
                <a:gd name="connsiteY21" fmla="*/ 75000 h 315000"/>
                <a:gd name="connsiteX22" fmla="*/ 75000 w 270000"/>
                <a:gd name="connsiteY22" fmla="*/ 60000 h 315000"/>
                <a:gd name="connsiteX23" fmla="*/ 60000 w 270000"/>
                <a:gd name="connsiteY23" fmla="*/ 45000 h 315000"/>
                <a:gd name="connsiteX24" fmla="*/ 45000 w 270000"/>
                <a:gd name="connsiteY24" fmla="*/ 60000 h 315000"/>
                <a:gd name="connsiteX25" fmla="*/ 60000 w 270000"/>
                <a:gd name="connsiteY25" fmla="*/ 75000 h 315000"/>
                <a:gd name="connsiteX26" fmla="*/ 105000 w 270000"/>
                <a:gd name="connsiteY26" fmla="*/ 75000 h 315000"/>
                <a:gd name="connsiteX27" fmla="*/ 120000 w 270000"/>
                <a:gd name="connsiteY27" fmla="*/ 60000 h 315000"/>
                <a:gd name="connsiteX28" fmla="*/ 105000 w 270000"/>
                <a:gd name="connsiteY28" fmla="*/ 45000 h 315000"/>
                <a:gd name="connsiteX29" fmla="*/ 90000 w 270000"/>
                <a:gd name="connsiteY29" fmla="*/ 60000 h 315000"/>
                <a:gd name="connsiteX30" fmla="*/ 105000 w 270000"/>
                <a:gd name="connsiteY30" fmla="*/ 75000 h 3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70000" h="315000">
                  <a:moveTo>
                    <a:pt x="45000" y="30000"/>
                  </a:moveTo>
                  <a:cubicBezTo>
                    <a:pt x="36716" y="30000"/>
                    <a:pt x="30000" y="36716"/>
                    <a:pt x="30000" y="45000"/>
                  </a:cubicBezTo>
                  <a:lnTo>
                    <a:pt x="30000" y="90000"/>
                  </a:lnTo>
                  <a:lnTo>
                    <a:pt x="240000" y="90000"/>
                  </a:lnTo>
                  <a:lnTo>
                    <a:pt x="240000" y="45000"/>
                  </a:lnTo>
                  <a:cubicBezTo>
                    <a:pt x="240000" y="36716"/>
                    <a:pt x="233285" y="30000"/>
                    <a:pt x="225000" y="30000"/>
                  </a:cubicBezTo>
                  <a:lnTo>
                    <a:pt x="45000" y="30000"/>
                  </a:lnTo>
                  <a:close/>
                  <a:moveTo>
                    <a:pt x="45000" y="0"/>
                  </a:moveTo>
                  <a:lnTo>
                    <a:pt x="225000" y="0"/>
                  </a:lnTo>
                  <a:cubicBezTo>
                    <a:pt x="249854" y="0"/>
                    <a:pt x="270000" y="20147"/>
                    <a:pt x="270000" y="45000"/>
                  </a:cubicBezTo>
                  <a:lnTo>
                    <a:pt x="270000" y="270000"/>
                  </a:lnTo>
                  <a:cubicBezTo>
                    <a:pt x="270000" y="294854"/>
                    <a:pt x="249854" y="315000"/>
                    <a:pt x="225000" y="315000"/>
                  </a:cubicBezTo>
                  <a:lnTo>
                    <a:pt x="45000" y="315000"/>
                  </a:lnTo>
                  <a:cubicBezTo>
                    <a:pt x="20147" y="315000"/>
                    <a:pt x="0" y="294854"/>
                    <a:pt x="0" y="270000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close/>
                  <a:moveTo>
                    <a:pt x="135000" y="292500"/>
                  </a:moveTo>
                  <a:cubicBezTo>
                    <a:pt x="184706" y="292500"/>
                    <a:pt x="225000" y="252206"/>
                    <a:pt x="225000" y="202500"/>
                  </a:cubicBezTo>
                  <a:cubicBezTo>
                    <a:pt x="225000" y="152795"/>
                    <a:pt x="184706" y="112500"/>
                    <a:pt x="135000" y="112500"/>
                  </a:cubicBezTo>
                  <a:cubicBezTo>
                    <a:pt x="85294" y="112500"/>
                    <a:pt x="45000" y="152795"/>
                    <a:pt x="45000" y="202500"/>
                  </a:cubicBezTo>
                  <a:cubicBezTo>
                    <a:pt x="45000" y="252206"/>
                    <a:pt x="85294" y="292500"/>
                    <a:pt x="135000" y="292500"/>
                  </a:cubicBezTo>
                  <a:close/>
                  <a:moveTo>
                    <a:pt x="60000" y="75000"/>
                  </a:moveTo>
                  <a:cubicBezTo>
                    <a:pt x="68284" y="75000"/>
                    <a:pt x="75000" y="68284"/>
                    <a:pt x="75000" y="60000"/>
                  </a:cubicBezTo>
                  <a:cubicBezTo>
                    <a:pt x="75000" y="51716"/>
                    <a:pt x="68284" y="45000"/>
                    <a:pt x="60000" y="45000"/>
                  </a:cubicBezTo>
                  <a:cubicBezTo>
                    <a:pt x="51716" y="45000"/>
                    <a:pt x="45000" y="51716"/>
                    <a:pt x="45000" y="60000"/>
                  </a:cubicBezTo>
                  <a:cubicBezTo>
                    <a:pt x="45000" y="68284"/>
                    <a:pt x="51716" y="75000"/>
                    <a:pt x="60000" y="75000"/>
                  </a:cubicBezTo>
                  <a:close/>
                  <a:moveTo>
                    <a:pt x="105000" y="75000"/>
                  </a:moveTo>
                  <a:cubicBezTo>
                    <a:pt x="113285" y="75000"/>
                    <a:pt x="120000" y="68284"/>
                    <a:pt x="120000" y="60000"/>
                  </a:cubicBezTo>
                  <a:cubicBezTo>
                    <a:pt x="120000" y="51716"/>
                    <a:pt x="113285" y="45000"/>
                    <a:pt x="105000" y="45000"/>
                  </a:cubicBezTo>
                  <a:cubicBezTo>
                    <a:pt x="96716" y="45000"/>
                    <a:pt x="90000" y="51716"/>
                    <a:pt x="90000" y="60000"/>
                  </a:cubicBezTo>
                  <a:cubicBezTo>
                    <a:pt x="90000" y="68284"/>
                    <a:pt x="96716" y="75000"/>
                    <a:pt x="105000" y="7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4" name="Полилиния 1363">
              <a:extLst>
                <a:ext uri="{FF2B5EF4-FFF2-40B4-BE49-F238E27FC236}">
                  <a16:creationId xmlns:a16="http://schemas.microsoft.com/office/drawing/2014/main" id="{9AB95C99-72E6-DC4B-88F8-75CB612CEDD9}"/>
                </a:ext>
              </a:extLst>
            </p:cNvPr>
            <p:cNvSpPr/>
            <p:nvPr/>
          </p:nvSpPr>
          <p:spPr>
            <a:xfrm>
              <a:off x="4590989" y="1585375"/>
              <a:ext cx="120000" cy="120000"/>
            </a:xfrm>
            <a:custGeom>
              <a:avLst/>
              <a:gdLst>
                <a:gd name="connsiteX0" fmla="*/ 60000 w 120000"/>
                <a:gd name="connsiteY0" fmla="*/ 120000 h 120000"/>
                <a:gd name="connsiteX1" fmla="*/ 120000 w 120000"/>
                <a:gd name="connsiteY1" fmla="*/ 60000 h 120000"/>
                <a:gd name="connsiteX2" fmla="*/ 60000 w 120000"/>
                <a:gd name="connsiteY2" fmla="*/ 0 h 120000"/>
                <a:gd name="connsiteX3" fmla="*/ 0 w 120000"/>
                <a:gd name="connsiteY3" fmla="*/ 60000 h 120000"/>
                <a:gd name="connsiteX4" fmla="*/ 60000 w 120000"/>
                <a:gd name="connsiteY4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00" h="120000">
                  <a:moveTo>
                    <a:pt x="60000" y="120000"/>
                  </a:moveTo>
                  <a:cubicBezTo>
                    <a:pt x="93137" y="120000"/>
                    <a:pt x="120000" y="93137"/>
                    <a:pt x="120000" y="60000"/>
                  </a:cubicBezTo>
                  <a:cubicBezTo>
                    <a:pt x="120000" y="26864"/>
                    <a:pt x="93137" y="0"/>
                    <a:pt x="60000" y="0"/>
                  </a:cubicBezTo>
                  <a:cubicBezTo>
                    <a:pt x="26863" y="0"/>
                    <a:pt x="0" y="26864"/>
                    <a:pt x="0" y="60000"/>
                  </a:cubicBezTo>
                  <a:cubicBezTo>
                    <a:pt x="0" y="93137"/>
                    <a:pt x="26863" y="120000"/>
                    <a:pt x="60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65" name="Рисунок 337">
            <a:extLst>
              <a:ext uri="{FF2B5EF4-FFF2-40B4-BE49-F238E27FC236}">
                <a16:creationId xmlns:a16="http://schemas.microsoft.com/office/drawing/2014/main" id="{C7628DCA-93AA-C040-A3D5-DB2A55E01612}"/>
              </a:ext>
            </a:extLst>
          </p:cNvPr>
          <p:cNvGrpSpPr/>
          <p:nvPr/>
        </p:nvGrpSpPr>
        <p:grpSpPr>
          <a:xfrm>
            <a:off x="6702935" y="1096153"/>
            <a:ext cx="360000" cy="360000"/>
            <a:chOff x="6736388" y="1412875"/>
            <a:chExt cx="360000" cy="360000"/>
          </a:xfrm>
        </p:grpSpPr>
        <p:sp>
          <p:nvSpPr>
            <p:cNvPr id="1366" name="Полилиния 1365">
              <a:extLst>
                <a:ext uri="{FF2B5EF4-FFF2-40B4-BE49-F238E27FC236}">
                  <a16:creationId xmlns:a16="http://schemas.microsoft.com/office/drawing/2014/main" id="{B027A336-085C-3E4B-9A1B-C4227CAA5C83}"/>
                </a:ext>
              </a:extLst>
            </p:cNvPr>
            <p:cNvSpPr/>
            <p:nvPr/>
          </p:nvSpPr>
          <p:spPr>
            <a:xfrm>
              <a:off x="6736388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7" name="Полилиния 1366">
              <a:extLst>
                <a:ext uri="{FF2B5EF4-FFF2-40B4-BE49-F238E27FC236}">
                  <a16:creationId xmlns:a16="http://schemas.microsoft.com/office/drawing/2014/main" id="{879EDBC2-237B-F941-A750-2786AC36E208}"/>
                </a:ext>
              </a:extLst>
            </p:cNvPr>
            <p:cNvSpPr/>
            <p:nvPr/>
          </p:nvSpPr>
          <p:spPr>
            <a:xfrm>
              <a:off x="6826388" y="1502875"/>
              <a:ext cx="180000" cy="180000"/>
            </a:xfrm>
            <a:custGeom>
              <a:avLst/>
              <a:gdLst>
                <a:gd name="connsiteX0" fmla="*/ 45000 w 180000"/>
                <a:gd name="connsiteY0" fmla="*/ 30000 h 180000"/>
                <a:gd name="connsiteX1" fmla="*/ 30000 w 180000"/>
                <a:gd name="connsiteY1" fmla="*/ 45000 h 180000"/>
                <a:gd name="connsiteX2" fmla="*/ 30000 w 180000"/>
                <a:gd name="connsiteY2" fmla="*/ 135000 h 180000"/>
                <a:gd name="connsiteX3" fmla="*/ 45000 w 180000"/>
                <a:gd name="connsiteY3" fmla="*/ 150000 h 180000"/>
                <a:gd name="connsiteX4" fmla="*/ 135000 w 180000"/>
                <a:gd name="connsiteY4" fmla="*/ 150000 h 180000"/>
                <a:gd name="connsiteX5" fmla="*/ 150000 w 180000"/>
                <a:gd name="connsiteY5" fmla="*/ 135000 h 180000"/>
                <a:gd name="connsiteX6" fmla="*/ 150000 w 180000"/>
                <a:gd name="connsiteY6" fmla="*/ 45000 h 180000"/>
                <a:gd name="connsiteX7" fmla="*/ 135000 w 180000"/>
                <a:gd name="connsiteY7" fmla="*/ 30000 h 180000"/>
                <a:gd name="connsiteX8" fmla="*/ 45000 w 180000"/>
                <a:gd name="connsiteY8" fmla="*/ 30000 h 180000"/>
                <a:gd name="connsiteX9" fmla="*/ 45000 w 180000"/>
                <a:gd name="connsiteY9" fmla="*/ 0 h 180000"/>
                <a:gd name="connsiteX10" fmla="*/ 135000 w 180000"/>
                <a:gd name="connsiteY10" fmla="*/ 0 h 180000"/>
                <a:gd name="connsiteX11" fmla="*/ 180000 w 180000"/>
                <a:gd name="connsiteY11" fmla="*/ 45000 h 180000"/>
                <a:gd name="connsiteX12" fmla="*/ 180000 w 180000"/>
                <a:gd name="connsiteY12" fmla="*/ 135000 h 180000"/>
                <a:gd name="connsiteX13" fmla="*/ 135000 w 180000"/>
                <a:gd name="connsiteY13" fmla="*/ 180000 h 180000"/>
                <a:gd name="connsiteX14" fmla="*/ 45000 w 180000"/>
                <a:gd name="connsiteY14" fmla="*/ 180000 h 180000"/>
                <a:gd name="connsiteX15" fmla="*/ 0 w 180000"/>
                <a:gd name="connsiteY15" fmla="*/ 135000 h 180000"/>
                <a:gd name="connsiteX16" fmla="*/ 0 w 180000"/>
                <a:gd name="connsiteY16" fmla="*/ 45000 h 180000"/>
                <a:gd name="connsiteX17" fmla="*/ 45000 w 180000"/>
                <a:gd name="connsiteY17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0000" h="180000">
                  <a:moveTo>
                    <a:pt x="45000" y="30000"/>
                  </a:moveTo>
                  <a:cubicBezTo>
                    <a:pt x="36716" y="30000"/>
                    <a:pt x="30000" y="36716"/>
                    <a:pt x="30000" y="45000"/>
                  </a:cubicBezTo>
                  <a:lnTo>
                    <a:pt x="30000" y="135000"/>
                  </a:lnTo>
                  <a:cubicBezTo>
                    <a:pt x="30000" y="143285"/>
                    <a:pt x="36716" y="150000"/>
                    <a:pt x="45000" y="150000"/>
                  </a:cubicBezTo>
                  <a:lnTo>
                    <a:pt x="135000" y="150000"/>
                  </a:lnTo>
                  <a:cubicBezTo>
                    <a:pt x="143285" y="150000"/>
                    <a:pt x="150000" y="143285"/>
                    <a:pt x="150000" y="135000"/>
                  </a:cubicBezTo>
                  <a:lnTo>
                    <a:pt x="150000" y="45000"/>
                  </a:lnTo>
                  <a:cubicBezTo>
                    <a:pt x="150000" y="36716"/>
                    <a:pt x="143285" y="30000"/>
                    <a:pt x="135000" y="30000"/>
                  </a:cubicBezTo>
                  <a:lnTo>
                    <a:pt x="45000" y="30000"/>
                  </a:lnTo>
                  <a:close/>
                  <a:moveTo>
                    <a:pt x="45000" y="0"/>
                  </a:moveTo>
                  <a:lnTo>
                    <a:pt x="135000" y="0"/>
                  </a:lnTo>
                  <a:cubicBezTo>
                    <a:pt x="159854" y="0"/>
                    <a:pt x="180000" y="20147"/>
                    <a:pt x="180000" y="45000"/>
                  </a:cubicBezTo>
                  <a:lnTo>
                    <a:pt x="180000" y="135000"/>
                  </a:lnTo>
                  <a:cubicBezTo>
                    <a:pt x="180000" y="159854"/>
                    <a:pt x="159854" y="180000"/>
                    <a:pt x="135000" y="180000"/>
                  </a:cubicBezTo>
                  <a:lnTo>
                    <a:pt x="45000" y="180000"/>
                  </a:lnTo>
                  <a:cubicBezTo>
                    <a:pt x="20147" y="180000"/>
                    <a:pt x="0" y="159854"/>
                    <a:pt x="0" y="135000"/>
                  </a:cubicBezTo>
                  <a:lnTo>
                    <a:pt x="0" y="45000"/>
                  </a:lnTo>
                  <a:cubicBezTo>
                    <a:pt x="0" y="20147"/>
                    <a:pt x="20147" y="0"/>
                    <a:pt x="45000" y="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8" name="Полилиния 1367">
              <a:extLst>
                <a:ext uri="{FF2B5EF4-FFF2-40B4-BE49-F238E27FC236}">
                  <a16:creationId xmlns:a16="http://schemas.microsoft.com/office/drawing/2014/main" id="{9566A475-02E5-BD4A-9FD3-EC0712D5ABF0}"/>
                </a:ext>
              </a:extLst>
            </p:cNvPr>
            <p:cNvSpPr/>
            <p:nvPr/>
          </p:nvSpPr>
          <p:spPr>
            <a:xfrm>
              <a:off x="6856388" y="1532875"/>
              <a:ext cx="120000" cy="120000"/>
            </a:xfrm>
            <a:custGeom>
              <a:avLst/>
              <a:gdLst>
                <a:gd name="connsiteX0" fmla="*/ 15000 w 120000"/>
                <a:gd name="connsiteY0" fmla="*/ 0 h 120000"/>
                <a:gd name="connsiteX1" fmla="*/ 0 w 120000"/>
                <a:gd name="connsiteY1" fmla="*/ 15000 h 120000"/>
                <a:gd name="connsiteX2" fmla="*/ 0 w 120000"/>
                <a:gd name="connsiteY2" fmla="*/ 105000 h 120000"/>
                <a:gd name="connsiteX3" fmla="*/ 15000 w 120000"/>
                <a:gd name="connsiteY3" fmla="*/ 120000 h 120000"/>
                <a:gd name="connsiteX4" fmla="*/ 105000 w 120000"/>
                <a:gd name="connsiteY4" fmla="*/ 120000 h 120000"/>
                <a:gd name="connsiteX5" fmla="*/ 120000 w 120000"/>
                <a:gd name="connsiteY5" fmla="*/ 105000 h 120000"/>
                <a:gd name="connsiteX6" fmla="*/ 120000 w 120000"/>
                <a:gd name="connsiteY6" fmla="*/ 15000 h 120000"/>
                <a:gd name="connsiteX7" fmla="*/ 105000 w 120000"/>
                <a:gd name="connsiteY7" fmla="*/ 0 h 120000"/>
                <a:gd name="connsiteX8" fmla="*/ 15000 w 120000"/>
                <a:gd name="connsiteY8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000" h="120000">
                  <a:moveTo>
                    <a:pt x="15000" y="0"/>
                  </a:moveTo>
                  <a:cubicBezTo>
                    <a:pt x="6716" y="0"/>
                    <a:pt x="0" y="6716"/>
                    <a:pt x="0" y="15000"/>
                  </a:cubicBezTo>
                  <a:lnTo>
                    <a:pt x="0" y="105000"/>
                  </a:lnTo>
                  <a:cubicBezTo>
                    <a:pt x="0" y="113285"/>
                    <a:pt x="6716" y="120000"/>
                    <a:pt x="15000" y="120000"/>
                  </a:cubicBezTo>
                  <a:lnTo>
                    <a:pt x="105000" y="120000"/>
                  </a:lnTo>
                  <a:cubicBezTo>
                    <a:pt x="113285" y="120000"/>
                    <a:pt x="120000" y="113285"/>
                    <a:pt x="120000" y="105000"/>
                  </a:cubicBezTo>
                  <a:lnTo>
                    <a:pt x="120000" y="15000"/>
                  </a:lnTo>
                  <a:cubicBezTo>
                    <a:pt x="120000" y="6716"/>
                    <a:pt x="113285" y="0"/>
                    <a:pt x="105000" y="0"/>
                  </a:cubicBezTo>
                  <a:lnTo>
                    <a:pt x="15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9" name="Полилиния 1368">
              <a:extLst>
                <a:ext uri="{FF2B5EF4-FFF2-40B4-BE49-F238E27FC236}">
                  <a16:creationId xmlns:a16="http://schemas.microsoft.com/office/drawing/2014/main" id="{B0D5EC8B-8590-914B-87B7-5E1C7F585679}"/>
                </a:ext>
              </a:extLst>
            </p:cNvPr>
            <p:cNvSpPr/>
            <p:nvPr/>
          </p:nvSpPr>
          <p:spPr>
            <a:xfrm>
              <a:off x="6871388" y="1682875"/>
              <a:ext cx="90000" cy="60000"/>
            </a:xfrm>
            <a:custGeom>
              <a:avLst/>
              <a:gdLst>
                <a:gd name="connsiteX0" fmla="*/ 0 w 90000"/>
                <a:gd name="connsiteY0" fmla="*/ 0 h 60000"/>
                <a:gd name="connsiteX1" fmla="*/ 90000 w 90000"/>
                <a:gd name="connsiteY1" fmla="*/ 0 h 60000"/>
                <a:gd name="connsiteX2" fmla="*/ 90000 w 90000"/>
                <a:gd name="connsiteY2" fmla="*/ 37500 h 60000"/>
                <a:gd name="connsiteX3" fmla="*/ 67500 w 90000"/>
                <a:gd name="connsiteY3" fmla="*/ 60000 h 60000"/>
                <a:gd name="connsiteX4" fmla="*/ 22500 w 90000"/>
                <a:gd name="connsiteY4" fmla="*/ 60000 h 60000"/>
                <a:gd name="connsiteX5" fmla="*/ 0 w 90000"/>
                <a:gd name="connsiteY5" fmla="*/ 37500 h 60000"/>
                <a:gd name="connsiteX6" fmla="*/ 0 w 90000"/>
                <a:gd name="connsiteY6" fmla="*/ 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000" h="60000">
                  <a:moveTo>
                    <a:pt x="0" y="0"/>
                  </a:moveTo>
                  <a:lnTo>
                    <a:pt x="90000" y="0"/>
                  </a:lnTo>
                  <a:lnTo>
                    <a:pt x="90000" y="37500"/>
                  </a:lnTo>
                  <a:cubicBezTo>
                    <a:pt x="90000" y="49926"/>
                    <a:pt x="79926" y="60000"/>
                    <a:pt x="67500" y="60000"/>
                  </a:cubicBezTo>
                  <a:lnTo>
                    <a:pt x="22500" y="60000"/>
                  </a:lnTo>
                  <a:cubicBezTo>
                    <a:pt x="10074" y="60000"/>
                    <a:pt x="0" y="49926"/>
                    <a:pt x="0" y="375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0" name="Полилиния 1369">
              <a:extLst>
                <a:ext uri="{FF2B5EF4-FFF2-40B4-BE49-F238E27FC236}">
                  <a16:creationId xmlns:a16="http://schemas.microsoft.com/office/drawing/2014/main" id="{CA79FDA4-0956-2247-BEF6-3D6E6316AD74}"/>
                </a:ext>
              </a:extLst>
            </p:cNvPr>
            <p:cNvSpPr/>
            <p:nvPr/>
          </p:nvSpPr>
          <p:spPr>
            <a:xfrm>
              <a:off x="6871388" y="1442875"/>
              <a:ext cx="90000" cy="60000"/>
            </a:xfrm>
            <a:custGeom>
              <a:avLst/>
              <a:gdLst>
                <a:gd name="connsiteX0" fmla="*/ 22500 w 90000"/>
                <a:gd name="connsiteY0" fmla="*/ 0 h 60000"/>
                <a:gd name="connsiteX1" fmla="*/ 67500 w 90000"/>
                <a:gd name="connsiteY1" fmla="*/ 0 h 60000"/>
                <a:gd name="connsiteX2" fmla="*/ 90000 w 90000"/>
                <a:gd name="connsiteY2" fmla="*/ 22500 h 60000"/>
                <a:gd name="connsiteX3" fmla="*/ 90000 w 90000"/>
                <a:gd name="connsiteY3" fmla="*/ 60000 h 60000"/>
                <a:gd name="connsiteX4" fmla="*/ 0 w 90000"/>
                <a:gd name="connsiteY4" fmla="*/ 60000 h 60000"/>
                <a:gd name="connsiteX5" fmla="*/ 0 w 90000"/>
                <a:gd name="connsiteY5" fmla="*/ 22500 h 60000"/>
                <a:gd name="connsiteX6" fmla="*/ 22500 w 90000"/>
                <a:gd name="connsiteY6" fmla="*/ 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000" h="60000">
                  <a:moveTo>
                    <a:pt x="22500" y="0"/>
                  </a:moveTo>
                  <a:lnTo>
                    <a:pt x="67500" y="0"/>
                  </a:lnTo>
                  <a:cubicBezTo>
                    <a:pt x="79926" y="0"/>
                    <a:pt x="90000" y="10074"/>
                    <a:pt x="90000" y="22500"/>
                  </a:cubicBezTo>
                  <a:lnTo>
                    <a:pt x="90000" y="60000"/>
                  </a:lnTo>
                  <a:lnTo>
                    <a:pt x="0" y="60000"/>
                  </a:ln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71" name="Рисунок 338">
            <a:extLst>
              <a:ext uri="{FF2B5EF4-FFF2-40B4-BE49-F238E27FC236}">
                <a16:creationId xmlns:a16="http://schemas.microsoft.com/office/drawing/2014/main" id="{88DFC27B-21B4-FA47-AD58-138439C08769}"/>
              </a:ext>
            </a:extLst>
          </p:cNvPr>
          <p:cNvGrpSpPr/>
          <p:nvPr/>
        </p:nvGrpSpPr>
        <p:grpSpPr>
          <a:xfrm>
            <a:off x="7458068" y="1096153"/>
            <a:ext cx="360000" cy="360000"/>
            <a:chOff x="7491521" y="1412875"/>
            <a:chExt cx="360000" cy="360000"/>
          </a:xfrm>
        </p:grpSpPr>
        <p:sp>
          <p:nvSpPr>
            <p:cNvPr id="1372" name="Полилиния 1371">
              <a:extLst>
                <a:ext uri="{FF2B5EF4-FFF2-40B4-BE49-F238E27FC236}">
                  <a16:creationId xmlns:a16="http://schemas.microsoft.com/office/drawing/2014/main" id="{E9D2E094-A60D-E54E-B177-0FAC0F98A3AC}"/>
                </a:ext>
              </a:extLst>
            </p:cNvPr>
            <p:cNvSpPr/>
            <p:nvPr/>
          </p:nvSpPr>
          <p:spPr>
            <a:xfrm>
              <a:off x="7491521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3" name="Полилиния 1372">
              <a:extLst>
                <a:ext uri="{FF2B5EF4-FFF2-40B4-BE49-F238E27FC236}">
                  <a16:creationId xmlns:a16="http://schemas.microsoft.com/office/drawing/2014/main" id="{036C30FB-B338-1147-8365-771C1B7DAFE9}"/>
                </a:ext>
              </a:extLst>
            </p:cNvPr>
            <p:cNvSpPr/>
            <p:nvPr/>
          </p:nvSpPr>
          <p:spPr>
            <a:xfrm>
              <a:off x="7626521" y="1667875"/>
              <a:ext cx="90000" cy="75000"/>
            </a:xfrm>
            <a:custGeom>
              <a:avLst/>
              <a:gdLst>
                <a:gd name="connsiteX0" fmla="*/ 0 w 90000"/>
                <a:gd name="connsiteY0" fmla="*/ 0 h 75000"/>
                <a:gd name="connsiteX1" fmla="*/ 90000 w 90000"/>
                <a:gd name="connsiteY1" fmla="*/ 0 h 75000"/>
                <a:gd name="connsiteX2" fmla="*/ 90000 w 90000"/>
                <a:gd name="connsiteY2" fmla="*/ 52500 h 75000"/>
                <a:gd name="connsiteX3" fmla="*/ 67500 w 90000"/>
                <a:gd name="connsiteY3" fmla="*/ 75000 h 75000"/>
                <a:gd name="connsiteX4" fmla="*/ 22500 w 90000"/>
                <a:gd name="connsiteY4" fmla="*/ 75000 h 75000"/>
                <a:gd name="connsiteX5" fmla="*/ 0 w 90000"/>
                <a:gd name="connsiteY5" fmla="*/ 52500 h 75000"/>
                <a:gd name="connsiteX6" fmla="*/ 0 w 90000"/>
                <a:gd name="connsiteY6" fmla="*/ 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000" h="75000">
                  <a:moveTo>
                    <a:pt x="0" y="0"/>
                  </a:moveTo>
                  <a:lnTo>
                    <a:pt x="90000" y="0"/>
                  </a:lnTo>
                  <a:lnTo>
                    <a:pt x="90000" y="52500"/>
                  </a:lnTo>
                  <a:cubicBezTo>
                    <a:pt x="90000" y="64926"/>
                    <a:pt x="79926" y="75000"/>
                    <a:pt x="67500" y="75000"/>
                  </a:cubicBezTo>
                  <a:lnTo>
                    <a:pt x="22500" y="75000"/>
                  </a:lnTo>
                  <a:cubicBezTo>
                    <a:pt x="10074" y="75000"/>
                    <a:pt x="0" y="64926"/>
                    <a:pt x="0" y="525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4" name="Полилиния 1373">
              <a:extLst>
                <a:ext uri="{FF2B5EF4-FFF2-40B4-BE49-F238E27FC236}">
                  <a16:creationId xmlns:a16="http://schemas.microsoft.com/office/drawing/2014/main" id="{1FB568AF-A2E4-B04E-B32C-1F55C05CBDD4}"/>
                </a:ext>
              </a:extLst>
            </p:cNvPr>
            <p:cNvSpPr/>
            <p:nvPr/>
          </p:nvSpPr>
          <p:spPr>
            <a:xfrm>
              <a:off x="7596521" y="1517875"/>
              <a:ext cx="150000" cy="150000"/>
            </a:xfrm>
            <a:custGeom>
              <a:avLst/>
              <a:gdLst>
                <a:gd name="connsiteX0" fmla="*/ 75000 w 150000"/>
                <a:gd name="connsiteY0" fmla="*/ 150000 h 150000"/>
                <a:gd name="connsiteX1" fmla="*/ 150000 w 150000"/>
                <a:gd name="connsiteY1" fmla="*/ 75000 h 150000"/>
                <a:gd name="connsiteX2" fmla="*/ 75000 w 150000"/>
                <a:gd name="connsiteY2" fmla="*/ 0 h 150000"/>
                <a:gd name="connsiteX3" fmla="*/ 0 w 150000"/>
                <a:gd name="connsiteY3" fmla="*/ 75000 h 150000"/>
                <a:gd name="connsiteX4" fmla="*/ 75000 w 150000"/>
                <a:gd name="connsiteY4" fmla="*/ 150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000" h="150000">
                  <a:moveTo>
                    <a:pt x="75000" y="150000"/>
                  </a:moveTo>
                  <a:cubicBezTo>
                    <a:pt x="116421" y="150000"/>
                    <a:pt x="150000" y="116421"/>
                    <a:pt x="150000" y="75000"/>
                  </a:cubicBezTo>
                  <a:cubicBezTo>
                    <a:pt x="150000" y="33579"/>
                    <a:pt x="116421" y="0"/>
                    <a:pt x="75000" y="0"/>
                  </a:cubicBezTo>
                  <a:cubicBezTo>
                    <a:pt x="33579" y="0"/>
                    <a:pt x="0" y="33579"/>
                    <a:pt x="0" y="75000"/>
                  </a:cubicBezTo>
                  <a:cubicBezTo>
                    <a:pt x="0" y="116421"/>
                    <a:pt x="33579" y="150000"/>
                    <a:pt x="75000" y="15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5" name="Полилиния 1374">
              <a:extLst>
                <a:ext uri="{FF2B5EF4-FFF2-40B4-BE49-F238E27FC236}">
                  <a16:creationId xmlns:a16="http://schemas.microsoft.com/office/drawing/2014/main" id="{2E918D65-4372-9648-A178-48F12A9BB02B}"/>
                </a:ext>
              </a:extLst>
            </p:cNvPr>
            <p:cNvSpPr/>
            <p:nvPr/>
          </p:nvSpPr>
          <p:spPr>
            <a:xfrm>
              <a:off x="7626521" y="1442875"/>
              <a:ext cx="90000" cy="75000"/>
            </a:xfrm>
            <a:custGeom>
              <a:avLst/>
              <a:gdLst>
                <a:gd name="connsiteX0" fmla="*/ 22500 w 90000"/>
                <a:gd name="connsiteY0" fmla="*/ 0 h 75000"/>
                <a:gd name="connsiteX1" fmla="*/ 67500 w 90000"/>
                <a:gd name="connsiteY1" fmla="*/ 0 h 75000"/>
                <a:gd name="connsiteX2" fmla="*/ 90000 w 90000"/>
                <a:gd name="connsiteY2" fmla="*/ 22500 h 75000"/>
                <a:gd name="connsiteX3" fmla="*/ 90000 w 90000"/>
                <a:gd name="connsiteY3" fmla="*/ 75000 h 75000"/>
                <a:gd name="connsiteX4" fmla="*/ 0 w 90000"/>
                <a:gd name="connsiteY4" fmla="*/ 75000 h 75000"/>
                <a:gd name="connsiteX5" fmla="*/ 0 w 90000"/>
                <a:gd name="connsiteY5" fmla="*/ 22500 h 75000"/>
                <a:gd name="connsiteX6" fmla="*/ 22500 w 90000"/>
                <a:gd name="connsiteY6" fmla="*/ 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000" h="75000">
                  <a:moveTo>
                    <a:pt x="22500" y="0"/>
                  </a:moveTo>
                  <a:lnTo>
                    <a:pt x="67500" y="0"/>
                  </a:lnTo>
                  <a:cubicBezTo>
                    <a:pt x="79926" y="0"/>
                    <a:pt x="90000" y="10074"/>
                    <a:pt x="90000" y="22500"/>
                  </a:cubicBezTo>
                  <a:lnTo>
                    <a:pt x="90000" y="75000"/>
                  </a:lnTo>
                  <a:lnTo>
                    <a:pt x="0" y="75000"/>
                  </a:ln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6" name="Полилиния 1375">
              <a:extLst>
                <a:ext uri="{FF2B5EF4-FFF2-40B4-BE49-F238E27FC236}">
                  <a16:creationId xmlns:a16="http://schemas.microsoft.com/office/drawing/2014/main" id="{47277A16-EC6C-F746-B805-212F5ABC1E80}"/>
                </a:ext>
              </a:extLst>
            </p:cNvPr>
            <p:cNvSpPr/>
            <p:nvPr/>
          </p:nvSpPr>
          <p:spPr>
            <a:xfrm>
              <a:off x="7566521" y="1487875"/>
              <a:ext cx="210000" cy="210000"/>
            </a:xfrm>
            <a:custGeom>
              <a:avLst/>
              <a:gdLst>
                <a:gd name="connsiteX0" fmla="*/ 105000 w 210000"/>
                <a:gd name="connsiteY0" fmla="*/ 180000 h 210000"/>
                <a:gd name="connsiteX1" fmla="*/ 180000 w 210000"/>
                <a:gd name="connsiteY1" fmla="*/ 105000 h 210000"/>
                <a:gd name="connsiteX2" fmla="*/ 105000 w 210000"/>
                <a:gd name="connsiteY2" fmla="*/ 30000 h 210000"/>
                <a:gd name="connsiteX3" fmla="*/ 30000 w 210000"/>
                <a:gd name="connsiteY3" fmla="*/ 105000 h 210000"/>
                <a:gd name="connsiteX4" fmla="*/ 105000 w 210000"/>
                <a:gd name="connsiteY4" fmla="*/ 180000 h 210000"/>
                <a:gd name="connsiteX5" fmla="*/ 105000 w 210000"/>
                <a:gd name="connsiteY5" fmla="*/ 210000 h 210000"/>
                <a:gd name="connsiteX6" fmla="*/ 0 w 210000"/>
                <a:gd name="connsiteY6" fmla="*/ 105000 h 210000"/>
                <a:gd name="connsiteX7" fmla="*/ 105000 w 210000"/>
                <a:gd name="connsiteY7" fmla="*/ 0 h 210000"/>
                <a:gd name="connsiteX8" fmla="*/ 210000 w 210000"/>
                <a:gd name="connsiteY8" fmla="*/ 105000 h 210000"/>
                <a:gd name="connsiteX9" fmla="*/ 105000 w 210000"/>
                <a:gd name="connsiteY9" fmla="*/ 21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0000" h="210000">
                  <a:moveTo>
                    <a:pt x="105000" y="180000"/>
                  </a:moveTo>
                  <a:cubicBezTo>
                    <a:pt x="146421" y="180000"/>
                    <a:pt x="180000" y="146421"/>
                    <a:pt x="180000" y="105000"/>
                  </a:cubicBezTo>
                  <a:cubicBezTo>
                    <a:pt x="180000" y="63579"/>
                    <a:pt x="146421" y="30000"/>
                    <a:pt x="105000" y="30000"/>
                  </a:cubicBezTo>
                  <a:cubicBezTo>
                    <a:pt x="63579" y="30000"/>
                    <a:pt x="30000" y="63579"/>
                    <a:pt x="30000" y="105000"/>
                  </a:cubicBezTo>
                  <a:cubicBezTo>
                    <a:pt x="30000" y="146421"/>
                    <a:pt x="63579" y="180000"/>
                    <a:pt x="105000" y="180000"/>
                  </a:cubicBezTo>
                  <a:close/>
                  <a:moveTo>
                    <a:pt x="105000" y="210000"/>
                  </a:moveTo>
                  <a:cubicBezTo>
                    <a:pt x="47010" y="210000"/>
                    <a:pt x="0" y="162990"/>
                    <a:pt x="0" y="105000"/>
                  </a:cubicBezTo>
                  <a:cubicBezTo>
                    <a:pt x="0" y="47010"/>
                    <a:pt x="47010" y="0"/>
                    <a:pt x="105000" y="0"/>
                  </a:cubicBezTo>
                  <a:cubicBezTo>
                    <a:pt x="162990" y="0"/>
                    <a:pt x="210000" y="47010"/>
                    <a:pt x="210000" y="105000"/>
                  </a:cubicBezTo>
                  <a:cubicBezTo>
                    <a:pt x="210000" y="162990"/>
                    <a:pt x="162990" y="210000"/>
                    <a:pt x="105000" y="21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77" name="Рисунок 339">
            <a:extLst>
              <a:ext uri="{FF2B5EF4-FFF2-40B4-BE49-F238E27FC236}">
                <a16:creationId xmlns:a16="http://schemas.microsoft.com/office/drawing/2014/main" id="{1C84C645-BB7C-7941-883E-C46B2805F833}"/>
              </a:ext>
            </a:extLst>
          </p:cNvPr>
          <p:cNvGrpSpPr/>
          <p:nvPr/>
        </p:nvGrpSpPr>
        <p:grpSpPr>
          <a:xfrm>
            <a:off x="5947802" y="1096153"/>
            <a:ext cx="360000" cy="360000"/>
            <a:chOff x="5981255" y="1412875"/>
            <a:chExt cx="360000" cy="360000"/>
          </a:xfrm>
        </p:grpSpPr>
        <p:sp>
          <p:nvSpPr>
            <p:cNvPr id="1378" name="Полилиния 1377">
              <a:extLst>
                <a:ext uri="{FF2B5EF4-FFF2-40B4-BE49-F238E27FC236}">
                  <a16:creationId xmlns:a16="http://schemas.microsoft.com/office/drawing/2014/main" id="{2B8DC078-700B-4744-9ABB-385CFD0FF179}"/>
                </a:ext>
              </a:extLst>
            </p:cNvPr>
            <p:cNvSpPr/>
            <p:nvPr/>
          </p:nvSpPr>
          <p:spPr>
            <a:xfrm>
              <a:off x="5981255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9" name="Полилиния 1378">
              <a:extLst>
                <a:ext uri="{FF2B5EF4-FFF2-40B4-BE49-F238E27FC236}">
                  <a16:creationId xmlns:a16="http://schemas.microsoft.com/office/drawing/2014/main" id="{BC704870-E063-3C41-8CDA-DB3FB11CB13B}"/>
                </a:ext>
              </a:extLst>
            </p:cNvPr>
            <p:cNvSpPr/>
            <p:nvPr/>
          </p:nvSpPr>
          <p:spPr>
            <a:xfrm>
              <a:off x="6041255" y="1682875"/>
              <a:ext cx="120000" cy="60000"/>
            </a:xfrm>
            <a:custGeom>
              <a:avLst/>
              <a:gdLst>
                <a:gd name="connsiteX0" fmla="*/ 60000 w 120000"/>
                <a:gd name="connsiteY0" fmla="*/ 0 h 60000"/>
                <a:gd name="connsiteX1" fmla="*/ 60000 w 120000"/>
                <a:gd name="connsiteY1" fmla="*/ 0 h 60000"/>
                <a:gd name="connsiteX2" fmla="*/ 120000 w 120000"/>
                <a:gd name="connsiteY2" fmla="*/ 60000 h 60000"/>
                <a:gd name="connsiteX3" fmla="*/ 0 w 120000"/>
                <a:gd name="connsiteY3" fmla="*/ 60000 h 60000"/>
                <a:gd name="connsiteX4" fmla="*/ 0 w 120000"/>
                <a:gd name="connsiteY4" fmla="*/ 60000 h 60000"/>
                <a:gd name="connsiteX5" fmla="*/ 60000 w 120000"/>
                <a:gd name="connsiteY5" fmla="*/ 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000" h="60000">
                  <a:moveTo>
                    <a:pt x="60000" y="0"/>
                  </a:moveTo>
                  <a:lnTo>
                    <a:pt x="60000" y="0"/>
                  </a:lnTo>
                  <a:cubicBezTo>
                    <a:pt x="93137" y="0"/>
                    <a:pt x="120000" y="26863"/>
                    <a:pt x="120000" y="60000"/>
                  </a:cubicBezTo>
                  <a:lnTo>
                    <a:pt x="0" y="60000"/>
                  </a:lnTo>
                  <a:lnTo>
                    <a:pt x="0" y="60000"/>
                  </a:lnTo>
                  <a:cubicBezTo>
                    <a:pt x="0" y="26863"/>
                    <a:pt x="26863" y="0"/>
                    <a:pt x="60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0" name="Полилиния 1379">
              <a:extLst>
                <a:ext uri="{FF2B5EF4-FFF2-40B4-BE49-F238E27FC236}">
                  <a16:creationId xmlns:a16="http://schemas.microsoft.com/office/drawing/2014/main" id="{0AC1B6C2-7062-4446-A11F-CBED84E5A71D}"/>
                </a:ext>
              </a:extLst>
            </p:cNvPr>
            <p:cNvSpPr/>
            <p:nvPr/>
          </p:nvSpPr>
          <p:spPr>
            <a:xfrm>
              <a:off x="6041255" y="1442875"/>
              <a:ext cx="225000" cy="270000"/>
            </a:xfrm>
            <a:custGeom>
              <a:avLst/>
              <a:gdLst>
                <a:gd name="connsiteX0" fmla="*/ 45000 w 225000"/>
                <a:gd name="connsiteY0" fmla="*/ 151890 h 270000"/>
                <a:gd name="connsiteX1" fmla="*/ 45000 w 225000"/>
                <a:gd name="connsiteY1" fmla="*/ 90000 h 270000"/>
                <a:gd name="connsiteX2" fmla="*/ 135000 w 225000"/>
                <a:gd name="connsiteY2" fmla="*/ 0 h 270000"/>
                <a:gd name="connsiteX3" fmla="*/ 225000 w 225000"/>
                <a:gd name="connsiteY3" fmla="*/ 90000 h 270000"/>
                <a:gd name="connsiteX4" fmla="*/ 225000 w 225000"/>
                <a:gd name="connsiteY4" fmla="*/ 105000 h 270000"/>
                <a:gd name="connsiteX5" fmla="*/ 195000 w 225000"/>
                <a:gd name="connsiteY5" fmla="*/ 105000 h 270000"/>
                <a:gd name="connsiteX6" fmla="*/ 195000 w 225000"/>
                <a:gd name="connsiteY6" fmla="*/ 90000 h 270000"/>
                <a:gd name="connsiteX7" fmla="*/ 135000 w 225000"/>
                <a:gd name="connsiteY7" fmla="*/ 30000 h 270000"/>
                <a:gd name="connsiteX8" fmla="*/ 75000 w 225000"/>
                <a:gd name="connsiteY8" fmla="*/ 90000 h 270000"/>
                <a:gd name="connsiteX9" fmla="*/ 75000 w 225000"/>
                <a:gd name="connsiteY9" fmla="*/ 151890 h 270000"/>
                <a:gd name="connsiteX10" fmla="*/ 120000 w 225000"/>
                <a:gd name="connsiteY10" fmla="*/ 210000 h 270000"/>
                <a:gd name="connsiteX11" fmla="*/ 60000 w 225000"/>
                <a:gd name="connsiteY11" fmla="*/ 270000 h 270000"/>
                <a:gd name="connsiteX12" fmla="*/ 0 w 225000"/>
                <a:gd name="connsiteY12" fmla="*/ 210000 h 270000"/>
                <a:gd name="connsiteX13" fmla="*/ 45000 w 225000"/>
                <a:gd name="connsiteY13" fmla="*/ 151890 h 270000"/>
                <a:gd name="connsiteX14" fmla="*/ 60000 w 225000"/>
                <a:gd name="connsiteY14" fmla="*/ 240000 h 270000"/>
                <a:gd name="connsiteX15" fmla="*/ 90000 w 225000"/>
                <a:gd name="connsiteY15" fmla="*/ 210000 h 270000"/>
                <a:gd name="connsiteX16" fmla="*/ 60000 w 225000"/>
                <a:gd name="connsiteY16" fmla="*/ 180000 h 270000"/>
                <a:gd name="connsiteX17" fmla="*/ 30000 w 225000"/>
                <a:gd name="connsiteY17" fmla="*/ 210000 h 270000"/>
                <a:gd name="connsiteX18" fmla="*/ 60000 w 225000"/>
                <a:gd name="connsiteY18" fmla="*/ 240000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5000" h="270000">
                  <a:moveTo>
                    <a:pt x="45000" y="151890"/>
                  </a:moveTo>
                  <a:lnTo>
                    <a:pt x="45000" y="90000"/>
                  </a:lnTo>
                  <a:cubicBezTo>
                    <a:pt x="45000" y="40294"/>
                    <a:pt x="85294" y="0"/>
                    <a:pt x="135000" y="0"/>
                  </a:cubicBezTo>
                  <a:cubicBezTo>
                    <a:pt x="184706" y="0"/>
                    <a:pt x="225000" y="40294"/>
                    <a:pt x="225000" y="90000"/>
                  </a:cubicBezTo>
                  <a:lnTo>
                    <a:pt x="225000" y="105000"/>
                  </a:lnTo>
                  <a:lnTo>
                    <a:pt x="195000" y="105000"/>
                  </a:lnTo>
                  <a:lnTo>
                    <a:pt x="195000" y="90000"/>
                  </a:lnTo>
                  <a:cubicBezTo>
                    <a:pt x="195000" y="56863"/>
                    <a:pt x="168137" y="30000"/>
                    <a:pt x="135000" y="30000"/>
                  </a:cubicBezTo>
                  <a:cubicBezTo>
                    <a:pt x="101864" y="30000"/>
                    <a:pt x="75000" y="56863"/>
                    <a:pt x="75000" y="90000"/>
                  </a:cubicBezTo>
                  <a:lnTo>
                    <a:pt x="75000" y="151890"/>
                  </a:lnTo>
                  <a:cubicBezTo>
                    <a:pt x="100878" y="158552"/>
                    <a:pt x="120000" y="182043"/>
                    <a:pt x="120000" y="210000"/>
                  </a:cubicBezTo>
                  <a:cubicBezTo>
                    <a:pt x="120000" y="243137"/>
                    <a:pt x="93137" y="270000"/>
                    <a:pt x="60000" y="270000"/>
                  </a:cubicBezTo>
                  <a:cubicBezTo>
                    <a:pt x="26863" y="270000"/>
                    <a:pt x="0" y="243137"/>
                    <a:pt x="0" y="210000"/>
                  </a:cubicBezTo>
                  <a:cubicBezTo>
                    <a:pt x="0" y="182043"/>
                    <a:pt x="19122" y="158552"/>
                    <a:pt x="45000" y="151890"/>
                  </a:cubicBezTo>
                  <a:close/>
                  <a:moveTo>
                    <a:pt x="60000" y="240000"/>
                  </a:moveTo>
                  <a:cubicBezTo>
                    <a:pt x="76569" y="240000"/>
                    <a:pt x="90000" y="226569"/>
                    <a:pt x="90000" y="210000"/>
                  </a:cubicBezTo>
                  <a:cubicBezTo>
                    <a:pt x="90000" y="193431"/>
                    <a:pt x="76569" y="180000"/>
                    <a:pt x="60000" y="180000"/>
                  </a:cubicBezTo>
                  <a:cubicBezTo>
                    <a:pt x="43431" y="180000"/>
                    <a:pt x="30000" y="193431"/>
                    <a:pt x="30000" y="210000"/>
                  </a:cubicBezTo>
                  <a:cubicBezTo>
                    <a:pt x="30000" y="226569"/>
                    <a:pt x="43431" y="240000"/>
                    <a:pt x="60000" y="24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1" name="Полилиния 1380">
              <a:extLst>
                <a:ext uri="{FF2B5EF4-FFF2-40B4-BE49-F238E27FC236}">
                  <a16:creationId xmlns:a16="http://schemas.microsoft.com/office/drawing/2014/main" id="{8D2D9F64-E57E-CA4B-9716-8CD631146760}"/>
                </a:ext>
              </a:extLst>
            </p:cNvPr>
            <p:cNvSpPr/>
            <p:nvPr/>
          </p:nvSpPr>
          <p:spPr>
            <a:xfrm>
              <a:off x="6221255" y="1592875"/>
              <a:ext cx="60000" cy="75000"/>
            </a:xfrm>
            <a:custGeom>
              <a:avLst/>
              <a:gdLst>
                <a:gd name="connsiteX0" fmla="*/ 30000 w 60000"/>
                <a:gd name="connsiteY0" fmla="*/ 75000 h 75000"/>
                <a:gd name="connsiteX1" fmla="*/ 60000 w 60000"/>
                <a:gd name="connsiteY1" fmla="*/ 45000 h 75000"/>
                <a:gd name="connsiteX2" fmla="*/ 30000 w 60000"/>
                <a:gd name="connsiteY2" fmla="*/ 0 h 75000"/>
                <a:gd name="connsiteX3" fmla="*/ 0 w 60000"/>
                <a:gd name="connsiteY3" fmla="*/ 45000 h 75000"/>
                <a:gd name="connsiteX4" fmla="*/ 30000 w 60000"/>
                <a:gd name="connsiteY4" fmla="*/ 750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000" h="75000">
                  <a:moveTo>
                    <a:pt x="30000" y="75000"/>
                  </a:moveTo>
                  <a:cubicBezTo>
                    <a:pt x="46569" y="75000"/>
                    <a:pt x="60000" y="61569"/>
                    <a:pt x="60000" y="45000"/>
                  </a:cubicBezTo>
                  <a:cubicBezTo>
                    <a:pt x="60000" y="33954"/>
                    <a:pt x="49999" y="18954"/>
                    <a:pt x="30000" y="0"/>
                  </a:cubicBezTo>
                  <a:cubicBezTo>
                    <a:pt x="10001" y="18954"/>
                    <a:pt x="0" y="33954"/>
                    <a:pt x="0" y="45000"/>
                  </a:cubicBezTo>
                  <a:cubicBezTo>
                    <a:pt x="0" y="61569"/>
                    <a:pt x="13431" y="75000"/>
                    <a:pt x="30000" y="7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82" name="Рисунок 340">
            <a:extLst>
              <a:ext uri="{FF2B5EF4-FFF2-40B4-BE49-F238E27FC236}">
                <a16:creationId xmlns:a16="http://schemas.microsoft.com/office/drawing/2014/main" id="{4E019876-8C50-7743-B87F-2FF0E4ABE53C}"/>
              </a:ext>
            </a:extLst>
          </p:cNvPr>
          <p:cNvGrpSpPr/>
          <p:nvPr/>
        </p:nvGrpSpPr>
        <p:grpSpPr>
          <a:xfrm>
            <a:off x="5192669" y="1096153"/>
            <a:ext cx="360000" cy="360000"/>
            <a:chOff x="5226122" y="1412875"/>
            <a:chExt cx="360000" cy="360000"/>
          </a:xfrm>
        </p:grpSpPr>
        <p:sp>
          <p:nvSpPr>
            <p:cNvPr id="1383" name="Полилиния 1382">
              <a:extLst>
                <a:ext uri="{FF2B5EF4-FFF2-40B4-BE49-F238E27FC236}">
                  <a16:creationId xmlns:a16="http://schemas.microsoft.com/office/drawing/2014/main" id="{22616341-BE28-5840-8591-CE7DE025D59F}"/>
                </a:ext>
              </a:extLst>
            </p:cNvPr>
            <p:cNvSpPr/>
            <p:nvPr/>
          </p:nvSpPr>
          <p:spPr>
            <a:xfrm>
              <a:off x="5226122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4" name="Полилиния 1383">
              <a:extLst>
                <a:ext uri="{FF2B5EF4-FFF2-40B4-BE49-F238E27FC236}">
                  <a16:creationId xmlns:a16="http://schemas.microsoft.com/office/drawing/2014/main" id="{5A919BDA-0828-1F45-846F-69A4E9F2EEFB}"/>
                </a:ext>
              </a:extLst>
            </p:cNvPr>
            <p:cNvSpPr/>
            <p:nvPr/>
          </p:nvSpPr>
          <p:spPr>
            <a:xfrm>
              <a:off x="5271122" y="1547875"/>
              <a:ext cx="270000" cy="180000"/>
            </a:xfrm>
            <a:custGeom>
              <a:avLst/>
              <a:gdLst>
                <a:gd name="connsiteX0" fmla="*/ 80135 w 270000"/>
                <a:gd name="connsiteY0" fmla="*/ 0 h 180000"/>
                <a:gd name="connsiteX1" fmla="*/ 189866 w 270000"/>
                <a:gd name="connsiteY1" fmla="*/ 0 h 180000"/>
                <a:gd name="connsiteX2" fmla="*/ 233522 w 270000"/>
                <a:gd name="connsiteY2" fmla="*/ 34086 h 180000"/>
                <a:gd name="connsiteX3" fmla="*/ 270000 w 270000"/>
                <a:gd name="connsiteY3" fmla="*/ 180000 h 180000"/>
                <a:gd name="connsiteX4" fmla="*/ 0 w 270000"/>
                <a:gd name="connsiteY4" fmla="*/ 180000 h 180000"/>
                <a:gd name="connsiteX5" fmla="*/ 36479 w 270000"/>
                <a:gd name="connsiteY5" fmla="*/ 34086 h 180000"/>
                <a:gd name="connsiteX6" fmla="*/ 80135 w 270000"/>
                <a:gd name="connsiteY6" fmla="*/ 0 h 180000"/>
                <a:gd name="connsiteX7" fmla="*/ 123960 w 270000"/>
                <a:gd name="connsiteY7" fmla="*/ 135000 h 180000"/>
                <a:gd name="connsiteX8" fmla="*/ 144120 w 270000"/>
                <a:gd name="connsiteY8" fmla="*/ 135000 h 180000"/>
                <a:gd name="connsiteX9" fmla="*/ 144120 w 270000"/>
                <a:gd name="connsiteY9" fmla="*/ 50040 h 180000"/>
                <a:gd name="connsiteX10" fmla="*/ 125640 w 270000"/>
                <a:gd name="connsiteY10" fmla="*/ 50040 h 180000"/>
                <a:gd name="connsiteX11" fmla="*/ 97680 w 270000"/>
                <a:gd name="connsiteY11" fmla="*/ 70560 h 180000"/>
                <a:gd name="connsiteX12" fmla="*/ 108120 w 270000"/>
                <a:gd name="connsiteY12" fmla="*/ 84840 h 180000"/>
                <a:gd name="connsiteX13" fmla="*/ 123960 w 270000"/>
                <a:gd name="connsiteY13" fmla="*/ 72600 h 180000"/>
                <a:gd name="connsiteX14" fmla="*/ 123960 w 270000"/>
                <a:gd name="connsiteY14" fmla="*/ 135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0000" h="180000">
                  <a:moveTo>
                    <a:pt x="80135" y="0"/>
                  </a:moveTo>
                  <a:lnTo>
                    <a:pt x="189866" y="0"/>
                  </a:lnTo>
                  <a:cubicBezTo>
                    <a:pt x="210515" y="0"/>
                    <a:pt x="228513" y="14053"/>
                    <a:pt x="233522" y="34086"/>
                  </a:cubicBezTo>
                  <a:lnTo>
                    <a:pt x="270000" y="180000"/>
                  </a:lnTo>
                  <a:lnTo>
                    <a:pt x="0" y="180000"/>
                  </a:lnTo>
                  <a:lnTo>
                    <a:pt x="36479" y="34086"/>
                  </a:lnTo>
                  <a:cubicBezTo>
                    <a:pt x="41487" y="14053"/>
                    <a:pt x="59486" y="0"/>
                    <a:pt x="80135" y="0"/>
                  </a:cubicBezTo>
                  <a:close/>
                  <a:moveTo>
                    <a:pt x="123960" y="135000"/>
                  </a:moveTo>
                  <a:lnTo>
                    <a:pt x="144120" y="135000"/>
                  </a:lnTo>
                  <a:lnTo>
                    <a:pt x="144120" y="50040"/>
                  </a:lnTo>
                  <a:lnTo>
                    <a:pt x="125640" y="50040"/>
                  </a:lnTo>
                  <a:lnTo>
                    <a:pt x="97680" y="70560"/>
                  </a:lnTo>
                  <a:lnTo>
                    <a:pt x="108120" y="84840"/>
                  </a:lnTo>
                  <a:lnTo>
                    <a:pt x="123960" y="72600"/>
                  </a:lnTo>
                  <a:lnTo>
                    <a:pt x="123960" y="13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5" name="Полилиния 1384">
              <a:extLst>
                <a:ext uri="{FF2B5EF4-FFF2-40B4-BE49-F238E27FC236}">
                  <a16:creationId xmlns:a16="http://schemas.microsoft.com/office/drawing/2014/main" id="{FFAB178E-FDCF-BF49-A0AC-3D95C370CBF2}"/>
                </a:ext>
              </a:extLst>
            </p:cNvPr>
            <p:cNvSpPr/>
            <p:nvPr/>
          </p:nvSpPr>
          <p:spPr>
            <a:xfrm>
              <a:off x="5368622" y="1457875"/>
              <a:ext cx="75000" cy="75000"/>
            </a:xfrm>
            <a:custGeom>
              <a:avLst/>
              <a:gdLst>
                <a:gd name="connsiteX0" fmla="*/ 75000 w 75000"/>
                <a:gd name="connsiteY0" fmla="*/ 37500 h 75000"/>
                <a:gd name="connsiteX1" fmla="*/ 37500 w 75000"/>
                <a:gd name="connsiteY1" fmla="*/ 75000 h 75000"/>
                <a:gd name="connsiteX2" fmla="*/ 0 w 75000"/>
                <a:gd name="connsiteY2" fmla="*/ 37500 h 75000"/>
                <a:gd name="connsiteX3" fmla="*/ 37500 w 75000"/>
                <a:gd name="connsiteY3" fmla="*/ 0 h 75000"/>
                <a:gd name="connsiteX4" fmla="*/ 75000 w 75000"/>
                <a:gd name="connsiteY4" fmla="*/ 375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00" h="75000">
                  <a:moveTo>
                    <a:pt x="75000" y="37500"/>
                  </a:moveTo>
                  <a:cubicBezTo>
                    <a:pt x="75000" y="58211"/>
                    <a:pt x="58211" y="75000"/>
                    <a:pt x="37500" y="75000"/>
                  </a:cubicBezTo>
                  <a:cubicBezTo>
                    <a:pt x="16789" y="75000"/>
                    <a:pt x="0" y="58211"/>
                    <a:pt x="0" y="37500"/>
                  </a:cubicBezTo>
                  <a:cubicBezTo>
                    <a:pt x="0" y="16789"/>
                    <a:pt x="16789" y="0"/>
                    <a:pt x="37500" y="0"/>
                  </a:cubicBezTo>
                  <a:cubicBezTo>
                    <a:pt x="58211" y="0"/>
                    <a:pt x="75000" y="16789"/>
                    <a:pt x="75000" y="375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86" name="Рисунок 341">
            <a:extLst>
              <a:ext uri="{FF2B5EF4-FFF2-40B4-BE49-F238E27FC236}">
                <a16:creationId xmlns:a16="http://schemas.microsoft.com/office/drawing/2014/main" id="{D8B34A0C-9EC6-C44A-8A3E-5A9C503E6E95}"/>
              </a:ext>
            </a:extLst>
          </p:cNvPr>
          <p:cNvGrpSpPr/>
          <p:nvPr/>
        </p:nvGrpSpPr>
        <p:grpSpPr>
          <a:xfrm>
            <a:off x="3682403" y="1096153"/>
            <a:ext cx="360000" cy="360000"/>
            <a:chOff x="3715856" y="1412875"/>
            <a:chExt cx="360000" cy="360000"/>
          </a:xfrm>
        </p:grpSpPr>
        <p:sp>
          <p:nvSpPr>
            <p:cNvPr id="1387" name="Полилиния 1386">
              <a:extLst>
                <a:ext uri="{FF2B5EF4-FFF2-40B4-BE49-F238E27FC236}">
                  <a16:creationId xmlns:a16="http://schemas.microsoft.com/office/drawing/2014/main" id="{B3077F9B-3D7C-5144-8BE5-65757C8A1645}"/>
                </a:ext>
              </a:extLst>
            </p:cNvPr>
            <p:cNvSpPr/>
            <p:nvPr/>
          </p:nvSpPr>
          <p:spPr>
            <a:xfrm>
              <a:off x="3715856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8" name="Полилиния 1387">
              <a:extLst>
                <a:ext uri="{FF2B5EF4-FFF2-40B4-BE49-F238E27FC236}">
                  <a16:creationId xmlns:a16="http://schemas.microsoft.com/office/drawing/2014/main" id="{8520B97B-6EB3-9044-84C8-3E3581BA1827}"/>
                </a:ext>
              </a:extLst>
            </p:cNvPr>
            <p:cNvSpPr/>
            <p:nvPr/>
          </p:nvSpPr>
          <p:spPr>
            <a:xfrm rot="1979999">
              <a:off x="3881202" y="1531787"/>
              <a:ext cx="30000" cy="114757"/>
            </a:xfrm>
            <a:custGeom>
              <a:avLst/>
              <a:gdLst>
                <a:gd name="connsiteX0" fmla="*/ 15000 w 30000"/>
                <a:gd name="connsiteY0" fmla="*/ 0 h 114757"/>
                <a:gd name="connsiteX1" fmla="*/ 30000 w 30000"/>
                <a:gd name="connsiteY1" fmla="*/ 0 h 114757"/>
                <a:gd name="connsiteX2" fmla="*/ 30000 w 30000"/>
                <a:gd name="connsiteY2" fmla="*/ 114757 h 114757"/>
                <a:gd name="connsiteX3" fmla="*/ 15000 w 30000"/>
                <a:gd name="connsiteY3" fmla="*/ 114757 h 114757"/>
                <a:gd name="connsiteX4" fmla="*/ 15000 w 30000"/>
                <a:gd name="connsiteY4" fmla="*/ 114757 h 114757"/>
                <a:gd name="connsiteX5" fmla="*/ 0 w 30000"/>
                <a:gd name="connsiteY5" fmla="*/ 114757 h 114757"/>
                <a:gd name="connsiteX6" fmla="*/ 0 w 30000"/>
                <a:gd name="connsiteY6" fmla="*/ 0 h 114757"/>
                <a:gd name="connsiteX7" fmla="*/ 15000 w 30000"/>
                <a:gd name="connsiteY7" fmla="*/ 0 h 114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00" h="114757">
                  <a:moveTo>
                    <a:pt x="15000" y="0"/>
                  </a:moveTo>
                  <a:cubicBezTo>
                    <a:pt x="23284" y="0"/>
                    <a:pt x="30000" y="0"/>
                    <a:pt x="30000" y="0"/>
                  </a:cubicBezTo>
                  <a:lnTo>
                    <a:pt x="30000" y="114757"/>
                  </a:lnTo>
                  <a:cubicBezTo>
                    <a:pt x="30000" y="114757"/>
                    <a:pt x="23284" y="114757"/>
                    <a:pt x="15000" y="114757"/>
                  </a:cubicBezTo>
                  <a:lnTo>
                    <a:pt x="15000" y="114757"/>
                  </a:lnTo>
                  <a:cubicBezTo>
                    <a:pt x="6716" y="114757"/>
                    <a:pt x="0" y="114757"/>
                    <a:pt x="0" y="114757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9" name="Полилиния 1388">
              <a:extLst>
                <a:ext uri="{FF2B5EF4-FFF2-40B4-BE49-F238E27FC236}">
                  <a16:creationId xmlns:a16="http://schemas.microsoft.com/office/drawing/2014/main" id="{9C3572A0-E733-E841-B738-79A54EBDE938}"/>
                </a:ext>
              </a:extLst>
            </p:cNvPr>
            <p:cNvSpPr/>
            <p:nvPr/>
          </p:nvSpPr>
          <p:spPr>
            <a:xfrm>
              <a:off x="3760856" y="1457875"/>
              <a:ext cx="270000" cy="255000"/>
            </a:xfrm>
            <a:custGeom>
              <a:avLst/>
              <a:gdLst>
                <a:gd name="connsiteX0" fmla="*/ 67500 w 270000"/>
                <a:gd name="connsiteY0" fmla="*/ 0 h 255000"/>
                <a:gd name="connsiteX1" fmla="*/ 202500 w 270000"/>
                <a:gd name="connsiteY1" fmla="*/ 0 h 255000"/>
                <a:gd name="connsiteX2" fmla="*/ 270000 w 270000"/>
                <a:gd name="connsiteY2" fmla="*/ 67500 h 255000"/>
                <a:gd name="connsiteX3" fmla="*/ 270000 w 270000"/>
                <a:gd name="connsiteY3" fmla="*/ 187500 h 255000"/>
                <a:gd name="connsiteX4" fmla="*/ 202500 w 270000"/>
                <a:gd name="connsiteY4" fmla="*/ 255000 h 255000"/>
                <a:gd name="connsiteX5" fmla="*/ 67500 w 270000"/>
                <a:gd name="connsiteY5" fmla="*/ 255000 h 255000"/>
                <a:gd name="connsiteX6" fmla="*/ 0 w 270000"/>
                <a:gd name="connsiteY6" fmla="*/ 187500 h 255000"/>
                <a:gd name="connsiteX7" fmla="*/ 0 w 270000"/>
                <a:gd name="connsiteY7" fmla="*/ 67500 h 255000"/>
                <a:gd name="connsiteX8" fmla="*/ 67500 w 270000"/>
                <a:gd name="connsiteY8" fmla="*/ 0 h 255000"/>
                <a:gd name="connsiteX9" fmla="*/ 45000 w 270000"/>
                <a:gd name="connsiteY9" fmla="*/ 73235 h 255000"/>
                <a:gd name="connsiteX10" fmla="*/ 83571 w 270000"/>
                <a:gd name="connsiteY10" fmla="*/ 135000 h 255000"/>
                <a:gd name="connsiteX11" fmla="*/ 186429 w 270000"/>
                <a:gd name="connsiteY11" fmla="*/ 135000 h 255000"/>
                <a:gd name="connsiteX12" fmla="*/ 225000 w 270000"/>
                <a:gd name="connsiteY12" fmla="*/ 73235 h 255000"/>
                <a:gd name="connsiteX13" fmla="*/ 135000 w 270000"/>
                <a:gd name="connsiteY13" fmla="*/ 30000 h 255000"/>
                <a:gd name="connsiteX14" fmla="*/ 45000 w 270000"/>
                <a:gd name="connsiteY14" fmla="*/ 73235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0000" h="255000">
                  <a:moveTo>
                    <a:pt x="67500" y="0"/>
                  </a:moveTo>
                  <a:lnTo>
                    <a:pt x="202500" y="0"/>
                  </a:lnTo>
                  <a:cubicBezTo>
                    <a:pt x="239780" y="0"/>
                    <a:pt x="270000" y="30221"/>
                    <a:pt x="270000" y="67500"/>
                  </a:cubicBezTo>
                  <a:lnTo>
                    <a:pt x="270000" y="187500"/>
                  </a:lnTo>
                  <a:cubicBezTo>
                    <a:pt x="270000" y="224780"/>
                    <a:pt x="239780" y="255000"/>
                    <a:pt x="202500" y="255000"/>
                  </a:cubicBezTo>
                  <a:lnTo>
                    <a:pt x="67500" y="255000"/>
                  </a:lnTo>
                  <a:cubicBezTo>
                    <a:pt x="30221" y="255000"/>
                    <a:pt x="0" y="224780"/>
                    <a:pt x="0" y="187500"/>
                  </a:cubicBezTo>
                  <a:lnTo>
                    <a:pt x="0" y="67500"/>
                  </a:lnTo>
                  <a:cubicBezTo>
                    <a:pt x="0" y="30221"/>
                    <a:pt x="30221" y="0"/>
                    <a:pt x="67500" y="0"/>
                  </a:cubicBezTo>
                  <a:close/>
                  <a:moveTo>
                    <a:pt x="45000" y="73235"/>
                  </a:moveTo>
                  <a:lnTo>
                    <a:pt x="83571" y="135000"/>
                  </a:lnTo>
                  <a:lnTo>
                    <a:pt x="186429" y="135000"/>
                  </a:lnTo>
                  <a:lnTo>
                    <a:pt x="225000" y="73235"/>
                  </a:lnTo>
                  <a:cubicBezTo>
                    <a:pt x="210000" y="44412"/>
                    <a:pt x="180000" y="30000"/>
                    <a:pt x="135000" y="30000"/>
                  </a:cubicBezTo>
                  <a:cubicBezTo>
                    <a:pt x="90000" y="30000"/>
                    <a:pt x="60000" y="44412"/>
                    <a:pt x="45000" y="73235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90" name="Рисунок 342">
            <a:extLst>
              <a:ext uri="{FF2B5EF4-FFF2-40B4-BE49-F238E27FC236}">
                <a16:creationId xmlns:a16="http://schemas.microsoft.com/office/drawing/2014/main" id="{7FA41D9B-9733-EB44-BFA5-3AF5DA36A9B5}"/>
              </a:ext>
            </a:extLst>
          </p:cNvPr>
          <p:cNvGrpSpPr/>
          <p:nvPr/>
        </p:nvGrpSpPr>
        <p:grpSpPr>
          <a:xfrm>
            <a:off x="2927270" y="1096153"/>
            <a:ext cx="360000" cy="360000"/>
            <a:chOff x="2960723" y="1412875"/>
            <a:chExt cx="360000" cy="360000"/>
          </a:xfrm>
        </p:grpSpPr>
        <p:sp>
          <p:nvSpPr>
            <p:cNvPr id="1391" name="Полилиния 1390">
              <a:extLst>
                <a:ext uri="{FF2B5EF4-FFF2-40B4-BE49-F238E27FC236}">
                  <a16:creationId xmlns:a16="http://schemas.microsoft.com/office/drawing/2014/main" id="{4E5260C2-518B-6947-B50B-EC18136072C3}"/>
                </a:ext>
              </a:extLst>
            </p:cNvPr>
            <p:cNvSpPr/>
            <p:nvPr/>
          </p:nvSpPr>
          <p:spPr>
            <a:xfrm>
              <a:off x="2960723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2" name="Полилиния 1391">
              <a:extLst>
                <a:ext uri="{FF2B5EF4-FFF2-40B4-BE49-F238E27FC236}">
                  <a16:creationId xmlns:a16="http://schemas.microsoft.com/office/drawing/2014/main" id="{0E35F70E-906A-9347-8107-9D6E4980B65D}"/>
                </a:ext>
              </a:extLst>
            </p:cNvPr>
            <p:cNvSpPr/>
            <p:nvPr/>
          </p:nvSpPr>
          <p:spPr>
            <a:xfrm>
              <a:off x="2967658" y="1487875"/>
              <a:ext cx="346254" cy="159985"/>
            </a:xfrm>
            <a:custGeom>
              <a:avLst/>
              <a:gdLst>
                <a:gd name="connsiteX0" fmla="*/ 283556 w 346254"/>
                <a:gd name="connsiteY0" fmla="*/ 133959 h 159985"/>
                <a:gd name="connsiteX1" fmla="*/ 251995 w 346254"/>
                <a:gd name="connsiteY1" fmla="*/ 159986 h 159985"/>
                <a:gd name="connsiteX2" fmla="*/ 173042 w 346254"/>
                <a:gd name="connsiteY2" fmla="*/ 122727 h 159985"/>
                <a:gd name="connsiteX3" fmla="*/ 94273 w 346254"/>
                <a:gd name="connsiteY3" fmla="*/ 159762 h 159985"/>
                <a:gd name="connsiteX4" fmla="*/ 62784 w 346254"/>
                <a:gd name="connsiteY4" fmla="*/ 133647 h 159985"/>
                <a:gd name="connsiteX5" fmla="*/ 173042 w 346254"/>
                <a:gd name="connsiteY5" fmla="*/ 81818 h 159985"/>
                <a:gd name="connsiteX6" fmla="*/ 283556 w 346254"/>
                <a:gd name="connsiteY6" fmla="*/ 133959 h 159985"/>
                <a:gd name="connsiteX7" fmla="*/ 346255 w 346254"/>
                <a:gd name="connsiteY7" fmla="*/ 81387 h 159985"/>
                <a:gd name="connsiteX8" fmla="*/ 314774 w 346254"/>
                <a:gd name="connsiteY8" fmla="*/ 107512 h 159985"/>
                <a:gd name="connsiteX9" fmla="*/ 173042 w 346254"/>
                <a:gd name="connsiteY9" fmla="*/ 40909 h 159985"/>
                <a:gd name="connsiteX10" fmla="*/ 31449 w 346254"/>
                <a:gd name="connsiteY10" fmla="*/ 107344 h 159985"/>
                <a:gd name="connsiteX11" fmla="*/ 0 w 346254"/>
                <a:gd name="connsiteY11" fmla="*/ 81182 h 159985"/>
                <a:gd name="connsiteX12" fmla="*/ 173042 w 346254"/>
                <a:gd name="connsiteY12" fmla="*/ 0 h 159985"/>
                <a:gd name="connsiteX13" fmla="*/ 346255 w 346254"/>
                <a:gd name="connsiteY13" fmla="*/ 81387 h 159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6254" h="159985">
                  <a:moveTo>
                    <a:pt x="283556" y="133959"/>
                  </a:moveTo>
                  <a:lnTo>
                    <a:pt x="251995" y="159986"/>
                  </a:lnTo>
                  <a:cubicBezTo>
                    <a:pt x="232666" y="136545"/>
                    <a:pt x="204005" y="122727"/>
                    <a:pt x="173042" y="122727"/>
                  </a:cubicBezTo>
                  <a:cubicBezTo>
                    <a:pt x="142180" y="122727"/>
                    <a:pt x="113605" y="136454"/>
                    <a:pt x="94273" y="159762"/>
                  </a:cubicBezTo>
                  <a:lnTo>
                    <a:pt x="62784" y="133647"/>
                  </a:lnTo>
                  <a:cubicBezTo>
                    <a:pt x="89807" y="101064"/>
                    <a:pt x="129874" y="81818"/>
                    <a:pt x="173042" y="81818"/>
                  </a:cubicBezTo>
                  <a:cubicBezTo>
                    <a:pt x="216352" y="81818"/>
                    <a:pt x="256537" y="101192"/>
                    <a:pt x="283556" y="133959"/>
                  </a:cubicBezTo>
                  <a:close/>
                  <a:moveTo>
                    <a:pt x="346255" y="81387"/>
                  </a:moveTo>
                  <a:lnTo>
                    <a:pt x="314774" y="107512"/>
                  </a:lnTo>
                  <a:cubicBezTo>
                    <a:pt x="279992" y="65604"/>
                    <a:pt x="228556" y="40909"/>
                    <a:pt x="173042" y="40909"/>
                  </a:cubicBezTo>
                  <a:cubicBezTo>
                    <a:pt x="117605" y="40909"/>
                    <a:pt x="66232" y="65535"/>
                    <a:pt x="31449" y="107344"/>
                  </a:cubicBezTo>
                  <a:lnTo>
                    <a:pt x="0" y="81182"/>
                  </a:lnTo>
                  <a:cubicBezTo>
                    <a:pt x="42476" y="30126"/>
                    <a:pt x="105321" y="0"/>
                    <a:pt x="173042" y="0"/>
                  </a:cubicBezTo>
                  <a:cubicBezTo>
                    <a:pt x="240856" y="0"/>
                    <a:pt x="303781" y="30210"/>
                    <a:pt x="346255" y="81387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3" name="Полилиния 1392">
              <a:extLst>
                <a:ext uri="{FF2B5EF4-FFF2-40B4-BE49-F238E27FC236}">
                  <a16:creationId xmlns:a16="http://schemas.microsoft.com/office/drawing/2014/main" id="{9D2F5B5D-3ACC-E74F-BBD2-A9A3C7097615}"/>
                </a:ext>
              </a:extLst>
            </p:cNvPr>
            <p:cNvSpPr/>
            <p:nvPr/>
          </p:nvSpPr>
          <p:spPr>
            <a:xfrm>
              <a:off x="3092796" y="1651511"/>
              <a:ext cx="94710" cy="61363"/>
            </a:xfrm>
            <a:custGeom>
              <a:avLst/>
              <a:gdLst>
                <a:gd name="connsiteX0" fmla="*/ 94710 w 94710"/>
                <a:gd name="connsiteY0" fmla="*/ 21681 h 61363"/>
                <a:gd name="connsiteX1" fmla="*/ 63514 w 94710"/>
                <a:gd name="connsiteY1" fmla="*/ 48145 h 61363"/>
                <a:gd name="connsiteX2" fmla="*/ 47355 w 94710"/>
                <a:gd name="connsiteY2" fmla="*/ 61364 h 61363"/>
                <a:gd name="connsiteX3" fmla="*/ 31924 w 94710"/>
                <a:gd name="connsiteY3" fmla="*/ 48593 h 61363"/>
                <a:gd name="connsiteX4" fmla="*/ 0 w 94710"/>
                <a:gd name="connsiteY4" fmla="*/ 23011 h 61363"/>
                <a:gd name="connsiteX5" fmla="*/ 47904 w 94710"/>
                <a:gd name="connsiteY5" fmla="*/ 0 h 61363"/>
                <a:gd name="connsiteX6" fmla="*/ 94710 w 94710"/>
                <a:gd name="connsiteY6" fmla="*/ 21681 h 61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710" h="61363">
                  <a:moveTo>
                    <a:pt x="94710" y="21681"/>
                  </a:moveTo>
                  <a:lnTo>
                    <a:pt x="63514" y="48145"/>
                  </a:lnTo>
                  <a:lnTo>
                    <a:pt x="47355" y="61364"/>
                  </a:lnTo>
                  <a:lnTo>
                    <a:pt x="31924" y="48593"/>
                  </a:lnTo>
                  <a:lnTo>
                    <a:pt x="0" y="23011"/>
                  </a:lnTo>
                  <a:cubicBezTo>
                    <a:pt x="11559" y="8586"/>
                    <a:pt x="29047" y="0"/>
                    <a:pt x="47904" y="0"/>
                  </a:cubicBezTo>
                  <a:cubicBezTo>
                    <a:pt x="66153" y="0"/>
                    <a:pt x="83139" y="8040"/>
                    <a:pt x="94710" y="21681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394" name="Рисунок 343">
            <a:extLst>
              <a:ext uri="{FF2B5EF4-FFF2-40B4-BE49-F238E27FC236}">
                <a16:creationId xmlns:a16="http://schemas.microsoft.com/office/drawing/2014/main" id="{8A476446-6831-A24B-8EDD-A6F797D4D260}"/>
              </a:ext>
            </a:extLst>
          </p:cNvPr>
          <p:cNvGrpSpPr/>
          <p:nvPr/>
        </p:nvGrpSpPr>
        <p:grpSpPr>
          <a:xfrm>
            <a:off x="2172137" y="1096153"/>
            <a:ext cx="360000" cy="360000"/>
            <a:chOff x="2205590" y="1412875"/>
            <a:chExt cx="360000" cy="360000"/>
          </a:xfrm>
        </p:grpSpPr>
        <p:sp>
          <p:nvSpPr>
            <p:cNvPr id="1395" name="Полилиния 1394">
              <a:extLst>
                <a:ext uri="{FF2B5EF4-FFF2-40B4-BE49-F238E27FC236}">
                  <a16:creationId xmlns:a16="http://schemas.microsoft.com/office/drawing/2014/main" id="{6FE30257-5E8D-0B45-8A63-B9013E6398E5}"/>
                </a:ext>
              </a:extLst>
            </p:cNvPr>
            <p:cNvSpPr/>
            <p:nvPr/>
          </p:nvSpPr>
          <p:spPr>
            <a:xfrm>
              <a:off x="2205590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6" name="Полилиния 1395">
              <a:extLst>
                <a:ext uri="{FF2B5EF4-FFF2-40B4-BE49-F238E27FC236}">
                  <a16:creationId xmlns:a16="http://schemas.microsoft.com/office/drawing/2014/main" id="{556FB865-0862-FC46-9111-7A93E484DE6F}"/>
                </a:ext>
              </a:extLst>
            </p:cNvPr>
            <p:cNvSpPr/>
            <p:nvPr/>
          </p:nvSpPr>
          <p:spPr>
            <a:xfrm>
              <a:off x="2250590" y="1502875"/>
              <a:ext cx="270000" cy="105000"/>
            </a:xfrm>
            <a:custGeom>
              <a:avLst/>
              <a:gdLst>
                <a:gd name="connsiteX0" fmla="*/ 0 w 270000"/>
                <a:gd name="connsiteY0" fmla="*/ 105000 h 105000"/>
                <a:gd name="connsiteX1" fmla="*/ 0 w 270000"/>
                <a:gd name="connsiteY1" fmla="*/ 75000 h 105000"/>
                <a:gd name="connsiteX2" fmla="*/ 217500 w 270000"/>
                <a:gd name="connsiteY2" fmla="*/ 75000 h 105000"/>
                <a:gd name="connsiteX3" fmla="*/ 240000 w 270000"/>
                <a:gd name="connsiteY3" fmla="*/ 52500 h 105000"/>
                <a:gd name="connsiteX4" fmla="*/ 240000 w 270000"/>
                <a:gd name="connsiteY4" fmla="*/ 45000 h 105000"/>
                <a:gd name="connsiteX5" fmla="*/ 225000 w 270000"/>
                <a:gd name="connsiteY5" fmla="*/ 30000 h 105000"/>
                <a:gd name="connsiteX6" fmla="*/ 210000 w 270000"/>
                <a:gd name="connsiteY6" fmla="*/ 45000 h 105000"/>
                <a:gd name="connsiteX7" fmla="*/ 210000 w 270000"/>
                <a:gd name="connsiteY7" fmla="*/ 60000 h 105000"/>
                <a:gd name="connsiteX8" fmla="*/ 180000 w 270000"/>
                <a:gd name="connsiteY8" fmla="*/ 60000 h 105000"/>
                <a:gd name="connsiteX9" fmla="*/ 180000 w 270000"/>
                <a:gd name="connsiteY9" fmla="*/ 45000 h 105000"/>
                <a:gd name="connsiteX10" fmla="*/ 225000 w 270000"/>
                <a:gd name="connsiteY10" fmla="*/ 0 h 105000"/>
                <a:gd name="connsiteX11" fmla="*/ 270000 w 270000"/>
                <a:gd name="connsiteY11" fmla="*/ 45000 h 105000"/>
                <a:gd name="connsiteX12" fmla="*/ 270000 w 270000"/>
                <a:gd name="connsiteY12" fmla="*/ 52500 h 105000"/>
                <a:gd name="connsiteX13" fmla="*/ 217500 w 270000"/>
                <a:gd name="connsiteY13" fmla="*/ 105000 h 105000"/>
                <a:gd name="connsiteX14" fmla="*/ 0 w 270000"/>
                <a:gd name="connsiteY14" fmla="*/ 10500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0000" h="105000">
                  <a:moveTo>
                    <a:pt x="0" y="105000"/>
                  </a:moveTo>
                  <a:lnTo>
                    <a:pt x="0" y="75000"/>
                  </a:lnTo>
                  <a:lnTo>
                    <a:pt x="217500" y="75000"/>
                  </a:lnTo>
                  <a:cubicBezTo>
                    <a:pt x="229926" y="75000"/>
                    <a:pt x="240000" y="64926"/>
                    <a:pt x="240000" y="52500"/>
                  </a:cubicBezTo>
                  <a:lnTo>
                    <a:pt x="240000" y="45000"/>
                  </a:lnTo>
                  <a:cubicBezTo>
                    <a:pt x="240000" y="36716"/>
                    <a:pt x="233285" y="30000"/>
                    <a:pt x="225000" y="30000"/>
                  </a:cubicBezTo>
                  <a:cubicBezTo>
                    <a:pt x="216716" y="30000"/>
                    <a:pt x="210000" y="36716"/>
                    <a:pt x="210000" y="45000"/>
                  </a:cubicBezTo>
                  <a:lnTo>
                    <a:pt x="210000" y="60000"/>
                  </a:lnTo>
                  <a:lnTo>
                    <a:pt x="180000" y="60000"/>
                  </a:lnTo>
                  <a:lnTo>
                    <a:pt x="180000" y="45000"/>
                  </a:lnTo>
                  <a:cubicBezTo>
                    <a:pt x="180000" y="20147"/>
                    <a:pt x="200147" y="0"/>
                    <a:pt x="225000" y="0"/>
                  </a:cubicBezTo>
                  <a:cubicBezTo>
                    <a:pt x="249854" y="0"/>
                    <a:pt x="270000" y="20147"/>
                    <a:pt x="270000" y="45000"/>
                  </a:cubicBezTo>
                  <a:lnTo>
                    <a:pt x="270000" y="52500"/>
                  </a:lnTo>
                  <a:cubicBezTo>
                    <a:pt x="270000" y="81495"/>
                    <a:pt x="246495" y="105000"/>
                    <a:pt x="217500" y="105000"/>
                  </a:cubicBezTo>
                  <a:lnTo>
                    <a:pt x="0" y="10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7" name="Полилиния 1396">
              <a:extLst>
                <a:ext uri="{FF2B5EF4-FFF2-40B4-BE49-F238E27FC236}">
                  <a16:creationId xmlns:a16="http://schemas.microsoft.com/office/drawing/2014/main" id="{C0BB35C9-D07D-D746-8F49-C4FBD588F91F}"/>
                </a:ext>
              </a:extLst>
            </p:cNvPr>
            <p:cNvSpPr/>
            <p:nvPr/>
          </p:nvSpPr>
          <p:spPr>
            <a:xfrm>
              <a:off x="2250590" y="1442875"/>
              <a:ext cx="150000" cy="300000"/>
            </a:xfrm>
            <a:custGeom>
              <a:avLst/>
              <a:gdLst>
                <a:gd name="connsiteX0" fmla="*/ 0 w 150000"/>
                <a:gd name="connsiteY0" fmla="*/ 105000 h 300000"/>
                <a:gd name="connsiteX1" fmla="*/ 0 w 150000"/>
                <a:gd name="connsiteY1" fmla="*/ 75000 h 300000"/>
                <a:gd name="connsiteX2" fmla="*/ 97500 w 150000"/>
                <a:gd name="connsiteY2" fmla="*/ 75000 h 300000"/>
                <a:gd name="connsiteX3" fmla="*/ 120000 w 150000"/>
                <a:gd name="connsiteY3" fmla="*/ 52500 h 300000"/>
                <a:gd name="connsiteX4" fmla="*/ 120000 w 150000"/>
                <a:gd name="connsiteY4" fmla="*/ 45000 h 300000"/>
                <a:gd name="connsiteX5" fmla="*/ 105000 w 150000"/>
                <a:gd name="connsiteY5" fmla="*/ 30000 h 300000"/>
                <a:gd name="connsiteX6" fmla="*/ 90000 w 150000"/>
                <a:gd name="connsiteY6" fmla="*/ 45000 h 300000"/>
                <a:gd name="connsiteX7" fmla="*/ 90000 w 150000"/>
                <a:gd name="connsiteY7" fmla="*/ 60000 h 300000"/>
                <a:gd name="connsiteX8" fmla="*/ 60000 w 150000"/>
                <a:gd name="connsiteY8" fmla="*/ 60000 h 300000"/>
                <a:gd name="connsiteX9" fmla="*/ 60000 w 150000"/>
                <a:gd name="connsiteY9" fmla="*/ 45000 h 300000"/>
                <a:gd name="connsiteX10" fmla="*/ 105000 w 150000"/>
                <a:gd name="connsiteY10" fmla="*/ 0 h 300000"/>
                <a:gd name="connsiteX11" fmla="*/ 150000 w 150000"/>
                <a:gd name="connsiteY11" fmla="*/ 45000 h 300000"/>
                <a:gd name="connsiteX12" fmla="*/ 150000 w 150000"/>
                <a:gd name="connsiteY12" fmla="*/ 52500 h 300000"/>
                <a:gd name="connsiteX13" fmla="*/ 97500 w 150000"/>
                <a:gd name="connsiteY13" fmla="*/ 105000 h 300000"/>
                <a:gd name="connsiteX14" fmla="*/ 0 w 150000"/>
                <a:gd name="connsiteY14" fmla="*/ 105000 h 300000"/>
                <a:gd name="connsiteX15" fmla="*/ 0 w 150000"/>
                <a:gd name="connsiteY15" fmla="*/ 195000 h 300000"/>
                <a:gd name="connsiteX16" fmla="*/ 97500 w 150000"/>
                <a:gd name="connsiteY16" fmla="*/ 195000 h 300000"/>
                <a:gd name="connsiteX17" fmla="*/ 150000 w 150000"/>
                <a:gd name="connsiteY17" fmla="*/ 247500 h 300000"/>
                <a:gd name="connsiteX18" fmla="*/ 150000 w 150000"/>
                <a:gd name="connsiteY18" fmla="*/ 255000 h 300000"/>
                <a:gd name="connsiteX19" fmla="*/ 105000 w 150000"/>
                <a:gd name="connsiteY19" fmla="*/ 300000 h 300000"/>
                <a:gd name="connsiteX20" fmla="*/ 60000 w 150000"/>
                <a:gd name="connsiteY20" fmla="*/ 255000 h 300000"/>
                <a:gd name="connsiteX21" fmla="*/ 60000 w 150000"/>
                <a:gd name="connsiteY21" fmla="*/ 240000 h 300000"/>
                <a:gd name="connsiteX22" fmla="*/ 90000 w 150000"/>
                <a:gd name="connsiteY22" fmla="*/ 240000 h 300000"/>
                <a:gd name="connsiteX23" fmla="*/ 90000 w 150000"/>
                <a:gd name="connsiteY23" fmla="*/ 255000 h 300000"/>
                <a:gd name="connsiteX24" fmla="*/ 105000 w 150000"/>
                <a:gd name="connsiteY24" fmla="*/ 270000 h 300000"/>
                <a:gd name="connsiteX25" fmla="*/ 120000 w 150000"/>
                <a:gd name="connsiteY25" fmla="*/ 255000 h 300000"/>
                <a:gd name="connsiteX26" fmla="*/ 120000 w 150000"/>
                <a:gd name="connsiteY26" fmla="*/ 247500 h 300000"/>
                <a:gd name="connsiteX27" fmla="*/ 97500 w 150000"/>
                <a:gd name="connsiteY27" fmla="*/ 225000 h 300000"/>
                <a:gd name="connsiteX28" fmla="*/ 0 w 150000"/>
                <a:gd name="connsiteY28" fmla="*/ 225000 h 300000"/>
                <a:gd name="connsiteX29" fmla="*/ 0 w 150000"/>
                <a:gd name="connsiteY29" fmla="*/ 19500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0000" h="300000">
                  <a:moveTo>
                    <a:pt x="0" y="105000"/>
                  </a:moveTo>
                  <a:lnTo>
                    <a:pt x="0" y="75000"/>
                  </a:lnTo>
                  <a:lnTo>
                    <a:pt x="97500" y="75000"/>
                  </a:lnTo>
                  <a:cubicBezTo>
                    <a:pt x="109926" y="75000"/>
                    <a:pt x="120000" y="64926"/>
                    <a:pt x="120000" y="52500"/>
                  </a:cubicBezTo>
                  <a:lnTo>
                    <a:pt x="120000" y="45000"/>
                  </a:lnTo>
                  <a:cubicBezTo>
                    <a:pt x="120000" y="36716"/>
                    <a:pt x="113285" y="30000"/>
                    <a:pt x="105000" y="30000"/>
                  </a:cubicBezTo>
                  <a:cubicBezTo>
                    <a:pt x="96716" y="30000"/>
                    <a:pt x="90000" y="36716"/>
                    <a:pt x="90000" y="45000"/>
                  </a:cubicBezTo>
                  <a:lnTo>
                    <a:pt x="90000" y="60000"/>
                  </a:lnTo>
                  <a:lnTo>
                    <a:pt x="60000" y="60000"/>
                  </a:lnTo>
                  <a:lnTo>
                    <a:pt x="60000" y="45000"/>
                  </a:lnTo>
                  <a:cubicBezTo>
                    <a:pt x="60000" y="20147"/>
                    <a:pt x="80147" y="0"/>
                    <a:pt x="105000" y="0"/>
                  </a:cubicBezTo>
                  <a:cubicBezTo>
                    <a:pt x="129854" y="0"/>
                    <a:pt x="150000" y="20147"/>
                    <a:pt x="150000" y="45000"/>
                  </a:cubicBezTo>
                  <a:lnTo>
                    <a:pt x="150000" y="52500"/>
                  </a:lnTo>
                  <a:cubicBezTo>
                    <a:pt x="150000" y="81495"/>
                    <a:pt x="126495" y="105000"/>
                    <a:pt x="97500" y="105000"/>
                  </a:cubicBezTo>
                  <a:lnTo>
                    <a:pt x="0" y="105000"/>
                  </a:lnTo>
                  <a:close/>
                  <a:moveTo>
                    <a:pt x="0" y="195000"/>
                  </a:moveTo>
                  <a:lnTo>
                    <a:pt x="97500" y="195000"/>
                  </a:lnTo>
                  <a:cubicBezTo>
                    <a:pt x="126495" y="195000"/>
                    <a:pt x="150000" y="218505"/>
                    <a:pt x="150000" y="247500"/>
                  </a:cubicBezTo>
                  <a:lnTo>
                    <a:pt x="150000" y="255000"/>
                  </a:lnTo>
                  <a:cubicBezTo>
                    <a:pt x="150000" y="279854"/>
                    <a:pt x="129854" y="300000"/>
                    <a:pt x="105000" y="300000"/>
                  </a:cubicBezTo>
                  <a:cubicBezTo>
                    <a:pt x="80147" y="300000"/>
                    <a:pt x="60000" y="279854"/>
                    <a:pt x="60000" y="255000"/>
                  </a:cubicBezTo>
                  <a:lnTo>
                    <a:pt x="60000" y="240000"/>
                  </a:lnTo>
                  <a:lnTo>
                    <a:pt x="90000" y="240000"/>
                  </a:lnTo>
                  <a:lnTo>
                    <a:pt x="90000" y="255000"/>
                  </a:lnTo>
                  <a:cubicBezTo>
                    <a:pt x="90000" y="263285"/>
                    <a:pt x="96716" y="270000"/>
                    <a:pt x="105000" y="270000"/>
                  </a:cubicBezTo>
                  <a:cubicBezTo>
                    <a:pt x="113285" y="270000"/>
                    <a:pt x="120000" y="263285"/>
                    <a:pt x="120000" y="255000"/>
                  </a:cubicBezTo>
                  <a:lnTo>
                    <a:pt x="120000" y="247500"/>
                  </a:lnTo>
                  <a:cubicBezTo>
                    <a:pt x="120000" y="235074"/>
                    <a:pt x="109926" y="225000"/>
                    <a:pt x="97500" y="225000"/>
                  </a:cubicBezTo>
                  <a:lnTo>
                    <a:pt x="0" y="225000"/>
                  </a:lnTo>
                  <a:lnTo>
                    <a:pt x="0" y="19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98" name="Рисунок 344">
            <a:extLst>
              <a:ext uri="{FF2B5EF4-FFF2-40B4-BE49-F238E27FC236}">
                <a16:creationId xmlns:a16="http://schemas.microsoft.com/office/drawing/2014/main" id="{7B506BB0-7A51-D749-8C6F-09D7627B101D}"/>
              </a:ext>
            </a:extLst>
          </p:cNvPr>
          <p:cNvGrpSpPr/>
          <p:nvPr/>
        </p:nvGrpSpPr>
        <p:grpSpPr>
          <a:xfrm>
            <a:off x="1417004" y="1096153"/>
            <a:ext cx="360000" cy="360000"/>
            <a:chOff x="1450457" y="1412875"/>
            <a:chExt cx="360000" cy="360000"/>
          </a:xfrm>
        </p:grpSpPr>
        <p:sp>
          <p:nvSpPr>
            <p:cNvPr id="1399" name="Полилиния 1398">
              <a:extLst>
                <a:ext uri="{FF2B5EF4-FFF2-40B4-BE49-F238E27FC236}">
                  <a16:creationId xmlns:a16="http://schemas.microsoft.com/office/drawing/2014/main" id="{69EAAF09-D114-4B42-B2A1-3E6DCD6951D0}"/>
                </a:ext>
              </a:extLst>
            </p:cNvPr>
            <p:cNvSpPr/>
            <p:nvPr/>
          </p:nvSpPr>
          <p:spPr>
            <a:xfrm>
              <a:off x="1450457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0" name="Полилиния 1399">
              <a:extLst>
                <a:ext uri="{FF2B5EF4-FFF2-40B4-BE49-F238E27FC236}">
                  <a16:creationId xmlns:a16="http://schemas.microsoft.com/office/drawing/2014/main" id="{25968993-BFF6-A04E-A9F3-21EC63DDFEA2}"/>
                </a:ext>
              </a:extLst>
            </p:cNvPr>
            <p:cNvSpPr/>
            <p:nvPr/>
          </p:nvSpPr>
          <p:spPr>
            <a:xfrm>
              <a:off x="1525457" y="1442875"/>
              <a:ext cx="210000" cy="255000"/>
            </a:xfrm>
            <a:custGeom>
              <a:avLst/>
              <a:gdLst>
                <a:gd name="connsiteX0" fmla="*/ 105000 w 210000"/>
                <a:gd name="connsiteY0" fmla="*/ 255000 h 255000"/>
                <a:gd name="connsiteX1" fmla="*/ 210000 w 210000"/>
                <a:gd name="connsiteY1" fmla="*/ 150000 h 255000"/>
                <a:gd name="connsiteX2" fmla="*/ 105000 w 210000"/>
                <a:gd name="connsiteY2" fmla="*/ 0 h 255000"/>
                <a:gd name="connsiteX3" fmla="*/ 0 w 210000"/>
                <a:gd name="connsiteY3" fmla="*/ 150000 h 255000"/>
                <a:gd name="connsiteX4" fmla="*/ 105000 w 210000"/>
                <a:gd name="connsiteY4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000" h="255000">
                  <a:moveTo>
                    <a:pt x="105000" y="255000"/>
                  </a:moveTo>
                  <a:cubicBezTo>
                    <a:pt x="162990" y="255000"/>
                    <a:pt x="210000" y="207990"/>
                    <a:pt x="210000" y="150000"/>
                  </a:cubicBezTo>
                  <a:cubicBezTo>
                    <a:pt x="210000" y="111340"/>
                    <a:pt x="175001" y="61340"/>
                    <a:pt x="105000" y="0"/>
                  </a:cubicBezTo>
                  <a:cubicBezTo>
                    <a:pt x="35000" y="61340"/>
                    <a:pt x="0" y="111340"/>
                    <a:pt x="0" y="150000"/>
                  </a:cubicBezTo>
                  <a:cubicBezTo>
                    <a:pt x="0" y="207990"/>
                    <a:pt x="47010" y="255000"/>
                    <a:pt x="105000" y="25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1" name="Скругленный прямоугольник 1400">
              <a:extLst>
                <a:ext uri="{FF2B5EF4-FFF2-40B4-BE49-F238E27FC236}">
                  <a16:creationId xmlns:a16="http://schemas.microsoft.com/office/drawing/2014/main" id="{B478B844-EFEA-6648-B26F-4809FAD73004}"/>
                </a:ext>
              </a:extLst>
            </p:cNvPr>
            <p:cNvSpPr/>
            <p:nvPr/>
          </p:nvSpPr>
          <p:spPr>
            <a:xfrm>
              <a:off x="1615457" y="1577875"/>
              <a:ext cx="30000" cy="165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02" name="Рисунок 345">
            <a:extLst>
              <a:ext uri="{FF2B5EF4-FFF2-40B4-BE49-F238E27FC236}">
                <a16:creationId xmlns:a16="http://schemas.microsoft.com/office/drawing/2014/main" id="{B9288D18-C72B-DD44-AB78-07D795754D97}"/>
              </a:ext>
            </a:extLst>
          </p:cNvPr>
          <p:cNvGrpSpPr/>
          <p:nvPr/>
        </p:nvGrpSpPr>
        <p:grpSpPr>
          <a:xfrm>
            <a:off x="11233735" y="1096153"/>
            <a:ext cx="360000" cy="360000"/>
            <a:chOff x="11267188" y="1412875"/>
            <a:chExt cx="360000" cy="360000"/>
          </a:xfrm>
        </p:grpSpPr>
        <p:sp>
          <p:nvSpPr>
            <p:cNvPr id="1403" name="Полилиния 1402">
              <a:extLst>
                <a:ext uri="{FF2B5EF4-FFF2-40B4-BE49-F238E27FC236}">
                  <a16:creationId xmlns:a16="http://schemas.microsoft.com/office/drawing/2014/main" id="{2E19B714-77D2-094A-8D47-3D26C6EFA441}"/>
                </a:ext>
              </a:extLst>
            </p:cNvPr>
            <p:cNvSpPr/>
            <p:nvPr/>
          </p:nvSpPr>
          <p:spPr>
            <a:xfrm>
              <a:off x="11327188" y="1442875"/>
              <a:ext cx="240000" cy="255000"/>
            </a:xfrm>
            <a:custGeom>
              <a:avLst/>
              <a:gdLst>
                <a:gd name="connsiteX0" fmla="*/ 120000 w 240000"/>
                <a:gd name="connsiteY0" fmla="*/ 0 h 255000"/>
                <a:gd name="connsiteX1" fmla="*/ 0 w 240000"/>
                <a:gd name="connsiteY1" fmla="*/ 255000 h 255000"/>
                <a:gd name="connsiteX2" fmla="*/ 240000 w 240000"/>
                <a:gd name="connsiteY2" fmla="*/ 255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0000" h="255000">
                  <a:moveTo>
                    <a:pt x="120000" y="0"/>
                  </a:moveTo>
                  <a:lnTo>
                    <a:pt x="0" y="255000"/>
                  </a:lnTo>
                  <a:lnTo>
                    <a:pt x="240000" y="25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4" name="Полилиния 1403">
              <a:extLst>
                <a:ext uri="{FF2B5EF4-FFF2-40B4-BE49-F238E27FC236}">
                  <a16:creationId xmlns:a16="http://schemas.microsoft.com/office/drawing/2014/main" id="{AE22A73A-B9A6-CA43-BCFA-BD8F94C8F95C}"/>
                </a:ext>
              </a:extLst>
            </p:cNvPr>
            <p:cNvSpPr/>
            <p:nvPr/>
          </p:nvSpPr>
          <p:spPr>
            <a:xfrm>
              <a:off x="11267188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5" name="Скругленный прямоугольник 1404">
              <a:extLst>
                <a:ext uri="{FF2B5EF4-FFF2-40B4-BE49-F238E27FC236}">
                  <a16:creationId xmlns:a16="http://schemas.microsoft.com/office/drawing/2014/main" id="{0FF92BF8-B8B9-1E45-B324-024E45857B70}"/>
                </a:ext>
              </a:extLst>
            </p:cNvPr>
            <p:cNvSpPr/>
            <p:nvPr/>
          </p:nvSpPr>
          <p:spPr>
            <a:xfrm>
              <a:off x="11432188" y="1577875"/>
              <a:ext cx="30000" cy="165000"/>
            </a:xfrm>
            <a:prstGeom prst="roundRect">
              <a:avLst/>
            </a:pr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06" name="Рисунок 346">
            <a:extLst>
              <a:ext uri="{FF2B5EF4-FFF2-40B4-BE49-F238E27FC236}">
                <a16:creationId xmlns:a16="http://schemas.microsoft.com/office/drawing/2014/main" id="{EE0ABED7-2C23-1A48-AB2F-19A0E93BF2B4}"/>
              </a:ext>
            </a:extLst>
          </p:cNvPr>
          <p:cNvGrpSpPr/>
          <p:nvPr/>
        </p:nvGrpSpPr>
        <p:grpSpPr>
          <a:xfrm>
            <a:off x="661871" y="1096153"/>
            <a:ext cx="360000" cy="360000"/>
            <a:chOff x="695324" y="1412875"/>
            <a:chExt cx="360000" cy="360000"/>
          </a:xfrm>
        </p:grpSpPr>
        <p:sp>
          <p:nvSpPr>
            <p:cNvPr id="1407" name="Полилиния 1406">
              <a:extLst>
                <a:ext uri="{FF2B5EF4-FFF2-40B4-BE49-F238E27FC236}">
                  <a16:creationId xmlns:a16="http://schemas.microsoft.com/office/drawing/2014/main" id="{F9152E5A-FD00-4345-95E5-F872D70496CA}"/>
                </a:ext>
              </a:extLst>
            </p:cNvPr>
            <p:cNvSpPr/>
            <p:nvPr/>
          </p:nvSpPr>
          <p:spPr>
            <a:xfrm>
              <a:off x="69532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8" name="Полилиния 1407">
              <a:extLst>
                <a:ext uri="{FF2B5EF4-FFF2-40B4-BE49-F238E27FC236}">
                  <a16:creationId xmlns:a16="http://schemas.microsoft.com/office/drawing/2014/main" id="{D6217919-915D-9945-A0BE-668570616B8E}"/>
                </a:ext>
              </a:extLst>
            </p:cNvPr>
            <p:cNvSpPr/>
            <p:nvPr/>
          </p:nvSpPr>
          <p:spPr>
            <a:xfrm>
              <a:off x="733560" y="1453072"/>
              <a:ext cx="279275" cy="282302"/>
            </a:xfrm>
            <a:custGeom>
              <a:avLst/>
              <a:gdLst>
                <a:gd name="connsiteX0" fmla="*/ 66481 w 279275"/>
                <a:gd name="connsiteY0" fmla="*/ 282302 h 282302"/>
                <a:gd name="connsiteX1" fmla="*/ 76035 w 279275"/>
                <a:gd name="connsiteY1" fmla="*/ 282302 h 282302"/>
                <a:gd name="connsiteX2" fmla="*/ 83271 w 279275"/>
                <a:gd name="connsiteY2" fmla="*/ 276776 h 282302"/>
                <a:gd name="connsiteX3" fmla="*/ 102423 w 279275"/>
                <a:gd name="connsiteY3" fmla="*/ 206549 h 282302"/>
                <a:gd name="connsiteX4" fmla="*/ 111091 w 279275"/>
                <a:gd name="connsiteY4" fmla="*/ 201160 h 282302"/>
                <a:gd name="connsiteX5" fmla="*/ 156764 w 279275"/>
                <a:gd name="connsiteY5" fmla="*/ 207302 h 282302"/>
                <a:gd name="connsiteX6" fmla="*/ 217721 w 279275"/>
                <a:gd name="connsiteY6" fmla="*/ 200738 h 282302"/>
                <a:gd name="connsiteX7" fmla="*/ 217721 w 279275"/>
                <a:gd name="connsiteY7" fmla="*/ 200738 h 282302"/>
                <a:gd name="connsiteX8" fmla="*/ 226005 w 279275"/>
                <a:gd name="connsiteY8" fmla="*/ 206191 h 282302"/>
                <a:gd name="connsiteX9" fmla="*/ 245256 w 279275"/>
                <a:gd name="connsiteY9" fmla="*/ 276776 h 282302"/>
                <a:gd name="connsiteX10" fmla="*/ 252492 w 279275"/>
                <a:gd name="connsiteY10" fmla="*/ 282302 h 282302"/>
                <a:gd name="connsiteX11" fmla="*/ 262340 w 279275"/>
                <a:gd name="connsiteY11" fmla="*/ 282302 h 282302"/>
                <a:gd name="connsiteX12" fmla="*/ 269816 w 279275"/>
                <a:gd name="connsiteY12" fmla="*/ 275401 h 282302"/>
                <a:gd name="connsiteX13" fmla="*/ 279081 w 279275"/>
                <a:gd name="connsiteY13" fmla="*/ 159587 h 282302"/>
                <a:gd name="connsiteX14" fmla="*/ 224057 w 279275"/>
                <a:gd name="connsiteY14" fmla="*/ 94994 h 282302"/>
                <a:gd name="connsiteX15" fmla="*/ 219272 w 279275"/>
                <a:gd name="connsiteY15" fmla="*/ 94802 h 282302"/>
                <a:gd name="connsiteX16" fmla="*/ 156764 w 279275"/>
                <a:gd name="connsiteY16" fmla="*/ 94802 h 282302"/>
                <a:gd name="connsiteX17" fmla="*/ 119264 w 279275"/>
                <a:gd name="connsiteY17" fmla="*/ 34802 h 282302"/>
                <a:gd name="connsiteX18" fmla="*/ 37279 w 279275"/>
                <a:gd name="connsiteY18" fmla="*/ 287 h 282302"/>
                <a:gd name="connsiteX19" fmla="*/ 37280 w 279275"/>
                <a:gd name="connsiteY19" fmla="*/ 286 h 282302"/>
                <a:gd name="connsiteX20" fmla="*/ 31487 w 279275"/>
                <a:gd name="connsiteY20" fmla="*/ 2927 h 282302"/>
                <a:gd name="connsiteX21" fmla="*/ 31337 w 279275"/>
                <a:gd name="connsiteY21" fmla="*/ 5594 h 282302"/>
                <a:gd name="connsiteX22" fmla="*/ 35705 w 279275"/>
                <a:gd name="connsiteY22" fmla="*/ 23070 h 282302"/>
                <a:gd name="connsiteX23" fmla="*/ 33615 w 279275"/>
                <a:gd name="connsiteY23" fmla="*/ 30306 h 282302"/>
                <a:gd name="connsiteX24" fmla="*/ 14264 w 279275"/>
                <a:gd name="connsiteY24" fmla="*/ 49802 h 282302"/>
                <a:gd name="connsiteX25" fmla="*/ 354 w 279275"/>
                <a:gd name="connsiteY25" fmla="*/ 83855 h 282302"/>
                <a:gd name="connsiteX26" fmla="*/ 356 w 279275"/>
                <a:gd name="connsiteY26" fmla="*/ 83855 h 282302"/>
                <a:gd name="connsiteX27" fmla="*/ 1259 w 279275"/>
                <a:gd name="connsiteY27" fmla="*/ 90296 h 282302"/>
                <a:gd name="connsiteX28" fmla="*/ 10297 w 279275"/>
                <a:gd name="connsiteY28" fmla="*/ 103852 h 282302"/>
                <a:gd name="connsiteX29" fmla="*/ 20396 w 279275"/>
                <a:gd name="connsiteY29" fmla="*/ 106123 h 282302"/>
                <a:gd name="connsiteX30" fmla="*/ 33014 w 279275"/>
                <a:gd name="connsiteY30" fmla="*/ 98552 h 282302"/>
                <a:gd name="connsiteX31" fmla="*/ 50769 w 279275"/>
                <a:gd name="connsiteY31" fmla="*/ 102991 h 282302"/>
                <a:gd name="connsiteX32" fmla="*/ 52604 w 279275"/>
                <a:gd name="connsiteY32" fmla="*/ 109152 h 282302"/>
                <a:gd name="connsiteX33" fmla="*/ 58986 w 279275"/>
                <a:gd name="connsiteY33" fmla="*/ 275090 h 282302"/>
                <a:gd name="connsiteX34" fmla="*/ 66481 w 279275"/>
                <a:gd name="connsiteY34" fmla="*/ 282302 h 28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79275" h="282302">
                  <a:moveTo>
                    <a:pt x="66481" y="282302"/>
                  </a:moveTo>
                  <a:lnTo>
                    <a:pt x="76035" y="282302"/>
                  </a:lnTo>
                  <a:cubicBezTo>
                    <a:pt x="79418" y="282302"/>
                    <a:pt x="82381" y="280039"/>
                    <a:pt x="83271" y="276776"/>
                  </a:cubicBezTo>
                  <a:lnTo>
                    <a:pt x="102423" y="206549"/>
                  </a:lnTo>
                  <a:cubicBezTo>
                    <a:pt x="103457" y="202760"/>
                    <a:pt x="107236" y="200410"/>
                    <a:pt x="111091" y="201160"/>
                  </a:cubicBezTo>
                  <a:cubicBezTo>
                    <a:pt x="132159" y="205255"/>
                    <a:pt x="147383" y="207302"/>
                    <a:pt x="156764" y="207302"/>
                  </a:cubicBezTo>
                  <a:cubicBezTo>
                    <a:pt x="166461" y="207302"/>
                    <a:pt x="186780" y="205114"/>
                    <a:pt x="217721" y="200738"/>
                  </a:cubicBezTo>
                  <a:lnTo>
                    <a:pt x="217721" y="200738"/>
                  </a:lnTo>
                  <a:cubicBezTo>
                    <a:pt x="221462" y="200209"/>
                    <a:pt x="225012" y="202546"/>
                    <a:pt x="226005" y="206191"/>
                  </a:cubicBezTo>
                  <a:lnTo>
                    <a:pt x="245256" y="276776"/>
                  </a:lnTo>
                  <a:cubicBezTo>
                    <a:pt x="246146" y="280039"/>
                    <a:pt x="249110" y="282302"/>
                    <a:pt x="252492" y="282302"/>
                  </a:cubicBezTo>
                  <a:lnTo>
                    <a:pt x="262340" y="282302"/>
                  </a:lnTo>
                  <a:cubicBezTo>
                    <a:pt x="266250" y="282302"/>
                    <a:pt x="269504" y="279298"/>
                    <a:pt x="269816" y="275401"/>
                  </a:cubicBezTo>
                  <a:lnTo>
                    <a:pt x="279081" y="159587"/>
                  </a:lnTo>
                  <a:cubicBezTo>
                    <a:pt x="281724" y="126556"/>
                    <a:pt x="257088" y="97636"/>
                    <a:pt x="224057" y="94994"/>
                  </a:cubicBezTo>
                  <a:cubicBezTo>
                    <a:pt x="222465" y="94866"/>
                    <a:pt x="220869" y="94802"/>
                    <a:pt x="219272" y="94802"/>
                  </a:cubicBezTo>
                  <a:lnTo>
                    <a:pt x="156764" y="94802"/>
                  </a:lnTo>
                  <a:cubicBezTo>
                    <a:pt x="142148" y="64321"/>
                    <a:pt x="129648" y="44321"/>
                    <a:pt x="119264" y="34802"/>
                  </a:cubicBezTo>
                  <a:cubicBezTo>
                    <a:pt x="114504" y="30440"/>
                    <a:pt x="87177" y="18935"/>
                    <a:pt x="37279" y="287"/>
                  </a:cubicBezTo>
                  <a:lnTo>
                    <a:pt x="37280" y="286"/>
                  </a:lnTo>
                  <a:cubicBezTo>
                    <a:pt x="34951" y="-584"/>
                    <a:pt x="32358" y="598"/>
                    <a:pt x="31487" y="2927"/>
                  </a:cubicBezTo>
                  <a:cubicBezTo>
                    <a:pt x="31168" y="3780"/>
                    <a:pt x="31116" y="4710"/>
                    <a:pt x="31337" y="5594"/>
                  </a:cubicBezTo>
                  <a:lnTo>
                    <a:pt x="35705" y="23070"/>
                  </a:lnTo>
                  <a:cubicBezTo>
                    <a:pt x="36358" y="25682"/>
                    <a:pt x="35560" y="28444"/>
                    <a:pt x="33615" y="30306"/>
                  </a:cubicBezTo>
                  <a:cubicBezTo>
                    <a:pt x="23809" y="39693"/>
                    <a:pt x="17359" y="46192"/>
                    <a:pt x="14264" y="49802"/>
                  </a:cubicBezTo>
                  <a:cubicBezTo>
                    <a:pt x="11040" y="53564"/>
                    <a:pt x="6404" y="64914"/>
                    <a:pt x="354" y="83855"/>
                  </a:cubicBezTo>
                  <a:lnTo>
                    <a:pt x="356" y="83855"/>
                  </a:lnTo>
                  <a:cubicBezTo>
                    <a:pt x="-338" y="86028"/>
                    <a:pt x="-6" y="88398"/>
                    <a:pt x="1259" y="90296"/>
                  </a:cubicBezTo>
                  <a:lnTo>
                    <a:pt x="10297" y="103852"/>
                  </a:lnTo>
                  <a:cubicBezTo>
                    <a:pt x="12518" y="107183"/>
                    <a:pt x="16963" y="108183"/>
                    <a:pt x="20396" y="106123"/>
                  </a:cubicBezTo>
                  <a:lnTo>
                    <a:pt x="33014" y="98552"/>
                  </a:lnTo>
                  <a:cubicBezTo>
                    <a:pt x="39143" y="94875"/>
                    <a:pt x="47092" y="96863"/>
                    <a:pt x="50769" y="102991"/>
                  </a:cubicBezTo>
                  <a:cubicBezTo>
                    <a:pt x="51890" y="104858"/>
                    <a:pt x="52521" y="106977"/>
                    <a:pt x="52604" y="109152"/>
                  </a:cubicBezTo>
                  <a:lnTo>
                    <a:pt x="58986" y="275090"/>
                  </a:lnTo>
                  <a:cubicBezTo>
                    <a:pt x="59141" y="279118"/>
                    <a:pt x="62451" y="282302"/>
                    <a:pt x="66481" y="282302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09" name="Рисунок 347">
            <a:extLst>
              <a:ext uri="{FF2B5EF4-FFF2-40B4-BE49-F238E27FC236}">
                <a16:creationId xmlns:a16="http://schemas.microsoft.com/office/drawing/2014/main" id="{197D885E-7907-224B-8E50-3F8767F2F4A3}"/>
              </a:ext>
            </a:extLst>
          </p:cNvPr>
          <p:cNvGrpSpPr/>
          <p:nvPr/>
        </p:nvGrpSpPr>
        <p:grpSpPr>
          <a:xfrm>
            <a:off x="1442758" y="5807534"/>
            <a:ext cx="360000" cy="360000"/>
            <a:chOff x="1476211" y="6124256"/>
            <a:chExt cx="360000" cy="360000"/>
          </a:xfrm>
        </p:grpSpPr>
        <p:sp>
          <p:nvSpPr>
            <p:cNvPr id="1410" name="Полилиния 1409">
              <a:extLst>
                <a:ext uri="{FF2B5EF4-FFF2-40B4-BE49-F238E27FC236}">
                  <a16:creationId xmlns:a16="http://schemas.microsoft.com/office/drawing/2014/main" id="{DF20B809-F83A-7245-98B7-B440A5BEFD3A}"/>
                </a:ext>
              </a:extLst>
            </p:cNvPr>
            <p:cNvSpPr/>
            <p:nvPr/>
          </p:nvSpPr>
          <p:spPr>
            <a:xfrm>
              <a:off x="147621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1" name="Полилиния 1410">
              <a:extLst>
                <a:ext uri="{FF2B5EF4-FFF2-40B4-BE49-F238E27FC236}">
                  <a16:creationId xmlns:a16="http://schemas.microsoft.com/office/drawing/2014/main" id="{E02D0B77-7659-1048-8337-0F2858F60965}"/>
                </a:ext>
              </a:extLst>
            </p:cNvPr>
            <p:cNvSpPr/>
            <p:nvPr/>
          </p:nvSpPr>
          <p:spPr>
            <a:xfrm rot="-8100000">
              <a:off x="1648489" y="6146534"/>
              <a:ext cx="90003" cy="270000"/>
            </a:xfrm>
            <a:custGeom>
              <a:avLst/>
              <a:gdLst>
                <a:gd name="connsiteX0" fmla="*/ 3889 w 90003"/>
                <a:gd name="connsiteY0" fmla="*/ 247957 h 270000"/>
                <a:gd name="connsiteX1" fmla="*/ 4 w 90003"/>
                <a:gd name="connsiteY1" fmla="*/ 56348 h 270000"/>
                <a:gd name="connsiteX2" fmla="*/ 6259 w 90003"/>
                <a:gd name="connsiteY2" fmla="*/ 40320 h 270000"/>
                <a:gd name="connsiteX3" fmla="*/ 44922 w 90003"/>
                <a:gd name="connsiteY3" fmla="*/ 0 h 270000"/>
                <a:gd name="connsiteX4" fmla="*/ 83743 w 90003"/>
                <a:gd name="connsiteY4" fmla="*/ 40485 h 270000"/>
                <a:gd name="connsiteX5" fmla="*/ 90003 w 90003"/>
                <a:gd name="connsiteY5" fmla="*/ 56122 h 270000"/>
                <a:gd name="connsiteX6" fmla="*/ 89454 w 90003"/>
                <a:gd name="connsiteY6" fmla="*/ 247565 h 270000"/>
                <a:gd name="connsiteX7" fmla="*/ 66954 w 90003"/>
                <a:gd name="connsiteY7" fmla="*/ 270001 h 270000"/>
                <a:gd name="connsiteX8" fmla="*/ 26385 w 90003"/>
                <a:gd name="connsiteY8" fmla="*/ 270001 h 270000"/>
                <a:gd name="connsiteX9" fmla="*/ 3889 w 90003"/>
                <a:gd name="connsiteY9" fmla="*/ 247957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003" h="270000">
                  <a:moveTo>
                    <a:pt x="3889" y="247957"/>
                  </a:moveTo>
                  <a:lnTo>
                    <a:pt x="4" y="56348"/>
                  </a:lnTo>
                  <a:cubicBezTo>
                    <a:pt x="-117" y="50388"/>
                    <a:pt x="2133" y="44623"/>
                    <a:pt x="6259" y="40320"/>
                  </a:cubicBezTo>
                  <a:lnTo>
                    <a:pt x="44922" y="0"/>
                  </a:lnTo>
                  <a:lnTo>
                    <a:pt x="83743" y="40485"/>
                  </a:lnTo>
                  <a:cubicBezTo>
                    <a:pt x="87775" y="44690"/>
                    <a:pt x="90019" y="50296"/>
                    <a:pt x="90003" y="56122"/>
                  </a:cubicBezTo>
                  <a:lnTo>
                    <a:pt x="89454" y="247565"/>
                  </a:lnTo>
                  <a:cubicBezTo>
                    <a:pt x="89419" y="259966"/>
                    <a:pt x="79356" y="270001"/>
                    <a:pt x="66954" y="270001"/>
                  </a:cubicBezTo>
                  <a:lnTo>
                    <a:pt x="26385" y="270001"/>
                  </a:lnTo>
                  <a:cubicBezTo>
                    <a:pt x="14136" y="270001"/>
                    <a:pt x="4137" y="260203"/>
                    <a:pt x="3889" y="247957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2" name="Полилиния 1411">
              <a:extLst>
                <a:ext uri="{FF2B5EF4-FFF2-40B4-BE49-F238E27FC236}">
                  <a16:creationId xmlns:a16="http://schemas.microsoft.com/office/drawing/2014/main" id="{E454D9F9-F90E-4244-9430-7E59E978630B}"/>
                </a:ext>
              </a:extLst>
            </p:cNvPr>
            <p:cNvSpPr/>
            <p:nvPr/>
          </p:nvSpPr>
          <p:spPr>
            <a:xfrm>
              <a:off x="1506211" y="6154256"/>
              <a:ext cx="300000" cy="300000"/>
            </a:xfrm>
            <a:custGeom>
              <a:avLst/>
              <a:gdLst>
                <a:gd name="connsiteX0" fmla="*/ 163500 w 300000"/>
                <a:gd name="connsiteY0" fmla="*/ 0 h 300000"/>
                <a:gd name="connsiteX1" fmla="*/ 178500 w 300000"/>
                <a:gd name="connsiteY1" fmla="*/ 15000 h 300000"/>
                <a:gd name="connsiteX2" fmla="*/ 163500 w 300000"/>
                <a:gd name="connsiteY2" fmla="*/ 30000 h 300000"/>
                <a:gd name="connsiteX3" fmla="*/ 60000 w 300000"/>
                <a:gd name="connsiteY3" fmla="*/ 30000 h 300000"/>
                <a:gd name="connsiteX4" fmla="*/ 30000 w 300000"/>
                <a:gd name="connsiteY4" fmla="*/ 60000 h 300000"/>
                <a:gd name="connsiteX5" fmla="*/ 30000 w 300000"/>
                <a:gd name="connsiteY5" fmla="*/ 240000 h 300000"/>
                <a:gd name="connsiteX6" fmla="*/ 60000 w 300000"/>
                <a:gd name="connsiteY6" fmla="*/ 270000 h 300000"/>
                <a:gd name="connsiteX7" fmla="*/ 240000 w 300000"/>
                <a:gd name="connsiteY7" fmla="*/ 270000 h 300000"/>
                <a:gd name="connsiteX8" fmla="*/ 270000 w 300000"/>
                <a:gd name="connsiteY8" fmla="*/ 240000 h 300000"/>
                <a:gd name="connsiteX9" fmla="*/ 270000 w 300000"/>
                <a:gd name="connsiteY9" fmla="*/ 165000 h 300000"/>
                <a:gd name="connsiteX10" fmla="*/ 285000 w 300000"/>
                <a:gd name="connsiteY10" fmla="*/ 150000 h 300000"/>
                <a:gd name="connsiteX11" fmla="*/ 300000 w 300000"/>
                <a:gd name="connsiteY11" fmla="*/ 165000 h 300000"/>
                <a:gd name="connsiteX12" fmla="*/ 300000 w 300000"/>
                <a:gd name="connsiteY12" fmla="*/ 240000 h 300000"/>
                <a:gd name="connsiteX13" fmla="*/ 240000 w 300000"/>
                <a:gd name="connsiteY13" fmla="*/ 300000 h 300000"/>
                <a:gd name="connsiteX14" fmla="*/ 60000 w 300000"/>
                <a:gd name="connsiteY14" fmla="*/ 300000 h 300000"/>
                <a:gd name="connsiteX15" fmla="*/ 0 w 300000"/>
                <a:gd name="connsiteY15" fmla="*/ 240000 h 300000"/>
                <a:gd name="connsiteX16" fmla="*/ 0 w 300000"/>
                <a:gd name="connsiteY16" fmla="*/ 60000 h 300000"/>
                <a:gd name="connsiteX17" fmla="*/ 60000 w 300000"/>
                <a:gd name="connsiteY17" fmla="*/ 0 h 300000"/>
                <a:gd name="connsiteX18" fmla="*/ 163500 w 300000"/>
                <a:gd name="connsiteY18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0000" h="300000">
                  <a:moveTo>
                    <a:pt x="163500" y="0"/>
                  </a:moveTo>
                  <a:cubicBezTo>
                    <a:pt x="171785" y="0"/>
                    <a:pt x="178500" y="6716"/>
                    <a:pt x="178500" y="15000"/>
                  </a:cubicBezTo>
                  <a:cubicBezTo>
                    <a:pt x="178500" y="23284"/>
                    <a:pt x="171785" y="30000"/>
                    <a:pt x="163500" y="30000"/>
                  </a:cubicBezTo>
                  <a:lnTo>
                    <a:pt x="60000" y="30000"/>
                  </a:lnTo>
                  <a:cubicBezTo>
                    <a:pt x="43431" y="30000"/>
                    <a:pt x="30000" y="43431"/>
                    <a:pt x="30000" y="60000"/>
                  </a:cubicBezTo>
                  <a:lnTo>
                    <a:pt x="30000" y="240000"/>
                  </a:lnTo>
                  <a:cubicBezTo>
                    <a:pt x="30000" y="256569"/>
                    <a:pt x="43431" y="270000"/>
                    <a:pt x="60000" y="270000"/>
                  </a:cubicBezTo>
                  <a:lnTo>
                    <a:pt x="240000" y="270000"/>
                  </a:lnTo>
                  <a:cubicBezTo>
                    <a:pt x="256569" y="270000"/>
                    <a:pt x="270000" y="256569"/>
                    <a:pt x="270000" y="240000"/>
                  </a:cubicBezTo>
                  <a:lnTo>
                    <a:pt x="270000" y="165000"/>
                  </a:lnTo>
                  <a:cubicBezTo>
                    <a:pt x="270000" y="156716"/>
                    <a:pt x="276716" y="150000"/>
                    <a:pt x="285000" y="150000"/>
                  </a:cubicBezTo>
                  <a:cubicBezTo>
                    <a:pt x="293285" y="150000"/>
                    <a:pt x="300000" y="156716"/>
                    <a:pt x="300000" y="165000"/>
                  </a:cubicBezTo>
                  <a:lnTo>
                    <a:pt x="300000" y="240000"/>
                  </a:lnTo>
                  <a:cubicBezTo>
                    <a:pt x="300000" y="273137"/>
                    <a:pt x="273137" y="300000"/>
                    <a:pt x="240000" y="300000"/>
                  </a:cubicBezTo>
                  <a:lnTo>
                    <a:pt x="60000" y="300000"/>
                  </a:lnTo>
                  <a:cubicBezTo>
                    <a:pt x="26863" y="300000"/>
                    <a:pt x="0" y="273137"/>
                    <a:pt x="0" y="240000"/>
                  </a:cubicBezTo>
                  <a:lnTo>
                    <a:pt x="0" y="60000"/>
                  </a:lnTo>
                  <a:cubicBezTo>
                    <a:pt x="0" y="26863"/>
                    <a:pt x="26863" y="0"/>
                    <a:pt x="60000" y="0"/>
                  </a:cubicBezTo>
                  <a:lnTo>
                    <a:pt x="1635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13" name="Рисунок 348">
            <a:extLst>
              <a:ext uri="{FF2B5EF4-FFF2-40B4-BE49-F238E27FC236}">
                <a16:creationId xmlns:a16="http://schemas.microsoft.com/office/drawing/2014/main" id="{4ED3EF52-4EB6-5543-B893-52C85264B5B8}"/>
              </a:ext>
            </a:extLst>
          </p:cNvPr>
          <p:cNvGrpSpPr/>
          <p:nvPr/>
        </p:nvGrpSpPr>
        <p:grpSpPr>
          <a:xfrm>
            <a:off x="2195910" y="5807534"/>
            <a:ext cx="360000" cy="360000"/>
            <a:chOff x="2229363" y="6124256"/>
            <a:chExt cx="360000" cy="360000"/>
          </a:xfrm>
        </p:grpSpPr>
        <p:sp>
          <p:nvSpPr>
            <p:cNvPr id="1414" name="Полилиния 1413">
              <a:extLst>
                <a:ext uri="{FF2B5EF4-FFF2-40B4-BE49-F238E27FC236}">
                  <a16:creationId xmlns:a16="http://schemas.microsoft.com/office/drawing/2014/main" id="{F483C148-0C78-9142-8402-52835028C259}"/>
                </a:ext>
              </a:extLst>
            </p:cNvPr>
            <p:cNvSpPr/>
            <p:nvPr/>
          </p:nvSpPr>
          <p:spPr>
            <a:xfrm>
              <a:off x="222936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5" name="Полилиния 1414">
              <a:extLst>
                <a:ext uri="{FF2B5EF4-FFF2-40B4-BE49-F238E27FC236}">
                  <a16:creationId xmlns:a16="http://schemas.microsoft.com/office/drawing/2014/main" id="{DF019822-8234-114C-A177-F093B0BDF68A}"/>
                </a:ext>
              </a:extLst>
            </p:cNvPr>
            <p:cNvSpPr/>
            <p:nvPr/>
          </p:nvSpPr>
          <p:spPr>
            <a:xfrm>
              <a:off x="2244363" y="6184256"/>
              <a:ext cx="330000" cy="225000"/>
            </a:xfrm>
            <a:custGeom>
              <a:avLst/>
              <a:gdLst>
                <a:gd name="connsiteX0" fmla="*/ 48340 w 330000"/>
                <a:gd name="connsiteY0" fmla="*/ 0 h 225000"/>
                <a:gd name="connsiteX1" fmla="*/ 282552 w 330000"/>
                <a:gd name="connsiteY1" fmla="*/ 0 h 225000"/>
                <a:gd name="connsiteX2" fmla="*/ 327363 w 330000"/>
                <a:gd name="connsiteY2" fmla="*/ 40885 h 225000"/>
                <a:gd name="connsiteX3" fmla="*/ 330000 w 330000"/>
                <a:gd name="connsiteY3" fmla="*/ 103847 h 225000"/>
                <a:gd name="connsiteX4" fmla="*/ 326385 w 330000"/>
                <a:gd name="connsiteY4" fmla="*/ 184041 h 225000"/>
                <a:gd name="connsiteX5" fmla="*/ 326385 w 330000"/>
                <a:gd name="connsiteY5" fmla="*/ 184041 h 225000"/>
                <a:gd name="connsiteX6" fmla="*/ 281567 w 330000"/>
                <a:gd name="connsiteY6" fmla="*/ 225000 h 225000"/>
                <a:gd name="connsiteX7" fmla="*/ 48340 w 330000"/>
                <a:gd name="connsiteY7" fmla="*/ 225000 h 225000"/>
                <a:gd name="connsiteX8" fmla="*/ 3537 w 330000"/>
                <a:gd name="connsiteY8" fmla="*/ 184203 h 225000"/>
                <a:gd name="connsiteX9" fmla="*/ 0 w 330000"/>
                <a:gd name="connsiteY9" fmla="*/ 112500 h 225000"/>
                <a:gd name="connsiteX10" fmla="*/ 3537 w 330000"/>
                <a:gd name="connsiteY10" fmla="*/ 40798 h 225000"/>
                <a:gd name="connsiteX11" fmla="*/ 3537 w 330000"/>
                <a:gd name="connsiteY11" fmla="*/ 40798 h 225000"/>
                <a:gd name="connsiteX12" fmla="*/ 48340 w 330000"/>
                <a:gd name="connsiteY12" fmla="*/ 0 h 22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0000" h="225000">
                  <a:moveTo>
                    <a:pt x="48340" y="0"/>
                  </a:moveTo>
                  <a:lnTo>
                    <a:pt x="282552" y="0"/>
                  </a:lnTo>
                  <a:cubicBezTo>
                    <a:pt x="305810" y="0"/>
                    <a:pt x="325236" y="17724"/>
                    <a:pt x="327363" y="40885"/>
                  </a:cubicBezTo>
                  <a:cubicBezTo>
                    <a:pt x="329121" y="60030"/>
                    <a:pt x="330000" y="81017"/>
                    <a:pt x="330000" y="103847"/>
                  </a:cubicBezTo>
                  <a:cubicBezTo>
                    <a:pt x="330000" y="130575"/>
                    <a:pt x="328796" y="157307"/>
                    <a:pt x="326385" y="184041"/>
                  </a:cubicBezTo>
                  <a:lnTo>
                    <a:pt x="326385" y="184041"/>
                  </a:lnTo>
                  <a:cubicBezTo>
                    <a:pt x="324294" y="207234"/>
                    <a:pt x="304854" y="225000"/>
                    <a:pt x="281567" y="225000"/>
                  </a:cubicBezTo>
                  <a:lnTo>
                    <a:pt x="48340" y="225000"/>
                  </a:lnTo>
                  <a:cubicBezTo>
                    <a:pt x="25115" y="225000"/>
                    <a:pt x="5706" y="207325"/>
                    <a:pt x="3537" y="184203"/>
                  </a:cubicBezTo>
                  <a:cubicBezTo>
                    <a:pt x="1179" y="159065"/>
                    <a:pt x="0" y="135164"/>
                    <a:pt x="0" y="112500"/>
                  </a:cubicBezTo>
                  <a:cubicBezTo>
                    <a:pt x="0" y="89836"/>
                    <a:pt x="1179" y="65935"/>
                    <a:pt x="3537" y="40798"/>
                  </a:cubicBezTo>
                  <a:lnTo>
                    <a:pt x="3537" y="40798"/>
                  </a:lnTo>
                  <a:cubicBezTo>
                    <a:pt x="5706" y="17674"/>
                    <a:pt x="25115" y="0"/>
                    <a:pt x="4834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6" name="Полилиния 1415">
              <a:extLst>
                <a:ext uri="{FF2B5EF4-FFF2-40B4-BE49-F238E27FC236}">
                  <a16:creationId xmlns:a16="http://schemas.microsoft.com/office/drawing/2014/main" id="{45BCC362-C97F-2A4F-832B-72AB80E83820}"/>
                </a:ext>
              </a:extLst>
            </p:cNvPr>
            <p:cNvSpPr/>
            <p:nvPr/>
          </p:nvSpPr>
          <p:spPr>
            <a:xfrm>
              <a:off x="2385362" y="6242058"/>
              <a:ext cx="81052" cy="105585"/>
            </a:xfrm>
            <a:custGeom>
              <a:avLst/>
              <a:gdLst>
                <a:gd name="connsiteX0" fmla="*/ 11733 w 81052"/>
                <a:gd name="connsiteY0" fmla="*/ 104277 h 105585"/>
                <a:gd name="connsiteX1" fmla="*/ 77784 w 81052"/>
                <a:gd name="connsiteY1" fmla="*/ 59127 h 105585"/>
                <a:gd name="connsiteX2" fmla="*/ 79743 w 81052"/>
                <a:gd name="connsiteY2" fmla="*/ 48702 h 105585"/>
                <a:gd name="connsiteX3" fmla="*/ 77802 w 81052"/>
                <a:gd name="connsiteY3" fmla="*/ 46757 h 105585"/>
                <a:gd name="connsiteX4" fmla="*/ 11751 w 81052"/>
                <a:gd name="connsiteY4" fmla="*/ 1321 h 105585"/>
                <a:gd name="connsiteX5" fmla="*/ 1320 w 81052"/>
                <a:gd name="connsiteY5" fmla="*/ 3250 h 105585"/>
                <a:gd name="connsiteX6" fmla="*/ 0 w 81052"/>
                <a:gd name="connsiteY6" fmla="*/ 7501 h 105585"/>
                <a:gd name="connsiteX7" fmla="*/ 0 w 81052"/>
                <a:gd name="connsiteY7" fmla="*/ 98085 h 105585"/>
                <a:gd name="connsiteX8" fmla="*/ 7500 w 81052"/>
                <a:gd name="connsiteY8" fmla="*/ 105585 h 105585"/>
                <a:gd name="connsiteX9" fmla="*/ 11733 w 81052"/>
                <a:gd name="connsiteY9" fmla="*/ 104277 h 10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052" h="105585">
                  <a:moveTo>
                    <a:pt x="11733" y="104277"/>
                  </a:moveTo>
                  <a:lnTo>
                    <a:pt x="77784" y="59127"/>
                  </a:lnTo>
                  <a:cubicBezTo>
                    <a:pt x="81204" y="56790"/>
                    <a:pt x="82082" y="52122"/>
                    <a:pt x="79743" y="48702"/>
                  </a:cubicBezTo>
                  <a:cubicBezTo>
                    <a:pt x="79223" y="47940"/>
                    <a:pt x="78564" y="47280"/>
                    <a:pt x="77802" y="46757"/>
                  </a:cubicBezTo>
                  <a:lnTo>
                    <a:pt x="11751" y="1321"/>
                  </a:lnTo>
                  <a:cubicBezTo>
                    <a:pt x="8339" y="-1026"/>
                    <a:pt x="3668" y="-163"/>
                    <a:pt x="1320" y="3250"/>
                  </a:cubicBezTo>
                  <a:cubicBezTo>
                    <a:pt x="461" y="4501"/>
                    <a:pt x="0" y="5983"/>
                    <a:pt x="0" y="7501"/>
                  </a:cubicBezTo>
                  <a:lnTo>
                    <a:pt x="0" y="98085"/>
                  </a:lnTo>
                  <a:cubicBezTo>
                    <a:pt x="0" y="102228"/>
                    <a:pt x="3359" y="105585"/>
                    <a:pt x="7500" y="105585"/>
                  </a:cubicBezTo>
                  <a:cubicBezTo>
                    <a:pt x="9011" y="105585"/>
                    <a:pt x="10485" y="105129"/>
                    <a:pt x="11733" y="104277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17" name="Рисунок 349">
            <a:extLst>
              <a:ext uri="{FF2B5EF4-FFF2-40B4-BE49-F238E27FC236}">
                <a16:creationId xmlns:a16="http://schemas.microsoft.com/office/drawing/2014/main" id="{60D63F2C-EDE6-1840-8ADB-E0ABF39BC2F8}"/>
              </a:ext>
            </a:extLst>
          </p:cNvPr>
          <p:cNvGrpSpPr/>
          <p:nvPr/>
        </p:nvGrpSpPr>
        <p:grpSpPr>
          <a:xfrm>
            <a:off x="2949062" y="5807534"/>
            <a:ext cx="360000" cy="360000"/>
            <a:chOff x="2982515" y="6124256"/>
            <a:chExt cx="360000" cy="360000"/>
          </a:xfrm>
        </p:grpSpPr>
        <p:sp>
          <p:nvSpPr>
            <p:cNvPr id="1418" name="Полилиния 1417">
              <a:extLst>
                <a:ext uri="{FF2B5EF4-FFF2-40B4-BE49-F238E27FC236}">
                  <a16:creationId xmlns:a16="http://schemas.microsoft.com/office/drawing/2014/main" id="{A66CEC9D-9322-2F4B-AD7D-B7B67EFE62A8}"/>
                </a:ext>
              </a:extLst>
            </p:cNvPr>
            <p:cNvSpPr/>
            <p:nvPr/>
          </p:nvSpPr>
          <p:spPr>
            <a:xfrm>
              <a:off x="298251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9" name="Полилиния 1418">
              <a:extLst>
                <a:ext uri="{FF2B5EF4-FFF2-40B4-BE49-F238E27FC236}">
                  <a16:creationId xmlns:a16="http://schemas.microsoft.com/office/drawing/2014/main" id="{E38AEF7E-9FE6-B947-9D87-4968E46FD4EB}"/>
                </a:ext>
              </a:extLst>
            </p:cNvPr>
            <p:cNvSpPr/>
            <p:nvPr/>
          </p:nvSpPr>
          <p:spPr>
            <a:xfrm>
              <a:off x="3192515" y="6349256"/>
              <a:ext cx="89999" cy="89999"/>
            </a:xfrm>
            <a:custGeom>
              <a:avLst/>
              <a:gdLst>
                <a:gd name="connsiteX0" fmla="*/ 4393 w 89999"/>
                <a:gd name="connsiteY0" fmla="*/ 25606 h 89999"/>
                <a:gd name="connsiteX1" fmla="*/ 4393 w 89999"/>
                <a:gd name="connsiteY1" fmla="*/ 4393 h 89999"/>
                <a:gd name="connsiteX2" fmla="*/ 25606 w 89999"/>
                <a:gd name="connsiteY2" fmla="*/ 4393 h 89999"/>
                <a:gd name="connsiteX3" fmla="*/ 85606 w 89999"/>
                <a:gd name="connsiteY3" fmla="*/ 64393 h 89999"/>
                <a:gd name="connsiteX4" fmla="*/ 85606 w 89999"/>
                <a:gd name="connsiteY4" fmla="*/ 85606 h 89999"/>
                <a:gd name="connsiteX5" fmla="*/ 64393 w 89999"/>
                <a:gd name="connsiteY5" fmla="*/ 85606 h 89999"/>
                <a:gd name="connsiteX6" fmla="*/ 4393 w 89999"/>
                <a:gd name="connsiteY6" fmla="*/ 25606 h 8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999" h="89999">
                  <a:moveTo>
                    <a:pt x="4393" y="25606"/>
                  </a:move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6" y="4393"/>
                  </a:cubicBezTo>
                  <a:lnTo>
                    <a:pt x="85606" y="64393"/>
                  </a:lnTo>
                  <a:cubicBezTo>
                    <a:pt x="91464" y="70251"/>
                    <a:pt x="91464" y="79749"/>
                    <a:pt x="85606" y="85606"/>
                  </a:cubicBezTo>
                  <a:cubicBezTo>
                    <a:pt x="79749" y="91464"/>
                    <a:pt x="70251" y="91464"/>
                    <a:pt x="64393" y="85606"/>
                  </a:cubicBezTo>
                  <a:lnTo>
                    <a:pt x="4393" y="25606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0" name="Полилиния 1419">
              <a:extLst>
                <a:ext uri="{FF2B5EF4-FFF2-40B4-BE49-F238E27FC236}">
                  <a16:creationId xmlns:a16="http://schemas.microsoft.com/office/drawing/2014/main" id="{A9ACBDDE-79AA-5447-B4A2-5A950D6871A5}"/>
                </a:ext>
              </a:extLst>
            </p:cNvPr>
            <p:cNvSpPr/>
            <p:nvPr/>
          </p:nvSpPr>
          <p:spPr>
            <a:xfrm>
              <a:off x="3042515" y="6184256"/>
              <a:ext cx="210000" cy="210000"/>
            </a:xfrm>
            <a:custGeom>
              <a:avLst/>
              <a:gdLst>
                <a:gd name="connsiteX0" fmla="*/ 105000 w 210000"/>
                <a:gd name="connsiteY0" fmla="*/ 180000 h 210000"/>
                <a:gd name="connsiteX1" fmla="*/ 180000 w 210000"/>
                <a:gd name="connsiteY1" fmla="*/ 105000 h 210000"/>
                <a:gd name="connsiteX2" fmla="*/ 105000 w 210000"/>
                <a:gd name="connsiteY2" fmla="*/ 30000 h 210000"/>
                <a:gd name="connsiteX3" fmla="*/ 30000 w 210000"/>
                <a:gd name="connsiteY3" fmla="*/ 105000 h 210000"/>
                <a:gd name="connsiteX4" fmla="*/ 105000 w 210000"/>
                <a:gd name="connsiteY4" fmla="*/ 180000 h 210000"/>
                <a:gd name="connsiteX5" fmla="*/ 105000 w 210000"/>
                <a:gd name="connsiteY5" fmla="*/ 210000 h 210000"/>
                <a:gd name="connsiteX6" fmla="*/ 0 w 210000"/>
                <a:gd name="connsiteY6" fmla="*/ 105000 h 210000"/>
                <a:gd name="connsiteX7" fmla="*/ 105000 w 210000"/>
                <a:gd name="connsiteY7" fmla="*/ 0 h 210000"/>
                <a:gd name="connsiteX8" fmla="*/ 210000 w 210000"/>
                <a:gd name="connsiteY8" fmla="*/ 105000 h 210000"/>
                <a:gd name="connsiteX9" fmla="*/ 105000 w 210000"/>
                <a:gd name="connsiteY9" fmla="*/ 21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0000" h="210000">
                  <a:moveTo>
                    <a:pt x="105000" y="180000"/>
                  </a:moveTo>
                  <a:cubicBezTo>
                    <a:pt x="146421" y="180000"/>
                    <a:pt x="180000" y="146421"/>
                    <a:pt x="180000" y="105000"/>
                  </a:cubicBezTo>
                  <a:cubicBezTo>
                    <a:pt x="180000" y="63579"/>
                    <a:pt x="146421" y="30000"/>
                    <a:pt x="105000" y="30000"/>
                  </a:cubicBezTo>
                  <a:cubicBezTo>
                    <a:pt x="63579" y="30000"/>
                    <a:pt x="30000" y="63579"/>
                    <a:pt x="30000" y="105000"/>
                  </a:cubicBezTo>
                  <a:cubicBezTo>
                    <a:pt x="30000" y="146421"/>
                    <a:pt x="63579" y="180000"/>
                    <a:pt x="105000" y="180000"/>
                  </a:cubicBezTo>
                  <a:close/>
                  <a:moveTo>
                    <a:pt x="105000" y="210000"/>
                  </a:moveTo>
                  <a:cubicBezTo>
                    <a:pt x="47010" y="210000"/>
                    <a:pt x="0" y="162990"/>
                    <a:pt x="0" y="105000"/>
                  </a:cubicBezTo>
                  <a:cubicBezTo>
                    <a:pt x="0" y="47010"/>
                    <a:pt x="47010" y="0"/>
                    <a:pt x="105000" y="0"/>
                  </a:cubicBezTo>
                  <a:cubicBezTo>
                    <a:pt x="162990" y="0"/>
                    <a:pt x="210000" y="47010"/>
                    <a:pt x="210000" y="105000"/>
                  </a:cubicBezTo>
                  <a:cubicBezTo>
                    <a:pt x="210000" y="162990"/>
                    <a:pt x="162990" y="210000"/>
                    <a:pt x="105000" y="21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1" name="Полилиния 1420">
              <a:extLst>
                <a:ext uri="{FF2B5EF4-FFF2-40B4-BE49-F238E27FC236}">
                  <a16:creationId xmlns:a16="http://schemas.microsoft.com/office/drawing/2014/main" id="{69914E28-8764-044E-937E-311F385CA087}"/>
                </a:ext>
              </a:extLst>
            </p:cNvPr>
            <p:cNvSpPr/>
            <p:nvPr/>
          </p:nvSpPr>
          <p:spPr>
            <a:xfrm>
              <a:off x="3117515" y="6281756"/>
              <a:ext cx="60000" cy="15000"/>
            </a:xfrm>
            <a:custGeom>
              <a:avLst/>
              <a:gdLst>
                <a:gd name="connsiteX0" fmla="*/ 52500 w 60000"/>
                <a:gd name="connsiteY0" fmla="*/ 0 h 15000"/>
                <a:gd name="connsiteX1" fmla="*/ 60000 w 60000"/>
                <a:gd name="connsiteY1" fmla="*/ 0 h 15000"/>
                <a:gd name="connsiteX2" fmla="*/ 60000 w 60000"/>
                <a:gd name="connsiteY2" fmla="*/ 15000 h 15000"/>
                <a:gd name="connsiteX3" fmla="*/ 52500 w 60000"/>
                <a:gd name="connsiteY3" fmla="*/ 15000 h 15000"/>
                <a:gd name="connsiteX4" fmla="*/ 7500 w 60000"/>
                <a:gd name="connsiteY4" fmla="*/ 15000 h 15000"/>
                <a:gd name="connsiteX5" fmla="*/ 0 w 60000"/>
                <a:gd name="connsiteY5" fmla="*/ 15000 h 15000"/>
                <a:gd name="connsiteX6" fmla="*/ 0 w 60000"/>
                <a:gd name="connsiteY6" fmla="*/ 0 h 15000"/>
                <a:gd name="connsiteX7" fmla="*/ 7500 w 60000"/>
                <a:gd name="connsiteY7" fmla="*/ 0 h 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000" h="15000">
                  <a:moveTo>
                    <a:pt x="52500" y="0"/>
                  </a:moveTo>
                  <a:cubicBezTo>
                    <a:pt x="56642" y="0"/>
                    <a:pt x="60000" y="0"/>
                    <a:pt x="60000" y="0"/>
                  </a:cubicBezTo>
                  <a:lnTo>
                    <a:pt x="60000" y="15000"/>
                  </a:lnTo>
                  <a:cubicBezTo>
                    <a:pt x="60000" y="15000"/>
                    <a:pt x="56642" y="15000"/>
                    <a:pt x="52500" y="15000"/>
                  </a:cubicBezTo>
                  <a:lnTo>
                    <a:pt x="7500" y="15000"/>
                  </a:lnTo>
                  <a:cubicBezTo>
                    <a:pt x="3358" y="15000"/>
                    <a:pt x="0" y="15000"/>
                    <a:pt x="0" y="15000"/>
                  </a:cubicBezTo>
                  <a:lnTo>
                    <a:pt x="0" y="0"/>
                  </a:lnTo>
                  <a:cubicBezTo>
                    <a:pt x="0" y="0"/>
                    <a:pt x="3358" y="0"/>
                    <a:pt x="7500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22" name="Рисунок 350">
            <a:extLst>
              <a:ext uri="{FF2B5EF4-FFF2-40B4-BE49-F238E27FC236}">
                <a16:creationId xmlns:a16="http://schemas.microsoft.com/office/drawing/2014/main" id="{C4A9A9B2-A8CF-914B-B8A6-90AA1D414FBC}"/>
              </a:ext>
            </a:extLst>
          </p:cNvPr>
          <p:cNvGrpSpPr/>
          <p:nvPr/>
        </p:nvGrpSpPr>
        <p:grpSpPr>
          <a:xfrm>
            <a:off x="3702214" y="5807534"/>
            <a:ext cx="360000" cy="360000"/>
            <a:chOff x="3735667" y="6124256"/>
            <a:chExt cx="360000" cy="360000"/>
          </a:xfrm>
        </p:grpSpPr>
        <p:sp>
          <p:nvSpPr>
            <p:cNvPr id="1423" name="Полилиния 1422">
              <a:extLst>
                <a:ext uri="{FF2B5EF4-FFF2-40B4-BE49-F238E27FC236}">
                  <a16:creationId xmlns:a16="http://schemas.microsoft.com/office/drawing/2014/main" id="{D1CF9504-C319-A14F-A82E-C43F67AF10EB}"/>
                </a:ext>
              </a:extLst>
            </p:cNvPr>
            <p:cNvSpPr/>
            <p:nvPr/>
          </p:nvSpPr>
          <p:spPr>
            <a:xfrm>
              <a:off x="3735667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4" name="Полилиния 1423">
              <a:extLst>
                <a:ext uri="{FF2B5EF4-FFF2-40B4-BE49-F238E27FC236}">
                  <a16:creationId xmlns:a16="http://schemas.microsoft.com/office/drawing/2014/main" id="{73B37CAC-67EA-3D49-BF54-1576230D9DAB}"/>
                </a:ext>
              </a:extLst>
            </p:cNvPr>
            <p:cNvSpPr/>
            <p:nvPr/>
          </p:nvSpPr>
          <p:spPr>
            <a:xfrm>
              <a:off x="3945667" y="6349256"/>
              <a:ext cx="89999" cy="89999"/>
            </a:xfrm>
            <a:custGeom>
              <a:avLst/>
              <a:gdLst>
                <a:gd name="connsiteX0" fmla="*/ 4393 w 89999"/>
                <a:gd name="connsiteY0" fmla="*/ 25606 h 89999"/>
                <a:gd name="connsiteX1" fmla="*/ 4393 w 89999"/>
                <a:gd name="connsiteY1" fmla="*/ 4393 h 89999"/>
                <a:gd name="connsiteX2" fmla="*/ 25606 w 89999"/>
                <a:gd name="connsiteY2" fmla="*/ 4393 h 89999"/>
                <a:gd name="connsiteX3" fmla="*/ 85606 w 89999"/>
                <a:gd name="connsiteY3" fmla="*/ 64393 h 89999"/>
                <a:gd name="connsiteX4" fmla="*/ 85606 w 89999"/>
                <a:gd name="connsiteY4" fmla="*/ 85606 h 89999"/>
                <a:gd name="connsiteX5" fmla="*/ 64393 w 89999"/>
                <a:gd name="connsiteY5" fmla="*/ 85606 h 89999"/>
                <a:gd name="connsiteX6" fmla="*/ 4393 w 89999"/>
                <a:gd name="connsiteY6" fmla="*/ 25606 h 8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999" h="89999">
                  <a:moveTo>
                    <a:pt x="4393" y="25606"/>
                  </a:moveTo>
                  <a:cubicBezTo>
                    <a:pt x="-1464" y="19749"/>
                    <a:pt x="-1464" y="10251"/>
                    <a:pt x="4393" y="4393"/>
                  </a:cubicBezTo>
                  <a:cubicBezTo>
                    <a:pt x="10251" y="-1464"/>
                    <a:pt x="19749" y="-1464"/>
                    <a:pt x="25606" y="4393"/>
                  </a:cubicBezTo>
                  <a:lnTo>
                    <a:pt x="85606" y="64393"/>
                  </a:lnTo>
                  <a:cubicBezTo>
                    <a:pt x="91464" y="70251"/>
                    <a:pt x="91464" y="79749"/>
                    <a:pt x="85606" y="85606"/>
                  </a:cubicBezTo>
                  <a:cubicBezTo>
                    <a:pt x="79749" y="91464"/>
                    <a:pt x="70251" y="91464"/>
                    <a:pt x="64393" y="85606"/>
                  </a:cubicBezTo>
                  <a:lnTo>
                    <a:pt x="4393" y="25606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5" name="Полилиния 1424">
              <a:extLst>
                <a:ext uri="{FF2B5EF4-FFF2-40B4-BE49-F238E27FC236}">
                  <a16:creationId xmlns:a16="http://schemas.microsoft.com/office/drawing/2014/main" id="{E854A719-2580-014F-A073-8FCB8A35EFB2}"/>
                </a:ext>
              </a:extLst>
            </p:cNvPr>
            <p:cNvSpPr/>
            <p:nvPr/>
          </p:nvSpPr>
          <p:spPr>
            <a:xfrm>
              <a:off x="3795667" y="6184256"/>
              <a:ext cx="210000" cy="210000"/>
            </a:xfrm>
            <a:custGeom>
              <a:avLst/>
              <a:gdLst>
                <a:gd name="connsiteX0" fmla="*/ 105000 w 210000"/>
                <a:gd name="connsiteY0" fmla="*/ 180000 h 210000"/>
                <a:gd name="connsiteX1" fmla="*/ 180000 w 210000"/>
                <a:gd name="connsiteY1" fmla="*/ 105000 h 210000"/>
                <a:gd name="connsiteX2" fmla="*/ 105000 w 210000"/>
                <a:gd name="connsiteY2" fmla="*/ 30000 h 210000"/>
                <a:gd name="connsiteX3" fmla="*/ 30000 w 210000"/>
                <a:gd name="connsiteY3" fmla="*/ 105000 h 210000"/>
                <a:gd name="connsiteX4" fmla="*/ 105000 w 210000"/>
                <a:gd name="connsiteY4" fmla="*/ 180000 h 210000"/>
                <a:gd name="connsiteX5" fmla="*/ 105000 w 210000"/>
                <a:gd name="connsiteY5" fmla="*/ 210000 h 210000"/>
                <a:gd name="connsiteX6" fmla="*/ 0 w 210000"/>
                <a:gd name="connsiteY6" fmla="*/ 105000 h 210000"/>
                <a:gd name="connsiteX7" fmla="*/ 105000 w 210000"/>
                <a:gd name="connsiteY7" fmla="*/ 0 h 210000"/>
                <a:gd name="connsiteX8" fmla="*/ 210000 w 210000"/>
                <a:gd name="connsiteY8" fmla="*/ 105000 h 210000"/>
                <a:gd name="connsiteX9" fmla="*/ 105000 w 210000"/>
                <a:gd name="connsiteY9" fmla="*/ 21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0000" h="210000">
                  <a:moveTo>
                    <a:pt x="105000" y="180000"/>
                  </a:moveTo>
                  <a:cubicBezTo>
                    <a:pt x="146421" y="180000"/>
                    <a:pt x="180000" y="146421"/>
                    <a:pt x="180000" y="105000"/>
                  </a:cubicBezTo>
                  <a:cubicBezTo>
                    <a:pt x="180000" y="63579"/>
                    <a:pt x="146421" y="30000"/>
                    <a:pt x="105000" y="30000"/>
                  </a:cubicBezTo>
                  <a:cubicBezTo>
                    <a:pt x="63579" y="30000"/>
                    <a:pt x="30000" y="63579"/>
                    <a:pt x="30000" y="105000"/>
                  </a:cubicBezTo>
                  <a:cubicBezTo>
                    <a:pt x="30000" y="146421"/>
                    <a:pt x="63579" y="180000"/>
                    <a:pt x="105000" y="180000"/>
                  </a:cubicBezTo>
                  <a:close/>
                  <a:moveTo>
                    <a:pt x="105000" y="210000"/>
                  </a:moveTo>
                  <a:cubicBezTo>
                    <a:pt x="47010" y="210000"/>
                    <a:pt x="0" y="162990"/>
                    <a:pt x="0" y="105000"/>
                  </a:cubicBezTo>
                  <a:cubicBezTo>
                    <a:pt x="0" y="47010"/>
                    <a:pt x="47010" y="0"/>
                    <a:pt x="105000" y="0"/>
                  </a:cubicBezTo>
                  <a:cubicBezTo>
                    <a:pt x="162990" y="0"/>
                    <a:pt x="210000" y="47010"/>
                    <a:pt x="210000" y="105000"/>
                  </a:cubicBezTo>
                  <a:cubicBezTo>
                    <a:pt x="210000" y="162990"/>
                    <a:pt x="162990" y="210000"/>
                    <a:pt x="105000" y="21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6" name="Полилиния 1425">
              <a:extLst>
                <a:ext uri="{FF2B5EF4-FFF2-40B4-BE49-F238E27FC236}">
                  <a16:creationId xmlns:a16="http://schemas.microsoft.com/office/drawing/2014/main" id="{BF01F290-1E3F-8246-9C07-A866E98793B1}"/>
                </a:ext>
              </a:extLst>
            </p:cNvPr>
            <p:cNvSpPr/>
            <p:nvPr/>
          </p:nvSpPr>
          <p:spPr>
            <a:xfrm>
              <a:off x="3870667" y="6259256"/>
              <a:ext cx="60000" cy="60000"/>
            </a:xfrm>
            <a:custGeom>
              <a:avLst/>
              <a:gdLst>
                <a:gd name="connsiteX0" fmla="*/ 22500 w 60000"/>
                <a:gd name="connsiteY0" fmla="*/ 22500 h 60000"/>
                <a:gd name="connsiteX1" fmla="*/ 22500 w 60000"/>
                <a:gd name="connsiteY1" fmla="*/ 7500 h 60000"/>
                <a:gd name="connsiteX2" fmla="*/ 30000 w 60000"/>
                <a:gd name="connsiteY2" fmla="*/ 0 h 60000"/>
                <a:gd name="connsiteX3" fmla="*/ 37500 w 60000"/>
                <a:gd name="connsiteY3" fmla="*/ 7500 h 60000"/>
                <a:gd name="connsiteX4" fmla="*/ 37500 w 60000"/>
                <a:gd name="connsiteY4" fmla="*/ 22500 h 60000"/>
                <a:gd name="connsiteX5" fmla="*/ 52500 w 60000"/>
                <a:gd name="connsiteY5" fmla="*/ 22500 h 60000"/>
                <a:gd name="connsiteX6" fmla="*/ 60000 w 60000"/>
                <a:gd name="connsiteY6" fmla="*/ 30000 h 60000"/>
                <a:gd name="connsiteX7" fmla="*/ 52500 w 60000"/>
                <a:gd name="connsiteY7" fmla="*/ 37500 h 60000"/>
                <a:gd name="connsiteX8" fmla="*/ 37500 w 60000"/>
                <a:gd name="connsiteY8" fmla="*/ 37500 h 60000"/>
                <a:gd name="connsiteX9" fmla="*/ 37500 w 60000"/>
                <a:gd name="connsiteY9" fmla="*/ 52500 h 60000"/>
                <a:gd name="connsiteX10" fmla="*/ 30000 w 60000"/>
                <a:gd name="connsiteY10" fmla="*/ 60000 h 60000"/>
                <a:gd name="connsiteX11" fmla="*/ 22500 w 60000"/>
                <a:gd name="connsiteY11" fmla="*/ 52500 h 60000"/>
                <a:gd name="connsiteX12" fmla="*/ 22500 w 60000"/>
                <a:gd name="connsiteY12" fmla="*/ 37500 h 60000"/>
                <a:gd name="connsiteX13" fmla="*/ 7500 w 60000"/>
                <a:gd name="connsiteY13" fmla="*/ 37500 h 60000"/>
                <a:gd name="connsiteX14" fmla="*/ 0 w 60000"/>
                <a:gd name="connsiteY14" fmla="*/ 30000 h 60000"/>
                <a:gd name="connsiteX15" fmla="*/ 7500 w 60000"/>
                <a:gd name="connsiteY15" fmla="*/ 22500 h 60000"/>
                <a:gd name="connsiteX16" fmla="*/ 22500 w 60000"/>
                <a:gd name="connsiteY16" fmla="*/ 22500 h 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000" h="60000">
                  <a:moveTo>
                    <a:pt x="22500" y="22500"/>
                  </a:moveTo>
                  <a:lnTo>
                    <a:pt x="22500" y="7500"/>
                  </a:lnTo>
                  <a:cubicBezTo>
                    <a:pt x="22500" y="3358"/>
                    <a:pt x="25858" y="0"/>
                    <a:pt x="30000" y="0"/>
                  </a:cubicBezTo>
                  <a:cubicBezTo>
                    <a:pt x="34142" y="0"/>
                    <a:pt x="37500" y="3358"/>
                    <a:pt x="37500" y="7500"/>
                  </a:cubicBezTo>
                  <a:lnTo>
                    <a:pt x="37500" y="22500"/>
                  </a:lnTo>
                  <a:lnTo>
                    <a:pt x="52500" y="22500"/>
                  </a:lnTo>
                  <a:cubicBezTo>
                    <a:pt x="56642" y="22500"/>
                    <a:pt x="60000" y="25858"/>
                    <a:pt x="60000" y="30000"/>
                  </a:cubicBezTo>
                  <a:cubicBezTo>
                    <a:pt x="60000" y="34142"/>
                    <a:pt x="56642" y="37500"/>
                    <a:pt x="52500" y="37500"/>
                  </a:cubicBezTo>
                  <a:lnTo>
                    <a:pt x="37500" y="37500"/>
                  </a:lnTo>
                  <a:lnTo>
                    <a:pt x="37500" y="52500"/>
                  </a:lnTo>
                  <a:cubicBezTo>
                    <a:pt x="37500" y="56642"/>
                    <a:pt x="34142" y="60000"/>
                    <a:pt x="30000" y="60000"/>
                  </a:cubicBezTo>
                  <a:cubicBezTo>
                    <a:pt x="25858" y="60000"/>
                    <a:pt x="22500" y="56642"/>
                    <a:pt x="22500" y="52500"/>
                  </a:cubicBezTo>
                  <a:lnTo>
                    <a:pt x="22500" y="37500"/>
                  </a:lnTo>
                  <a:lnTo>
                    <a:pt x="7500" y="37500"/>
                  </a:lnTo>
                  <a:cubicBezTo>
                    <a:pt x="3358" y="37500"/>
                    <a:pt x="0" y="34142"/>
                    <a:pt x="0" y="30000"/>
                  </a:cubicBezTo>
                  <a:cubicBezTo>
                    <a:pt x="0" y="25858"/>
                    <a:pt x="3358" y="22500"/>
                    <a:pt x="7500" y="22500"/>
                  </a:cubicBezTo>
                  <a:lnTo>
                    <a:pt x="22500" y="225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27" name="Рисунок 351">
            <a:extLst>
              <a:ext uri="{FF2B5EF4-FFF2-40B4-BE49-F238E27FC236}">
                <a16:creationId xmlns:a16="http://schemas.microsoft.com/office/drawing/2014/main" id="{C1326FDA-30B7-1E46-A118-1ED3D58901FC}"/>
              </a:ext>
            </a:extLst>
          </p:cNvPr>
          <p:cNvGrpSpPr/>
          <p:nvPr/>
        </p:nvGrpSpPr>
        <p:grpSpPr>
          <a:xfrm>
            <a:off x="4455366" y="5807534"/>
            <a:ext cx="360000" cy="360000"/>
            <a:chOff x="4488819" y="6124256"/>
            <a:chExt cx="360000" cy="360000"/>
          </a:xfrm>
        </p:grpSpPr>
        <p:sp>
          <p:nvSpPr>
            <p:cNvPr id="1428" name="Полилиния 1427">
              <a:extLst>
                <a:ext uri="{FF2B5EF4-FFF2-40B4-BE49-F238E27FC236}">
                  <a16:creationId xmlns:a16="http://schemas.microsoft.com/office/drawing/2014/main" id="{BA241779-7C32-0240-BD70-7FB4588E7F5A}"/>
                </a:ext>
              </a:extLst>
            </p:cNvPr>
            <p:cNvSpPr/>
            <p:nvPr/>
          </p:nvSpPr>
          <p:spPr>
            <a:xfrm>
              <a:off x="448881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9" name="Полилиния 1428">
              <a:extLst>
                <a:ext uri="{FF2B5EF4-FFF2-40B4-BE49-F238E27FC236}">
                  <a16:creationId xmlns:a16="http://schemas.microsoft.com/office/drawing/2014/main" id="{AD210843-6DD0-464E-9587-84A7A58A127C}"/>
                </a:ext>
              </a:extLst>
            </p:cNvPr>
            <p:cNvSpPr/>
            <p:nvPr/>
          </p:nvSpPr>
          <p:spPr>
            <a:xfrm>
              <a:off x="4557599" y="6199256"/>
              <a:ext cx="246219" cy="252198"/>
            </a:xfrm>
            <a:custGeom>
              <a:avLst/>
              <a:gdLst>
                <a:gd name="connsiteX0" fmla="*/ 0 w 246219"/>
                <a:gd name="connsiteY0" fmla="*/ 116724 h 252198"/>
                <a:gd name="connsiteX1" fmla="*/ 72444 w 246219"/>
                <a:gd name="connsiteY1" fmla="*/ 97313 h 252198"/>
                <a:gd name="connsiteX2" fmla="*/ 101294 w 246219"/>
                <a:gd name="connsiteY2" fmla="*/ 204983 h 252198"/>
                <a:gd name="connsiteX3" fmla="*/ 74778 w 246219"/>
                <a:gd name="connsiteY3" fmla="*/ 250911 h 252198"/>
                <a:gd name="connsiteX4" fmla="*/ 28850 w 246219"/>
                <a:gd name="connsiteY4" fmla="*/ 224394 h 252198"/>
                <a:gd name="connsiteX5" fmla="*/ 0 w 246219"/>
                <a:gd name="connsiteY5" fmla="*/ 116724 h 252198"/>
                <a:gd name="connsiteX6" fmla="*/ 116959 w 246219"/>
                <a:gd name="connsiteY6" fmla="*/ 141174 h 252198"/>
                <a:gd name="connsiteX7" fmla="*/ 139922 w 246219"/>
                <a:gd name="connsiteY7" fmla="*/ 154433 h 252198"/>
                <a:gd name="connsiteX8" fmla="*/ 141865 w 246219"/>
                <a:gd name="connsiteY8" fmla="*/ 161676 h 252198"/>
                <a:gd name="connsiteX9" fmla="*/ 128606 w 246219"/>
                <a:gd name="connsiteY9" fmla="*/ 184639 h 252198"/>
                <a:gd name="connsiteX10" fmla="*/ 105641 w 246219"/>
                <a:gd name="connsiteY10" fmla="*/ 171383 h 252198"/>
                <a:gd name="connsiteX11" fmla="*/ 103700 w 246219"/>
                <a:gd name="connsiteY11" fmla="*/ 164138 h 252198"/>
                <a:gd name="connsiteX12" fmla="*/ 116959 w 246219"/>
                <a:gd name="connsiteY12" fmla="*/ 141174 h 252198"/>
                <a:gd name="connsiteX13" fmla="*/ 201220 w 246219"/>
                <a:gd name="connsiteY13" fmla="*/ 15000 h 252198"/>
                <a:gd name="connsiteX14" fmla="*/ 246220 w 246219"/>
                <a:gd name="connsiteY14" fmla="*/ 0 h 252198"/>
                <a:gd name="connsiteX15" fmla="*/ 246220 w 246219"/>
                <a:gd name="connsiteY15" fmla="*/ 105000 h 252198"/>
                <a:gd name="connsiteX16" fmla="*/ 201220 w 246219"/>
                <a:gd name="connsiteY16" fmla="*/ 90000 h 252198"/>
                <a:gd name="connsiteX17" fmla="*/ 201220 w 246219"/>
                <a:gd name="connsiteY17" fmla="*/ 15000 h 252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6219" h="252198">
                  <a:moveTo>
                    <a:pt x="0" y="116724"/>
                  </a:moveTo>
                  <a:lnTo>
                    <a:pt x="72444" y="97313"/>
                  </a:lnTo>
                  <a:lnTo>
                    <a:pt x="101294" y="204983"/>
                  </a:lnTo>
                  <a:cubicBezTo>
                    <a:pt x="106655" y="224988"/>
                    <a:pt x="94783" y="245552"/>
                    <a:pt x="74778" y="250911"/>
                  </a:cubicBezTo>
                  <a:cubicBezTo>
                    <a:pt x="54773" y="256272"/>
                    <a:pt x="34211" y="244400"/>
                    <a:pt x="28850" y="224394"/>
                  </a:cubicBezTo>
                  <a:lnTo>
                    <a:pt x="0" y="116724"/>
                  </a:lnTo>
                  <a:close/>
                  <a:moveTo>
                    <a:pt x="116959" y="141174"/>
                  </a:moveTo>
                  <a:cubicBezTo>
                    <a:pt x="126961" y="138494"/>
                    <a:pt x="137243" y="144429"/>
                    <a:pt x="139922" y="154433"/>
                  </a:cubicBezTo>
                  <a:lnTo>
                    <a:pt x="141865" y="161676"/>
                  </a:lnTo>
                  <a:cubicBezTo>
                    <a:pt x="144544" y="171679"/>
                    <a:pt x="138608" y="181960"/>
                    <a:pt x="128606" y="184639"/>
                  </a:cubicBezTo>
                  <a:cubicBezTo>
                    <a:pt x="118603" y="187320"/>
                    <a:pt x="108322" y="181385"/>
                    <a:pt x="105641" y="171383"/>
                  </a:cubicBezTo>
                  <a:lnTo>
                    <a:pt x="103700" y="164138"/>
                  </a:lnTo>
                  <a:cubicBezTo>
                    <a:pt x="101021" y="154136"/>
                    <a:pt x="106957" y="143855"/>
                    <a:pt x="116959" y="141174"/>
                  </a:cubicBezTo>
                  <a:close/>
                  <a:moveTo>
                    <a:pt x="201220" y="15000"/>
                  </a:moveTo>
                  <a:lnTo>
                    <a:pt x="246220" y="0"/>
                  </a:lnTo>
                  <a:lnTo>
                    <a:pt x="246220" y="105000"/>
                  </a:lnTo>
                  <a:lnTo>
                    <a:pt x="201220" y="90000"/>
                  </a:lnTo>
                  <a:lnTo>
                    <a:pt x="201220" y="1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430" name="Полилиния 1429">
              <a:extLst>
                <a:ext uri="{FF2B5EF4-FFF2-40B4-BE49-F238E27FC236}">
                  <a16:creationId xmlns:a16="http://schemas.microsoft.com/office/drawing/2014/main" id="{D2BEF3CD-BB96-C240-AB62-FD58C991D6EF}"/>
                </a:ext>
              </a:extLst>
            </p:cNvPr>
            <p:cNvSpPr/>
            <p:nvPr/>
          </p:nvSpPr>
          <p:spPr>
            <a:xfrm>
              <a:off x="4533819" y="6195204"/>
              <a:ext cx="210000" cy="133797"/>
            </a:xfrm>
            <a:custGeom>
              <a:avLst/>
              <a:gdLst>
                <a:gd name="connsiteX0" fmla="*/ 81671 w 210000"/>
                <a:gd name="connsiteY0" fmla="*/ 719 h 133797"/>
                <a:gd name="connsiteX1" fmla="*/ 210000 w 210000"/>
                <a:gd name="connsiteY1" fmla="*/ 19052 h 133797"/>
                <a:gd name="connsiteX2" fmla="*/ 210000 w 210000"/>
                <a:gd name="connsiteY2" fmla="*/ 94052 h 133797"/>
                <a:gd name="connsiteX3" fmla="*/ 79326 w 210000"/>
                <a:gd name="connsiteY3" fmla="*/ 131387 h 133797"/>
                <a:gd name="connsiteX4" fmla="*/ 2394 w 210000"/>
                <a:gd name="connsiteY4" fmla="*/ 88647 h 133797"/>
                <a:gd name="connsiteX5" fmla="*/ 0 w 210000"/>
                <a:gd name="connsiteY5" fmla="*/ 71552 h 133797"/>
                <a:gd name="connsiteX6" fmla="*/ 71552 w 210000"/>
                <a:gd name="connsiteY6" fmla="*/ 0 h 133797"/>
                <a:gd name="connsiteX7" fmla="*/ 81671 w 210000"/>
                <a:gd name="connsiteY7" fmla="*/ 719 h 133797"/>
                <a:gd name="connsiteX8" fmla="*/ 60000 w 210000"/>
                <a:gd name="connsiteY8" fmla="*/ 94052 h 133797"/>
                <a:gd name="connsiteX9" fmla="*/ 90000 w 210000"/>
                <a:gd name="connsiteY9" fmla="*/ 64052 h 133797"/>
                <a:gd name="connsiteX10" fmla="*/ 60000 w 210000"/>
                <a:gd name="connsiteY10" fmla="*/ 34052 h 133797"/>
                <a:gd name="connsiteX11" fmla="*/ 30000 w 210000"/>
                <a:gd name="connsiteY11" fmla="*/ 64052 h 133797"/>
                <a:gd name="connsiteX12" fmla="*/ 60000 w 210000"/>
                <a:gd name="connsiteY12" fmla="*/ 94052 h 133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000" h="133797">
                  <a:moveTo>
                    <a:pt x="81671" y="719"/>
                  </a:moveTo>
                  <a:lnTo>
                    <a:pt x="210000" y="19052"/>
                  </a:lnTo>
                  <a:lnTo>
                    <a:pt x="210000" y="94052"/>
                  </a:lnTo>
                  <a:lnTo>
                    <a:pt x="79326" y="131387"/>
                  </a:lnTo>
                  <a:cubicBezTo>
                    <a:pt x="46280" y="140829"/>
                    <a:pt x="11836" y="121694"/>
                    <a:pt x="2394" y="88647"/>
                  </a:cubicBezTo>
                  <a:cubicBezTo>
                    <a:pt x="806" y="83088"/>
                    <a:pt x="0" y="77334"/>
                    <a:pt x="0" y="71552"/>
                  </a:cubicBezTo>
                  <a:cubicBezTo>
                    <a:pt x="0" y="32035"/>
                    <a:pt x="32035" y="0"/>
                    <a:pt x="71552" y="0"/>
                  </a:cubicBezTo>
                  <a:cubicBezTo>
                    <a:pt x="74938" y="0"/>
                    <a:pt x="78319" y="240"/>
                    <a:pt x="81671" y="719"/>
                  </a:cubicBezTo>
                  <a:close/>
                  <a:moveTo>
                    <a:pt x="60000" y="94052"/>
                  </a:moveTo>
                  <a:cubicBezTo>
                    <a:pt x="76569" y="94052"/>
                    <a:pt x="90000" y="80621"/>
                    <a:pt x="90000" y="64052"/>
                  </a:cubicBezTo>
                  <a:cubicBezTo>
                    <a:pt x="90000" y="47483"/>
                    <a:pt x="76569" y="34052"/>
                    <a:pt x="60000" y="34052"/>
                  </a:cubicBezTo>
                  <a:cubicBezTo>
                    <a:pt x="43431" y="34052"/>
                    <a:pt x="30000" y="47483"/>
                    <a:pt x="30000" y="64052"/>
                  </a:cubicBezTo>
                  <a:cubicBezTo>
                    <a:pt x="30000" y="80621"/>
                    <a:pt x="43431" y="94052"/>
                    <a:pt x="60000" y="94052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31" name="Рисунок 352">
            <a:extLst>
              <a:ext uri="{FF2B5EF4-FFF2-40B4-BE49-F238E27FC236}">
                <a16:creationId xmlns:a16="http://schemas.microsoft.com/office/drawing/2014/main" id="{3EFE8192-2448-1447-872A-99E131828CF1}"/>
              </a:ext>
            </a:extLst>
          </p:cNvPr>
          <p:cNvGrpSpPr/>
          <p:nvPr/>
        </p:nvGrpSpPr>
        <p:grpSpPr>
          <a:xfrm>
            <a:off x="5208518" y="5807534"/>
            <a:ext cx="360000" cy="360000"/>
            <a:chOff x="5241971" y="6124256"/>
            <a:chExt cx="360000" cy="360000"/>
          </a:xfrm>
        </p:grpSpPr>
        <p:sp>
          <p:nvSpPr>
            <p:cNvPr id="1432" name="Полилиния 1431">
              <a:extLst>
                <a:ext uri="{FF2B5EF4-FFF2-40B4-BE49-F238E27FC236}">
                  <a16:creationId xmlns:a16="http://schemas.microsoft.com/office/drawing/2014/main" id="{B5D664E8-FD05-7C48-8167-78E376D888F0}"/>
                </a:ext>
              </a:extLst>
            </p:cNvPr>
            <p:cNvSpPr/>
            <p:nvPr/>
          </p:nvSpPr>
          <p:spPr>
            <a:xfrm>
              <a:off x="524197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3" name="Полилиния 1432">
              <a:extLst>
                <a:ext uri="{FF2B5EF4-FFF2-40B4-BE49-F238E27FC236}">
                  <a16:creationId xmlns:a16="http://schemas.microsoft.com/office/drawing/2014/main" id="{619A3A80-720B-0A4C-9B9F-FF3DC60574A4}"/>
                </a:ext>
              </a:extLst>
            </p:cNvPr>
            <p:cNvSpPr/>
            <p:nvPr/>
          </p:nvSpPr>
          <p:spPr>
            <a:xfrm>
              <a:off x="5301971" y="6184256"/>
              <a:ext cx="240000" cy="105000"/>
            </a:xfrm>
            <a:custGeom>
              <a:avLst/>
              <a:gdLst>
                <a:gd name="connsiteX0" fmla="*/ 22500 w 240000"/>
                <a:gd name="connsiteY0" fmla="*/ 0 h 105000"/>
                <a:gd name="connsiteX1" fmla="*/ 217500 w 240000"/>
                <a:gd name="connsiteY1" fmla="*/ 0 h 105000"/>
                <a:gd name="connsiteX2" fmla="*/ 240000 w 240000"/>
                <a:gd name="connsiteY2" fmla="*/ 22500 h 105000"/>
                <a:gd name="connsiteX3" fmla="*/ 240000 w 240000"/>
                <a:gd name="connsiteY3" fmla="*/ 82500 h 105000"/>
                <a:gd name="connsiteX4" fmla="*/ 217500 w 240000"/>
                <a:gd name="connsiteY4" fmla="*/ 105000 h 105000"/>
                <a:gd name="connsiteX5" fmla="*/ 22500 w 240000"/>
                <a:gd name="connsiteY5" fmla="*/ 105000 h 105000"/>
                <a:gd name="connsiteX6" fmla="*/ 0 w 240000"/>
                <a:gd name="connsiteY6" fmla="*/ 82500 h 105000"/>
                <a:gd name="connsiteX7" fmla="*/ 0 w 240000"/>
                <a:gd name="connsiteY7" fmla="*/ 22500 h 105000"/>
                <a:gd name="connsiteX8" fmla="*/ 22500 w 240000"/>
                <a:gd name="connsiteY8" fmla="*/ 0 h 105000"/>
                <a:gd name="connsiteX9" fmla="*/ 105000 w 240000"/>
                <a:gd name="connsiteY9" fmla="*/ 30000 h 105000"/>
                <a:gd name="connsiteX10" fmla="*/ 90000 w 240000"/>
                <a:gd name="connsiteY10" fmla="*/ 45000 h 105000"/>
                <a:gd name="connsiteX11" fmla="*/ 105000 w 240000"/>
                <a:gd name="connsiteY11" fmla="*/ 60000 h 105000"/>
                <a:gd name="connsiteX12" fmla="*/ 135000 w 240000"/>
                <a:gd name="connsiteY12" fmla="*/ 60000 h 105000"/>
                <a:gd name="connsiteX13" fmla="*/ 150000 w 240000"/>
                <a:gd name="connsiteY13" fmla="*/ 45000 h 105000"/>
                <a:gd name="connsiteX14" fmla="*/ 135000 w 240000"/>
                <a:gd name="connsiteY14" fmla="*/ 30000 h 105000"/>
                <a:gd name="connsiteX15" fmla="*/ 105000 w 240000"/>
                <a:gd name="connsiteY15" fmla="*/ 3000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0000" h="105000">
                  <a:moveTo>
                    <a:pt x="22500" y="0"/>
                  </a:moveTo>
                  <a:lnTo>
                    <a:pt x="217500" y="0"/>
                  </a:lnTo>
                  <a:cubicBezTo>
                    <a:pt x="229926" y="0"/>
                    <a:pt x="240000" y="10074"/>
                    <a:pt x="240000" y="22500"/>
                  </a:cubicBezTo>
                  <a:lnTo>
                    <a:pt x="240000" y="82500"/>
                  </a:lnTo>
                  <a:cubicBezTo>
                    <a:pt x="240000" y="94926"/>
                    <a:pt x="229926" y="105000"/>
                    <a:pt x="217500" y="105000"/>
                  </a:cubicBezTo>
                  <a:lnTo>
                    <a:pt x="22500" y="105000"/>
                  </a:lnTo>
                  <a:cubicBezTo>
                    <a:pt x="10074" y="105000"/>
                    <a:pt x="0" y="94926"/>
                    <a:pt x="0" y="82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105000" y="30000"/>
                  </a:moveTo>
                  <a:cubicBezTo>
                    <a:pt x="96715" y="30000"/>
                    <a:pt x="90000" y="36716"/>
                    <a:pt x="90000" y="45000"/>
                  </a:cubicBezTo>
                  <a:cubicBezTo>
                    <a:pt x="90000" y="53284"/>
                    <a:pt x="96715" y="60000"/>
                    <a:pt x="105000" y="60000"/>
                  </a:cubicBezTo>
                  <a:lnTo>
                    <a:pt x="135000" y="60000"/>
                  </a:lnTo>
                  <a:cubicBezTo>
                    <a:pt x="143285" y="60000"/>
                    <a:pt x="150000" y="53284"/>
                    <a:pt x="150000" y="45000"/>
                  </a:cubicBezTo>
                  <a:cubicBezTo>
                    <a:pt x="150000" y="36716"/>
                    <a:pt x="143285" y="30000"/>
                    <a:pt x="135000" y="30000"/>
                  </a:cubicBezTo>
                  <a:lnTo>
                    <a:pt x="105000" y="3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4" name="Полилиния 1433">
              <a:extLst>
                <a:ext uri="{FF2B5EF4-FFF2-40B4-BE49-F238E27FC236}">
                  <a16:creationId xmlns:a16="http://schemas.microsoft.com/office/drawing/2014/main" id="{5E0537C9-FFE2-EB45-9D74-F266A7208A9E}"/>
                </a:ext>
              </a:extLst>
            </p:cNvPr>
            <p:cNvSpPr/>
            <p:nvPr/>
          </p:nvSpPr>
          <p:spPr>
            <a:xfrm>
              <a:off x="5301971" y="6319256"/>
              <a:ext cx="240000" cy="105000"/>
            </a:xfrm>
            <a:custGeom>
              <a:avLst/>
              <a:gdLst>
                <a:gd name="connsiteX0" fmla="*/ 22500 w 240000"/>
                <a:gd name="connsiteY0" fmla="*/ 0 h 105000"/>
                <a:gd name="connsiteX1" fmla="*/ 217500 w 240000"/>
                <a:gd name="connsiteY1" fmla="*/ 0 h 105000"/>
                <a:gd name="connsiteX2" fmla="*/ 240000 w 240000"/>
                <a:gd name="connsiteY2" fmla="*/ 22500 h 105000"/>
                <a:gd name="connsiteX3" fmla="*/ 240000 w 240000"/>
                <a:gd name="connsiteY3" fmla="*/ 82500 h 105000"/>
                <a:gd name="connsiteX4" fmla="*/ 217500 w 240000"/>
                <a:gd name="connsiteY4" fmla="*/ 105000 h 105000"/>
                <a:gd name="connsiteX5" fmla="*/ 22500 w 240000"/>
                <a:gd name="connsiteY5" fmla="*/ 105000 h 105000"/>
                <a:gd name="connsiteX6" fmla="*/ 0 w 240000"/>
                <a:gd name="connsiteY6" fmla="*/ 82500 h 105000"/>
                <a:gd name="connsiteX7" fmla="*/ 0 w 240000"/>
                <a:gd name="connsiteY7" fmla="*/ 22500 h 105000"/>
                <a:gd name="connsiteX8" fmla="*/ 22500 w 240000"/>
                <a:gd name="connsiteY8" fmla="*/ 0 h 105000"/>
                <a:gd name="connsiteX9" fmla="*/ 105000 w 240000"/>
                <a:gd name="connsiteY9" fmla="*/ 30000 h 105000"/>
                <a:gd name="connsiteX10" fmla="*/ 90000 w 240000"/>
                <a:gd name="connsiteY10" fmla="*/ 45000 h 105000"/>
                <a:gd name="connsiteX11" fmla="*/ 105000 w 240000"/>
                <a:gd name="connsiteY11" fmla="*/ 60000 h 105000"/>
                <a:gd name="connsiteX12" fmla="*/ 135000 w 240000"/>
                <a:gd name="connsiteY12" fmla="*/ 60000 h 105000"/>
                <a:gd name="connsiteX13" fmla="*/ 150000 w 240000"/>
                <a:gd name="connsiteY13" fmla="*/ 45000 h 105000"/>
                <a:gd name="connsiteX14" fmla="*/ 135000 w 240000"/>
                <a:gd name="connsiteY14" fmla="*/ 30000 h 105000"/>
                <a:gd name="connsiteX15" fmla="*/ 105000 w 240000"/>
                <a:gd name="connsiteY15" fmla="*/ 3000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0000" h="105000">
                  <a:moveTo>
                    <a:pt x="22500" y="0"/>
                  </a:moveTo>
                  <a:lnTo>
                    <a:pt x="217500" y="0"/>
                  </a:lnTo>
                  <a:cubicBezTo>
                    <a:pt x="229926" y="0"/>
                    <a:pt x="240000" y="10074"/>
                    <a:pt x="240000" y="22500"/>
                  </a:cubicBezTo>
                  <a:lnTo>
                    <a:pt x="240000" y="82500"/>
                  </a:lnTo>
                  <a:cubicBezTo>
                    <a:pt x="240000" y="94926"/>
                    <a:pt x="229926" y="105000"/>
                    <a:pt x="217500" y="105000"/>
                  </a:cubicBezTo>
                  <a:lnTo>
                    <a:pt x="22500" y="105000"/>
                  </a:lnTo>
                  <a:cubicBezTo>
                    <a:pt x="10074" y="105000"/>
                    <a:pt x="0" y="94926"/>
                    <a:pt x="0" y="82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105000" y="30000"/>
                  </a:moveTo>
                  <a:cubicBezTo>
                    <a:pt x="96715" y="30000"/>
                    <a:pt x="90000" y="36715"/>
                    <a:pt x="90000" y="45000"/>
                  </a:cubicBezTo>
                  <a:cubicBezTo>
                    <a:pt x="90000" y="53284"/>
                    <a:pt x="96715" y="60000"/>
                    <a:pt x="105000" y="60000"/>
                  </a:cubicBezTo>
                  <a:lnTo>
                    <a:pt x="135000" y="60000"/>
                  </a:lnTo>
                  <a:cubicBezTo>
                    <a:pt x="143285" y="60000"/>
                    <a:pt x="150000" y="53284"/>
                    <a:pt x="150000" y="45000"/>
                  </a:cubicBezTo>
                  <a:cubicBezTo>
                    <a:pt x="150000" y="36715"/>
                    <a:pt x="143285" y="30000"/>
                    <a:pt x="135000" y="30000"/>
                  </a:cubicBezTo>
                  <a:lnTo>
                    <a:pt x="105000" y="3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35" name="Рисунок 353">
            <a:extLst>
              <a:ext uri="{FF2B5EF4-FFF2-40B4-BE49-F238E27FC236}">
                <a16:creationId xmlns:a16="http://schemas.microsoft.com/office/drawing/2014/main" id="{349A8CE8-C62F-3242-9830-C2330EDDD888}"/>
              </a:ext>
            </a:extLst>
          </p:cNvPr>
          <p:cNvGrpSpPr/>
          <p:nvPr/>
        </p:nvGrpSpPr>
        <p:grpSpPr>
          <a:xfrm>
            <a:off x="5961670" y="5807534"/>
            <a:ext cx="360000" cy="360000"/>
            <a:chOff x="5995123" y="6124256"/>
            <a:chExt cx="360000" cy="360000"/>
          </a:xfrm>
        </p:grpSpPr>
        <p:sp>
          <p:nvSpPr>
            <p:cNvPr id="1436" name="Полилиния 1435">
              <a:extLst>
                <a:ext uri="{FF2B5EF4-FFF2-40B4-BE49-F238E27FC236}">
                  <a16:creationId xmlns:a16="http://schemas.microsoft.com/office/drawing/2014/main" id="{C6588C20-0239-6F4C-85E5-040EC7EDAE28}"/>
                </a:ext>
              </a:extLst>
            </p:cNvPr>
            <p:cNvSpPr/>
            <p:nvPr/>
          </p:nvSpPr>
          <p:spPr>
            <a:xfrm>
              <a:off x="599512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7" name="Полилиния 1436">
              <a:extLst>
                <a:ext uri="{FF2B5EF4-FFF2-40B4-BE49-F238E27FC236}">
                  <a16:creationId xmlns:a16="http://schemas.microsoft.com/office/drawing/2014/main" id="{E2C6D14F-F22C-454B-A59D-89DD279827C6}"/>
                </a:ext>
              </a:extLst>
            </p:cNvPr>
            <p:cNvSpPr/>
            <p:nvPr/>
          </p:nvSpPr>
          <p:spPr>
            <a:xfrm>
              <a:off x="6055123" y="6154256"/>
              <a:ext cx="240000" cy="90000"/>
            </a:xfrm>
            <a:custGeom>
              <a:avLst/>
              <a:gdLst>
                <a:gd name="connsiteX0" fmla="*/ 22500 w 240000"/>
                <a:gd name="connsiteY0" fmla="*/ 0 h 90000"/>
                <a:gd name="connsiteX1" fmla="*/ 217500 w 240000"/>
                <a:gd name="connsiteY1" fmla="*/ 0 h 90000"/>
                <a:gd name="connsiteX2" fmla="*/ 240000 w 240000"/>
                <a:gd name="connsiteY2" fmla="*/ 22500 h 90000"/>
                <a:gd name="connsiteX3" fmla="*/ 240000 w 240000"/>
                <a:gd name="connsiteY3" fmla="*/ 67500 h 90000"/>
                <a:gd name="connsiteX4" fmla="*/ 217500 w 240000"/>
                <a:gd name="connsiteY4" fmla="*/ 90000 h 90000"/>
                <a:gd name="connsiteX5" fmla="*/ 22500 w 240000"/>
                <a:gd name="connsiteY5" fmla="*/ 90000 h 90000"/>
                <a:gd name="connsiteX6" fmla="*/ 0 w 240000"/>
                <a:gd name="connsiteY6" fmla="*/ 67500 h 90000"/>
                <a:gd name="connsiteX7" fmla="*/ 0 w 240000"/>
                <a:gd name="connsiteY7" fmla="*/ 22500 h 90000"/>
                <a:gd name="connsiteX8" fmla="*/ 22500 w 240000"/>
                <a:gd name="connsiteY8" fmla="*/ 0 h 90000"/>
                <a:gd name="connsiteX9" fmla="*/ 105000 w 240000"/>
                <a:gd name="connsiteY9" fmla="*/ 30000 h 90000"/>
                <a:gd name="connsiteX10" fmla="*/ 90000 w 240000"/>
                <a:gd name="connsiteY10" fmla="*/ 45000 h 90000"/>
                <a:gd name="connsiteX11" fmla="*/ 105000 w 240000"/>
                <a:gd name="connsiteY11" fmla="*/ 60000 h 90000"/>
                <a:gd name="connsiteX12" fmla="*/ 135000 w 240000"/>
                <a:gd name="connsiteY12" fmla="*/ 60000 h 90000"/>
                <a:gd name="connsiteX13" fmla="*/ 150000 w 240000"/>
                <a:gd name="connsiteY13" fmla="*/ 45000 h 90000"/>
                <a:gd name="connsiteX14" fmla="*/ 135000 w 240000"/>
                <a:gd name="connsiteY14" fmla="*/ 30000 h 90000"/>
                <a:gd name="connsiteX15" fmla="*/ 105000 w 240000"/>
                <a:gd name="connsiteY15" fmla="*/ 30000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0000" h="90000">
                  <a:moveTo>
                    <a:pt x="22500" y="0"/>
                  </a:moveTo>
                  <a:lnTo>
                    <a:pt x="217500" y="0"/>
                  </a:lnTo>
                  <a:cubicBezTo>
                    <a:pt x="229926" y="0"/>
                    <a:pt x="240000" y="10074"/>
                    <a:pt x="240000" y="22500"/>
                  </a:cubicBezTo>
                  <a:lnTo>
                    <a:pt x="240000" y="67500"/>
                  </a:lnTo>
                  <a:cubicBezTo>
                    <a:pt x="240000" y="79926"/>
                    <a:pt x="229926" y="90000"/>
                    <a:pt x="217500" y="90000"/>
                  </a:cubicBezTo>
                  <a:lnTo>
                    <a:pt x="22500" y="90000"/>
                  </a:lnTo>
                  <a:cubicBezTo>
                    <a:pt x="10074" y="90000"/>
                    <a:pt x="0" y="79926"/>
                    <a:pt x="0" y="67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105000" y="30000"/>
                  </a:moveTo>
                  <a:cubicBezTo>
                    <a:pt x="96715" y="30000"/>
                    <a:pt x="90000" y="36716"/>
                    <a:pt x="90000" y="45000"/>
                  </a:cubicBezTo>
                  <a:cubicBezTo>
                    <a:pt x="90000" y="53284"/>
                    <a:pt x="96715" y="60000"/>
                    <a:pt x="105000" y="60000"/>
                  </a:cubicBezTo>
                  <a:lnTo>
                    <a:pt x="135000" y="60000"/>
                  </a:lnTo>
                  <a:cubicBezTo>
                    <a:pt x="143285" y="60000"/>
                    <a:pt x="150000" y="53284"/>
                    <a:pt x="150000" y="45000"/>
                  </a:cubicBezTo>
                  <a:cubicBezTo>
                    <a:pt x="150000" y="36716"/>
                    <a:pt x="143285" y="30000"/>
                    <a:pt x="135000" y="30000"/>
                  </a:cubicBezTo>
                  <a:lnTo>
                    <a:pt x="105000" y="30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438" name="Полилиния 1437">
              <a:extLst>
                <a:ext uri="{FF2B5EF4-FFF2-40B4-BE49-F238E27FC236}">
                  <a16:creationId xmlns:a16="http://schemas.microsoft.com/office/drawing/2014/main" id="{80F364A2-C53D-E14F-9F6B-CDE8B89D9C98}"/>
                </a:ext>
              </a:extLst>
            </p:cNvPr>
            <p:cNvSpPr/>
            <p:nvPr/>
          </p:nvSpPr>
          <p:spPr>
            <a:xfrm>
              <a:off x="6055123" y="6259256"/>
              <a:ext cx="240000" cy="195000"/>
            </a:xfrm>
            <a:custGeom>
              <a:avLst/>
              <a:gdLst>
                <a:gd name="connsiteX0" fmla="*/ 22500 w 240000"/>
                <a:gd name="connsiteY0" fmla="*/ 0 h 195000"/>
                <a:gd name="connsiteX1" fmla="*/ 217500 w 240000"/>
                <a:gd name="connsiteY1" fmla="*/ 0 h 195000"/>
                <a:gd name="connsiteX2" fmla="*/ 240000 w 240000"/>
                <a:gd name="connsiteY2" fmla="*/ 22500 h 195000"/>
                <a:gd name="connsiteX3" fmla="*/ 240000 w 240000"/>
                <a:gd name="connsiteY3" fmla="*/ 67500 h 195000"/>
                <a:gd name="connsiteX4" fmla="*/ 217500 w 240000"/>
                <a:gd name="connsiteY4" fmla="*/ 90000 h 195000"/>
                <a:gd name="connsiteX5" fmla="*/ 22500 w 240000"/>
                <a:gd name="connsiteY5" fmla="*/ 90000 h 195000"/>
                <a:gd name="connsiteX6" fmla="*/ 0 w 240000"/>
                <a:gd name="connsiteY6" fmla="*/ 67500 h 195000"/>
                <a:gd name="connsiteX7" fmla="*/ 0 w 240000"/>
                <a:gd name="connsiteY7" fmla="*/ 22500 h 195000"/>
                <a:gd name="connsiteX8" fmla="*/ 22500 w 240000"/>
                <a:gd name="connsiteY8" fmla="*/ 0 h 195000"/>
                <a:gd name="connsiteX9" fmla="*/ 105000 w 240000"/>
                <a:gd name="connsiteY9" fmla="*/ 30000 h 195000"/>
                <a:gd name="connsiteX10" fmla="*/ 90000 w 240000"/>
                <a:gd name="connsiteY10" fmla="*/ 45000 h 195000"/>
                <a:gd name="connsiteX11" fmla="*/ 105000 w 240000"/>
                <a:gd name="connsiteY11" fmla="*/ 60000 h 195000"/>
                <a:gd name="connsiteX12" fmla="*/ 135000 w 240000"/>
                <a:gd name="connsiteY12" fmla="*/ 60000 h 195000"/>
                <a:gd name="connsiteX13" fmla="*/ 150000 w 240000"/>
                <a:gd name="connsiteY13" fmla="*/ 45000 h 195000"/>
                <a:gd name="connsiteX14" fmla="*/ 135000 w 240000"/>
                <a:gd name="connsiteY14" fmla="*/ 30000 h 195000"/>
                <a:gd name="connsiteX15" fmla="*/ 105000 w 240000"/>
                <a:gd name="connsiteY15" fmla="*/ 30000 h 195000"/>
                <a:gd name="connsiteX16" fmla="*/ 22500 w 240000"/>
                <a:gd name="connsiteY16" fmla="*/ 105000 h 195000"/>
                <a:gd name="connsiteX17" fmla="*/ 217500 w 240000"/>
                <a:gd name="connsiteY17" fmla="*/ 105000 h 195000"/>
                <a:gd name="connsiteX18" fmla="*/ 240000 w 240000"/>
                <a:gd name="connsiteY18" fmla="*/ 127500 h 195000"/>
                <a:gd name="connsiteX19" fmla="*/ 240000 w 240000"/>
                <a:gd name="connsiteY19" fmla="*/ 172500 h 195000"/>
                <a:gd name="connsiteX20" fmla="*/ 217500 w 240000"/>
                <a:gd name="connsiteY20" fmla="*/ 195000 h 195000"/>
                <a:gd name="connsiteX21" fmla="*/ 22500 w 240000"/>
                <a:gd name="connsiteY21" fmla="*/ 195000 h 195000"/>
                <a:gd name="connsiteX22" fmla="*/ 0 w 240000"/>
                <a:gd name="connsiteY22" fmla="*/ 172500 h 195000"/>
                <a:gd name="connsiteX23" fmla="*/ 0 w 240000"/>
                <a:gd name="connsiteY23" fmla="*/ 127500 h 195000"/>
                <a:gd name="connsiteX24" fmla="*/ 22500 w 240000"/>
                <a:gd name="connsiteY24" fmla="*/ 105000 h 195000"/>
                <a:gd name="connsiteX25" fmla="*/ 105000 w 240000"/>
                <a:gd name="connsiteY25" fmla="*/ 135000 h 195000"/>
                <a:gd name="connsiteX26" fmla="*/ 90000 w 240000"/>
                <a:gd name="connsiteY26" fmla="*/ 150000 h 195000"/>
                <a:gd name="connsiteX27" fmla="*/ 105000 w 240000"/>
                <a:gd name="connsiteY27" fmla="*/ 165000 h 195000"/>
                <a:gd name="connsiteX28" fmla="*/ 135000 w 240000"/>
                <a:gd name="connsiteY28" fmla="*/ 165000 h 195000"/>
                <a:gd name="connsiteX29" fmla="*/ 150000 w 240000"/>
                <a:gd name="connsiteY29" fmla="*/ 150000 h 195000"/>
                <a:gd name="connsiteX30" fmla="*/ 135000 w 240000"/>
                <a:gd name="connsiteY30" fmla="*/ 135000 h 195000"/>
                <a:gd name="connsiteX31" fmla="*/ 105000 w 240000"/>
                <a:gd name="connsiteY31" fmla="*/ 135000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40000" h="195000">
                  <a:moveTo>
                    <a:pt x="22500" y="0"/>
                  </a:moveTo>
                  <a:lnTo>
                    <a:pt x="217500" y="0"/>
                  </a:lnTo>
                  <a:cubicBezTo>
                    <a:pt x="229926" y="0"/>
                    <a:pt x="240000" y="10074"/>
                    <a:pt x="240000" y="22500"/>
                  </a:cubicBezTo>
                  <a:lnTo>
                    <a:pt x="240000" y="67500"/>
                  </a:lnTo>
                  <a:cubicBezTo>
                    <a:pt x="240000" y="79926"/>
                    <a:pt x="229926" y="90000"/>
                    <a:pt x="217500" y="90000"/>
                  </a:cubicBezTo>
                  <a:lnTo>
                    <a:pt x="22500" y="90000"/>
                  </a:lnTo>
                  <a:cubicBezTo>
                    <a:pt x="10074" y="90000"/>
                    <a:pt x="0" y="79926"/>
                    <a:pt x="0" y="67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105000" y="30000"/>
                  </a:moveTo>
                  <a:cubicBezTo>
                    <a:pt x="96715" y="30000"/>
                    <a:pt x="90000" y="36715"/>
                    <a:pt x="90000" y="45000"/>
                  </a:cubicBezTo>
                  <a:cubicBezTo>
                    <a:pt x="90000" y="53285"/>
                    <a:pt x="96715" y="60000"/>
                    <a:pt x="105000" y="60000"/>
                  </a:cubicBezTo>
                  <a:lnTo>
                    <a:pt x="135000" y="60000"/>
                  </a:lnTo>
                  <a:cubicBezTo>
                    <a:pt x="143285" y="60000"/>
                    <a:pt x="150000" y="53285"/>
                    <a:pt x="150000" y="45000"/>
                  </a:cubicBezTo>
                  <a:cubicBezTo>
                    <a:pt x="150000" y="36715"/>
                    <a:pt x="143285" y="30000"/>
                    <a:pt x="135000" y="30000"/>
                  </a:cubicBezTo>
                  <a:lnTo>
                    <a:pt x="105000" y="30000"/>
                  </a:lnTo>
                  <a:close/>
                  <a:moveTo>
                    <a:pt x="22500" y="105000"/>
                  </a:moveTo>
                  <a:lnTo>
                    <a:pt x="217500" y="105000"/>
                  </a:lnTo>
                  <a:cubicBezTo>
                    <a:pt x="229926" y="105000"/>
                    <a:pt x="240000" y="115074"/>
                    <a:pt x="240000" y="127500"/>
                  </a:cubicBezTo>
                  <a:lnTo>
                    <a:pt x="240000" y="172500"/>
                  </a:lnTo>
                  <a:cubicBezTo>
                    <a:pt x="240000" y="184926"/>
                    <a:pt x="229926" y="195000"/>
                    <a:pt x="217500" y="195000"/>
                  </a:cubicBezTo>
                  <a:lnTo>
                    <a:pt x="22500" y="195000"/>
                  </a:lnTo>
                  <a:cubicBezTo>
                    <a:pt x="10074" y="195000"/>
                    <a:pt x="0" y="184926"/>
                    <a:pt x="0" y="172500"/>
                  </a:cubicBezTo>
                  <a:lnTo>
                    <a:pt x="0" y="127500"/>
                  </a:lnTo>
                  <a:cubicBezTo>
                    <a:pt x="0" y="115074"/>
                    <a:pt x="10074" y="105000"/>
                    <a:pt x="22500" y="105000"/>
                  </a:cubicBezTo>
                  <a:close/>
                  <a:moveTo>
                    <a:pt x="105000" y="135000"/>
                  </a:moveTo>
                  <a:cubicBezTo>
                    <a:pt x="96715" y="135000"/>
                    <a:pt x="90000" y="141716"/>
                    <a:pt x="90000" y="150000"/>
                  </a:cubicBezTo>
                  <a:cubicBezTo>
                    <a:pt x="90000" y="158285"/>
                    <a:pt x="96715" y="165000"/>
                    <a:pt x="105000" y="165000"/>
                  </a:cubicBezTo>
                  <a:lnTo>
                    <a:pt x="135000" y="165000"/>
                  </a:lnTo>
                  <a:cubicBezTo>
                    <a:pt x="143285" y="165000"/>
                    <a:pt x="150000" y="158285"/>
                    <a:pt x="150000" y="150000"/>
                  </a:cubicBezTo>
                  <a:cubicBezTo>
                    <a:pt x="150000" y="141716"/>
                    <a:pt x="143285" y="135000"/>
                    <a:pt x="135000" y="135000"/>
                  </a:cubicBezTo>
                  <a:lnTo>
                    <a:pt x="105000" y="135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39" name="Рисунок 354">
            <a:extLst>
              <a:ext uri="{FF2B5EF4-FFF2-40B4-BE49-F238E27FC236}">
                <a16:creationId xmlns:a16="http://schemas.microsoft.com/office/drawing/2014/main" id="{B8243739-95D9-064B-84ED-7F482C03EFBF}"/>
              </a:ext>
            </a:extLst>
          </p:cNvPr>
          <p:cNvGrpSpPr/>
          <p:nvPr/>
        </p:nvGrpSpPr>
        <p:grpSpPr>
          <a:xfrm>
            <a:off x="6714822" y="5807534"/>
            <a:ext cx="360000" cy="360000"/>
            <a:chOff x="6748275" y="6124256"/>
            <a:chExt cx="360000" cy="360000"/>
          </a:xfrm>
        </p:grpSpPr>
        <p:sp>
          <p:nvSpPr>
            <p:cNvPr id="1440" name="Полилиния 1439">
              <a:extLst>
                <a:ext uri="{FF2B5EF4-FFF2-40B4-BE49-F238E27FC236}">
                  <a16:creationId xmlns:a16="http://schemas.microsoft.com/office/drawing/2014/main" id="{5FC1630D-E528-9C44-AF1A-7DC1A130739E}"/>
                </a:ext>
              </a:extLst>
            </p:cNvPr>
            <p:cNvSpPr/>
            <p:nvPr/>
          </p:nvSpPr>
          <p:spPr>
            <a:xfrm>
              <a:off x="674827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1" name="Полилиния 1440">
              <a:extLst>
                <a:ext uri="{FF2B5EF4-FFF2-40B4-BE49-F238E27FC236}">
                  <a16:creationId xmlns:a16="http://schemas.microsoft.com/office/drawing/2014/main" id="{BC584D6B-88F6-6E47-9A4C-5D05DA4E823D}"/>
                </a:ext>
              </a:extLst>
            </p:cNvPr>
            <p:cNvSpPr/>
            <p:nvPr/>
          </p:nvSpPr>
          <p:spPr>
            <a:xfrm>
              <a:off x="6778275" y="6169256"/>
              <a:ext cx="135000" cy="255000"/>
            </a:xfrm>
            <a:custGeom>
              <a:avLst/>
              <a:gdLst>
                <a:gd name="connsiteX0" fmla="*/ 22500 w 135000"/>
                <a:gd name="connsiteY0" fmla="*/ 0 h 255000"/>
                <a:gd name="connsiteX1" fmla="*/ 112500 w 135000"/>
                <a:gd name="connsiteY1" fmla="*/ 0 h 255000"/>
                <a:gd name="connsiteX2" fmla="*/ 135000 w 135000"/>
                <a:gd name="connsiteY2" fmla="*/ 22500 h 255000"/>
                <a:gd name="connsiteX3" fmla="*/ 135000 w 135000"/>
                <a:gd name="connsiteY3" fmla="*/ 232500 h 255000"/>
                <a:gd name="connsiteX4" fmla="*/ 112500 w 135000"/>
                <a:gd name="connsiteY4" fmla="*/ 255000 h 255000"/>
                <a:gd name="connsiteX5" fmla="*/ 22500 w 135000"/>
                <a:gd name="connsiteY5" fmla="*/ 255000 h 255000"/>
                <a:gd name="connsiteX6" fmla="*/ 0 w 135000"/>
                <a:gd name="connsiteY6" fmla="*/ 232500 h 255000"/>
                <a:gd name="connsiteX7" fmla="*/ 0 w 135000"/>
                <a:gd name="connsiteY7" fmla="*/ 22500 h 255000"/>
                <a:gd name="connsiteX8" fmla="*/ 22500 w 135000"/>
                <a:gd name="connsiteY8" fmla="*/ 0 h 255000"/>
                <a:gd name="connsiteX9" fmla="*/ 105000 w 135000"/>
                <a:gd name="connsiteY9" fmla="*/ 90000 h 255000"/>
                <a:gd name="connsiteX10" fmla="*/ 90000 w 135000"/>
                <a:gd name="connsiteY10" fmla="*/ 105000 h 255000"/>
                <a:gd name="connsiteX11" fmla="*/ 90000 w 135000"/>
                <a:gd name="connsiteY11" fmla="*/ 135000 h 255000"/>
                <a:gd name="connsiteX12" fmla="*/ 105000 w 135000"/>
                <a:gd name="connsiteY12" fmla="*/ 150000 h 255000"/>
                <a:gd name="connsiteX13" fmla="*/ 120000 w 135000"/>
                <a:gd name="connsiteY13" fmla="*/ 135000 h 255000"/>
                <a:gd name="connsiteX14" fmla="*/ 120000 w 135000"/>
                <a:gd name="connsiteY14" fmla="*/ 105000 h 255000"/>
                <a:gd name="connsiteX15" fmla="*/ 105000 w 135000"/>
                <a:gd name="connsiteY15" fmla="*/ 90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5000" h="255000">
                  <a:moveTo>
                    <a:pt x="22500" y="0"/>
                  </a:moveTo>
                  <a:lnTo>
                    <a:pt x="112500" y="0"/>
                  </a:lnTo>
                  <a:cubicBezTo>
                    <a:pt x="124926" y="0"/>
                    <a:pt x="135000" y="10074"/>
                    <a:pt x="135000" y="22500"/>
                  </a:cubicBezTo>
                  <a:lnTo>
                    <a:pt x="135000" y="232500"/>
                  </a:lnTo>
                  <a:cubicBezTo>
                    <a:pt x="135000" y="244926"/>
                    <a:pt x="124926" y="255000"/>
                    <a:pt x="112500" y="255000"/>
                  </a:cubicBezTo>
                  <a:lnTo>
                    <a:pt x="22500" y="255000"/>
                  </a:lnTo>
                  <a:cubicBezTo>
                    <a:pt x="10074" y="255000"/>
                    <a:pt x="0" y="244926"/>
                    <a:pt x="0" y="232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105000" y="90000"/>
                  </a:moveTo>
                  <a:cubicBezTo>
                    <a:pt x="96716" y="90000"/>
                    <a:pt x="90000" y="96716"/>
                    <a:pt x="90000" y="105000"/>
                  </a:cubicBezTo>
                  <a:lnTo>
                    <a:pt x="90000" y="135000"/>
                  </a:lnTo>
                  <a:cubicBezTo>
                    <a:pt x="90000" y="143285"/>
                    <a:pt x="96716" y="150000"/>
                    <a:pt x="105000" y="150000"/>
                  </a:cubicBezTo>
                  <a:cubicBezTo>
                    <a:pt x="113284" y="150000"/>
                    <a:pt x="120000" y="143285"/>
                    <a:pt x="120000" y="135000"/>
                  </a:cubicBezTo>
                  <a:lnTo>
                    <a:pt x="120000" y="105000"/>
                  </a:lnTo>
                  <a:cubicBezTo>
                    <a:pt x="120000" y="96716"/>
                    <a:pt x="113284" y="90000"/>
                    <a:pt x="105000" y="9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2" name="Полилиния 1441">
              <a:extLst>
                <a:ext uri="{FF2B5EF4-FFF2-40B4-BE49-F238E27FC236}">
                  <a16:creationId xmlns:a16="http://schemas.microsoft.com/office/drawing/2014/main" id="{E8495EE8-E100-1543-83BC-FA4B462CFC69}"/>
                </a:ext>
              </a:extLst>
            </p:cNvPr>
            <p:cNvSpPr/>
            <p:nvPr/>
          </p:nvSpPr>
          <p:spPr>
            <a:xfrm rot="10800000" flipV="1">
              <a:off x="6943275" y="6169256"/>
              <a:ext cx="135000" cy="255000"/>
            </a:xfrm>
            <a:custGeom>
              <a:avLst/>
              <a:gdLst>
                <a:gd name="connsiteX0" fmla="*/ 22500 w 135000"/>
                <a:gd name="connsiteY0" fmla="*/ 0 h 255000"/>
                <a:gd name="connsiteX1" fmla="*/ 112500 w 135000"/>
                <a:gd name="connsiteY1" fmla="*/ 0 h 255000"/>
                <a:gd name="connsiteX2" fmla="*/ 135000 w 135000"/>
                <a:gd name="connsiteY2" fmla="*/ 22500 h 255000"/>
                <a:gd name="connsiteX3" fmla="*/ 135000 w 135000"/>
                <a:gd name="connsiteY3" fmla="*/ 232500 h 255000"/>
                <a:gd name="connsiteX4" fmla="*/ 112500 w 135000"/>
                <a:gd name="connsiteY4" fmla="*/ 255000 h 255000"/>
                <a:gd name="connsiteX5" fmla="*/ 22500 w 135000"/>
                <a:gd name="connsiteY5" fmla="*/ 255000 h 255000"/>
                <a:gd name="connsiteX6" fmla="*/ 0 w 135000"/>
                <a:gd name="connsiteY6" fmla="*/ 232500 h 255000"/>
                <a:gd name="connsiteX7" fmla="*/ 0 w 135000"/>
                <a:gd name="connsiteY7" fmla="*/ 22500 h 255000"/>
                <a:gd name="connsiteX8" fmla="*/ 22500 w 135000"/>
                <a:gd name="connsiteY8" fmla="*/ 0 h 255000"/>
                <a:gd name="connsiteX9" fmla="*/ 105000 w 135000"/>
                <a:gd name="connsiteY9" fmla="*/ 90000 h 255000"/>
                <a:gd name="connsiteX10" fmla="*/ 90000 w 135000"/>
                <a:gd name="connsiteY10" fmla="*/ 105000 h 255000"/>
                <a:gd name="connsiteX11" fmla="*/ 90000 w 135000"/>
                <a:gd name="connsiteY11" fmla="*/ 135000 h 255000"/>
                <a:gd name="connsiteX12" fmla="*/ 105000 w 135000"/>
                <a:gd name="connsiteY12" fmla="*/ 150000 h 255000"/>
                <a:gd name="connsiteX13" fmla="*/ 120000 w 135000"/>
                <a:gd name="connsiteY13" fmla="*/ 135000 h 255000"/>
                <a:gd name="connsiteX14" fmla="*/ 120000 w 135000"/>
                <a:gd name="connsiteY14" fmla="*/ 105000 h 255000"/>
                <a:gd name="connsiteX15" fmla="*/ 105000 w 135000"/>
                <a:gd name="connsiteY15" fmla="*/ 90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5000" h="255000">
                  <a:moveTo>
                    <a:pt x="22500" y="0"/>
                  </a:moveTo>
                  <a:lnTo>
                    <a:pt x="112500" y="0"/>
                  </a:lnTo>
                  <a:cubicBezTo>
                    <a:pt x="124926" y="0"/>
                    <a:pt x="135000" y="10074"/>
                    <a:pt x="135000" y="22500"/>
                  </a:cubicBezTo>
                  <a:lnTo>
                    <a:pt x="135000" y="232500"/>
                  </a:lnTo>
                  <a:cubicBezTo>
                    <a:pt x="135000" y="244926"/>
                    <a:pt x="124926" y="255000"/>
                    <a:pt x="112500" y="255000"/>
                  </a:cubicBezTo>
                  <a:lnTo>
                    <a:pt x="22500" y="255000"/>
                  </a:lnTo>
                  <a:cubicBezTo>
                    <a:pt x="10074" y="255000"/>
                    <a:pt x="0" y="244926"/>
                    <a:pt x="0" y="232500"/>
                  </a:cubicBezTo>
                  <a:lnTo>
                    <a:pt x="0" y="22500"/>
                  </a:ln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105000" y="90000"/>
                  </a:moveTo>
                  <a:cubicBezTo>
                    <a:pt x="96716" y="90000"/>
                    <a:pt x="90000" y="96716"/>
                    <a:pt x="90000" y="105000"/>
                  </a:cubicBezTo>
                  <a:lnTo>
                    <a:pt x="90000" y="135000"/>
                  </a:lnTo>
                  <a:cubicBezTo>
                    <a:pt x="90000" y="143285"/>
                    <a:pt x="96716" y="150000"/>
                    <a:pt x="105000" y="150000"/>
                  </a:cubicBezTo>
                  <a:cubicBezTo>
                    <a:pt x="113284" y="150000"/>
                    <a:pt x="120000" y="143285"/>
                    <a:pt x="120000" y="135000"/>
                  </a:cubicBezTo>
                  <a:lnTo>
                    <a:pt x="120000" y="105000"/>
                  </a:lnTo>
                  <a:cubicBezTo>
                    <a:pt x="120000" y="96716"/>
                    <a:pt x="113284" y="90000"/>
                    <a:pt x="105000" y="9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43" name="Рисунок 355">
            <a:extLst>
              <a:ext uri="{FF2B5EF4-FFF2-40B4-BE49-F238E27FC236}">
                <a16:creationId xmlns:a16="http://schemas.microsoft.com/office/drawing/2014/main" id="{BF30E2FE-B0FC-474F-A7F2-BA8582C9E9B8}"/>
              </a:ext>
            </a:extLst>
          </p:cNvPr>
          <p:cNvGrpSpPr/>
          <p:nvPr/>
        </p:nvGrpSpPr>
        <p:grpSpPr>
          <a:xfrm>
            <a:off x="7467974" y="5807534"/>
            <a:ext cx="360000" cy="360000"/>
            <a:chOff x="7501427" y="6124256"/>
            <a:chExt cx="360000" cy="360000"/>
          </a:xfrm>
        </p:grpSpPr>
        <p:sp>
          <p:nvSpPr>
            <p:cNvPr id="1444" name="Полилиния 1443">
              <a:extLst>
                <a:ext uri="{FF2B5EF4-FFF2-40B4-BE49-F238E27FC236}">
                  <a16:creationId xmlns:a16="http://schemas.microsoft.com/office/drawing/2014/main" id="{9285D266-DD23-E541-B54E-92F1BBEDBE04}"/>
                </a:ext>
              </a:extLst>
            </p:cNvPr>
            <p:cNvSpPr/>
            <p:nvPr/>
          </p:nvSpPr>
          <p:spPr>
            <a:xfrm>
              <a:off x="7501427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5" name="Полилиния 1444">
              <a:extLst>
                <a:ext uri="{FF2B5EF4-FFF2-40B4-BE49-F238E27FC236}">
                  <a16:creationId xmlns:a16="http://schemas.microsoft.com/office/drawing/2014/main" id="{D95C49C3-DA69-C348-B814-D49A941C7B9C}"/>
                </a:ext>
              </a:extLst>
            </p:cNvPr>
            <p:cNvSpPr/>
            <p:nvPr/>
          </p:nvSpPr>
          <p:spPr>
            <a:xfrm>
              <a:off x="7546427" y="6169256"/>
              <a:ext cx="270000" cy="150000"/>
            </a:xfrm>
            <a:custGeom>
              <a:avLst/>
              <a:gdLst>
                <a:gd name="connsiteX0" fmla="*/ 0 w 270000"/>
                <a:gd name="connsiteY0" fmla="*/ 15000 h 150000"/>
                <a:gd name="connsiteX1" fmla="*/ 15000 w 270000"/>
                <a:gd name="connsiteY1" fmla="*/ 0 h 150000"/>
                <a:gd name="connsiteX2" fmla="*/ 120000 w 270000"/>
                <a:gd name="connsiteY2" fmla="*/ 0 h 150000"/>
                <a:gd name="connsiteX3" fmla="*/ 120000 w 270000"/>
                <a:gd name="connsiteY3" fmla="*/ 30000 h 150000"/>
                <a:gd name="connsiteX4" fmla="*/ 0 w 270000"/>
                <a:gd name="connsiteY4" fmla="*/ 150000 h 150000"/>
                <a:gd name="connsiteX5" fmla="*/ 0 w 270000"/>
                <a:gd name="connsiteY5" fmla="*/ 15000 h 150000"/>
                <a:gd name="connsiteX6" fmla="*/ 270000 w 270000"/>
                <a:gd name="connsiteY6" fmla="*/ 15000 h 150000"/>
                <a:gd name="connsiteX7" fmla="*/ 270000 w 270000"/>
                <a:gd name="connsiteY7" fmla="*/ 150000 h 150000"/>
                <a:gd name="connsiteX8" fmla="*/ 150000 w 270000"/>
                <a:gd name="connsiteY8" fmla="*/ 30000 h 150000"/>
                <a:gd name="connsiteX9" fmla="*/ 150000 w 270000"/>
                <a:gd name="connsiteY9" fmla="*/ 0 h 150000"/>
                <a:gd name="connsiteX10" fmla="*/ 255000 w 270000"/>
                <a:gd name="connsiteY10" fmla="*/ 0 h 150000"/>
                <a:gd name="connsiteX11" fmla="*/ 270000 w 270000"/>
                <a:gd name="connsiteY11" fmla="*/ 15000 h 15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0000" h="150000">
                  <a:moveTo>
                    <a:pt x="0" y="15000"/>
                  </a:moveTo>
                  <a:cubicBezTo>
                    <a:pt x="0" y="6716"/>
                    <a:pt x="6716" y="0"/>
                    <a:pt x="15000" y="0"/>
                  </a:cubicBezTo>
                  <a:lnTo>
                    <a:pt x="120000" y="0"/>
                  </a:lnTo>
                  <a:lnTo>
                    <a:pt x="120000" y="30000"/>
                  </a:lnTo>
                  <a:cubicBezTo>
                    <a:pt x="120000" y="96274"/>
                    <a:pt x="66274" y="150000"/>
                    <a:pt x="0" y="150000"/>
                  </a:cubicBezTo>
                  <a:lnTo>
                    <a:pt x="0" y="15000"/>
                  </a:lnTo>
                  <a:close/>
                  <a:moveTo>
                    <a:pt x="270000" y="15000"/>
                  </a:moveTo>
                  <a:lnTo>
                    <a:pt x="270000" y="150000"/>
                  </a:lnTo>
                  <a:cubicBezTo>
                    <a:pt x="203725" y="150000"/>
                    <a:pt x="150000" y="96274"/>
                    <a:pt x="150000" y="30000"/>
                  </a:cubicBezTo>
                  <a:lnTo>
                    <a:pt x="150000" y="0"/>
                  </a:lnTo>
                  <a:lnTo>
                    <a:pt x="255000" y="0"/>
                  </a:lnTo>
                  <a:cubicBezTo>
                    <a:pt x="263285" y="0"/>
                    <a:pt x="270000" y="6716"/>
                    <a:pt x="270000" y="15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6" name="Полилиния 1445">
              <a:extLst>
                <a:ext uri="{FF2B5EF4-FFF2-40B4-BE49-F238E27FC236}">
                  <a16:creationId xmlns:a16="http://schemas.microsoft.com/office/drawing/2014/main" id="{C6BC2EEE-B9B9-9E4C-AB30-C93DDCE20865}"/>
                </a:ext>
              </a:extLst>
            </p:cNvPr>
            <p:cNvSpPr/>
            <p:nvPr/>
          </p:nvSpPr>
          <p:spPr>
            <a:xfrm>
              <a:off x="7546427" y="6319256"/>
              <a:ext cx="270000" cy="120000"/>
            </a:xfrm>
            <a:custGeom>
              <a:avLst/>
              <a:gdLst>
                <a:gd name="connsiteX0" fmla="*/ 15000 w 270000"/>
                <a:gd name="connsiteY0" fmla="*/ 120000 h 120000"/>
                <a:gd name="connsiteX1" fmla="*/ 0 w 270000"/>
                <a:gd name="connsiteY1" fmla="*/ 105000 h 120000"/>
                <a:gd name="connsiteX2" fmla="*/ 0 w 270000"/>
                <a:gd name="connsiteY2" fmla="*/ 0 h 120000"/>
                <a:gd name="connsiteX3" fmla="*/ 90000 w 270000"/>
                <a:gd name="connsiteY3" fmla="*/ 90000 h 120000"/>
                <a:gd name="connsiteX4" fmla="*/ 90000 w 270000"/>
                <a:gd name="connsiteY4" fmla="*/ 120000 h 120000"/>
                <a:gd name="connsiteX5" fmla="*/ 15000 w 270000"/>
                <a:gd name="connsiteY5" fmla="*/ 120000 h 120000"/>
                <a:gd name="connsiteX6" fmla="*/ 255000 w 270000"/>
                <a:gd name="connsiteY6" fmla="*/ 120000 h 120000"/>
                <a:gd name="connsiteX7" fmla="*/ 180000 w 270000"/>
                <a:gd name="connsiteY7" fmla="*/ 120000 h 120000"/>
                <a:gd name="connsiteX8" fmla="*/ 180000 w 270000"/>
                <a:gd name="connsiteY8" fmla="*/ 90000 h 120000"/>
                <a:gd name="connsiteX9" fmla="*/ 270000 w 270000"/>
                <a:gd name="connsiteY9" fmla="*/ 0 h 120000"/>
                <a:gd name="connsiteX10" fmla="*/ 270000 w 270000"/>
                <a:gd name="connsiteY10" fmla="*/ 105000 h 120000"/>
                <a:gd name="connsiteX11" fmla="*/ 255000 w 270000"/>
                <a:gd name="connsiteY11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0000" h="120000">
                  <a:moveTo>
                    <a:pt x="15000" y="120000"/>
                  </a:moveTo>
                  <a:cubicBezTo>
                    <a:pt x="6716" y="120000"/>
                    <a:pt x="0" y="113284"/>
                    <a:pt x="0" y="105000"/>
                  </a:cubicBezTo>
                  <a:lnTo>
                    <a:pt x="0" y="0"/>
                  </a:lnTo>
                  <a:cubicBezTo>
                    <a:pt x="49706" y="0"/>
                    <a:pt x="90000" y="40295"/>
                    <a:pt x="90000" y="90000"/>
                  </a:cubicBezTo>
                  <a:lnTo>
                    <a:pt x="90000" y="120000"/>
                  </a:lnTo>
                  <a:lnTo>
                    <a:pt x="15000" y="120000"/>
                  </a:lnTo>
                  <a:close/>
                  <a:moveTo>
                    <a:pt x="255000" y="120000"/>
                  </a:moveTo>
                  <a:lnTo>
                    <a:pt x="180000" y="120000"/>
                  </a:lnTo>
                  <a:lnTo>
                    <a:pt x="180000" y="90000"/>
                  </a:lnTo>
                  <a:cubicBezTo>
                    <a:pt x="180000" y="40295"/>
                    <a:pt x="220295" y="0"/>
                    <a:pt x="270000" y="0"/>
                  </a:cubicBezTo>
                  <a:lnTo>
                    <a:pt x="270000" y="105000"/>
                  </a:lnTo>
                  <a:cubicBezTo>
                    <a:pt x="270000" y="113284"/>
                    <a:pt x="263285" y="120000"/>
                    <a:pt x="255000" y="120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47" name="Рисунок 356">
            <a:extLst>
              <a:ext uri="{FF2B5EF4-FFF2-40B4-BE49-F238E27FC236}">
                <a16:creationId xmlns:a16="http://schemas.microsoft.com/office/drawing/2014/main" id="{C585C779-7EE3-0B44-808D-D36BBB79E2EC}"/>
              </a:ext>
            </a:extLst>
          </p:cNvPr>
          <p:cNvGrpSpPr/>
          <p:nvPr/>
        </p:nvGrpSpPr>
        <p:grpSpPr>
          <a:xfrm>
            <a:off x="8221126" y="5807534"/>
            <a:ext cx="360000" cy="360000"/>
            <a:chOff x="8254579" y="6124256"/>
            <a:chExt cx="360000" cy="360000"/>
          </a:xfrm>
        </p:grpSpPr>
        <p:sp>
          <p:nvSpPr>
            <p:cNvPr id="1448" name="Полилиния 1447">
              <a:extLst>
                <a:ext uri="{FF2B5EF4-FFF2-40B4-BE49-F238E27FC236}">
                  <a16:creationId xmlns:a16="http://schemas.microsoft.com/office/drawing/2014/main" id="{8E390A4C-694D-CA4E-9317-E92A40D05FBE}"/>
                </a:ext>
              </a:extLst>
            </p:cNvPr>
            <p:cNvSpPr/>
            <p:nvPr/>
          </p:nvSpPr>
          <p:spPr>
            <a:xfrm>
              <a:off x="825457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9" name="Полилиния 1448">
              <a:extLst>
                <a:ext uri="{FF2B5EF4-FFF2-40B4-BE49-F238E27FC236}">
                  <a16:creationId xmlns:a16="http://schemas.microsoft.com/office/drawing/2014/main" id="{FE75D8FC-3BB4-0B47-89AE-68197A63B649}"/>
                </a:ext>
              </a:extLst>
            </p:cNvPr>
            <p:cNvSpPr/>
            <p:nvPr/>
          </p:nvSpPr>
          <p:spPr>
            <a:xfrm>
              <a:off x="8268242" y="6169256"/>
              <a:ext cx="332688" cy="255000"/>
            </a:xfrm>
            <a:custGeom>
              <a:avLst/>
              <a:gdLst>
                <a:gd name="connsiteX0" fmla="*/ 79071 w 332688"/>
                <a:gd name="connsiteY0" fmla="*/ 16425 h 255000"/>
                <a:gd name="connsiteX1" fmla="*/ 113836 w 332688"/>
                <a:gd name="connsiteY1" fmla="*/ 0 h 255000"/>
                <a:gd name="connsiteX2" fmla="*/ 218836 w 332688"/>
                <a:gd name="connsiteY2" fmla="*/ 0 h 255000"/>
                <a:gd name="connsiteX3" fmla="*/ 253590 w 332688"/>
                <a:gd name="connsiteY3" fmla="*/ 16412 h 255000"/>
                <a:gd name="connsiteX4" fmla="*/ 254551 w 332688"/>
                <a:gd name="connsiteY4" fmla="*/ 16922 h 255000"/>
                <a:gd name="connsiteX5" fmla="*/ 325186 w 332688"/>
                <a:gd name="connsiteY5" fmla="*/ 57703 h 255000"/>
                <a:gd name="connsiteX6" fmla="*/ 330676 w 332688"/>
                <a:gd name="connsiteY6" fmla="*/ 78194 h 255000"/>
                <a:gd name="connsiteX7" fmla="*/ 305833 w 332688"/>
                <a:gd name="connsiteY7" fmla="*/ 121224 h 255000"/>
                <a:gd name="connsiteX8" fmla="*/ 285343 w 332688"/>
                <a:gd name="connsiteY8" fmla="*/ 126714 h 255000"/>
                <a:gd name="connsiteX9" fmla="*/ 263836 w 332688"/>
                <a:gd name="connsiteY9" fmla="*/ 114299 h 255000"/>
                <a:gd name="connsiteX10" fmla="*/ 263836 w 332688"/>
                <a:gd name="connsiteY10" fmla="*/ 240000 h 255000"/>
                <a:gd name="connsiteX11" fmla="*/ 248836 w 332688"/>
                <a:gd name="connsiteY11" fmla="*/ 255000 h 255000"/>
                <a:gd name="connsiteX12" fmla="*/ 83836 w 332688"/>
                <a:gd name="connsiteY12" fmla="*/ 255000 h 255000"/>
                <a:gd name="connsiteX13" fmla="*/ 68836 w 332688"/>
                <a:gd name="connsiteY13" fmla="*/ 240000 h 255000"/>
                <a:gd name="connsiteX14" fmla="*/ 68836 w 332688"/>
                <a:gd name="connsiteY14" fmla="*/ 114307 h 255000"/>
                <a:gd name="connsiteX15" fmla="*/ 47346 w 332688"/>
                <a:gd name="connsiteY15" fmla="*/ 126714 h 255000"/>
                <a:gd name="connsiteX16" fmla="*/ 26856 w 332688"/>
                <a:gd name="connsiteY16" fmla="*/ 121224 h 255000"/>
                <a:gd name="connsiteX17" fmla="*/ 2012 w 332688"/>
                <a:gd name="connsiteY17" fmla="*/ 78194 h 255000"/>
                <a:gd name="connsiteX18" fmla="*/ 7502 w 332688"/>
                <a:gd name="connsiteY18" fmla="*/ 57703 h 255000"/>
                <a:gd name="connsiteX19" fmla="*/ 78138 w 332688"/>
                <a:gd name="connsiteY19" fmla="*/ 16922 h 255000"/>
                <a:gd name="connsiteX20" fmla="*/ 79071 w 332688"/>
                <a:gd name="connsiteY20" fmla="*/ 16425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32688" h="255000">
                  <a:moveTo>
                    <a:pt x="79071" y="16425"/>
                  </a:moveTo>
                  <a:cubicBezTo>
                    <a:pt x="87325" y="6396"/>
                    <a:pt x="99834" y="0"/>
                    <a:pt x="113836" y="0"/>
                  </a:cubicBezTo>
                  <a:lnTo>
                    <a:pt x="218836" y="0"/>
                  </a:lnTo>
                  <a:cubicBezTo>
                    <a:pt x="232833" y="0"/>
                    <a:pt x="245337" y="6390"/>
                    <a:pt x="253590" y="16412"/>
                  </a:cubicBezTo>
                  <a:cubicBezTo>
                    <a:pt x="253914" y="16569"/>
                    <a:pt x="254235" y="16739"/>
                    <a:pt x="254551" y="16922"/>
                  </a:cubicBezTo>
                  <a:lnTo>
                    <a:pt x="325186" y="57703"/>
                  </a:lnTo>
                  <a:cubicBezTo>
                    <a:pt x="332361" y="61845"/>
                    <a:pt x="334819" y="71019"/>
                    <a:pt x="330676" y="78194"/>
                  </a:cubicBezTo>
                  <a:lnTo>
                    <a:pt x="305833" y="121224"/>
                  </a:lnTo>
                  <a:cubicBezTo>
                    <a:pt x="301690" y="128399"/>
                    <a:pt x="292516" y="130857"/>
                    <a:pt x="285343" y="126714"/>
                  </a:cubicBezTo>
                  <a:lnTo>
                    <a:pt x="263836" y="114299"/>
                  </a:lnTo>
                  <a:lnTo>
                    <a:pt x="263836" y="240000"/>
                  </a:lnTo>
                  <a:cubicBezTo>
                    <a:pt x="263836" y="248285"/>
                    <a:pt x="257121" y="255000"/>
                    <a:pt x="248836" y="255000"/>
                  </a:cubicBezTo>
                  <a:lnTo>
                    <a:pt x="83836" y="255000"/>
                  </a:lnTo>
                  <a:cubicBezTo>
                    <a:pt x="75552" y="255000"/>
                    <a:pt x="68836" y="248285"/>
                    <a:pt x="68836" y="240000"/>
                  </a:cubicBezTo>
                  <a:lnTo>
                    <a:pt x="68836" y="114307"/>
                  </a:lnTo>
                  <a:lnTo>
                    <a:pt x="47346" y="126714"/>
                  </a:lnTo>
                  <a:cubicBezTo>
                    <a:pt x="40172" y="130857"/>
                    <a:pt x="30998" y="128399"/>
                    <a:pt x="26856" y="121224"/>
                  </a:cubicBezTo>
                  <a:lnTo>
                    <a:pt x="2012" y="78194"/>
                  </a:lnTo>
                  <a:cubicBezTo>
                    <a:pt x="-2130" y="71019"/>
                    <a:pt x="328" y="61845"/>
                    <a:pt x="7502" y="57703"/>
                  </a:cubicBezTo>
                  <a:lnTo>
                    <a:pt x="78138" y="16922"/>
                  </a:lnTo>
                  <a:cubicBezTo>
                    <a:pt x="78445" y="16744"/>
                    <a:pt x="78757" y="16579"/>
                    <a:pt x="79071" y="16425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0" name="Полилиния 1449">
              <a:extLst>
                <a:ext uri="{FF2B5EF4-FFF2-40B4-BE49-F238E27FC236}">
                  <a16:creationId xmlns:a16="http://schemas.microsoft.com/office/drawing/2014/main" id="{D421EAD3-2458-1E41-9A3E-3DC64B49C4D2}"/>
                </a:ext>
              </a:extLst>
            </p:cNvPr>
            <p:cNvSpPr/>
            <p:nvPr/>
          </p:nvSpPr>
          <p:spPr>
            <a:xfrm>
              <a:off x="8392254" y="6169256"/>
              <a:ext cx="84648" cy="176893"/>
            </a:xfrm>
            <a:custGeom>
              <a:avLst/>
              <a:gdLst>
                <a:gd name="connsiteX0" fmla="*/ 10098 w 84648"/>
                <a:gd name="connsiteY0" fmla="*/ 3340 h 176893"/>
                <a:gd name="connsiteX1" fmla="*/ 1260 w 84648"/>
                <a:gd name="connsiteY1" fmla="*/ 16597 h 176893"/>
                <a:gd name="connsiteX2" fmla="*/ 3000 w 84648"/>
                <a:gd name="connsiteY2" fmla="*/ 26757 h 176893"/>
                <a:gd name="connsiteX3" fmla="*/ 27325 w 84648"/>
                <a:gd name="connsiteY3" fmla="*/ 45000 h 176893"/>
                <a:gd name="connsiteX4" fmla="*/ 12856 w 84648"/>
                <a:gd name="connsiteY4" fmla="*/ 146288 h 176893"/>
                <a:gd name="connsiteX5" fmla="*/ 14977 w 84648"/>
                <a:gd name="connsiteY5" fmla="*/ 152652 h 176893"/>
                <a:gd name="connsiteX6" fmla="*/ 37021 w 84648"/>
                <a:gd name="connsiteY6" fmla="*/ 174696 h 176893"/>
                <a:gd name="connsiteX7" fmla="*/ 47629 w 84648"/>
                <a:gd name="connsiteY7" fmla="*/ 174696 h 176893"/>
                <a:gd name="connsiteX8" fmla="*/ 69673 w 84648"/>
                <a:gd name="connsiteY8" fmla="*/ 152652 h 176893"/>
                <a:gd name="connsiteX9" fmla="*/ 71794 w 84648"/>
                <a:gd name="connsiteY9" fmla="*/ 146288 h 176893"/>
                <a:gd name="connsiteX10" fmla="*/ 57325 w 84648"/>
                <a:gd name="connsiteY10" fmla="*/ 45000 h 176893"/>
                <a:gd name="connsiteX11" fmla="*/ 81649 w 84648"/>
                <a:gd name="connsiteY11" fmla="*/ 26757 h 176893"/>
                <a:gd name="connsiteX12" fmla="*/ 83389 w 84648"/>
                <a:gd name="connsiteY12" fmla="*/ 16597 h 176893"/>
                <a:gd name="connsiteX13" fmla="*/ 74551 w 84648"/>
                <a:gd name="connsiteY13" fmla="*/ 3340 h 176893"/>
                <a:gd name="connsiteX14" fmla="*/ 68311 w 84648"/>
                <a:gd name="connsiteY14" fmla="*/ 0 h 176893"/>
                <a:gd name="connsiteX15" fmla="*/ 16339 w 84648"/>
                <a:gd name="connsiteY15" fmla="*/ 0 h 176893"/>
                <a:gd name="connsiteX16" fmla="*/ 10098 w 84648"/>
                <a:gd name="connsiteY16" fmla="*/ 3340 h 176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4648" h="176893">
                  <a:moveTo>
                    <a:pt x="10098" y="3340"/>
                  </a:moveTo>
                  <a:lnTo>
                    <a:pt x="1260" y="16597"/>
                  </a:lnTo>
                  <a:cubicBezTo>
                    <a:pt x="-948" y="19909"/>
                    <a:pt x="-184" y="24369"/>
                    <a:pt x="3000" y="26757"/>
                  </a:cubicBezTo>
                  <a:lnTo>
                    <a:pt x="27325" y="45000"/>
                  </a:lnTo>
                  <a:lnTo>
                    <a:pt x="12856" y="146288"/>
                  </a:lnTo>
                  <a:cubicBezTo>
                    <a:pt x="12521" y="148625"/>
                    <a:pt x="13307" y="150983"/>
                    <a:pt x="14977" y="152652"/>
                  </a:cubicBezTo>
                  <a:lnTo>
                    <a:pt x="37021" y="174696"/>
                  </a:lnTo>
                  <a:cubicBezTo>
                    <a:pt x="39950" y="177626"/>
                    <a:pt x="44699" y="177626"/>
                    <a:pt x="47629" y="174696"/>
                  </a:cubicBezTo>
                  <a:lnTo>
                    <a:pt x="69673" y="152652"/>
                  </a:lnTo>
                  <a:cubicBezTo>
                    <a:pt x="71342" y="150983"/>
                    <a:pt x="72128" y="148625"/>
                    <a:pt x="71794" y="146288"/>
                  </a:cubicBezTo>
                  <a:lnTo>
                    <a:pt x="57325" y="45000"/>
                  </a:lnTo>
                  <a:lnTo>
                    <a:pt x="81649" y="26757"/>
                  </a:lnTo>
                  <a:cubicBezTo>
                    <a:pt x="84833" y="24369"/>
                    <a:pt x="85597" y="19909"/>
                    <a:pt x="83389" y="16597"/>
                  </a:cubicBezTo>
                  <a:lnTo>
                    <a:pt x="74551" y="3340"/>
                  </a:lnTo>
                  <a:cubicBezTo>
                    <a:pt x="73160" y="1253"/>
                    <a:pt x="70819" y="0"/>
                    <a:pt x="68311" y="0"/>
                  </a:cubicBezTo>
                  <a:lnTo>
                    <a:pt x="16339" y="0"/>
                  </a:lnTo>
                  <a:cubicBezTo>
                    <a:pt x="13831" y="0"/>
                    <a:pt x="11489" y="1253"/>
                    <a:pt x="10098" y="334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51" name="Рисунок 357">
            <a:extLst>
              <a:ext uri="{FF2B5EF4-FFF2-40B4-BE49-F238E27FC236}">
                <a16:creationId xmlns:a16="http://schemas.microsoft.com/office/drawing/2014/main" id="{A5E264B4-527E-E342-8A08-1623EA2322CD}"/>
              </a:ext>
            </a:extLst>
          </p:cNvPr>
          <p:cNvGrpSpPr/>
          <p:nvPr/>
        </p:nvGrpSpPr>
        <p:grpSpPr>
          <a:xfrm>
            <a:off x="8974278" y="5807534"/>
            <a:ext cx="360000" cy="360000"/>
            <a:chOff x="9007731" y="6124256"/>
            <a:chExt cx="360000" cy="360000"/>
          </a:xfrm>
        </p:grpSpPr>
        <p:sp>
          <p:nvSpPr>
            <p:cNvPr id="1452" name="Полилиния 1451">
              <a:extLst>
                <a:ext uri="{FF2B5EF4-FFF2-40B4-BE49-F238E27FC236}">
                  <a16:creationId xmlns:a16="http://schemas.microsoft.com/office/drawing/2014/main" id="{2E2B5FAB-3774-5448-B165-E4869E085953}"/>
                </a:ext>
              </a:extLst>
            </p:cNvPr>
            <p:cNvSpPr/>
            <p:nvPr/>
          </p:nvSpPr>
          <p:spPr>
            <a:xfrm>
              <a:off x="9007731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3" name="Полилиния 1452">
              <a:extLst>
                <a:ext uri="{FF2B5EF4-FFF2-40B4-BE49-F238E27FC236}">
                  <a16:creationId xmlns:a16="http://schemas.microsoft.com/office/drawing/2014/main" id="{B4010982-1FD2-594F-8EFA-CC161716B3C0}"/>
                </a:ext>
              </a:extLst>
            </p:cNvPr>
            <p:cNvSpPr/>
            <p:nvPr/>
          </p:nvSpPr>
          <p:spPr>
            <a:xfrm>
              <a:off x="9041386" y="6175110"/>
              <a:ext cx="299492" cy="230127"/>
            </a:xfrm>
            <a:custGeom>
              <a:avLst/>
              <a:gdLst>
                <a:gd name="connsiteX0" fmla="*/ 31652 w 299492"/>
                <a:gd name="connsiteY0" fmla="*/ 1937 h 230127"/>
                <a:gd name="connsiteX1" fmla="*/ 86345 w 299492"/>
                <a:gd name="connsiteY1" fmla="*/ 61646 h 230127"/>
                <a:gd name="connsiteX2" fmla="*/ 133932 w 299492"/>
                <a:gd name="connsiteY2" fmla="*/ 140282 h 230127"/>
                <a:gd name="connsiteX3" fmla="*/ 133932 w 299492"/>
                <a:gd name="connsiteY3" fmla="*/ 140282 h 230127"/>
                <a:gd name="connsiteX4" fmla="*/ 184499 w 299492"/>
                <a:gd name="connsiteY4" fmla="*/ 156428 h 230127"/>
                <a:gd name="connsiteX5" fmla="*/ 213888 w 299492"/>
                <a:gd name="connsiteY5" fmla="*/ 146631 h 230127"/>
                <a:gd name="connsiteX6" fmla="*/ 227633 w 299492"/>
                <a:gd name="connsiteY6" fmla="*/ 148862 h 230127"/>
                <a:gd name="connsiteX7" fmla="*/ 296492 w 299492"/>
                <a:gd name="connsiteY7" fmla="*/ 200507 h 230127"/>
                <a:gd name="connsiteX8" fmla="*/ 297992 w 299492"/>
                <a:gd name="connsiteY8" fmla="*/ 211007 h 230127"/>
                <a:gd name="connsiteX9" fmla="*/ 292923 w 299492"/>
                <a:gd name="connsiteY9" fmla="*/ 213948 h 230127"/>
                <a:gd name="connsiteX10" fmla="*/ 167213 w 299492"/>
                <a:gd name="connsiteY10" fmla="*/ 229662 h 230127"/>
                <a:gd name="connsiteX11" fmla="*/ 110853 w 299492"/>
                <a:gd name="connsiteY11" fmla="*/ 204869 h 230127"/>
                <a:gd name="connsiteX12" fmla="*/ 63845 w 299492"/>
                <a:gd name="connsiteY12" fmla="*/ 144146 h 230127"/>
                <a:gd name="connsiteX13" fmla="*/ 21551 w 299492"/>
                <a:gd name="connsiteY13" fmla="*/ 105015 h 230127"/>
                <a:gd name="connsiteX14" fmla="*/ 21551 w 299492"/>
                <a:gd name="connsiteY14" fmla="*/ 105014 h 230127"/>
                <a:gd name="connsiteX15" fmla="*/ 3845 w 299492"/>
                <a:gd name="connsiteY15" fmla="*/ 35396 h 230127"/>
                <a:gd name="connsiteX16" fmla="*/ 13843 w 299492"/>
                <a:gd name="connsiteY16" fmla="*/ 7902 h 230127"/>
                <a:gd name="connsiteX17" fmla="*/ 29221 w 299492"/>
                <a:gd name="connsiteY17" fmla="*/ 726 h 230127"/>
                <a:gd name="connsiteX18" fmla="*/ 31652 w 299492"/>
                <a:gd name="connsiteY18" fmla="*/ 1937 h 230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9492" h="230127">
                  <a:moveTo>
                    <a:pt x="31652" y="1937"/>
                  </a:moveTo>
                  <a:cubicBezTo>
                    <a:pt x="59392" y="19938"/>
                    <a:pt x="77623" y="39841"/>
                    <a:pt x="86345" y="61646"/>
                  </a:cubicBezTo>
                  <a:cubicBezTo>
                    <a:pt x="94299" y="81531"/>
                    <a:pt x="110162" y="107744"/>
                    <a:pt x="133932" y="140282"/>
                  </a:cubicBezTo>
                  <a:lnTo>
                    <a:pt x="133932" y="140282"/>
                  </a:lnTo>
                  <a:cubicBezTo>
                    <a:pt x="145482" y="156090"/>
                    <a:pt x="165926" y="162618"/>
                    <a:pt x="184499" y="156428"/>
                  </a:cubicBezTo>
                  <a:lnTo>
                    <a:pt x="213888" y="146631"/>
                  </a:lnTo>
                  <a:cubicBezTo>
                    <a:pt x="218558" y="145074"/>
                    <a:pt x="223694" y="145908"/>
                    <a:pt x="227633" y="148862"/>
                  </a:cubicBezTo>
                  <a:lnTo>
                    <a:pt x="296492" y="200507"/>
                  </a:lnTo>
                  <a:cubicBezTo>
                    <a:pt x="299807" y="202992"/>
                    <a:pt x="300477" y="207693"/>
                    <a:pt x="297992" y="211007"/>
                  </a:cubicBezTo>
                  <a:cubicBezTo>
                    <a:pt x="296771" y="212634"/>
                    <a:pt x="294942" y="213696"/>
                    <a:pt x="292923" y="213948"/>
                  </a:cubicBezTo>
                  <a:lnTo>
                    <a:pt x="167213" y="229662"/>
                  </a:lnTo>
                  <a:cubicBezTo>
                    <a:pt x="145295" y="232403"/>
                    <a:pt x="123644" y="222878"/>
                    <a:pt x="110853" y="204869"/>
                  </a:cubicBezTo>
                  <a:cubicBezTo>
                    <a:pt x="88293" y="173105"/>
                    <a:pt x="72623" y="152864"/>
                    <a:pt x="63845" y="144146"/>
                  </a:cubicBezTo>
                  <a:cubicBezTo>
                    <a:pt x="53207" y="133580"/>
                    <a:pt x="39108" y="120536"/>
                    <a:pt x="21551" y="105015"/>
                  </a:cubicBezTo>
                  <a:lnTo>
                    <a:pt x="21551" y="105014"/>
                  </a:lnTo>
                  <a:cubicBezTo>
                    <a:pt x="1908" y="87649"/>
                    <a:pt x="-5115" y="60036"/>
                    <a:pt x="3845" y="35396"/>
                  </a:cubicBezTo>
                  <a:lnTo>
                    <a:pt x="13843" y="7902"/>
                  </a:lnTo>
                  <a:cubicBezTo>
                    <a:pt x="16108" y="1674"/>
                    <a:pt x="22993" y="-1539"/>
                    <a:pt x="29221" y="726"/>
                  </a:cubicBezTo>
                  <a:cubicBezTo>
                    <a:pt x="30075" y="1036"/>
                    <a:pt x="30890" y="1443"/>
                    <a:pt x="31652" y="1937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4" name="Полилиния 1453">
              <a:extLst>
                <a:ext uri="{FF2B5EF4-FFF2-40B4-BE49-F238E27FC236}">
                  <a16:creationId xmlns:a16="http://schemas.microsoft.com/office/drawing/2014/main" id="{140E36DB-6114-D142-85B2-A95129DD993C}"/>
                </a:ext>
              </a:extLst>
            </p:cNvPr>
            <p:cNvSpPr/>
            <p:nvPr/>
          </p:nvSpPr>
          <p:spPr>
            <a:xfrm>
              <a:off x="9045231" y="6251756"/>
              <a:ext cx="60000" cy="157500"/>
            </a:xfrm>
            <a:custGeom>
              <a:avLst/>
              <a:gdLst>
                <a:gd name="connsiteX0" fmla="*/ 0 w 60000"/>
                <a:gd name="connsiteY0" fmla="*/ 0 h 157500"/>
                <a:gd name="connsiteX1" fmla="*/ 15000 w 60000"/>
                <a:gd name="connsiteY1" fmla="*/ 97500 h 157500"/>
                <a:gd name="connsiteX2" fmla="*/ 15000 w 60000"/>
                <a:gd name="connsiteY2" fmla="*/ 157500 h 157500"/>
                <a:gd name="connsiteX3" fmla="*/ 37500 w 60000"/>
                <a:gd name="connsiteY3" fmla="*/ 157500 h 157500"/>
                <a:gd name="connsiteX4" fmla="*/ 37500 w 60000"/>
                <a:gd name="connsiteY4" fmla="*/ 78750 h 157500"/>
                <a:gd name="connsiteX5" fmla="*/ 60000 w 60000"/>
                <a:gd name="connsiteY5" fmla="*/ 67500 h 157500"/>
                <a:gd name="connsiteX6" fmla="*/ 0 w 60000"/>
                <a:gd name="connsiteY6" fmla="*/ 0 h 15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000" h="157500">
                  <a:moveTo>
                    <a:pt x="0" y="0"/>
                  </a:moveTo>
                  <a:cubicBezTo>
                    <a:pt x="10000" y="49999"/>
                    <a:pt x="15000" y="82500"/>
                    <a:pt x="15000" y="97500"/>
                  </a:cubicBezTo>
                  <a:cubicBezTo>
                    <a:pt x="15000" y="112500"/>
                    <a:pt x="15000" y="132500"/>
                    <a:pt x="15000" y="157500"/>
                  </a:cubicBezTo>
                  <a:lnTo>
                    <a:pt x="37500" y="157500"/>
                  </a:lnTo>
                  <a:cubicBezTo>
                    <a:pt x="37500" y="117499"/>
                    <a:pt x="37500" y="91249"/>
                    <a:pt x="37500" y="78750"/>
                  </a:cubicBezTo>
                  <a:cubicBezTo>
                    <a:pt x="37500" y="66251"/>
                    <a:pt x="45000" y="62501"/>
                    <a:pt x="60000" y="675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55" name="Рисунок 358">
            <a:extLst>
              <a:ext uri="{FF2B5EF4-FFF2-40B4-BE49-F238E27FC236}">
                <a16:creationId xmlns:a16="http://schemas.microsoft.com/office/drawing/2014/main" id="{EE85874E-4C6E-374F-95E1-B7CBF30BB9E5}"/>
              </a:ext>
            </a:extLst>
          </p:cNvPr>
          <p:cNvGrpSpPr/>
          <p:nvPr/>
        </p:nvGrpSpPr>
        <p:grpSpPr>
          <a:xfrm>
            <a:off x="9727430" y="5807534"/>
            <a:ext cx="360000" cy="360000"/>
            <a:chOff x="9760883" y="6124256"/>
            <a:chExt cx="360000" cy="360000"/>
          </a:xfrm>
        </p:grpSpPr>
        <p:sp>
          <p:nvSpPr>
            <p:cNvPr id="1456" name="Полилиния 1455">
              <a:extLst>
                <a:ext uri="{FF2B5EF4-FFF2-40B4-BE49-F238E27FC236}">
                  <a16:creationId xmlns:a16="http://schemas.microsoft.com/office/drawing/2014/main" id="{A1192918-53BE-FA4E-AB14-560B18B76AA3}"/>
                </a:ext>
              </a:extLst>
            </p:cNvPr>
            <p:cNvSpPr/>
            <p:nvPr/>
          </p:nvSpPr>
          <p:spPr>
            <a:xfrm>
              <a:off x="9760883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7" name="Полилиния 1456">
              <a:extLst>
                <a:ext uri="{FF2B5EF4-FFF2-40B4-BE49-F238E27FC236}">
                  <a16:creationId xmlns:a16="http://schemas.microsoft.com/office/drawing/2014/main" id="{969985F6-3105-1244-ADE8-E63343B1E570}"/>
                </a:ext>
              </a:extLst>
            </p:cNvPr>
            <p:cNvSpPr/>
            <p:nvPr/>
          </p:nvSpPr>
          <p:spPr>
            <a:xfrm>
              <a:off x="9780465" y="6169256"/>
              <a:ext cx="320781" cy="257514"/>
            </a:xfrm>
            <a:custGeom>
              <a:avLst/>
              <a:gdLst>
                <a:gd name="connsiteX0" fmla="*/ 78001 w 320781"/>
                <a:gd name="connsiteY0" fmla="*/ 917 h 257514"/>
                <a:gd name="connsiteX1" fmla="*/ 85391 w 320781"/>
                <a:gd name="connsiteY1" fmla="*/ 0 h 257514"/>
                <a:gd name="connsiteX2" fmla="*/ 235390 w 320781"/>
                <a:gd name="connsiteY2" fmla="*/ 0 h 257514"/>
                <a:gd name="connsiteX3" fmla="*/ 242781 w 320781"/>
                <a:gd name="connsiteY3" fmla="*/ 917 h 257514"/>
                <a:gd name="connsiteX4" fmla="*/ 269797 w 320781"/>
                <a:gd name="connsiteY4" fmla="*/ 23096 h 257514"/>
                <a:gd name="connsiteX5" fmla="*/ 320266 w 320781"/>
                <a:gd name="connsiteY5" fmla="*/ 211452 h 257514"/>
                <a:gd name="connsiteX6" fmla="*/ 309660 w 320781"/>
                <a:gd name="connsiteY6" fmla="*/ 229823 h 257514"/>
                <a:gd name="connsiteX7" fmla="*/ 208237 w 320781"/>
                <a:gd name="connsiteY7" fmla="*/ 257000 h 257514"/>
                <a:gd name="connsiteX8" fmla="*/ 189867 w 320781"/>
                <a:gd name="connsiteY8" fmla="*/ 246393 h 257514"/>
                <a:gd name="connsiteX9" fmla="*/ 160390 w 320781"/>
                <a:gd name="connsiteY9" fmla="*/ 136386 h 257514"/>
                <a:gd name="connsiteX10" fmla="*/ 130915 w 320781"/>
                <a:gd name="connsiteY10" fmla="*/ 246393 h 257514"/>
                <a:gd name="connsiteX11" fmla="*/ 112544 w 320781"/>
                <a:gd name="connsiteY11" fmla="*/ 257000 h 257514"/>
                <a:gd name="connsiteX12" fmla="*/ 11121 w 320781"/>
                <a:gd name="connsiteY12" fmla="*/ 229823 h 257514"/>
                <a:gd name="connsiteX13" fmla="*/ 515 w 320781"/>
                <a:gd name="connsiteY13" fmla="*/ 211452 h 257514"/>
                <a:gd name="connsiteX14" fmla="*/ 50984 w 320781"/>
                <a:gd name="connsiteY14" fmla="*/ 23096 h 257514"/>
                <a:gd name="connsiteX15" fmla="*/ 78001 w 320781"/>
                <a:gd name="connsiteY15" fmla="*/ 917 h 257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781" h="257514">
                  <a:moveTo>
                    <a:pt x="78001" y="917"/>
                  </a:moveTo>
                  <a:cubicBezTo>
                    <a:pt x="80365" y="318"/>
                    <a:pt x="82841" y="0"/>
                    <a:pt x="85391" y="0"/>
                  </a:cubicBezTo>
                  <a:lnTo>
                    <a:pt x="235390" y="0"/>
                  </a:lnTo>
                  <a:cubicBezTo>
                    <a:pt x="237940" y="0"/>
                    <a:pt x="240417" y="318"/>
                    <a:pt x="242781" y="917"/>
                  </a:cubicBezTo>
                  <a:cubicBezTo>
                    <a:pt x="255253" y="1733"/>
                    <a:pt x="266382" y="10351"/>
                    <a:pt x="269797" y="23096"/>
                  </a:cubicBezTo>
                  <a:lnTo>
                    <a:pt x="320266" y="211452"/>
                  </a:lnTo>
                  <a:cubicBezTo>
                    <a:pt x="322411" y="219455"/>
                    <a:pt x="317662" y="227679"/>
                    <a:pt x="309660" y="229823"/>
                  </a:cubicBezTo>
                  <a:lnTo>
                    <a:pt x="208237" y="257000"/>
                  </a:lnTo>
                  <a:cubicBezTo>
                    <a:pt x="200236" y="259143"/>
                    <a:pt x="192010" y="254394"/>
                    <a:pt x="189867" y="246393"/>
                  </a:cubicBezTo>
                  <a:lnTo>
                    <a:pt x="160390" y="136386"/>
                  </a:lnTo>
                  <a:lnTo>
                    <a:pt x="130915" y="246393"/>
                  </a:lnTo>
                  <a:cubicBezTo>
                    <a:pt x="128771" y="254394"/>
                    <a:pt x="120546" y="259143"/>
                    <a:pt x="112544" y="257000"/>
                  </a:cubicBezTo>
                  <a:lnTo>
                    <a:pt x="11121" y="229823"/>
                  </a:lnTo>
                  <a:cubicBezTo>
                    <a:pt x="3119" y="227679"/>
                    <a:pt x="-1629" y="219455"/>
                    <a:pt x="515" y="211452"/>
                  </a:cubicBezTo>
                  <a:lnTo>
                    <a:pt x="50984" y="23096"/>
                  </a:lnTo>
                  <a:cubicBezTo>
                    <a:pt x="54400" y="10351"/>
                    <a:pt x="65528" y="1733"/>
                    <a:pt x="78001" y="917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58" name="Рисунок 359">
            <a:extLst>
              <a:ext uri="{FF2B5EF4-FFF2-40B4-BE49-F238E27FC236}">
                <a16:creationId xmlns:a16="http://schemas.microsoft.com/office/drawing/2014/main" id="{67559802-EEE5-4244-9EBD-0062C9E7EB56}"/>
              </a:ext>
            </a:extLst>
          </p:cNvPr>
          <p:cNvGrpSpPr/>
          <p:nvPr/>
        </p:nvGrpSpPr>
        <p:grpSpPr>
          <a:xfrm>
            <a:off x="10480582" y="5807534"/>
            <a:ext cx="360000" cy="360000"/>
            <a:chOff x="10514035" y="6124256"/>
            <a:chExt cx="360000" cy="360000"/>
          </a:xfrm>
        </p:grpSpPr>
        <p:sp>
          <p:nvSpPr>
            <p:cNvPr id="1459" name="Полилиния 1458">
              <a:extLst>
                <a:ext uri="{FF2B5EF4-FFF2-40B4-BE49-F238E27FC236}">
                  <a16:creationId xmlns:a16="http://schemas.microsoft.com/office/drawing/2014/main" id="{6C1BE9AA-45EF-7344-A1B1-86D72DCEC8AE}"/>
                </a:ext>
              </a:extLst>
            </p:cNvPr>
            <p:cNvSpPr/>
            <p:nvPr/>
          </p:nvSpPr>
          <p:spPr>
            <a:xfrm>
              <a:off x="1051403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0" name="Полилиния 1459">
              <a:extLst>
                <a:ext uri="{FF2B5EF4-FFF2-40B4-BE49-F238E27FC236}">
                  <a16:creationId xmlns:a16="http://schemas.microsoft.com/office/drawing/2014/main" id="{02F94DB3-8A24-DF42-B646-A1303EBCCEAA}"/>
                </a:ext>
              </a:extLst>
            </p:cNvPr>
            <p:cNvSpPr/>
            <p:nvPr/>
          </p:nvSpPr>
          <p:spPr>
            <a:xfrm>
              <a:off x="10542059" y="6338272"/>
              <a:ext cx="125459" cy="125460"/>
            </a:xfrm>
            <a:custGeom>
              <a:avLst/>
              <a:gdLst>
                <a:gd name="connsiteX0" fmla="*/ 99853 w 125459"/>
                <a:gd name="connsiteY0" fmla="*/ 4394 h 125460"/>
                <a:gd name="connsiteX1" fmla="*/ 121066 w 125459"/>
                <a:gd name="connsiteY1" fmla="*/ 25607 h 125460"/>
                <a:gd name="connsiteX2" fmla="*/ 121066 w 125459"/>
                <a:gd name="connsiteY2" fmla="*/ 46820 h 125460"/>
                <a:gd name="connsiteX3" fmla="*/ 46820 w 125459"/>
                <a:gd name="connsiteY3" fmla="*/ 121066 h 125460"/>
                <a:gd name="connsiteX4" fmla="*/ 25607 w 125459"/>
                <a:gd name="connsiteY4" fmla="*/ 121066 h 125460"/>
                <a:gd name="connsiteX5" fmla="*/ 4393 w 125459"/>
                <a:gd name="connsiteY5" fmla="*/ 99853 h 125460"/>
                <a:gd name="connsiteX6" fmla="*/ 4393 w 125459"/>
                <a:gd name="connsiteY6" fmla="*/ 78640 h 125460"/>
                <a:gd name="connsiteX7" fmla="*/ 78640 w 125459"/>
                <a:gd name="connsiteY7" fmla="*/ 4394 h 125460"/>
                <a:gd name="connsiteX8" fmla="*/ 99853 w 125459"/>
                <a:gd name="connsiteY8" fmla="*/ 4394 h 125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459" h="125460">
                  <a:moveTo>
                    <a:pt x="99853" y="4394"/>
                  </a:moveTo>
                  <a:lnTo>
                    <a:pt x="121066" y="25607"/>
                  </a:lnTo>
                  <a:cubicBezTo>
                    <a:pt x="126924" y="31465"/>
                    <a:pt x="126924" y="40963"/>
                    <a:pt x="121066" y="46820"/>
                  </a:cubicBezTo>
                  <a:lnTo>
                    <a:pt x="46820" y="121066"/>
                  </a:lnTo>
                  <a:cubicBezTo>
                    <a:pt x="40962" y="126925"/>
                    <a:pt x="31464" y="126925"/>
                    <a:pt x="25607" y="121066"/>
                  </a:cubicBezTo>
                  <a:lnTo>
                    <a:pt x="4393" y="99853"/>
                  </a:lnTo>
                  <a:cubicBezTo>
                    <a:pt x="-1464" y="93995"/>
                    <a:pt x="-1464" y="84497"/>
                    <a:pt x="4393" y="78640"/>
                  </a:cubicBezTo>
                  <a:lnTo>
                    <a:pt x="78640" y="4394"/>
                  </a:lnTo>
                  <a:cubicBezTo>
                    <a:pt x="84498" y="-1465"/>
                    <a:pt x="93995" y="-1465"/>
                    <a:pt x="99853" y="4394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461" name="Полилиния 1460">
              <a:extLst>
                <a:ext uri="{FF2B5EF4-FFF2-40B4-BE49-F238E27FC236}">
                  <a16:creationId xmlns:a16="http://schemas.microsoft.com/office/drawing/2014/main" id="{8077E903-E95E-C24F-8AC7-A3EDDB5308B2}"/>
                </a:ext>
              </a:extLst>
            </p:cNvPr>
            <p:cNvSpPr/>
            <p:nvPr/>
          </p:nvSpPr>
          <p:spPr>
            <a:xfrm>
              <a:off x="10643731" y="6153566"/>
              <a:ext cx="208492" cy="208492"/>
            </a:xfrm>
            <a:custGeom>
              <a:avLst/>
              <a:gdLst>
                <a:gd name="connsiteX0" fmla="*/ 40607 w 208492"/>
                <a:gd name="connsiteY0" fmla="*/ 146672 h 208492"/>
                <a:gd name="connsiteX1" fmla="*/ 8787 w 208492"/>
                <a:gd name="connsiteY1" fmla="*/ 114853 h 208492"/>
                <a:gd name="connsiteX2" fmla="*/ 8787 w 208492"/>
                <a:gd name="connsiteY2" fmla="*/ 72426 h 208492"/>
                <a:gd name="connsiteX3" fmla="*/ 72427 w 208492"/>
                <a:gd name="connsiteY3" fmla="*/ 8787 h 208492"/>
                <a:gd name="connsiteX4" fmla="*/ 114853 w 208492"/>
                <a:gd name="connsiteY4" fmla="*/ 8787 h 208492"/>
                <a:gd name="connsiteX5" fmla="*/ 199706 w 208492"/>
                <a:gd name="connsiteY5" fmla="*/ 93640 h 208492"/>
                <a:gd name="connsiteX6" fmla="*/ 199706 w 208492"/>
                <a:gd name="connsiteY6" fmla="*/ 136066 h 208492"/>
                <a:gd name="connsiteX7" fmla="*/ 136066 w 208492"/>
                <a:gd name="connsiteY7" fmla="*/ 199706 h 208492"/>
                <a:gd name="connsiteX8" fmla="*/ 93640 w 208492"/>
                <a:gd name="connsiteY8" fmla="*/ 199706 h 208492"/>
                <a:gd name="connsiteX9" fmla="*/ 61820 w 208492"/>
                <a:gd name="connsiteY9" fmla="*/ 167885 h 208492"/>
                <a:gd name="connsiteX10" fmla="*/ 29999 w 208492"/>
                <a:gd name="connsiteY10" fmla="*/ 199706 h 208492"/>
                <a:gd name="connsiteX11" fmla="*/ 8787 w 208492"/>
                <a:gd name="connsiteY11" fmla="*/ 178493 h 208492"/>
                <a:gd name="connsiteX12" fmla="*/ 40607 w 208492"/>
                <a:gd name="connsiteY12" fmla="*/ 146672 h 208492"/>
                <a:gd name="connsiteX13" fmla="*/ 98942 w 208492"/>
                <a:gd name="connsiteY13" fmla="*/ 35303 h 208492"/>
                <a:gd name="connsiteX14" fmla="*/ 35303 w 208492"/>
                <a:gd name="connsiteY14" fmla="*/ 98943 h 208492"/>
                <a:gd name="connsiteX15" fmla="*/ 45910 w 208492"/>
                <a:gd name="connsiteY15" fmla="*/ 109550 h 208492"/>
                <a:gd name="connsiteX16" fmla="*/ 109549 w 208492"/>
                <a:gd name="connsiteY16" fmla="*/ 45910 h 208492"/>
                <a:gd name="connsiteX17" fmla="*/ 98942 w 208492"/>
                <a:gd name="connsiteY17" fmla="*/ 35303 h 208492"/>
                <a:gd name="connsiteX18" fmla="*/ 130763 w 208492"/>
                <a:gd name="connsiteY18" fmla="*/ 67123 h 208492"/>
                <a:gd name="connsiteX19" fmla="*/ 67123 w 208492"/>
                <a:gd name="connsiteY19" fmla="*/ 130763 h 208492"/>
                <a:gd name="connsiteX20" fmla="*/ 77729 w 208492"/>
                <a:gd name="connsiteY20" fmla="*/ 141370 h 208492"/>
                <a:gd name="connsiteX21" fmla="*/ 141370 w 208492"/>
                <a:gd name="connsiteY21" fmla="*/ 77730 h 208492"/>
                <a:gd name="connsiteX22" fmla="*/ 130763 w 208492"/>
                <a:gd name="connsiteY22" fmla="*/ 67123 h 208492"/>
                <a:gd name="connsiteX23" fmla="*/ 162583 w 208492"/>
                <a:gd name="connsiteY23" fmla="*/ 98943 h 208492"/>
                <a:gd name="connsiteX24" fmla="*/ 98942 w 208492"/>
                <a:gd name="connsiteY24" fmla="*/ 162583 h 208492"/>
                <a:gd name="connsiteX25" fmla="*/ 109549 w 208492"/>
                <a:gd name="connsiteY25" fmla="*/ 173189 h 208492"/>
                <a:gd name="connsiteX26" fmla="*/ 173189 w 208492"/>
                <a:gd name="connsiteY26" fmla="*/ 109550 h 208492"/>
                <a:gd name="connsiteX27" fmla="*/ 162583 w 208492"/>
                <a:gd name="connsiteY27" fmla="*/ 98943 h 20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08492" h="208492">
                  <a:moveTo>
                    <a:pt x="40607" y="146672"/>
                  </a:moveTo>
                  <a:lnTo>
                    <a:pt x="8787" y="114853"/>
                  </a:lnTo>
                  <a:cubicBezTo>
                    <a:pt x="-2929" y="103137"/>
                    <a:pt x="-2929" y="84142"/>
                    <a:pt x="8787" y="72426"/>
                  </a:cubicBezTo>
                  <a:lnTo>
                    <a:pt x="72427" y="8787"/>
                  </a:lnTo>
                  <a:cubicBezTo>
                    <a:pt x="84142" y="-2929"/>
                    <a:pt x="103138" y="-2929"/>
                    <a:pt x="114853" y="8787"/>
                  </a:cubicBezTo>
                  <a:lnTo>
                    <a:pt x="199706" y="93640"/>
                  </a:lnTo>
                  <a:cubicBezTo>
                    <a:pt x="211421" y="105355"/>
                    <a:pt x="211421" y="124351"/>
                    <a:pt x="199706" y="136066"/>
                  </a:cubicBezTo>
                  <a:lnTo>
                    <a:pt x="136066" y="199706"/>
                  </a:lnTo>
                  <a:cubicBezTo>
                    <a:pt x="124351" y="211421"/>
                    <a:pt x="105355" y="211421"/>
                    <a:pt x="93640" y="199706"/>
                  </a:cubicBezTo>
                  <a:lnTo>
                    <a:pt x="61820" y="167885"/>
                  </a:lnTo>
                  <a:lnTo>
                    <a:pt x="29999" y="199706"/>
                  </a:lnTo>
                  <a:lnTo>
                    <a:pt x="8787" y="178493"/>
                  </a:lnTo>
                  <a:lnTo>
                    <a:pt x="40607" y="146672"/>
                  </a:lnTo>
                  <a:close/>
                  <a:moveTo>
                    <a:pt x="98942" y="35303"/>
                  </a:moveTo>
                  <a:lnTo>
                    <a:pt x="35303" y="98943"/>
                  </a:lnTo>
                  <a:lnTo>
                    <a:pt x="45910" y="109550"/>
                  </a:lnTo>
                  <a:lnTo>
                    <a:pt x="109549" y="45910"/>
                  </a:lnTo>
                  <a:lnTo>
                    <a:pt x="98942" y="35303"/>
                  </a:lnTo>
                  <a:close/>
                  <a:moveTo>
                    <a:pt x="130763" y="67123"/>
                  </a:moveTo>
                  <a:lnTo>
                    <a:pt x="67123" y="130763"/>
                  </a:lnTo>
                  <a:lnTo>
                    <a:pt x="77729" y="141370"/>
                  </a:lnTo>
                  <a:lnTo>
                    <a:pt x="141370" y="77730"/>
                  </a:lnTo>
                  <a:lnTo>
                    <a:pt x="130763" y="67123"/>
                  </a:lnTo>
                  <a:close/>
                  <a:moveTo>
                    <a:pt x="162583" y="98943"/>
                  </a:moveTo>
                  <a:lnTo>
                    <a:pt x="98942" y="162583"/>
                  </a:lnTo>
                  <a:lnTo>
                    <a:pt x="109549" y="173189"/>
                  </a:lnTo>
                  <a:lnTo>
                    <a:pt x="173189" y="109550"/>
                  </a:lnTo>
                  <a:lnTo>
                    <a:pt x="162583" y="98943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62" name="Рисунок 360">
            <a:extLst>
              <a:ext uri="{FF2B5EF4-FFF2-40B4-BE49-F238E27FC236}">
                <a16:creationId xmlns:a16="http://schemas.microsoft.com/office/drawing/2014/main" id="{6D66FEBA-F519-EF49-BBEE-D1499287A243}"/>
              </a:ext>
            </a:extLst>
          </p:cNvPr>
          <p:cNvGrpSpPr/>
          <p:nvPr/>
        </p:nvGrpSpPr>
        <p:grpSpPr>
          <a:xfrm>
            <a:off x="11233735" y="5807534"/>
            <a:ext cx="360000" cy="360000"/>
            <a:chOff x="11267188" y="6124256"/>
            <a:chExt cx="360000" cy="360000"/>
          </a:xfrm>
        </p:grpSpPr>
        <p:sp>
          <p:nvSpPr>
            <p:cNvPr id="1463" name="Полилиния 1462">
              <a:extLst>
                <a:ext uri="{FF2B5EF4-FFF2-40B4-BE49-F238E27FC236}">
                  <a16:creationId xmlns:a16="http://schemas.microsoft.com/office/drawing/2014/main" id="{D0E22323-B600-2543-BD9C-3851D76FE9D6}"/>
                </a:ext>
              </a:extLst>
            </p:cNvPr>
            <p:cNvSpPr/>
            <p:nvPr/>
          </p:nvSpPr>
          <p:spPr>
            <a:xfrm>
              <a:off x="11267188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4" name="Полилиния 1463">
              <a:extLst>
                <a:ext uri="{FF2B5EF4-FFF2-40B4-BE49-F238E27FC236}">
                  <a16:creationId xmlns:a16="http://schemas.microsoft.com/office/drawing/2014/main" id="{66E887A4-5E9D-4B49-9AB4-C2F909BFAC2F}"/>
                </a:ext>
              </a:extLst>
            </p:cNvPr>
            <p:cNvSpPr/>
            <p:nvPr/>
          </p:nvSpPr>
          <p:spPr>
            <a:xfrm>
              <a:off x="11297188" y="6214256"/>
              <a:ext cx="299024" cy="196703"/>
            </a:xfrm>
            <a:custGeom>
              <a:avLst/>
              <a:gdLst>
                <a:gd name="connsiteX0" fmla="*/ 240000 w 299024"/>
                <a:gd name="connsiteY0" fmla="*/ 135000 h 196703"/>
                <a:gd name="connsiteX1" fmla="*/ 240000 w 299024"/>
                <a:gd name="connsiteY1" fmla="*/ 112161 h 196703"/>
                <a:gd name="connsiteX2" fmla="*/ 241863 w 299024"/>
                <a:gd name="connsiteY2" fmla="*/ 107214 h 196703"/>
                <a:gd name="connsiteX3" fmla="*/ 252447 w 299024"/>
                <a:gd name="connsiteY3" fmla="*/ 106524 h 196703"/>
                <a:gd name="connsiteX4" fmla="*/ 296472 w 299024"/>
                <a:gd name="connsiteY4" fmla="*/ 145167 h 196703"/>
                <a:gd name="connsiteX5" fmla="*/ 297177 w 299024"/>
                <a:gd name="connsiteY5" fmla="*/ 145874 h 196703"/>
                <a:gd name="connsiteX6" fmla="*/ 296454 w 299024"/>
                <a:gd name="connsiteY6" fmla="*/ 156456 h 196703"/>
                <a:gd name="connsiteX7" fmla="*/ 252430 w 299024"/>
                <a:gd name="connsiteY7" fmla="*/ 194856 h 196703"/>
                <a:gd name="connsiteX8" fmla="*/ 247500 w 299024"/>
                <a:gd name="connsiteY8" fmla="*/ 196704 h 196703"/>
                <a:gd name="connsiteX9" fmla="*/ 240000 w 299024"/>
                <a:gd name="connsiteY9" fmla="*/ 189204 h 196703"/>
                <a:gd name="connsiteX10" fmla="*/ 240000 w 299024"/>
                <a:gd name="connsiteY10" fmla="*/ 165000 h 196703"/>
                <a:gd name="connsiteX11" fmla="*/ 216681 w 299024"/>
                <a:gd name="connsiteY11" fmla="*/ 165000 h 196703"/>
                <a:gd name="connsiteX12" fmla="*/ 145640 w 299024"/>
                <a:gd name="connsiteY12" fmla="*/ 130254 h 196703"/>
                <a:gd name="connsiteX13" fmla="*/ 85680 w 299024"/>
                <a:gd name="connsiteY13" fmla="*/ 53164 h 196703"/>
                <a:gd name="connsiteX14" fmla="*/ 38319 w 299024"/>
                <a:gd name="connsiteY14" fmla="*/ 30000 h 196703"/>
                <a:gd name="connsiteX15" fmla="*/ 0 w 299024"/>
                <a:gd name="connsiteY15" fmla="*/ 30000 h 196703"/>
                <a:gd name="connsiteX16" fmla="*/ 0 w 299024"/>
                <a:gd name="connsiteY16" fmla="*/ 0 h 196703"/>
                <a:gd name="connsiteX17" fmla="*/ 38319 w 299024"/>
                <a:gd name="connsiteY17" fmla="*/ 0 h 196703"/>
                <a:gd name="connsiteX18" fmla="*/ 109360 w 299024"/>
                <a:gd name="connsiteY18" fmla="*/ 34745 h 196703"/>
                <a:gd name="connsiteX19" fmla="*/ 169320 w 299024"/>
                <a:gd name="connsiteY19" fmla="*/ 111837 h 196703"/>
                <a:gd name="connsiteX20" fmla="*/ 216681 w 299024"/>
                <a:gd name="connsiteY20" fmla="*/ 135000 h 196703"/>
                <a:gd name="connsiteX21" fmla="*/ 240000 w 299024"/>
                <a:gd name="connsiteY21" fmla="*/ 135000 h 19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9024" h="196703">
                  <a:moveTo>
                    <a:pt x="240000" y="135000"/>
                  </a:moveTo>
                  <a:lnTo>
                    <a:pt x="240000" y="112161"/>
                  </a:lnTo>
                  <a:cubicBezTo>
                    <a:pt x="240000" y="110340"/>
                    <a:pt x="240663" y="108582"/>
                    <a:pt x="241863" y="107214"/>
                  </a:cubicBezTo>
                  <a:cubicBezTo>
                    <a:pt x="244596" y="104100"/>
                    <a:pt x="249334" y="103793"/>
                    <a:pt x="252447" y="106524"/>
                  </a:cubicBezTo>
                  <a:lnTo>
                    <a:pt x="296472" y="145167"/>
                  </a:lnTo>
                  <a:cubicBezTo>
                    <a:pt x="296723" y="145386"/>
                    <a:pt x="296958" y="145623"/>
                    <a:pt x="297177" y="145874"/>
                  </a:cubicBezTo>
                  <a:cubicBezTo>
                    <a:pt x="299900" y="148995"/>
                    <a:pt x="299576" y="153733"/>
                    <a:pt x="296454" y="156456"/>
                  </a:cubicBezTo>
                  <a:lnTo>
                    <a:pt x="252430" y="194856"/>
                  </a:lnTo>
                  <a:cubicBezTo>
                    <a:pt x="251064" y="196047"/>
                    <a:pt x="249312" y="196704"/>
                    <a:pt x="247500" y="196704"/>
                  </a:cubicBezTo>
                  <a:cubicBezTo>
                    <a:pt x="243359" y="196704"/>
                    <a:pt x="240000" y="193346"/>
                    <a:pt x="240000" y="189204"/>
                  </a:cubicBezTo>
                  <a:lnTo>
                    <a:pt x="240000" y="165000"/>
                  </a:lnTo>
                  <a:lnTo>
                    <a:pt x="216681" y="165000"/>
                  </a:lnTo>
                  <a:cubicBezTo>
                    <a:pt x="188909" y="165000"/>
                    <a:pt x="162690" y="152178"/>
                    <a:pt x="145640" y="130254"/>
                  </a:cubicBezTo>
                  <a:lnTo>
                    <a:pt x="85680" y="53164"/>
                  </a:lnTo>
                  <a:cubicBezTo>
                    <a:pt x="74312" y="38548"/>
                    <a:pt x="56834" y="30000"/>
                    <a:pt x="38319" y="30000"/>
                  </a:cubicBezTo>
                  <a:lnTo>
                    <a:pt x="0" y="30000"/>
                  </a:lnTo>
                  <a:lnTo>
                    <a:pt x="0" y="0"/>
                  </a:lnTo>
                  <a:lnTo>
                    <a:pt x="38319" y="0"/>
                  </a:lnTo>
                  <a:cubicBezTo>
                    <a:pt x="66092" y="0"/>
                    <a:pt x="92309" y="12823"/>
                    <a:pt x="109360" y="34745"/>
                  </a:cubicBezTo>
                  <a:lnTo>
                    <a:pt x="169320" y="111837"/>
                  </a:lnTo>
                  <a:cubicBezTo>
                    <a:pt x="180687" y="126452"/>
                    <a:pt x="198167" y="135000"/>
                    <a:pt x="216681" y="135000"/>
                  </a:cubicBezTo>
                  <a:lnTo>
                    <a:pt x="240000" y="13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5" name="Полилиния 1464">
              <a:extLst>
                <a:ext uri="{FF2B5EF4-FFF2-40B4-BE49-F238E27FC236}">
                  <a16:creationId xmlns:a16="http://schemas.microsoft.com/office/drawing/2014/main" id="{662AE77C-9C30-E946-B035-B769E1DD6B71}"/>
                </a:ext>
              </a:extLst>
            </p:cNvPr>
            <p:cNvSpPr/>
            <p:nvPr/>
          </p:nvSpPr>
          <p:spPr>
            <a:xfrm>
              <a:off x="11297188" y="6183917"/>
              <a:ext cx="299024" cy="195338"/>
            </a:xfrm>
            <a:custGeom>
              <a:avLst/>
              <a:gdLst>
                <a:gd name="connsiteX0" fmla="*/ 240000 w 299024"/>
                <a:gd name="connsiteY0" fmla="*/ 30339 h 195338"/>
                <a:gd name="connsiteX1" fmla="*/ 240000 w 299024"/>
                <a:gd name="connsiteY1" fmla="*/ 7500 h 195338"/>
                <a:gd name="connsiteX2" fmla="*/ 241863 w 299024"/>
                <a:gd name="connsiteY2" fmla="*/ 2553 h 195338"/>
                <a:gd name="connsiteX3" fmla="*/ 252447 w 299024"/>
                <a:gd name="connsiteY3" fmla="*/ 1863 h 195338"/>
                <a:gd name="connsiteX4" fmla="*/ 296472 w 299024"/>
                <a:gd name="connsiteY4" fmla="*/ 40506 h 195338"/>
                <a:gd name="connsiteX5" fmla="*/ 297177 w 299024"/>
                <a:gd name="connsiteY5" fmla="*/ 41212 h 195338"/>
                <a:gd name="connsiteX6" fmla="*/ 296454 w 299024"/>
                <a:gd name="connsiteY6" fmla="*/ 51795 h 195338"/>
                <a:gd name="connsiteX7" fmla="*/ 252430 w 299024"/>
                <a:gd name="connsiteY7" fmla="*/ 90195 h 195338"/>
                <a:gd name="connsiteX8" fmla="*/ 247500 w 299024"/>
                <a:gd name="connsiteY8" fmla="*/ 92043 h 195338"/>
                <a:gd name="connsiteX9" fmla="*/ 240000 w 299024"/>
                <a:gd name="connsiteY9" fmla="*/ 84543 h 195338"/>
                <a:gd name="connsiteX10" fmla="*/ 240000 w 299024"/>
                <a:gd name="connsiteY10" fmla="*/ 60339 h 195338"/>
                <a:gd name="connsiteX11" fmla="*/ 216681 w 299024"/>
                <a:gd name="connsiteY11" fmla="*/ 60339 h 195338"/>
                <a:gd name="connsiteX12" fmla="*/ 169320 w 299024"/>
                <a:gd name="connsiteY12" fmla="*/ 83502 h 195338"/>
                <a:gd name="connsiteX13" fmla="*/ 109360 w 299024"/>
                <a:gd name="connsiteY13" fmla="*/ 160593 h 195338"/>
                <a:gd name="connsiteX14" fmla="*/ 38319 w 299024"/>
                <a:gd name="connsiteY14" fmla="*/ 195339 h 195338"/>
                <a:gd name="connsiteX15" fmla="*/ 0 w 299024"/>
                <a:gd name="connsiteY15" fmla="*/ 195339 h 195338"/>
                <a:gd name="connsiteX16" fmla="*/ 0 w 299024"/>
                <a:gd name="connsiteY16" fmla="*/ 165339 h 195338"/>
                <a:gd name="connsiteX17" fmla="*/ 38319 w 299024"/>
                <a:gd name="connsiteY17" fmla="*/ 165339 h 195338"/>
                <a:gd name="connsiteX18" fmla="*/ 85680 w 299024"/>
                <a:gd name="connsiteY18" fmla="*/ 142176 h 195338"/>
                <a:gd name="connsiteX19" fmla="*/ 145640 w 299024"/>
                <a:gd name="connsiteY19" fmla="*/ 65084 h 195338"/>
                <a:gd name="connsiteX20" fmla="*/ 216681 w 299024"/>
                <a:gd name="connsiteY20" fmla="*/ 30339 h 195338"/>
                <a:gd name="connsiteX21" fmla="*/ 240000 w 299024"/>
                <a:gd name="connsiteY21" fmla="*/ 30339 h 195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9024" h="195338">
                  <a:moveTo>
                    <a:pt x="240000" y="30339"/>
                  </a:moveTo>
                  <a:lnTo>
                    <a:pt x="240000" y="7500"/>
                  </a:lnTo>
                  <a:cubicBezTo>
                    <a:pt x="240000" y="5679"/>
                    <a:pt x="240663" y="3921"/>
                    <a:pt x="241863" y="2553"/>
                  </a:cubicBezTo>
                  <a:cubicBezTo>
                    <a:pt x="244596" y="-561"/>
                    <a:pt x="249334" y="-869"/>
                    <a:pt x="252447" y="1863"/>
                  </a:cubicBezTo>
                  <a:lnTo>
                    <a:pt x="296472" y="40506"/>
                  </a:lnTo>
                  <a:cubicBezTo>
                    <a:pt x="296723" y="40726"/>
                    <a:pt x="296958" y="40962"/>
                    <a:pt x="297177" y="41212"/>
                  </a:cubicBezTo>
                  <a:cubicBezTo>
                    <a:pt x="299900" y="44334"/>
                    <a:pt x="299576" y="49072"/>
                    <a:pt x="296454" y="51795"/>
                  </a:cubicBezTo>
                  <a:lnTo>
                    <a:pt x="252430" y="90195"/>
                  </a:lnTo>
                  <a:cubicBezTo>
                    <a:pt x="251064" y="91386"/>
                    <a:pt x="249312" y="92043"/>
                    <a:pt x="247500" y="92043"/>
                  </a:cubicBezTo>
                  <a:cubicBezTo>
                    <a:pt x="243359" y="92043"/>
                    <a:pt x="240000" y="88685"/>
                    <a:pt x="240000" y="84543"/>
                  </a:cubicBezTo>
                  <a:lnTo>
                    <a:pt x="240000" y="60339"/>
                  </a:lnTo>
                  <a:lnTo>
                    <a:pt x="216681" y="60339"/>
                  </a:lnTo>
                  <a:cubicBezTo>
                    <a:pt x="198167" y="60339"/>
                    <a:pt x="180687" y="68887"/>
                    <a:pt x="169320" y="83502"/>
                  </a:cubicBezTo>
                  <a:lnTo>
                    <a:pt x="109360" y="160593"/>
                  </a:lnTo>
                  <a:cubicBezTo>
                    <a:pt x="92309" y="182517"/>
                    <a:pt x="66092" y="195339"/>
                    <a:pt x="38319" y="195339"/>
                  </a:cubicBezTo>
                  <a:lnTo>
                    <a:pt x="0" y="195339"/>
                  </a:lnTo>
                  <a:lnTo>
                    <a:pt x="0" y="165339"/>
                  </a:lnTo>
                  <a:lnTo>
                    <a:pt x="38319" y="165339"/>
                  </a:lnTo>
                  <a:cubicBezTo>
                    <a:pt x="56834" y="165339"/>
                    <a:pt x="74312" y="156790"/>
                    <a:pt x="85680" y="142176"/>
                  </a:cubicBezTo>
                  <a:lnTo>
                    <a:pt x="145640" y="65084"/>
                  </a:lnTo>
                  <a:cubicBezTo>
                    <a:pt x="162690" y="43161"/>
                    <a:pt x="188909" y="30339"/>
                    <a:pt x="216681" y="30339"/>
                  </a:cubicBezTo>
                  <a:lnTo>
                    <a:pt x="240000" y="30339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466" name="Рисунок 361">
            <a:extLst>
              <a:ext uri="{FF2B5EF4-FFF2-40B4-BE49-F238E27FC236}">
                <a16:creationId xmlns:a16="http://schemas.microsoft.com/office/drawing/2014/main" id="{6F89A139-77A7-244A-AEFD-6DFF86BD7EC4}"/>
              </a:ext>
            </a:extLst>
          </p:cNvPr>
          <p:cNvGrpSpPr/>
          <p:nvPr/>
        </p:nvGrpSpPr>
        <p:grpSpPr>
          <a:xfrm>
            <a:off x="689606" y="5807534"/>
            <a:ext cx="360000" cy="360000"/>
            <a:chOff x="723059" y="6124256"/>
            <a:chExt cx="360000" cy="360000"/>
          </a:xfrm>
        </p:grpSpPr>
        <p:sp>
          <p:nvSpPr>
            <p:cNvPr id="1467" name="Полилиния 1466">
              <a:extLst>
                <a:ext uri="{FF2B5EF4-FFF2-40B4-BE49-F238E27FC236}">
                  <a16:creationId xmlns:a16="http://schemas.microsoft.com/office/drawing/2014/main" id="{3E63602B-51B9-574B-9B47-0DB503FB3CC2}"/>
                </a:ext>
              </a:extLst>
            </p:cNvPr>
            <p:cNvSpPr/>
            <p:nvPr/>
          </p:nvSpPr>
          <p:spPr>
            <a:xfrm>
              <a:off x="723059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8" name="Полилиния 1467">
              <a:extLst>
                <a:ext uri="{FF2B5EF4-FFF2-40B4-BE49-F238E27FC236}">
                  <a16:creationId xmlns:a16="http://schemas.microsoft.com/office/drawing/2014/main" id="{89C75F47-A0C9-2948-A749-F089D7F44DCD}"/>
                </a:ext>
              </a:extLst>
            </p:cNvPr>
            <p:cNvSpPr/>
            <p:nvPr/>
          </p:nvSpPr>
          <p:spPr>
            <a:xfrm>
              <a:off x="783059" y="6201343"/>
              <a:ext cx="240000" cy="222912"/>
            </a:xfrm>
            <a:custGeom>
              <a:avLst/>
              <a:gdLst>
                <a:gd name="connsiteX0" fmla="*/ 54345 w 240000"/>
                <a:gd name="connsiteY0" fmla="*/ 2452 h 222912"/>
                <a:gd name="connsiteX1" fmla="*/ 75111 w 240000"/>
                <a:gd name="connsiteY1" fmla="*/ 6785 h 222912"/>
                <a:gd name="connsiteX2" fmla="*/ 70778 w 240000"/>
                <a:gd name="connsiteY2" fmla="*/ 27551 h 222912"/>
                <a:gd name="connsiteX3" fmla="*/ 30000 w 240000"/>
                <a:gd name="connsiteY3" fmla="*/ 102913 h 222912"/>
                <a:gd name="connsiteX4" fmla="*/ 120000 w 240000"/>
                <a:gd name="connsiteY4" fmla="*/ 192913 h 222912"/>
                <a:gd name="connsiteX5" fmla="*/ 210000 w 240000"/>
                <a:gd name="connsiteY5" fmla="*/ 102913 h 222912"/>
                <a:gd name="connsiteX6" fmla="*/ 170814 w 240000"/>
                <a:gd name="connsiteY6" fmla="*/ 28618 h 222912"/>
                <a:gd name="connsiteX7" fmla="*/ 166922 w 240000"/>
                <a:gd name="connsiteY7" fmla="*/ 7764 h 222912"/>
                <a:gd name="connsiteX8" fmla="*/ 187776 w 240000"/>
                <a:gd name="connsiteY8" fmla="*/ 3873 h 222912"/>
                <a:gd name="connsiteX9" fmla="*/ 240000 w 240000"/>
                <a:gd name="connsiteY9" fmla="*/ 102913 h 222912"/>
                <a:gd name="connsiteX10" fmla="*/ 120000 w 240000"/>
                <a:gd name="connsiteY10" fmla="*/ 222913 h 222912"/>
                <a:gd name="connsiteX11" fmla="*/ 0 w 240000"/>
                <a:gd name="connsiteY11" fmla="*/ 102913 h 222912"/>
                <a:gd name="connsiteX12" fmla="*/ 54345 w 240000"/>
                <a:gd name="connsiteY12" fmla="*/ 2452 h 222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0000" h="222912">
                  <a:moveTo>
                    <a:pt x="54345" y="2452"/>
                  </a:moveTo>
                  <a:cubicBezTo>
                    <a:pt x="61276" y="-2086"/>
                    <a:pt x="70574" y="-146"/>
                    <a:pt x="75111" y="6785"/>
                  </a:cubicBezTo>
                  <a:cubicBezTo>
                    <a:pt x="79649" y="13716"/>
                    <a:pt x="77709" y="23014"/>
                    <a:pt x="70778" y="27551"/>
                  </a:cubicBezTo>
                  <a:cubicBezTo>
                    <a:pt x="45520" y="44087"/>
                    <a:pt x="30000" y="72167"/>
                    <a:pt x="30000" y="102913"/>
                  </a:cubicBezTo>
                  <a:cubicBezTo>
                    <a:pt x="30000" y="152618"/>
                    <a:pt x="70294" y="192913"/>
                    <a:pt x="120000" y="192913"/>
                  </a:cubicBezTo>
                  <a:cubicBezTo>
                    <a:pt x="169706" y="192913"/>
                    <a:pt x="210000" y="152618"/>
                    <a:pt x="210000" y="102913"/>
                  </a:cubicBezTo>
                  <a:cubicBezTo>
                    <a:pt x="210000" y="72845"/>
                    <a:pt x="195162" y="45308"/>
                    <a:pt x="170814" y="28618"/>
                  </a:cubicBezTo>
                  <a:cubicBezTo>
                    <a:pt x="163980" y="23934"/>
                    <a:pt x="162239" y="14597"/>
                    <a:pt x="166922" y="7764"/>
                  </a:cubicBezTo>
                  <a:cubicBezTo>
                    <a:pt x="171606" y="931"/>
                    <a:pt x="180942" y="-811"/>
                    <a:pt x="187776" y="3873"/>
                  </a:cubicBezTo>
                  <a:cubicBezTo>
                    <a:pt x="220200" y="26099"/>
                    <a:pt x="240000" y="62846"/>
                    <a:pt x="240000" y="102913"/>
                  </a:cubicBezTo>
                  <a:cubicBezTo>
                    <a:pt x="240000" y="169187"/>
                    <a:pt x="186275" y="222913"/>
                    <a:pt x="120000" y="222913"/>
                  </a:cubicBezTo>
                  <a:cubicBezTo>
                    <a:pt x="53726" y="222913"/>
                    <a:pt x="0" y="169187"/>
                    <a:pt x="0" y="102913"/>
                  </a:cubicBezTo>
                  <a:cubicBezTo>
                    <a:pt x="0" y="61941"/>
                    <a:pt x="20709" y="24474"/>
                    <a:pt x="54345" y="2452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9" name="Скругленный прямоугольник 1468">
              <a:extLst>
                <a:ext uri="{FF2B5EF4-FFF2-40B4-BE49-F238E27FC236}">
                  <a16:creationId xmlns:a16="http://schemas.microsoft.com/office/drawing/2014/main" id="{F9C47362-0AD4-B448-8579-AE4CDE32AE75}"/>
                </a:ext>
              </a:extLst>
            </p:cNvPr>
            <p:cNvSpPr/>
            <p:nvPr/>
          </p:nvSpPr>
          <p:spPr>
            <a:xfrm>
              <a:off x="888059" y="6169256"/>
              <a:ext cx="30000" cy="150000"/>
            </a:xfrm>
            <a:prstGeom prst="roundRect">
              <a:avLst/>
            </a:pr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1470" name="Рисунок 308">
            <a:extLst>
              <a:ext uri="{FF2B5EF4-FFF2-40B4-BE49-F238E27FC236}">
                <a16:creationId xmlns:a16="http://schemas.microsoft.com/office/drawing/2014/main" id="{DD7C5299-5B2F-0148-BC4C-A72740429F3C}"/>
              </a:ext>
            </a:extLst>
          </p:cNvPr>
          <p:cNvSpPr/>
          <p:nvPr/>
        </p:nvSpPr>
        <p:spPr>
          <a:xfrm>
            <a:off x="10538600" y="2487261"/>
            <a:ext cx="240000" cy="255000"/>
          </a:xfrm>
          <a:custGeom>
            <a:avLst/>
            <a:gdLst>
              <a:gd name="connsiteX0" fmla="*/ 174413 w 240000"/>
              <a:gd name="connsiteY0" fmla="*/ 23382 h 255000"/>
              <a:gd name="connsiteX1" fmla="*/ 157041 w 240000"/>
              <a:gd name="connsiteY1" fmla="*/ 49439 h 255000"/>
              <a:gd name="connsiteX2" fmla="*/ 120000 w 240000"/>
              <a:gd name="connsiteY2" fmla="*/ 30000 h 255000"/>
              <a:gd name="connsiteX3" fmla="*/ 75000 w 240000"/>
              <a:gd name="connsiteY3" fmla="*/ 75000 h 255000"/>
              <a:gd name="connsiteX4" fmla="*/ 75000 w 240000"/>
              <a:gd name="connsiteY4" fmla="*/ 105000 h 255000"/>
              <a:gd name="connsiteX5" fmla="*/ 150000 w 240000"/>
              <a:gd name="connsiteY5" fmla="*/ 105000 h 255000"/>
              <a:gd name="connsiteX6" fmla="*/ 195000 w 240000"/>
              <a:gd name="connsiteY6" fmla="*/ 105000 h 255000"/>
              <a:gd name="connsiteX7" fmla="*/ 210000 w 240000"/>
              <a:gd name="connsiteY7" fmla="*/ 105000 h 255000"/>
              <a:gd name="connsiteX8" fmla="*/ 240000 w 240000"/>
              <a:gd name="connsiteY8" fmla="*/ 135000 h 255000"/>
              <a:gd name="connsiteX9" fmla="*/ 240000 w 240000"/>
              <a:gd name="connsiteY9" fmla="*/ 225000 h 255000"/>
              <a:gd name="connsiteX10" fmla="*/ 210000 w 240000"/>
              <a:gd name="connsiteY10" fmla="*/ 255000 h 255000"/>
              <a:gd name="connsiteX11" fmla="*/ 30000 w 240000"/>
              <a:gd name="connsiteY11" fmla="*/ 255000 h 255000"/>
              <a:gd name="connsiteX12" fmla="*/ 0 w 240000"/>
              <a:gd name="connsiteY12" fmla="*/ 225000 h 255000"/>
              <a:gd name="connsiteX13" fmla="*/ 0 w 240000"/>
              <a:gd name="connsiteY13" fmla="*/ 135000 h 255000"/>
              <a:gd name="connsiteX14" fmla="*/ 30000 w 240000"/>
              <a:gd name="connsiteY14" fmla="*/ 105000 h 255000"/>
              <a:gd name="connsiteX15" fmla="*/ 45000 w 240000"/>
              <a:gd name="connsiteY15" fmla="*/ 105000 h 255000"/>
              <a:gd name="connsiteX16" fmla="*/ 45000 w 240000"/>
              <a:gd name="connsiteY16" fmla="*/ 75000 h 255000"/>
              <a:gd name="connsiteX17" fmla="*/ 120000 w 240000"/>
              <a:gd name="connsiteY17" fmla="*/ 0 h 255000"/>
              <a:gd name="connsiteX18" fmla="*/ 174413 w 240000"/>
              <a:gd name="connsiteY18" fmla="*/ 23382 h 25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0000" h="255000">
                <a:moveTo>
                  <a:pt x="174413" y="23382"/>
                </a:moveTo>
                <a:lnTo>
                  <a:pt x="157041" y="49439"/>
                </a:lnTo>
                <a:cubicBezTo>
                  <a:pt x="148920" y="37695"/>
                  <a:pt x="135359" y="30000"/>
                  <a:pt x="120000" y="30000"/>
                </a:cubicBezTo>
                <a:cubicBezTo>
                  <a:pt x="95146" y="30000"/>
                  <a:pt x="75000" y="50147"/>
                  <a:pt x="75000" y="75000"/>
                </a:cubicBezTo>
                <a:lnTo>
                  <a:pt x="75000" y="105000"/>
                </a:lnTo>
                <a:lnTo>
                  <a:pt x="150000" y="105000"/>
                </a:lnTo>
                <a:lnTo>
                  <a:pt x="195000" y="105000"/>
                </a:lnTo>
                <a:lnTo>
                  <a:pt x="210000" y="105000"/>
                </a:lnTo>
                <a:cubicBezTo>
                  <a:pt x="226569" y="105000"/>
                  <a:pt x="240000" y="118431"/>
                  <a:pt x="240000" y="135000"/>
                </a:cubicBezTo>
                <a:lnTo>
                  <a:pt x="240000" y="225000"/>
                </a:lnTo>
                <a:cubicBezTo>
                  <a:pt x="240000" y="241569"/>
                  <a:pt x="226569" y="255000"/>
                  <a:pt x="210000" y="255000"/>
                </a:cubicBezTo>
                <a:lnTo>
                  <a:pt x="30000" y="255000"/>
                </a:lnTo>
                <a:cubicBezTo>
                  <a:pt x="13431" y="255000"/>
                  <a:pt x="0" y="241569"/>
                  <a:pt x="0" y="225000"/>
                </a:cubicBezTo>
                <a:lnTo>
                  <a:pt x="0" y="135000"/>
                </a:lnTo>
                <a:cubicBezTo>
                  <a:pt x="0" y="118431"/>
                  <a:pt x="13431" y="105000"/>
                  <a:pt x="30000" y="105000"/>
                </a:cubicBezTo>
                <a:lnTo>
                  <a:pt x="45000" y="105000"/>
                </a:lnTo>
                <a:lnTo>
                  <a:pt x="45000" y="75000"/>
                </a:lnTo>
                <a:cubicBezTo>
                  <a:pt x="45000" y="33579"/>
                  <a:pt x="78579" y="0"/>
                  <a:pt x="120000" y="0"/>
                </a:cubicBezTo>
                <a:cubicBezTo>
                  <a:pt x="141422" y="0"/>
                  <a:pt x="160745" y="8981"/>
                  <a:pt x="174413" y="23382"/>
                </a:cubicBezTo>
                <a:close/>
              </a:path>
            </a:pathLst>
          </a:custGeom>
          <a:solidFill>
            <a:schemeClr val="accent2"/>
          </a:solidFill>
          <a:ln w="1468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80" name="Номер слайда 1">
            <a:extLst>
              <a:ext uri="{FF2B5EF4-FFF2-40B4-BE49-F238E27FC236}">
                <a16:creationId xmlns:a16="http://schemas.microsoft.com/office/drawing/2014/main" id="{B3E6925E-1BD1-2D4B-A307-F7A5DA9A6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52366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лаг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EA68FC6-BD28-F540-9D21-DC9676B20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230" y="973001"/>
            <a:ext cx="540000" cy="540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5DCD969-638A-E642-A46B-6D53FFBFD9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2129" y="973001"/>
            <a:ext cx="540000" cy="540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D4C9C8D-5DCE-9847-8235-159033FBA8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82028" y="973001"/>
            <a:ext cx="540000" cy="5400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4402843-3A20-F941-8446-5FCBEB96B1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1927" y="973001"/>
            <a:ext cx="540000" cy="54000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416847D-3B95-5F44-93BB-51E794813A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1826" y="973001"/>
            <a:ext cx="540000" cy="54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61E934E-B210-F649-8176-DF057C3749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1725" y="973001"/>
            <a:ext cx="540000" cy="54000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0456B99-2529-9341-91B2-923FF0144C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01624" y="973001"/>
            <a:ext cx="540000" cy="54000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CB9C7CFC-DFF0-4A48-B2C1-F079CD03E1B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31524" y="973001"/>
            <a:ext cx="540000" cy="540000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B2CD5640-2300-E44A-8370-4D2C2B94D7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2230" y="2118724"/>
            <a:ext cx="540000" cy="5400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FCDECD0C-81BA-494C-A46B-3AC7E02EA17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52129" y="2118724"/>
            <a:ext cx="540000" cy="540000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7EEC8385-A26F-E64D-A322-4DD6EA103CD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82028" y="2118724"/>
            <a:ext cx="540000" cy="54000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2458B971-91F1-9F41-82B3-5923680E795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11927" y="2118724"/>
            <a:ext cx="540000" cy="5400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8BD0D4AD-36B9-284C-97EF-C71A3781664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41826" y="2118724"/>
            <a:ext cx="540000" cy="5400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69AE37EB-1F2E-334B-B676-5A907CC46BE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971725" y="2118724"/>
            <a:ext cx="540000" cy="54000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B0E14B11-3949-864A-A918-48EF7BE9297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401624" y="2118724"/>
            <a:ext cx="540000" cy="5400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8BBD5C1C-0E36-CF40-9578-8F612D50C04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831524" y="2118724"/>
            <a:ext cx="540000" cy="540000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F4CC61CF-83F8-AD4E-9A54-7DEF940F680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22230" y="3264447"/>
            <a:ext cx="540000" cy="540000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7448FF65-E9E5-1349-83DD-7D3C64AED3F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252129" y="3264447"/>
            <a:ext cx="540000" cy="540000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968338BF-82D9-C844-95F6-7A3357392E0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682028" y="3264447"/>
            <a:ext cx="540000" cy="540000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B4C5F4F1-556E-7242-B392-434D3DEE070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111927" y="3264447"/>
            <a:ext cx="540000" cy="540000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DAE4437F-BAA4-CA49-B8C0-157120DE2A51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541826" y="3264447"/>
            <a:ext cx="540000" cy="540000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4AF383DB-7FE9-C148-AF8F-AD856FA34AFA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971725" y="3264447"/>
            <a:ext cx="540000" cy="540000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0263D4D2-6FF9-3A4A-B1B2-27EDED0E912B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9401624" y="3264447"/>
            <a:ext cx="540000" cy="540000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E147E8D9-DC92-1748-9A97-F3F11CD8D45E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831524" y="3264447"/>
            <a:ext cx="540000" cy="540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CF649A9D-38BA-334D-AF10-14DC21C06FA9}"/>
              </a:ext>
            </a:extLst>
          </p:cNvPr>
          <p:cNvSpPr txBox="1"/>
          <p:nvPr/>
        </p:nvSpPr>
        <p:spPr>
          <a:xfrm>
            <a:off x="711164" y="1513001"/>
            <a:ext cx="76213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встралия</a:t>
            </a:r>
          </a:p>
        </p:txBody>
      </p:sp>
      <p:sp>
        <p:nvSpPr>
          <p:cNvPr id="599" name="TextBox 598">
            <a:extLst>
              <a:ext uri="{FF2B5EF4-FFF2-40B4-BE49-F238E27FC236}">
                <a16:creationId xmlns:a16="http://schemas.microsoft.com/office/drawing/2014/main" id="{42DB4477-0CDA-5544-BEC7-3424760DF23A}"/>
              </a:ext>
            </a:extLst>
          </p:cNvPr>
          <p:cNvSpPr txBox="1"/>
          <p:nvPr/>
        </p:nvSpPr>
        <p:spPr>
          <a:xfrm>
            <a:off x="2222660" y="1513001"/>
            <a:ext cx="59702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встрия</a:t>
            </a:r>
          </a:p>
        </p:txBody>
      </p:sp>
      <p:sp>
        <p:nvSpPr>
          <p:cNvPr id="600" name="TextBox 599">
            <a:extLst>
              <a:ext uri="{FF2B5EF4-FFF2-40B4-BE49-F238E27FC236}">
                <a16:creationId xmlns:a16="http://schemas.microsoft.com/office/drawing/2014/main" id="{C2288DE8-7AC5-C548-80E9-F7A6EEFC544A}"/>
              </a:ext>
            </a:extLst>
          </p:cNvPr>
          <p:cNvSpPr txBox="1"/>
          <p:nvPr/>
        </p:nvSpPr>
        <p:spPr>
          <a:xfrm>
            <a:off x="3451985" y="1513001"/>
            <a:ext cx="99033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зербайджан</a:t>
            </a:r>
          </a:p>
        </p:txBody>
      </p:sp>
      <p:sp>
        <p:nvSpPr>
          <p:cNvPr id="601" name="TextBox 600">
            <a:extLst>
              <a:ext uri="{FF2B5EF4-FFF2-40B4-BE49-F238E27FC236}">
                <a16:creationId xmlns:a16="http://schemas.microsoft.com/office/drawing/2014/main" id="{15F3BE56-5BCA-274D-904E-C07ADC24A634}"/>
              </a:ext>
            </a:extLst>
          </p:cNvPr>
          <p:cNvSpPr txBox="1"/>
          <p:nvPr/>
        </p:nvSpPr>
        <p:spPr>
          <a:xfrm>
            <a:off x="5068768" y="1513001"/>
            <a:ext cx="62812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лбания</a:t>
            </a:r>
          </a:p>
        </p:txBody>
      </p:sp>
      <p:sp>
        <p:nvSpPr>
          <p:cNvPr id="602" name="TextBox 601">
            <a:extLst>
              <a:ext uri="{FF2B5EF4-FFF2-40B4-BE49-F238E27FC236}">
                <a16:creationId xmlns:a16="http://schemas.microsoft.com/office/drawing/2014/main" id="{25EF7C3B-77D4-EF40-89DE-B2F066BA2E6E}"/>
              </a:ext>
            </a:extLst>
          </p:cNvPr>
          <p:cNvSpPr txBox="1"/>
          <p:nvPr/>
        </p:nvSpPr>
        <p:spPr>
          <a:xfrm>
            <a:off x="6563747" y="1513001"/>
            <a:ext cx="49026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лжир</a:t>
            </a:r>
          </a:p>
        </p:txBody>
      </p:sp>
      <p:sp>
        <p:nvSpPr>
          <p:cNvPr id="603" name="TextBox 602">
            <a:extLst>
              <a:ext uri="{FF2B5EF4-FFF2-40B4-BE49-F238E27FC236}">
                <a16:creationId xmlns:a16="http://schemas.microsoft.com/office/drawing/2014/main" id="{8242E779-D835-974D-BEAC-C1F1C78D04C4}"/>
              </a:ext>
            </a:extLst>
          </p:cNvPr>
          <p:cNvSpPr txBox="1"/>
          <p:nvPr/>
        </p:nvSpPr>
        <p:spPr>
          <a:xfrm>
            <a:off x="7698778" y="1513001"/>
            <a:ext cx="109574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мериканское </a:t>
            </a:r>
            <a:br>
              <a:rPr lang="ru-RU" sz="1200" dirty="0"/>
            </a:br>
            <a:r>
              <a:rPr lang="ru-RU" sz="1200" dirty="0"/>
              <a:t>Самоа</a:t>
            </a:r>
          </a:p>
        </p:txBody>
      </p:sp>
      <p:sp>
        <p:nvSpPr>
          <p:cNvPr id="604" name="TextBox 603">
            <a:extLst>
              <a:ext uri="{FF2B5EF4-FFF2-40B4-BE49-F238E27FC236}">
                <a16:creationId xmlns:a16="http://schemas.microsoft.com/office/drawing/2014/main" id="{0C667BE8-C3C0-5447-BF74-CF6F25FDED05}"/>
              </a:ext>
            </a:extLst>
          </p:cNvPr>
          <p:cNvSpPr txBox="1"/>
          <p:nvPr/>
        </p:nvSpPr>
        <p:spPr>
          <a:xfrm>
            <a:off x="9373465" y="1513001"/>
            <a:ext cx="59631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 err="1"/>
              <a:t>Ангилья</a:t>
            </a:r>
            <a:endParaRPr lang="ru-RU" sz="1200" dirty="0"/>
          </a:p>
        </p:txBody>
      </p:sp>
      <p:sp>
        <p:nvSpPr>
          <p:cNvPr id="605" name="TextBox 604">
            <a:extLst>
              <a:ext uri="{FF2B5EF4-FFF2-40B4-BE49-F238E27FC236}">
                <a16:creationId xmlns:a16="http://schemas.microsoft.com/office/drawing/2014/main" id="{111695EA-3831-9F4A-B39A-16334B12C706}"/>
              </a:ext>
            </a:extLst>
          </p:cNvPr>
          <p:cNvSpPr txBox="1"/>
          <p:nvPr/>
        </p:nvSpPr>
        <p:spPr>
          <a:xfrm>
            <a:off x="10854949" y="1513001"/>
            <a:ext cx="51482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нглия</a:t>
            </a:r>
          </a:p>
        </p:txBody>
      </p:sp>
      <p:sp>
        <p:nvSpPr>
          <p:cNvPr id="606" name="TextBox 605">
            <a:extLst>
              <a:ext uri="{FF2B5EF4-FFF2-40B4-BE49-F238E27FC236}">
                <a16:creationId xmlns:a16="http://schemas.microsoft.com/office/drawing/2014/main" id="{4BB80CC2-23F7-F045-9A4E-6C3636540407}"/>
              </a:ext>
            </a:extLst>
          </p:cNvPr>
          <p:cNvSpPr txBox="1"/>
          <p:nvPr/>
        </p:nvSpPr>
        <p:spPr>
          <a:xfrm>
            <a:off x="831768" y="2657645"/>
            <a:ext cx="51783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нгола</a:t>
            </a:r>
          </a:p>
        </p:txBody>
      </p:sp>
      <p:sp>
        <p:nvSpPr>
          <p:cNvPr id="607" name="TextBox 606">
            <a:extLst>
              <a:ext uri="{FF2B5EF4-FFF2-40B4-BE49-F238E27FC236}">
                <a16:creationId xmlns:a16="http://schemas.microsoft.com/office/drawing/2014/main" id="{4680AF83-0199-964A-A764-9BC170D3ED0A}"/>
              </a:ext>
            </a:extLst>
          </p:cNvPr>
          <p:cNvSpPr txBox="1"/>
          <p:nvPr/>
        </p:nvSpPr>
        <p:spPr>
          <a:xfrm>
            <a:off x="2202230" y="2657645"/>
            <a:ext cx="63479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ндорра</a:t>
            </a:r>
          </a:p>
        </p:txBody>
      </p:sp>
      <p:sp>
        <p:nvSpPr>
          <p:cNvPr id="608" name="TextBox 607">
            <a:extLst>
              <a:ext uri="{FF2B5EF4-FFF2-40B4-BE49-F238E27FC236}">
                <a16:creationId xmlns:a16="http://schemas.microsoft.com/office/drawing/2014/main" id="{1A81E88A-4C10-5047-8EFC-28C22DA175B6}"/>
              </a:ext>
            </a:extLst>
          </p:cNvPr>
          <p:cNvSpPr txBox="1"/>
          <p:nvPr/>
        </p:nvSpPr>
        <p:spPr>
          <a:xfrm>
            <a:off x="3578652" y="2657645"/>
            <a:ext cx="73391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нтигуа </a:t>
            </a:r>
            <a:br>
              <a:rPr lang="ru-RU" sz="1200" dirty="0"/>
            </a:br>
            <a:r>
              <a:rPr lang="ru-RU" sz="1200" dirty="0"/>
              <a:t>и </a:t>
            </a:r>
            <a:r>
              <a:rPr lang="ru-RU" sz="1200" dirty="0" err="1"/>
              <a:t>Барбуда</a:t>
            </a:r>
            <a:endParaRPr lang="ru-RU" sz="1200" dirty="0"/>
          </a:p>
        </p:txBody>
      </p:sp>
      <p:sp>
        <p:nvSpPr>
          <p:cNvPr id="609" name="TextBox 608">
            <a:extLst>
              <a:ext uri="{FF2B5EF4-FFF2-40B4-BE49-F238E27FC236}">
                <a16:creationId xmlns:a16="http://schemas.microsoft.com/office/drawing/2014/main" id="{535CAEB5-3522-5E43-8C70-1A86AD4D2683}"/>
              </a:ext>
            </a:extLst>
          </p:cNvPr>
          <p:cNvSpPr txBox="1"/>
          <p:nvPr/>
        </p:nvSpPr>
        <p:spPr>
          <a:xfrm>
            <a:off x="4998133" y="2657645"/>
            <a:ext cx="7663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ргентина</a:t>
            </a:r>
          </a:p>
        </p:txBody>
      </p:sp>
      <p:sp>
        <p:nvSpPr>
          <p:cNvPr id="610" name="TextBox 609">
            <a:extLst>
              <a:ext uri="{FF2B5EF4-FFF2-40B4-BE49-F238E27FC236}">
                <a16:creationId xmlns:a16="http://schemas.microsoft.com/office/drawing/2014/main" id="{EA76CB63-167A-D84F-ADCE-8D8DC303719A}"/>
              </a:ext>
            </a:extLst>
          </p:cNvPr>
          <p:cNvSpPr txBox="1"/>
          <p:nvPr/>
        </p:nvSpPr>
        <p:spPr>
          <a:xfrm>
            <a:off x="6485930" y="2657645"/>
            <a:ext cx="6428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рмения</a:t>
            </a:r>
          </a:p>
        </p:txBody>
      </p:sp>
      <p:sp>
        <p:nvSpPr>
          <p:cNvPr id="611" name="TextBox 610">
            <a:extLst>
              <a:ext uri="{FF2B5EF4-FFF2-40B4-BE49-F238E27FC236}">
                <a16:creationId xmlns:a16="http://schemas.microsoft.com/office/drawing/2014/main" id="{FE2741FA-C97B-2049-9ACF-C7D81E6EB63C}"/>
              </a:ext>
            </a:extLst>
          </p:cNvPr>
          <p:cNvSpPr txBox="1"/>
          <p:nvPr/>
        </p:nvSpPr>
        <p:spPr>
          <a:xfrm>
            <a:off x="8023060" y="2657645"/>
            <a:ext cx="44409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руба</a:t>
            </a:r>
          </a:p>
        </p:txBody>
      </p:sp>
      <p:sp>
        <p:nvSpPr>
          <p:cNvPr id="612" name="TextBox 611">
            <a:extLst>
              <a:ext uri="{FF2B5EF4-FFF2-40B4-BE49-F238E27FC236}">
                <a16:creationId xmlns:a16="http://schemas.microsoft.com/office/drawing/2014/main" id="{1E3B8848-BDF2-E34D-8D84-269FF1DEBFE3}"/>
              </a:ext>
            </a:extLst>
          </p:cNvPr>
          <p:cNvSpPr txBox="1"/>
          <p:nvPr/>
        </p:nvSpPr>
        <p:spPr>
          <a:xfrm>
            <a:off x="9241373" y="2657645"/>
            <a:ext cx="85741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Афганистан</a:t>
            </a:r>
          </a:p>
        </p:txBody>
      </p:sp>
      <p:sp>
        <p:nvSpPr>
          <p:cNvPr id="613" name="TextBox 612">
            <a:extLst>
              <a:ext uri="{FF2B5EF4-FFF2-40B4-BE49-F238E27FC236}">
                <a16:creationId xmlns:a16="http://schemas.microsoft.com/office/drawing/2014/main" id="{B0D9D447-D101-454C-9424-B1BB823A9B6B}"/>
              </a:ext>
            </a:extLst>
          </p:cNvPr>
          <p:cNvSpPr txBox="1"/>
          <p:nvPr/>
        </p:nvSpPr>
        <p:spPr>
          <a:xfrm>
            <a:off x="10728498" y="2657645"/>
            <a:ext cx="76463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агамские</a:t>
            </a:r>
            <a:br>
              <a:rPr lang="ru-RU" sz="1200" dirty="0"/>
            </a:br>
            <a:r>
              <a:rPr lang="ru-RU" sz="1200" dirty="0"/>
              <a:t>Острова</a:t>
            </a:r>
          </a:p>
        </p:txBody>
      </p:sp>
      <p:sp>
        <p:nvSpPr>
          <p:cNvPr id="614" name="TextBox 613">
            <a:extLst>
              <a:ext uri="{FF2B5EF4-FFF2-40B4-BE49-F238E27FC236}">
                <a16:creationId xmlns:a16="http://schemas.microsoft.com/office/drawing/2014/main" id="{38F75EB7-167A-F549-A34E-1DDCE0D6A1FA}"/>
              </a:ext>
            </a:extLst>
          </p:cNvPr>
          <p:cNvSpPr txBox="1"/>
          <p:nvPr/>
        </p:nvSpPr>
        <p:spPr>
          <a:xfrm>
            <a:off x="698591" y="3830497"/>
            <a:ext cx="78418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 err="1"/>
              <a:t>Бангледеш</a:t>
            </a:r>
            <a:endParaRPr lang="ru-RU" sz="1200" dirty="0"/>
          </a:p>
        </p:txBody>
      </p:sp>
      <p:sp>
        <p:nvSpPr>
          <p:cNvPr id="615" name="TextBox 614">
            <a:extLst>
              <a:ext uri="{FF2B5EF4-FFF2-40B4-BE49-F238E27FC236}">
                <a16:creationId xmlns:a16="http://schemas.microsoft.com/office/drawing/2014/main" id="{10DCEB67-3919-904F-AD3F-200065A6E399}"/>
              </a:ext>
            </a:extLst>
          </p:cNvPr>
          <p:cNvSpPr txBox="1"/>
          <p:nvPr/>
        </p:nvSpPr>
        <p:spPr>
          <a:xfrm>
            <a:off x="2172575" y="3830497"/>
            <a:ext cx="69410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арбадос</a:t>
            </a:r>
          </a:p>
        </p:txBody>
      </p:sp>
      <p:sp>
        <p:nvSpPr>
          <p:cNvPr id="616" name="TextBox 615">
            <a:extLst>
              <a:ext uri="{FF2B5EF4-FFF2-40B4-BE49-F238E27FC236}">
                <a16:creationId xmlns:a16="http://schemas.microsoft.com/office/drawing/2014/main" id="{504EC080-56A3-5942-B135-A9DAA61A751D}"/>
              </a:ext>
            </a:extLst>
          </p:cNvPr>
          <p:cNvSpPr txBox="1"/>
          <p:nvPr/>
        </p:nvSpPr>
        <p:spPr>
          <a:xfrm>
            <a:off x="3641038" y="3830497"/>
            <a:ext cx="60914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ахрейн</a:t>
            </a:r>
          </a:p>
        </p:txBody>
      </p:sp>
      <p:sp>
        <p:nvSpPr>
          <p:cNvPr id="617" name="TextBox 616">
            <a:extLst>
              <a:ext uri="{FF2B5EF4-FFF2-40B4-BE49-F238E27FC236}">
                <a16:creationId xmlns:a16="http://schemas.microsoft.com/office/drawing/2014/main" id="{0C5F5BD0-56FF-1D4E-89F9-7A35F9AA82EA}"/>
              </a:ext>
            </a:extLst>
          </p:cNvPr>
          <p:cNvSpPr txBox="1"/>
          <p:nvPr/>
        </p:nvSpPr>
        <p:spPr>
          <a:xfrm>
            <a:off x="5165646" y="3830497"/>
            <a:ext cx="43127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елиз</a:t>
            </a:r>
          </a:p>
        </p:txBody>
      </p:sp>
      <p:sp>
        <p:nvSpPr>
          <p:cNvPr id="618" name="TextBox 617">
            <a:extLst>
              <a:ext uri="{FF2B5EF4-FFF2-40B4-BE49-F238E27FC236}">
                <a16:creationId xmlns:a16="http://schemas.microsoft.com/office/drawing/2014/main" id="{137E6B5E-94B2-3F49-B7E1-35CDA0BA57C9}"/>
              </a:ext>
            </a:extLst>
          </p:cNvPr>
          <p:cNvSpPr txBox="1"/>
          <p:nvPr/>
        </p:nvSpPr>
        <p:spPr>
          <a:xfrm>
            <a:off x="6386161" y="3830497"/>
            <a:ext cx="84234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елоруссия</a:t>
            </a:r>
          </a:p>
        </p:txBody>
      </p:sp>
      <p:sp>
        <p:nvSpPr>
          <p:cNvPr id="619" name="TextBox 618">
            <a:extLst>
              <a:ext uri="{FF2B5EF4-FFF2-40B4-BE49-F238E27FC236}">
                <a16:creationId xmlns:a16="http://schemas.microsoft.com/office/drawing/2014/main" id="{BF76B8CE-6C21-9F4E-AE9E-B816066F61F3}"/>
              </a:ext>
            </a:extLst>
          </p:cNvPr>
          <p:cNvSpPr txBox="1"/>
          <p:nvPr/>
        </p:nvSpPr>
        <p:spPr>
          <a:xfrm>
            <a:off x="7954131" y="3830497"/>
            <a:ext cx="58195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ельгия</a:t>
            </a:r>
          </a:p>
        </p:txBody>
      </p:sp>
      <p:sp>
        <p:nvSpPr>
          <p:cNvPr id="620" name="TextBox 619">
            <a:extLst>
              <a:ext uri="{FF2B5EF4-FFF2-40B4-BE49-F238E27FC236}">
                <a16:creationId xmlns:a16="http://schemas.microsoft.com/office/drawing/2014/main" id="{D43809C0-8F14-FB4F-A259-7A9AACA239C7}"/>
              </a:ext>
            </a:extLst>
          </p:cNvPr>
          <p:cNvSpPr txBox="1"/>
          <p:nvPr/>
        </p:nvSpPr>
        <p:spPr>
          <a:xfrm>
            <a:off x="9443252" y="3830497"/>
            <a:ext cx="45365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енин</a:t>
            </a:r>
          </a:p>
        </p:txBody>
      </p:sp>
      <p:sp>
        <p:nvSpPr>
          <p:cNvPr id="621" name="TextBox 620">
            <a:extLst>
              <a:ext uri="{FF2B5EF4-FFF2-40B4-BE49-F238E27FC236}">
                <a16:creationId xmlns:a16="http://schemas.microsoft.com/office/drawing/2014/main" id="{5E661450-EC11-E047-A643-BC0429B0CEB8}"/>
              </a:ext>
            </a:extLst>
          </p:cNvPr>
          <p:cNvSpPr txBox="1"/>
          <p:nvPr/>
        </p:nvSpPr>
        <p:spPr>
          <a:xfrm>
            <a:off x="10674926" y="3830497"/>
            <a:ext cx="87177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ермудские</a:t>
            </a:r>
            <a:br>
              <a:rPr lang="ru-RU" sz="1200" dirty="0"/>
            </a:br>
            <a:r>
              <a:rPr lang="ru-RU" sz="1200" dirty="0"/>
              <a:t>острова</a:t>
            </a:r>
          </a:p>
        </p:txBody>
      </p:sp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9EB6F40D-07B0-8E4F-8EA5-CB5AAADF3FA4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817953" y="4410170"/>
            <a:ext cx="540000" cy="540000"/>
          </a:xfrm>
          <a:prstGeom prst="rect">
            <a:avLst/>
          </a:prstGeom>
        </p:spPr>
      </p:pic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03190255-AEF8-1647-B993-49C86DDF4329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252129" y="4410170"/>
            <a:ext cx="540000" cy="540000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B5DCFC9D-F2DD-2A41-A51D-F9831AF2BAA4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3682028" y="4410170"/>
            <a:ext cx="540000" cy="540000"/>
          </a:xfrm>
          <a:prstGeom prst="rect">
            <a:avLst/>
          </a:prstGeom>
        </p:spPr>
      </p:pic>
      <p:sp>
        <p:nvSpPr>
          <p:cNvPr id="629" name="TextBox 628">
            <a:extLst>
              <a:ext uri="{FF2B5EF4-FFF2-40B4-BE49-F238E27FC236}">
                <a16:creationId xmlns:a16="http://schemas.microsoft.com/office/drawing/2014/main" id="{FF302672-03C1-8D4F-9804-92D42DCA4A9F}"/>
              </a:ext>
            </a:extLst>
          </p:cNvPr>
          <p:cNvSpPr txBox="1"/>
          <p:nvPr/>
        </p:nvSpPr>
        <p:spPr>
          <a:xfrm>
            <a:off x="547785" y="6124059"/>
            <a:ext cx="106054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уркина-Фасо</a:t>
            </a:r>
          </a:p>
        </p:txBody>
      </p:sp>
      <p:sp>
        <p:nvSpPr>
          <p:cNvPr id="630" name="TextBox 629">
            <a:extLst>
              <a:ext uri="{FF2B5EF4-FFF2-40B4-BE49-F238E27FC236}">
                <a16:creationId xmlns:a16="http://schemas.microsoft.com/office/drawing/2014/main" id="{79FB85C9-1779-9E4B-A8A2-E0E4B5A9E306}"/>
              </a:ext>
            </a:extLst>
          </p:cNvPr>
          <p:cNvSpPr txBox="1"/>
          <p:nvPr/>
        </p:nvSpPr>
        <p:spPr>
          <a:xfrm>
            <a:off x="745711" y="4988441"/>
            <a:ext cx="68448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олгария</a:t>
            </a:r>
          </a:p>
        </p:txBody>
      </p:sp>
      <p:sp>
        <p:nvSpPr>
          <p:cNvPr id="631" name="TextBox 630">
            <a:extLst>
              <a:ext uri="{FF2B5EF4-FFF2-40B4-BE49-F238E27FC236}">
                <a16:creationId xmlns:a16="http://schemas.microsoft.com/office/drawing/2014/main" id="{C1A70A61-5754-3A47-BFBB-1CF8AC49A1B8}"/>
              </a:ext>
            </a:extLst>
          </p:cNvPr>
          <p:cNvSpPr txBox="1"/>
          <p:nvPr/>
        </p:nvSpPr>
        <p:spPr>
          <a:xfrm>
            <a:off x="2217381" y="4988441"/>
            <a:ext cx="61555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оливия</a:t>
            </a:r>
          </a:p>
        </p:txBody>
      </p:sp>
      <p:sp>
        <p:nvSpPr>
          <p:cNvPr id="632" name="TextBox 631">
            <a:extLst>
              <a:ext uri="{FF2B5EF4-FFF2-40B4-BE49-F238E27FC236}">
                <a16:creationId xmlns:a16="http://schemas.microsoft.com/office/drawing/2014/main" id="{28DBE15D-B66C-024E-8738-3013EF7DB99A}"/>
              </a:ext>
            </a:extLst>
          </p:cNvPr>
          <p:cNvSpPr txBox="1"/>
          <p:nvPr/>
        </p:nvSpPr>
        <p:spPr>
          <a:xfrm>
            <a:off x="3647255" y="4988441"/>
            <a:ext cx="62356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 err="1"/>
              <a:t>Бонайре</a:t>
            </a:r>
            <a:endParaRPr lang="ru-RU" sz="1200" dirty="0"/>
          </a:p>
        </p:txBody>
      </p:sp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96B7FC38-E45E-3849-A475-4EAD5C483B27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5111927" y="4410170"/>
            <a:ext cx="540000" cy="540000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D8CCE3FF-2D60-A94D-AED1-CC46B5E00D08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541826" y="4410170"/>
            <a:ext cx="540000" cy="540000"/>
          </a:xfrm>
          <a:prstGeom prst="rect">
            <a:avLst/>
          </a:prstGeom>
        </p:spPr>
      </p:pic>
      <p:pic>
        <p:nvPicPr>
          <p:cNvPr id="448" name="Рисунок 447">
            <a:extLst>
              <a:ext uri="{FF2B5EF4-FFF2-40B4-BE49-F238E27FC236}">
                <a16:creationId xmlns:a16="http://schemas.microsoft.com/office/drawing/2014/main" id="{FFBE2987-5DE1-734F-AB94-8CA6BAE6B93C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7971725" y="4410170"/>
            <a:ext cx="540000" cy="540000"/>
          </a:xfrm>
          <a:prstGeom prst="rect">
            <a:avLst/>
          </a:prstGeom>
        </p:spPr>
      </p:pic>
      <p:pic>
        <p:nvPicPr>
          <p:cNvPr id="450" name="Рисунок 449">
            <a:extLst>
              <a:ext uri="{FF2B5EF4-FFF2-40B4-BE49-F238E27FC236}">
                <a16:creationId xmlns:a16="http://schemas.microsoft.com/office/drawing/2014/main" id="{9A512271-AA04-F841-94E2-B523B3034997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9401624" y="4410170"/>
            <a:ext cx="540000" cy="540000"/>
          </a:xfrm>
          <a:prstGeom prst="rect">
            <a:avLst/>
          </a:prstGeom>
        </p:spPr>
      </p:pic>
      <p:pic>
        <p:nvPicPr>
          <p:cNvPr id="452" name="Рисунок 451">
            <a:extLst>
              <a:ext uri="{FF2B5EF4-FFF2-40B4-BE49-F238E27FC236}">
                <a16:creationId xmlns:a16="http://schemas.microsoft.com/office/drawing/2014/main" id="{6FC9DAC2-8DDF-9240-9352-EAD9637D2462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831524" y="4410170"/>
            <a:ext cx="540000" cy="540000"/>
          </a:xfrm>
          <a:prstGeom prst="rect">
            <a:avLst/>
          </a:prstGeom>
        </p:spPr>
      </p:pic>
      <p:sp>
        <p:nvSpPr>
          <p:cNvPr id="643" name="TextBox 642">
            <a:extLst>
              <a:ext uri="{FF2B5EF4-FFF2-40B4-BE49-F238E27FC236}">
                <a16:creationId xmlns:a16="http://schemas.microsoft.com/office/drawing/2014/main" id="{B3F09914-3F28-E14A-8277-DAD500CC5FED}"/>
              </a:ext>
            </a:extLst>
          </p:cNvPr>
          <p:cNvSpPr txBox="1"/>
          <p:nvPr/>
        </p:nvSpPr>
        <p:spPr>
          <a:xfrm>
            <a:off x="4921701" y="4988441"/>
            <a:ext cx="91916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осния и </a:t>
            </a:r>
            <a:br>
              <a:rPr lang="ru-RU" sz="1200" dirty="0"/>
            </a:br>
            <a:r>
              <a:rPr lang="ru-RU" sz="1200" dirty="0"/>
              <a:t>Герцеговина</a:t>
            </a:r>
          </a:p>
        </p:txBody>
      </p:sp>
      <p:sp>
        <p:nvSpPr>
          <p:cNvPr id="644" name="TextBox 643">
            <a:extLst>
              <a:ext uri="{FF2B5EF4-FFF2-40B4-BE49-F238E27FC236}">
                <a16:creationId xmlns:a16="http://schemas.microsoft.com/office/drawing/2014/main" id="{AC6EC912-DB2B-B341-A307-B743884A1C7C}"/>
              </a:ext>
            </a:extLst>
          </p:cNvPr>
          <p:cNvSpPr txBox="1"/>
          <p:nvPr/>
        </p:nvSpPr>
        <p:spPr>
          <a:xfrm>
            <a:off x="6474708" y="4988441"/>
            <a:ext cx="66524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отсвана</a:t>
            </a:r>
          </a:p>
        </p:txBody>
      </p:sp>
      <p:sp>
        <p:nvSpPr>
          <p:cNvPr id="645" name="TextBox 644">
            <a:extLst>
              <a:ext uri="{FF2B5EF4-FFF2-40B4-BE49-F238E27FC236}">
                <a16:creationId xmlns:a16="http://schemas.microsoft.com/office/drawing/2014/main" id="{06294E2D-3B4E-1A40-88A1-2316400FED2D}"/>
              </a:ext>
            </a:extLst>
          </p:cNvPr>
          <p:cNvSpPr txBox="1"/>
          <p:nvPr/>
        </p:nvSpPr>
        <p:spPr>
          <a:xfrm>
            <a:off x="7906452" y="4988441"/>
            <a:ext cx="69089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разилия</a:t>
            </a:r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4091528C-2A9C-6547-B34B-BEBF455B3F71}"/>
              </a:ext>
            </a:extLst>
          </p:cNvPr>
          <p:cNvSpPr txBox="1"/>
          <p:nvPr/>
        </p:nvSpPr>
        <p:spPr>
          <a:xfrm>
            <a:off x="8989930" y="4988441"/>
            <a:ext cx="13602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Британская тер. в Индийском океане</a:t>
            </a:r>
          </a:p>
        </p:txBody>
      </p:sp>
      <p:sp>
        <p:nvSpPr>
          <p:cNvPr id="647" name="TextBox 646">
            <a:extLst>
              <a:ext uri="{FF2B5EF4-FFF2-40B4-BE49-F238E27FC236}">
                <a16:creationId xmlns:a16="http://schemas.microsoft.com/office/drawing/2014/main" id="{3A297942-E4ED-C84C-A75D-08BFE88E9849}"/>
              </a:ext>
            </a:extLst>
          </p:cNvPr>
          <p:cNvSpPr txBox="1"/>
          <p:nvPr/>
        </p:nvSpPr>
        <p:spPr>
          <a:xfrm>
            <a:off x="10807158" y="4988441"/>
            <a:ext cx="6073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Бруней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6F32283-1112-BD41-B125-871D12B54F3C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17953" y="5555894"/>
            <a:ext cx="540000" cy="5400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7911371-7BA1-B140-8439-82470FC09A8A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2252129" y="5555894"/>
            <a:ext cx="540000" cy="54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86B4904-5F07-5548-9510-1DD131385C34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3682028" y="5555894"/>
            <a:ext cx="540000" cy="540000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E6EB8D0B-38B2-6F4C-991A-4F87885BF0A1}"/>
              </a:ext>
            </a:extLst>
          </p:cNvPr>
          <p:cNvSpPr txBox="1"/>
          <p:nvPr/>
        </p:nvSpPr>
        <p:spPr>
          <a:xfrm>
            <a:off x="2203670" y="6124059"/>
            <a:ext cx="60927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урунди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A546C7A-CAF6-6041-A4F7-C1E0E5C005D5}"/>
              </a:ext>
            </a:extLst>
          </p:cNvPr>
          <p:cNvSpPr txBox="1"/>
          <p:nvPr/>
        </p:nvSpPr>
        <p:spPr>
          <a:xfrm>
            <a:off x="3732346" y="6124059"/>
            <a:ext cx="42011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Бутан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41EADEE3-14D8-E348-8E62-7A059F7C2083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5111281" y="5555894"/>
            <a:ext cx="540000" cy="540000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00D3161-60AB-5A4C-A985-864EB2347143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6542676" y="5555894"/>
            <a:ext cx="540000" cy="54000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7A80070F-7A33-B840-B2D4-E2225381488F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7971725" y="5555894"/>
            <a:ext cx="540000" cy="540000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DA417CF2-CED3-9B47-BF01-C3BE1C9C62F6}"/>
              </a:ext>
            </a:extLst>
          </p:cNvPr>
          <p:cNvSpPr txBox="1"/>
          <p:nvPr/>
        </p:nvSpPr>
        <p:spPr>
          <a:xfrm>
            <a:off x="5079966" y="6124059"/>
            <a:ext cx="58048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Вануату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CCD96B43-D06D-1F45-8A6B-2A7E0902953A}"/>
              </a:ext>
            </a:extLst>
          </p:cNvPr>
          <p:cNvSpPr txBox="1"/>
          <p:nvPr/>
        </p:nvSpPr>
        <p:spPr>
          <a:xfrm>
            <a:off x="6498098" y="6124059"/>
            <a:ext cx="59631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Ватикан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DC79E62-AB66-3E4C-962F-925DF5730D04}"/>
              </a:ext>
            </a:extLst>
          </p:cNvPr>
          <p:cNvSpPr txBox="1"/>
          <p:nvPr/>
        </p:nvSpPr>
        <p:spPr>
          <a:xfrm>
            <a:off x="7636011" y="6124059"/>
            <a:ext cx="120962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Великобритания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53362F6B-3E2E-3E48-A719-FBEDEFE5C1BF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9401624" y="5555894"/>
            <a:ext cx="540000" cy="540000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67E64A7-39A9-5B48-B5EB-BE4DF28EB650}"/>
              </a:ext>
            </a:extLst>
          </p:cNvPr>
          <p:cNvSpPr txBox="1"/>
          <p:nvPr/>
        </p:nvSpPr>
        <p:spPr>
          <a:xfrm>
            <a:off x="9292791" y="6124059"/>
            <a:ext cx="7545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Венгрия</a:t>
            </a: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80CF5406-04C7-0A49-826C-457CD0143281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10831524" y="5555894"/>
            <a:ext cx="540000" cy="540000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D69F8F64-2246-364A-8EC8-D751674BA111}"/>
              </a:ext>
            </a:extLst>
          </p:cNvPr>
          <p:cNvSpPr txBox="1"/>
          <p:nvPr/>
        </p:nvSpPr>
        <p:spPr>
          <a:xfrm>
            <a:off x="10649007" y="6124059"/>
            <a:ext cx="9050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Венесуэла</a:t>
            </a:r>
          </a:p>
        </p:txBody>
      </p:sp>
      <p:sp>
        <p:nvSpPr>
          <p:cNvPr id="87" name="Номер слайда 1">
            <a:extLst>
              <a:ext uri="{FF2B5EF4-FFF2-40B4-BE49-F238E27FC236}">
                <a16:creationId xmlns:a16="http://schemas.microsoft.com/office/drawing/2014/main" id="{4828AF9B-8EA5-DD43-9371-08522BBDD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79800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лаги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F649A9D-38BA-334D-AF10-14DC21C06FA9}"/>
              </a:ext>
            </a:extLst>
          </p:cNvPr>
          <p:cNvSpPr txBox="1"/>
          <p:nvPr/>
        </p:nvSpPr>
        <p:spPr>
          <a:xfrm>
            <a:off x="637781" y="1513001"/>
            <a:ext cx="90890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Виргинские </a:t>
            </a:r>
            <a:br>
              <a:rPr lang="ru-RU" sz="1200" dirty="0"/>
            </a:br>
            <a:r>
              <a:rPr lang="ru-RU" sz="1200" dirty="0"/>
              <a:t>острова </a:t>
            </a:r>
          </a:p>
        </p:txBody>
      </p:sp>
      <p:sp>
        <p:nvSpPr>
          <p:cNvPr id="606" name="TextBox 605">
            <a:extLst>
              <a:ext uri="{FF2B5EF4-FFF2-40B4-BE49-F238E27FC236}">
                <a16:creationId xmlns:a16="http://schemas.microsoft.com/office/drawing/2014/main" id="{4BB80CC2-23F7-F045-9A4E-6C3636540407}"/>
              </a:ext>
            </a:extLst>
          </p:cNvPr>
          <p:cNvSpPr txBox="1"/>
          <p:nvPr/>
        </p:nvSpPr>
        <p:spPr>
          <a:xfrm>
            <a:off x="723343" y="2657645"/>
            <a:ext cx="73468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ватемала</a:t>
            </a:r>
          </a:p>
        </p:txBody>
      </p:sp>
      <p:sp>
        <p:nvSpPr>
          <p:cNvPr id="614" name="TextBox 613">
            <a:extLst>
              <a:ext uri="{FF2B5EF4-FFF2-40B4-BE49-F238E27FC236}">
                <a16:creationId xmlns:a16="http://schemas.microsoft.com/office/drawing/2014/main" id="{38F75EB7-167A-F549-A34E-1DDCE0D6A1FA}"/>
              </a:ext>
            </a:extLst>
          </p:cNvPr>
          <p:cNvSpPr txBox="1"/>
          <p:nvPr/>
        </p:nvSpPr>
        <p:spPr>
          <a:xfrm>
            <a:off x="797081" y="3830497"/>
            <a:ext cx="58721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ренада</a:t>
            </a:r>
          </a:p>
        </p:txBody>
      </p:sp>
      <p:sp>
        <p:nvSpPr>
          <p:cNvPr id="629" name="TextBox 628">
            <a:extLst>
              <a:ext uri="{FF2B5EF4-FFF2-40B4-BE49-F238E27FC236}">
                <a16:creationId xmlns:a16="http://schemas.microsoft.com/office/drawing/2014/main" id="{FF302672-03C1-8D4F-9804-92D42DCA4A9F}"/>
              </a:ext>
            </a:extLst>
          </p:cNvPr>
          <p:cNvSpPr txBox="1"/>
          <p:nvPr/>
        </p:nvSpPr>
        <p:spPr>
          <a:xfrm>
            <a:off x="714949" y="6124059"/>
            <a:ext cx="7262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Иордания</a:t>
            </a:r>
          </a:p>
        </p:txBody>
      </p:sp>
      <p:sp>
        <p:nvSpPr>
          <p:cNvPr id="630" name="TextBox 629">
            <a:extLst>
              <a:ext uri="{FF2B5EF4-FFF2-40B4-BE49-F238E27FC236}">
                <a16:creationId xmlns:a16="http://schemas.microsoft.com/office/drawing/2014/main" id="{79FB85C9-1779-9E4B-A8A2-E0E4B5A9E306}"/>
              </a:ext>
            </a:extLst>
          </p:cNvPr>
          <p:cNvSpPr txBox="1"/>
          <p:nvPr/>
        </p:nvSpPr>
        <p:spPr>
          <a:xfrm>
            <a:off x="633502" y="4988441"/>
            <a:ext cx="90890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 err="1"/>
              <a:t>Доминикана</a:t>
            </a:r>
            <a:endParaRPr lang="ru-RU" sz="12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4598A9D-58D3-444F-8E6D-A3DD5C14AB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230" y="973001"/>
            <a:ext cx="540000" cy="5400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DC1DD42-DE28-B54B-A3B5-7D450A8450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2129" y="973001"/>
            <a:ext cx="540000" cy="54000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406C9538-B63D-864D-8A74-9D0C06D44A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82028" y="973001"/>
            <a:ext cx="540000" cy="54000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E7285CAA-2020-5741-8919-31B33EAAA2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1927" y="973001"/>
            <a:ext cx="540000" cy="5400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DB577B2E-47CD-D146-B7ED-73C6D462A4A2}"/>
              </a:ext>
            </a:extLst>
          </p:cNvPr>
          <p:cNvSpPr txBox="1"/>
          <p:nvPr/>
        </p:nvSpPr>
        <p:spPr>
          <a:xfrm>
            <a:off x="1982210" y="1513001"/>
            <a:ext cx="107792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Виргинские </a:t>
            </a:r>
            <a:br>
              <a:rPr lang="ru-RU" sz="1200" dirty="0"/>
            </a:br>
            <a:r>
              <a:rPr lang="ru-RU" sz="1200" dirty="0"/>
              <a:t>острова (США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5268052-CF5E-1E49-9EE2-F45983670FAC}"/>
              </a:ext>
            </a:extLst>
          </p:cNvPr>
          <p:cNvSpPr txBox="1"/>
          <p:nvPr/>
        </p:nvSpPr>
        <p:spPr>
          <a:xfrm>
            <a:off x="3551660" y="1513001"/>
            <a:ext cx="79098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Восточный</a:t>
            </a:r>
            <a:br>
              <a:rPr lang="ru-RU" sz="1200" dirty="0"/>
            </a:br>
            <a:r>
              <a:rPr lang="ru-RU" sz="1200" dirty="0"/>
              <a:t>Тимор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A0845CD-836A-414B-B8B8-931FDA9B81B7}"/>
              </a:ext>
            </a:extLst>
          </p:cNvPr>
          <p:cNvSpPr txBox="1"/>
          <p:nvPr/>
        </p:nvSpPr>
        <p:spPr>
          <a:xfrm>
            <a:off x="5081464" y="1513001"/>
            <a:ext cx="60272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Вьетнам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D05C8FA-0F6B-4D4C-B29F-5603EC6C0906}"/>
              </a:ext>
            </a:extLst>
          </p:cNvPr>
          <p:cNvSpPr txBox="1"/>
          <p:nvPr/>
        </p:nvSpPr>
        <p:spPr>
          <a:xfrm>
            <a:off x="6597025" y="1513001"/>
            <a:ext cx="42370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абон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6D2AF33-3273-AC45-9947-2859951C8B4C}"/>
              </a:ext>
            </a:extLst>
          </p:cNvPr>
          <p:cNvSpPr txBox="1"/>
          <p:nvPr/>
        </p:nvSpPr>
        <p:spPr>
          <a:xfrm>
            <a:off x="8045219" y="1513001"/>
            <a:ext cx="40286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аити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0A6DEE5-A5F2-D84C-8C47-C9517ED257F6}"/>
              </a:ext>
            </a:extLst>
          </p:cNvPr>
          <p:cNvSpPr txBox="1"/>
          <p:nvPr/>
        </p:nvSpPr>
        <p:spPr>
          <a:xfrm>
            <a:off x="9413285" y="1513001"/>
            <a:ext cx="51668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амбия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D5C5B51-2F05-9A4C-B81E-1F24C9DAD7DA}"/>
              </a:ext>
            </a:extLst>
          </p:cNvPr>
          <p:cNvSpPr txBox="1"/>
          <p:nvPr/>
        </p:nvSpPr>
        <p:spPr>
          <a:xfrm>
            <a:off x="10938563" y="1513001"/>
            <a:ext cx="32592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ана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8A9DC8FE-8574-5B42-BC1D-92044C02C9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71725" y="973001"/>
            <a:ext cx="540000" cy="54000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DAD60F6D-611E-754E-8870-899C229503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01624" y="973001"/>
            <a:ext cx="540000" cy="540000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3F6A767F-74E4-CF4B-8E14-8707079FD7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1826" y="973001"/>
            <a:ext cx="540000" cy="540000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8D37E461-55B8-FD42-A210-8F6486B2722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31524" y="973001"/>
            <a:ext cx="540000" cy="5400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F8D5BFF5-9932-344C-9304-5C2AB55C61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2230" y="2118724"/>
            <a:ext cx="540000" cy="54000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7FFE452E-7FFB-D243-B650-5815CF8D0BE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52129" y="2118724"/>
            <a:ext cx="540000" cy="540000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EAEB1377-28A2-414A-87B1-D2D309E1421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82028" y="2118724"/>
            <a:ext cx="540000" cy="540000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5A1EC3C9-5C0D-F94B-BBE9-84E494C1C59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11927" y="2118724"/>
            <a:ext cx="540000" cy="540000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CA3B0626-203D-0241-B530-99570E41942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41826" y="2118724"/>
            <a:ext cx="540000" cy="540000"/>
          </a:xfrm>
          <a:prstGeom prst="rect">
            <a:avLst/>
          </a:prstGeom>
        </p:spPr>
      </p:pic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D4B4E8EC-83B1-1749-B227-39BA508D424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971725" y="2118724"/>
            <a:ext cx="540000" cy="540000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B4DFB0F7-88E6-9D40-A326-048F5FB85E90}"/>
              </a:ext>
            </a:extLst>
          </p:cNvPr>
          <p:cNvSpPr txBox="1"/>
          <p:nvPr/>
        </p:nvSpPr>
        <p:spPr>
          <a:xfrm>
            <a:off x="2227622" y="2657645"/>
            <a:ext cx="58400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 err="1"/>
              <a:t>Гвиенея</a:t>
            </a:r>
            <a:endParaRPr lang="ru-RU" sz="12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9FAF357-E8D0-424D-85B7-BC3F3122D230}"/>
              </a:ext>
            </a:extLst>
          </p:cNvPr>
          <p:cNvSpPr txBox="1"/>
          <p:nvPr/>
        </p:nvSpPr>
        <p:spPr>
          <a:xfrm>
            <a:off x="3451633" y="2657645"/>
            <a:ext cx="98796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винея-Бисау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1EEC428-B97B-8340-893F-6C693B5EF778}"/>
              </a:ext>
            </a:extLst>
          </p:cNvPr>
          <p:cNvSpPr txBox="1"/>
          <p:nvPr/>
        </p:nvSpPr>
        <p:spPr>
          <a:xfrm>
            <a:off x="5036350" y="2657645"/>
            <a:ext cx="68986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ермания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A0D234C-8B3F-DA49-BA2F-CBF25DFBFDDA}"/>
              </a:ext>
            </a:extLst>
          </p:cNvPr>
          <p:cNvSpPr txBox="1"/>
          <p:nvPr/>
        </p:nvSpPr>
        <p:spPr>
          <a:xfrm>
            <a:off x="6554571" y="2657645"/>
            <a:ext cx="5055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ернси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9534EA0-0E41-7947-A6C7-FF2BF27E3C84}"/>
              </a:ext>
            </a:extLst>
          </p:cNvPr>
          <p:cNvSpPr txBox="1"/>
          <p:nvPr/>
        </p:nvSpPr>
        <p:spPr>
          <a:xfrm>
            <a:off x="7869750" y="2657645"/>
            <a:ext cx="7507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ибралтар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5963FC7-C152-D549-BE9A-DD60EC3950A2}"/>
              </a:ext>
            </a:extLst>
          </p:cNvPr>
          <p:cNvSpPr txBox="1"/>
          <p:nvPr/>
        </p:nvSpPr>
        <p:spPr>
          <a:xfrm>
            <a:off x="9337971" y="2657645"/>
            <a:ext cx="66422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ондурас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6332F31-9BD2-084A-862B-18208464CA01}"/>
              </a:ext>
            </a:extLst>
          </p:cNvPr>
          <p:cNvSpPr txBox="1"/>
          <p:nvPr/>
        </p:nvSpPr>
        <p:spPr>
          <a:xfrm>
            <a:off x="10820735" y="2657645"/>
            <a:ext cx="58016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онконг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06F1DFD-EEC4-6F43-A444-C36CE39B126A}"/>
              </a:ext>
            </a:extLst>
          </p:cNvPr>
          <p:cNvSpPr txBox="1"/>
          <p:nvPr/>
        </p:nvSpPr>
        <p:spPr>
          <a:xfrm>
            <a:off x="2264493" y="3830497"/>
            <a:ext cx="51026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реция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9359F08-8233-7F41-93BE-D4A4BAA9B7A9}"/>
              </a:ext>
            </a:extLst>
          </p:cNvPr>
          <p:cNvSpPr txBox="1"/>
          <p:nvPr/>
        </p:nvSpPr>
        <p:spPr>
          <a:xfrm>
            <a:off x="3701698" y="3830497"/>
            <a:ext cx="48782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рузия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913AB69-A76A-7C47-AC3E-FF8817D255DE}"/>
              </a:ext>
            </a:extLst>
          </p:cNvPr>
          <p:cNvSpPr txBox="1"/>
          <p:nvPr/>
        </p:nvSpPr>
        <p:spPr>
          <a:xfrm>
            <a:off x="5215082" y="3830497"/>
            <a:ext cx="3324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Гуам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57AD0C2-FD84-E048-A918-8BA7E39C7F73}"/>
              </a:ext>
            </a:extLst>
          </p:cNvPr>
          <p:cNvSpPr txBox="1"/>
          <p:nvPr/>
        </p:nvSpPr>
        <p:spPr>
          <a:xfrm>
            <a:off x="6578906" y="3830497"/>
            <a:ext cx="45685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Дания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5C2C7E2-085F-034F-B474-192D815A9EF0}"/>
              </a:ext>
            </a:extLst>
          </p:cNvPr>
          <p:cNvSpPr txBox="1"/>
          <p:nvPr/>
        </p:nvSpPr>
        <p:spPr>
          <a:xfrm>
            <a:off x="8025401" y="3830497"/>
            <a:ext cx="43941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онго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6C73284-884C-9F4D-9E88-18C5E8910108}"/>
              </a:ext>
            </a:extLst>
          </p:cNvPr>
          <p:cNvSpPr txBox="1"/>
          <p:nvPr/>
        </p:nvSpPr>
        <p:spPr>
          <a:xfrm>
            <a:off x="9384006" y="3830497"/>
            <a:ext cx="57214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Джерси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4B3B0C1-5206-E44B-BC86-EAD4129C4699}"/>
              </a:ext>
            </a:extLst>
          </p:cNvPr>
          <p:cNvSpPr txBox="1"/>
          <p:nvPr/>
        </p:nvSpPr>
        <p:spPr>
          <a:xfrm>
            <a:off x="10784283" y="3830497"/>
            <a:ext cx="65306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Джибути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3EDBA44-08DF-7940-9A99-37483861F706}"/>
              </a:ext>
            </a:extLst>
          </p:cNvPr>
          <p:cNvSpPr txBox="1"/>
          <p:nvPr/>
        </p:nvSpPr>
        <p:spPr>
          <a:xfrm>
            <a:off x="1950482" y="4988441"/>
            <a:ext cx="114935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Доминиканская</a:t>
            </a:r>
            <a:br>
              <a:rPr lang="ru-RU" sz="1200" dirty="0"/>
            </a:br>
            <a:r>
              <a:rPr lang="ru-RU" sz="1200" dirty="0"/>
              <a:t>Республика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F0638AB-AB8C-4649-B1A6-9B06DC08E4D6}"/>
              </a:ext>
            </a:extLst>
          </p:cNvPr>
          <p:cNvSpPr txBox="1"/>
          <p:nvPr/>
        </p:nvSpPr>
        <p:spPr>
          <a:xfrm>
            <a:off x="3712177" y="4988441"/>
            <a:ext cx="4937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Египет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F934D58E-0C99-344D-AA73-4B827CDA7F4E}"/>
              </a:ext>
            </a:extLst>
          </p:cNvPr>
          <p:cNvSpPr txBox="1"/>
          <p:nvPr/>
        </p:nvSpPr>
        <p:spPr>
          <a:xfrm>
            <a:off x="5111176" y="4988441"/>
            <a:ext cx="5402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Замбия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DB46A4A-0636-BB4F-A2C8-78220F6BC391}"/>
              </a:ext>
            </a:extLst>
          </p:cNvPr>
          <p:cNvSpPr txBox="1"/>
          <p:nvPr/>
        </p:nvSpPr>
        <p:spPr>
          <a:xfrm>
            <a:off x="6449862" y="4988441"/>
            <a:ext cx="71493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Зимбабве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931980C-981F-2C42-8E78-B2A35C42D8C5}"/>
              </a:ext>
            </a:extLst>
          </p:cNvPr>
          <p:cNvSpPr txBox="1"/>
          <p:nvPr/>
        </p:nvSpPr>
        <p:spPr>
          <a:xfrm>
            <a:off x="7943322" y="4988441"/>
            <a:ext cx="6171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Израиль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4ED8721-86A3-5B4F-B949-130831255FA0}"/>
              </a:ext>
            </a:extLst>
          </p:cNvPr>
          <p:cNvSpPr txBox="1"/>
          <p:nvPr/>
        </p:nvSpPr>
        <p:spPr>
          <a:xfrm>
            <a:off x="8989930" y="4988441"/>
            <a:ext cx="13602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Индия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B047FA4-CA1A-764E-B937-2A55046800CE}"/>
              </a:ext>
            </a:extLst>
          </p:cNvPr>
          <p:cNvSpPr txBox="1"/>
          <p:nvPr/>
        </p:nvSpPr>
        <p:spPr>
          <a:xfrm>
            <a:off x="10667259" y="4988441"/>
            <a:ext cx="9050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Индонезия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627A8D9-A5E9-3148-B7C4-A1636CA46E01}"/>
              </a:ext>
            </a:extLst>
          </p:cNvPr>
          <p:cNvSpPr txBox="1"/>
          <p:nvPr/>
        </p:nvSpPr>
        <p:spPr>
          <a:xfrm>
            <a:off x="2319952" y="6124059"/>
            <a:ext cx="3767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Ирак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BD605F6-590D-644A-A96B-12E527775000}"/>
              </a:ext>
            </a:extLst>
          </p:cNvPr>
          <p:cNvSpPr txBox="1"/>
          <p:nvPr/>
        </p:nvSpPr>
        <p:spPr>
          <a:xfrm>
            <a:off x="3750844" y="6124059"/>
            <a:ext cx="383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Иран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8616C34-9C9C-1146-AA44-21FB5D2ED976}"/>
              </a:ext>
            </a:extLst>
          </p:cNvPr>
          <p:cNvSpPr txBox="1"/>
          <p:nvPr/>
        </p:nvSpPr>
        <p:spPr>
          <a:xfrm>
            <a:off x="5007929" y="6124059"/>
            <a:ext cx="72455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Ирландия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00B1D61-42D3-4040-982E-DDAD39A6D1B5}"/>
              </a:ext>
            </a:extLst>
          </p:cNvPr>
          <p:cNvSpPr txBox="1"/>
          <p:nvPr/>
        </p:nvSpPr>
        <p:spPr>
          <a:xfrm>
            <a:off x="6440037" y="6124059"/>
            <a:ext cx="71243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Исландия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95F9EBC-97AC-FB46-9C8C-18323D15BA0C}"/>
              </a:ext>
            </a:extLst>
          </p:cNvPr>
          <p:cNvSpPr txBox="1"/>
          <p:nvPr/>
        </p:nvSpPr>
        <p:spPr>
          <a:xfrm>
            <a:off x="7927437" y="6124059"/>
            <a:ext cx="62677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Испания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45C21D9-75BC-284F-9A36-2D5851D54DD7}"/>
              </a:ext>
            </a:extLst>
          </p:cNvPr>
          <p:cNvSpPr txBox="1"/>
          <p:nvPr/>
        </p:nvSpPr>
        <p:spPr>
          <a:xfrm>
            <a:off x="9292791" y="6124059"/>
            <a:ext cx="7545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Италия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47FE30F-EE12-C84A-8F88-1028154FF012}"/>
              </a:ext>
            </a:extLst>
          </p:cNvPr>
          <p:cNvSpPr txBox="1"/>
          <p:nvPr/>
        </p:nvSpPr>
        <p:spPr>
          <a:xfrm>
            <a:off x="10649007" y="6124059"/>
            <a:ext cx="9050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Йемен</a:t>
            </a:r>
          </a:p>
        </p:txBody>
      </p:sp>
      <p:pic>
        <p:nvPicPr>
          <p:cNvPr id="449" name="Рисунок 448">
            <a:extLst>
              <a:ext uri="{FF2B5EF4-FFF2-40B4-BE49-F238E27FC236}">
                <a16:creationId xmlns:a16="http://schemas.microsoft.com/office/drawing/2014/main" id="{DEDADB7B-1A03-A945-8936-48D9DA1E683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401624" y="2118724"/>
            <a:ext cx="540000" cy="540000"/>
          </a:xfrm>
          <a:prstGeom prst="rect">
            <a:avLst/>
          </a:prstGeom>
        </p:spPr>
      </p:pic>
      <p:pic>
        <p:nvPicPr>
          <p:cNvPr id="451" name="Рисунок 450">
            <a:extLst>
              <a:ext uri="{FF2B5EF4-FFF2-40B4-BE49-F238E27FC236}">
                <a16:creationId xmlns:a16="http://schemas.microsoft.com/office/drawing/2014/main" id="{6BA9E5F2-6C07-CA4D-AD5D-BB39F57EFD4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831524" y="2118724"/>
            <a:ext cx="540000" cy="540000"/>
          </a:xfrm>
          <a:prstGeom prst="rect">
            <a:avLst/>
          </a:prstGeom>
        </p:spPr>
      </p:pic>
      <p:pic>
        <p:nvPicPr>
          <p:cNvPr id="454" name="Рисунок 453">
            <a:extLst>
              <a:ext uri="{FF2B5EF4-FFF2-40B4-BE49-F238E27FC236}">
                <a16:creationId xmlns:a16="http://schemas.microsoft.com/office/drawing/2014/main" id="{4B6C8E30-B0F4-BE49-BA4C-FBC6000CF32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22230" y="3264447"/>
            <a:ext cx="540000" cy="540000"/>
          </a:xfrm>
          <a:prstGeom prst="rect">
            <a:avLst/>
          </a:prstGeom>
        </p:spPr>
      </p:pic>
      <p:pic>
        <p:nvPicPr>
          <p:cNvPr id="456" name="Рисунок 455">
            <a:extLst>
              <a:ext uri="{FF2B5EF4-FFF2-40B4-BE49-F238E27FC236}">
                <a16:creationId xmlns:a16="http://schemas.microsoft.com/office/drawing/2014/main" id="{E01E4A01-953C-C643-9F6D-84132B32C8E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252129" y="3264447"/>
            <a:ext cx="540000" cy="540000"/>
          </a:xfrm>
          <a:prstGeom prst="rect">
            <a:avLst/>
          </a:prstGeom>
        </p:spPr>
      </p:pic>
      <p:pic>
        <p:nvPicPr>
          <p:cNvPr id="458" name="Рисунок 457">
            <a:extLst>
              <a:ext uri="{FF2B5EF4-FFF2-40B4-BE49-F238E27FC236}">
                <a16:creationId xmlns:a16="http://schemas.microsoft.com/office/drawing/2014/main" id="{1946BEF5-5A58-9C43-9F32-E9B46D25367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682028" y="3264447"/>
            <a:ext cx="540000" cy="540000"/>
          </a:xfrm>
          <a:prstGeom prst="rect">
            <a:avLst/>
          </a:prstGeom>
        </p:spPr>
      </p:pic>
      <p:pic>
        <p:nvPicPr>
          <p:cNvPr id="460" name="Рисунок 459">
            <a:extLst>
              <a:ext uri="{FF2B5EF4-FFF2-40B4-BE49-F238E27FC236}">
                <a16:creationId xmlns:a16="http://schemas.microsoft.com/office/drawing/2014/main" id="{C75F996A-9AC1-0D4A-A0B1-905575A00F6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111927" y="3264447"/>
            <a:ext cx="540000" cy="540000"/>
          </a:xfrm>
          <a:prstGeom prst="rect">
            <a:avLst/>
          </a:prstGeom>
        </p:spPr>
      </p:pic>
      <p:pic>
        <p:nvPicPr>
          <p:cNvPr id="462" name="Рисунок 461">
            <a:extLst>
              <a:ext uri="{FF2B5EF4-FFF2-40B4-BE49-F238E27FC236}">
                <a16:creationId xmlns:a16="http://schemas.microsoft.com/office/drawing/2014/main" id="{ADC6A391-6C63-A545-87C2-ED7C2773EC86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541826" y="3264447"/>
            <a:ext cx="540000" cy="540000"/>
          </a:xfrm>
          <a:prstGeom prst="rect">
            <a:avLst/>
          </a:prstGeom>
        </p:spPr>
      </p:pic>
      <p:pic>
        <p:nvPicPr>
          <p:cNvPr id="464" name="Рисунок 463">
            <a:extLst>
              <a:ext uri="{FF2B5EF4-FFF2-40B4-BE49-F238E27FC236}">
                <a16:creationId xmlns:a16="http://schemas.microsoft.com/office/drawing/2014/main" id="{2A7AD3DE-1CBD-2C4D-9AB1-A1E79EDFA5E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971725" y="3264447"/>
            <a:ext cx="540000" cy="540000"/>
          </a:xfrm>
          <a:prstGeom prst="rect">
            <a:avLst/>
          </a:prstGeom>
        </p:spPr>
      </p:pic>
      <p:pic>
        <p:nvPicPr>
          <p:cNvPr id="466" name="Рисунок 465">
            <a:extLst>
              <a:ext uri="{FF2B5EF4-FFF2-40B4-BE49-F238E27FC236}">
                <a16:creationId xmlns:a16="http://schemas.microsoft.com/office/drawing/2014/main" id="{E933B4C3-80B6-6D40-B2B6-C495348E4FA8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9401624" y="3264447"/>
            <a:ext cx="540000" cy="540000"/>
          </a:xfrm>
          <a:prstGeom prst="rect">
            <a:avLst/>
          </a:prstGeom>
        </p:spPr>
      </p:pic>
      <p:pic>
        <p:nvPicPr>
          <p:cNvPr id="468" name="Рисунок 467">
            <a:extLst>
              <a:ext uri="{FF2B5EF4-FFF2-40B4-BE49-F238E27FC236}">
                <a16:creationId xmlns:a16="http://schemas.microsoft.com/office/drawing/2014/main" id="{64E6011D-A7BE-4B41-A0BB-62F01E18DDC1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831524" y="3264447"/>
            <a:ext cx="540000" cy="540000"/>
          </a:xfrm>
          <a:prstGeom prst="rect">
            <a:avLst/>
          </a:prstGeom>
        </p:spPr>
      </p:pic>
      <p:pic>
        <p:nvPicPr>
          <p:cNvPr id="470" name="Рисунок 469">
            <a:extLst>
              <a:ext uri="{FF2B5EF4-FFF2-40B4-BE49-F238E27FC236}">
                <a16:creationId xmlns:a16="http://schemas.microsoft.com/office/drawing/2014/main" id="{799AF5AE-A8E8-784D-AE1C-D704262AF50A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822230" y="4410170"/>
            <a:ext cx="540000" cy="540000"/>
          </a:xfrm>
          <a:prstGeom prst="rect">
            <a:avLst/>
          </a:prstGeom>
        </p:spPr>
      </p:pic>
      <p:pic>
        <p:nvPicPr>
          <p:cNvPr id="472" name="Рисунок 471">
            <a:extLst>
              <a:ext uri="{FF2B5EF4-FFF2-40B4-BE49-F238E27FC236}">
                <a16:creationId xmlns:a16="http://schemas.microsoft.com/office/drawing/2014/main" id="{45AFE573-DF37-7B40-A17A-FB43BF19992E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252129" y="4410170"/>
            <a:ext cx="540000" cy="540000"/>
          </a:xfrm>
          <a:prstGeom prst="rect">
            <a:avLst/>
          </a:prstGeom>
        </p:spPr>
      </p:pic>
      <p:pic>
        <p:nvPicPr>
          <p:cNvPr id="474" name="Рисунок 473">
            <a:extLst>
              <a:ext uri="{FF2B5EF4-FFF2-40B4-BE49-F238E27FC236}">
                <a16:creationId xmlns:a16="http://schemas.microsoft.com/office/drawing/2014/main" id="{C7EA2AC6-FDF7-BA43-AB67-EC000812E803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3682028" y="4410170"/>
            <a:ext cx="540000" cy="540000"/>
          </a:xfrm>
          <a:prstGeom prst="rect">
            <a:avLst/>
          </a:prstGeom>
        </p:spPr>
      </p:pic>
      <p:pic>
        <p:nvPicPr>
          <p:cNvPr id="476" name="Рисунок 475">
            <a:extLst>
              <a:ext uri="{FF2B5EF4-FFF2-40B4-BE49-F238E27FC236}">
                <a16:creationId xmlns:a16="http://schemas.microsoft.com/office/drawing/2014/main" id="{3B93FA9F-79E4-A140-96F0-AEBE3EDC79C9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5111927" y="4410170"/>
            <a:ext cx="540000" cy="540000"/>
          </a:xfrm>
          <a:prstGeom prst="rect">
            <a:avLst/>
          </a:prstGeom>
        </p:spPr>
      </p:pic>
      <p:pic>
        <p:nvPicPr>
          <p:cNvPr id="478" name="Рисунок 477">
            <a:extLst>
              <a:ext uri="{FF2B5EF4-FFF2-40B4-BE49-F238E27FC236}">
                <a16:creationId xmlns:a16="http://schemas.microsoft.com/office/drawing/2014/main" id="{1F9245DA-6567-594E-9C89-9BB74BAE8510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541826" y="4410170"/>
            <a:ext cx="540000" cy="540000"/>
          </a:xfrm>
          <a:prstGeom prst="rect">
            <a:avLst/>
          </a:prstGeom>
        </p:spPr>
      </p:pic>
      <p:pic>
        <p:nvPicPr>
          <p:cNvPr id="480" name="Рисунок 479">
            <a:extLst>
              <a:ext uri="{FF2B5EF4-FFF2-40B4-BE49-F238E27FC236}">
                <a16:creationId xmlns:a16="http://schemas.microsoft.com/office/drawing/2014/main" id="{C4E0B2BF-7B9D-0648-9C51-33482F492CA6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7971725" y="4410170"/>
            <a:ext cx="540000" cy="540000"/>
          </a:xfrm>
          <a:prstGeom prst="rect">
            <a:avLst/>
          </a:prstGeom>
        </p:spPr>
      </p:pic>
      <p:pic>
        <p:nvPicPr>
          <p:cNvPr id="482" name="Рисунок 481">
            <a:extLst>
              <a:ext uri="{FF2B5EF4-FFF2-40B4-BE49-F238E27FC236}">
                <a16:creationId xmlns:a16="http://schemas.microsoft.com/office/drawing/2014/main" id="{4825626E-0E3D-1342-A92E-59CA63D76C83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9401624" y="4410170"/>
            <a:ext cx="540000" cy="540000"/>
          </a:xfrm>
          <a:prstGeom prst="rect">
            <a:avLst/>
          </a:prstGeom>
        </p:spPr>
      </p:pic>
      <p:pic>
        <p:nvPicPr>
          <p:cNvPr id="484" name="Рисунок 483">
            <a:extLst>
              <a:ext uri="{FF2B5EF4-FFF2-40B4-BE49-F238E27FC236}">
                <a16:creationId xmlns:a16="http://schemas.microsoft.com/office/drawing/2014/main" id="{1860CE6B-B571-7744-B030-17E565B1CB16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831524" y="4410170"/>
            <a:ext cx="540000" cy="540000"/>
          </a:xfrm>
          <a:prstGeom prst="rect">
            <a:avLst/>
          </a:prstGeom>
        </p:spPr>
      </p:pic>
      <p:pic>
        <p:nvPicPr>
          <p:cNvPr id="486" name="Рисунок 485">
            <a:extLst>
              <a:ext uri="{FF2B5EF4-FFF2-40B4-BE49-F238E27FC236}">
                <a16:creationId xmlns:a16="http://schemas.microsoft.com/office/drawing/2014/main" id="{E836E704-232B-0644-88C5-67D79837E521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22230" y="5555894"/>
            <a:ext cx="540000" cy="540000"/>
          </a:xfrm>
          <a:prstGeom prst="rect">
            <a:avLst/>
          </a:prstGeom>
        </p:spPr>
      </p:pic>
      <p:pic>
        <p:nvPicPr>
          <p:cNvPr id="488" name="Рисунок 487">
            <a:extLst>
              <a:ext uri="{FF2B5EF4-FFF2-40B4-BE49-F238E27FC236}">
                <a16:creationId xmlns:a16="http://schemas.microsoft.com/office/drawing/2014/main" id="{FA10B836-5BE4-2B40-ACD8-D166DC2C62D2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2252129" y="5555894"/>
            <a:ext cx="540000" cy="540000"/>
          </a:xfrm>
          <a:prstGeom prst="rect">
            <a:avLst/>
          </a:prstGeom>
        </p:spPr>
      </p:pic>
      <p:pic>
        <p:nvPicPr>
          <p:cNvPr id="490" name="Рисунок 489">
            <a:extLst>
              <a:ext uri="{FF2B5EF4-FFF2-40B4-BE49-F238E27FC236}">
                <a16:creationId xmlns:a16="http://schemas.microsoft.com/office/drawing/2014/main" id="{1529F4A7-C693-1047-8A00-9B78077B6645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3682028" y="5555894"/>
            <a:ext cx="540000" cy="540000"/>
          </a:xfrm>
          <a:prstGeom prst="rect">
            <a:avLst/>
          </a:prstGeom>
        </p:spPr>
      </p:pic>
      <p:pic>
        <p:nvPicPr>
          <p:cNvPr id="492" name="Рисунок 491">
            <a:extLst>
              <a:ext uri="{FF2B5EF4-FFF2-40B4-BE49-F238E27FC236}">
                <a16:creationId xmlns:a16="http://schemas.microsoft.com/office/drawing/2014/main" id="{076A0264-529D-414D-B137-9781752FFDFF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5111927" y="5555894"/>
            <a:ext cx="540000" cy="540000"/>
          </a:xfrm>
          <a:prstGeom prst="rect">
            <a:avLst/>
          </a:prstGeom>
        </p:spPr>
      </p:pic>
      <p:pic>
        <p:nvPicPr>
          <p:cNvPr id="494" name="Рисунок 493">
            <a:extLst>
              <a:ext uri="{FF2B5EF4-FFF2-40B4-BE49-F238E27FC236}">
                <a16:creationId xmlns:a16="http://schemas.microsoft.com/office/drawing/2014/main" id="{A36DFFA6-3DA6-1A40-9314-08A3322AAF26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6541826" y="5555894"/>
            <a:ext cx="540000" cy="540000"/>
          </a:xfrm>
          <a:prstGeom prst="rect">
            <a:avLst/>
          </a:prstGeom>
        </p:spPr>
      </p:pic>
      <p:pic>
        <p:nvPicPr>
          <p:cNvPr id="496" name="Рисунок 495">
            <a:extLst>
              <a:ext uri="{FF2B5EF4-FFF2-40B4-BE49-F238E27FC236}">
                <a16:creationId xmlns:a16="http://schemas.microsoft.com/office/drawing/2014/main" id="{BB796407-C77D-EB41-B882-330235CD4277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7971725" y="5555894"/>
            <a:ext cx="540000" cy="540000"/>
          </a:xfrm>
          <a:prstGeom prst="rect">
            <a:avLst/>
          </a:prstGeom>
        </p:spPr>
      </p:pic>
      <p:pic>
        <p:nvPicPr>
          <p:cNvPr id="498" name="Рисунок 497">
            <a:extLst>
              <a:ext uri="{FF2B5EF4-FFF2-40B4-BE49-F238E27FC236}">
                <a16:creationId xmlns:a16="http://schemas.microsoft.com/office/drawing/2014/main" id="{B5B418B3-FAB2-574D-B45F-C579990999A5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9401624" y="5555894"/>
            <a:ext cx="540000" cy="540000"/>
          </a:xfrm>
          <a:prstGeom prst="rect">
            <a:avLst/>
          </a:prstGeom>
        </p:spPr>
      </p:pic>
      <p:pic>
        <p:nvPicPr>
          <p:cNvPr id="500" name="Рисунок 499">
            <a:extLst>
              <a:ext uri="{FF2B5EF4-FFF2-40B4-BE49-F238E27FC236}">
                <a16:creationId xmlns:a16="http://schemas.microsoft.com/office/drawing/2014/main" id="{6DE3E852-72B7-5943-9559-F26111C2F87C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10831524" y="5555894"/>
            <a:ext cx="540000" cy="540000"/>
          </a:xfrm>
          <a:prstGeom prst="rect">
            <a:avLst/>
          </a:prstGeom>
        </p:spPr>
      </p:pic>
      <p:sp>
        <p:nvSpPr>
          <p:cNvPr id="92" name="Номер слайда 1">
            <a:extLst>
              <a:ext uri="{FF2B5EF4-FFF2-40B4-BE49-F238E27FC236}">
                <a16:creationId xmlns:a16="http://schemas.microsoft.com/office/drawing/2014/main" id="{A15DBCF4-0AC9-BE44-8C51-9EEF64CCC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39641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Рисунок 91">
            <a:extLst>
              <a:ext uri="{FF2B5EF4-FFF2-40B4-BE49-F238E27FC236}">
                <a16:creationId xmlns:a16="http://schemas.microsoft.com/office/drawing/2014/main" id="{8E23A3C8-2217-224D-A8A5-C346A6D922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1524" y="5555894"/>
            <a:ext cx="540000" cy="5400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0F661F1C-A17B-4A49-BC83-0C98D122E4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1524" y="973001"/>
            <a:ext cx="540000" cy="54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лаги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F649A9D-38BA-334D-AF10-14DC21C06FA9}"/>
              </a:ext>
            </a:extLst>
          </p:cNvPr>
          <p:cNvSpPr txBox="1"/>
          <p:nvPr/>
        </p:nvSpPr>
        <p:spPr>
          <a:xfrm>
            <a:off x="652981" y="1513001"/>
            <a:ext cx="87851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або-Верде</a:t>
            </a:r>
          </a:p>
        </p:txBody>
      </p:sp>
      <p:sp>
        <p:nvSpPr>
          <p:cNvPr id="606" name="TextBox 605">
            <a:extLst>
              <a:ext uri="{FF2B5EF4-FFF2-40B4-BE49-F238E27FC236}">
                <a16:creationId xmlns:a16="http://schemas.microsoft.com/office/drawing/2014/main" id="{4BB80CC2-23F7-F045-9A4E-6C3636540407}"/>
              </a:ext>
            </a:extLst>
          </p:cNvPr>
          <p:cNvSpPr txBox="1"/>
          <p:nvPr/>
        </p:nvSpPr>
        <p:spPr>
          <a:xfrm>
            <a:off x="872679" y="2657645"/>
            <a:ext cx="4360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итай</a:t>
            </a:r>
          </a:p>
        </p:txBody>
      </p:sp>
      <p:sp>
        <p:nvSpPr>
          <p:cNvPr id="614" name="TextBox 613">
            <a:extLst>
              <a:ext uri="{FF2B5EF4-FFF2-40B4-BE49-F238E27FC236}">
                <a16:creationId xmlns:a16="http://schemas.microsoft.com/office/drawing/2014/main" id="{38F75EB7-167A-F549-A34E-1DDCE0D6A1FA}"/>
              </a:ext>
            </a:extLst>
          </p:cNvPr>
          <p:cNvSpPr txBox="1"/>
          <p:nvPr/>
        </p:nvSpPr>
        <p:spPr>
          <a:xfrm>
            <a:off x="915833" y="3830497"/>
            <a:ext cx="34971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уба</a:t>
            </a:r>
          </a:p>
        </p:txBody>
      </p:sp>
      <p:sp>
        <p:nvSpPr>
          <p:cNvPr id="629" name="TextBox 628">
            <a:extLst>
              <a:ext uri="{FF2B5EF4-FFF2-40B4-BE49-F238E27FC236}">
                <a16:creationId xmlns:a16="http://schemas.microsoft.com/office/drawing/2014/main" id="{FF302672-03C1-8D4F-9804-92D42DCA4A9F}"/>
              </a:ext>
            </a:extLst>
          </p:cNvPr>
          <p:cNvSpPr txBox="1"/>
          <p:nvPr/>
        </p:nvSpPr>
        <p:spPr>
          <a:xfrm>
            <a:off x="799941" y="6124059"/>
            <a:ext cx="55624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алави</a:t>
            </a:r>
          </a:p>
        </p:txBody>
      </p:sp>
      <p:sp>
        <p:nvSpPr>
          <p:cNvPr id="630" name="TextBox 629">
            <a:extLst>
              <a:ext uri="{FF2B5EF4-FFF2-40B4-BE49-F238E27FC236}">
                <a16:creationId xmlns:a16="http://schemas.microsoft.com/office/drawing/2014/main" id="{79FB85C9-1779-9E4B-A8A2-E0E4B5A9E306}"/>
              </a:ext>
            </a:extLst>
          </p:cNvPr>
          <p:cNvSpPr txBox="1"/>
          <p:nvPr/>
        </p:nvSpPr>
        <p:spPr>
          <a:xfrm>
            <a:off x="859525" y="4988441"/>
            <a:ext cx="45685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Ливан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B577B2E-47CD-D146-B7ED-73C6D462A4A2}"/>
              </a:ext>
            </a:extLst>
          </p:cNvPr>
          <p:cNvSpPr txBox="1"/>
          <p:nvPr/>
        </p:nvSpPr>
        <p:spPr>
          <a:xfrm>
            <a:off x="2155305" y="1513001"/>
            <a:ext cx="73173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азахстан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5268052-CF5E-1E49-9EE2-F45983670FAC}"/>
              </a:ext>
            </a:extLst>
          </p:cNvPr>
          <p:cNvSpPr txBox="1"/>
          <p:nvPr/>
        </p:nvSpPr>
        <p:spPr>
          <a:xfrm>
            <a:off x="3573303" y="1513001"/>
            <a:ext cx="7477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амбоджа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A0845CD-836A-414B-B8B8-931FDA9B81B7}"/>
              </a:ext>
            </a:extLst>
          </p:cNvPr>
          <p:cNvSpPr txBox="1"/>
          <p:nvPr/>
        </p:nvSpPr>
        <p:spPr>
          <a:xfrm>
            <a:off x="5067807" y="1513001"/>
            <a:ext cx="63004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амерун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D05C8FA-0F6B-4D4C-B29F-5603EC6C0906}"/>
              </a:ext>
            </a:extLst>
          </p:cNvPr>
          <p:cNvSpPr txBox="1"/>
          <p:nvPr/>
        </p:nvSpPr>
        <p:spPr>
          <a:xfrm>
            <a:off x="6501104" y="1513001"/>
            <a:ext cx="61555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 err="1"/>
              <a:t>Кананда</a:t>
            </a:r>
            <a:endParaRPr lang="ru-RU" sz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6D2AF33-3273-AC45-9947-2859951C8B4C}"/>
              </a:ext>
            </a:extLst>
          </p:cNvPr>
          <p:cNvSpPr txBox="1"/>
          <p:nvPr/>
        </p:nvSpPr>
        <p:spPr>
          <a:xfrm>
            <a:off x="8022168" y="1513001"/>
            <a:ext cx="44897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ения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0A6DEE5-A5F2-D84C-8C47-C9517ED257F6}"/>
              </a:ext>
            </a:extLst>
          </p:cNvPr>
          <p:cNvSpPr txBox="1"/>
          <p:nvPr/>
        </p:nvSpPr>
        <p:spPr>
          <a:xfrm>
            <a:off x="9325377" y="1513001"/>
            <a:ext cx="69249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иргизия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D5C5B51-2F05-9A4C-B81E-1F24C9DAD7DA}"/>
              </a:ext>
            </a:extLst>
          </p:cNvPr>
          <p:cNvSpPr txBox="1"/>
          <p:nvPr/>
        </p:nvSpPr>
        <p:spPr>
          <a:xfrm>
            <a:off x="10748061" y="1513001"/>
            <a:ext cx="7069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ирибати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4DFB0F7-88E6-9D40-A326-048F5FB85E90}"/>
              </a:ext>
            </a:extLst>
          </p:cNvPr>
          <p:cNvSpPr txBox="1"/>
          <p:nvPr/>
        </p:nvSpPr>
        <p:spPr>
          <a:xfrm>
            <a:off x="2123525" y="2657645"/>
            <a:ext cx="79220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окосовые</a:t>
            </a:r>
            <a:br>
              <a:rPr lang="ru-RU" sz="1200" dirty="0"/>
            </a:br>
            <a:r>
              <a:rPr lang="ru-RU" sz="1200" dirty="0"/>
              <a:t>острова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9FAF357-E8D0-424D-85B7-BC3F3122D230}"/>
              </a:ext>
            </a:extLst>
          </p:cNvPr>
          <p:cNvSpPr txBox="1"/>
          <p:nvPr/>
        </p:nvSpPr>
        <p:spPr>
          <a:xfrm>
            <a:off x="3587280" y="2657645"/>
            <a:ext cx="71667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олумбия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1EEC428-B97B-8340-893F-6C693B5EF778}"/>
              </a:ext>
            </a:extLst>
          </p:cNvPr>
          <p:cNvSpPr txBox="1"/>
          <p:nvPr/>
        </p:nvSpPr>
        <p:spPr>
          <a:xfrm>
            <a:off x="5093482" y="2657645"/>
            <a:ext cx="57560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 err="1"/>
              <a:t>Коморы</a:t>
            </a:r>
            <a:endParaRPr lang="ru-RU" sz="12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A0D234C-8B3F-DA49-BA2F-CBF25DFBFDDA}"/>
              </a:ext>
            </a:extLst>
          </p:cNvPr>
          <p:cNvSpPr txBox="1"/>
          <p:nvPr/>
        </p:nvSpPr>
        <p:spPr>
          <a:xfrm>
            <a:off x="6582913" y="2657645"/>
            <a:ext cx="44884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НДР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9534EA0-0E41-7947-A6C7-FF2BF27E3C84}"/>
              </a:ext>
            </a:extLst>
          </p:cNvPr>
          <p:cNvSpPr txBox="1"/>
          <p:nvPr/>
        </p:nvSpPr>
        <p:spPr>
          <a:xfrm>
            <a:off x="7739300" y="2657645"/>
            <a:ext cx="10116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Южная Корея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5963FC7-C152-D549-BE9A-DD60EC3950A2}"/>
              </a:ext>
            </a:extLst>
          </p:cNvPr>
          <p:cNvSpPr txBox="1"/>
          <p:nvPr/>
        </p:nvSpPr>
        <p:spPr>
          <a:xfrm>
            <a:off x="9251281" y="2657645"/>
            <a:ext cx="83760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оста-Рика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6332F31-9BD2-084A-862B-18208464CA01}"/>
              </a:ext>
            </a:extLst>
          </p:cNvPr>
          <p:cNvSpPr txBox="1"/>
          <p:nvPr/>
        </p:nvSpPr>
        <p:spPr>
          <a:xfrm>
            <a:off x="10679545" y="2657645"/>
            <a:ext cx="86254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от-</a:t>
            </a:r>
            <a:r>
              <a:rPr lang="ru-RU" sz="1200" dirty="0" err="1"/>
              <a:t>дИвуар</a:t>
            </a:r>
            <a:endParaRPr lang="ru-RU" sz="1200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06F1DFD-EEC4-6F43-A444-C36CE39B126A}"/>
              </a:ext>
            </a:extLst>
          </p:cNvPr>
          <p:cNvSpPr txBox="1"/>
          <p:nvPr/>
        </p:nvSpPr>
        <p:spPr>
          <a:xfrm>
            <a:off x="2268630" y="3830497"/>
            <a:ext cx="50199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увейт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9359F08-8233-7F41-93BE-D4A4BAA9B7A9}"/>
              </a:ext>
            </a:extLst>
          </p:cNvPr>
          <p:cNvSpPr txBox="1"/>
          <p:nvPr/>
        </p:nvSpPr>
        <p:spPr>
          <a:xfrm>
            <a:off x="3619050" y="3830497"/>
            <a:ext cx="65312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Острова </a:t>
            </a:r>
            <a:br>
              <a:rPr lang="ru-RU" sz="1200" dirty="0"/>
            </a:br>
            <a:r>
              <a:rPr lang="ru-RU" sz="1200" dirty="0"/>
              <a:t>Кука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913AB69-A76A-7C47-AC3E-FF8817D255DE}"/>
              </a:ext>
            </a:extLst>
          </p:cNvPr>
          <p:cNvSpPr txBox="1"/>
          <p:nvPr/>
        </p:nvSpPr>
        <p:spPr>
          <a:xfrm>
            <a:off x="5060682" y="3830497"/>
            <a:ext cx="64120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Кюрасао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57AD0C2-FD84-E048-A918-8BA7E39C7F73}"/>
              </a:ext>
            </a:extLst>
          </p:cNvPr>
          <p:cNvSpPr txBox="1"/>
          <p:nvPr/>
        </p:nvSpPr>
        <p:spPr>
          <a:xfrm>
            <a:off x="6626997" y="3830497"/>
            <a:ext cx="36067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Лаос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5C2C7E2-085F-034F-B474-192D815A9EF0}"/>
              </a:ext>
            </a:extLst>
          </p:cNvPr>
          <p:cNvSpPr txBox="1"/>
          <p:nvPr/>
        </p:nvSpPr>
        <p:spPr>
          <a:xfrm>
            <a:off x="7987828" y="3830497"/>
            <a:ext cx="51456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Латвия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6C73284-884C-9F4D-9E88-18C5E8910108}"/>
              </a:ext>
            </a:extLst>
          </p:cNvPr>
          <p:cNvSpPr txBox="1"/>
          <p:nvPr/>
        </p:nvSpPr>
        <p:spPr>
          <a:xfrm>
            <a:off x="9411545" y="3830497"/>
            <a:ext cx="51706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Лесото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4B3B0C1-5206-E44B-BC86-EAD4129C4699}"/>
              </a:ext>
            </a:extLst>
          </p:cNvPr>
          <p:cNvSpPr txBox="1"/>
          <p:nvPr/>
        </p:nvSpPr>
        <p:spPr>
          <a:xfrm>
            <a:off x="10791016" y="3830497"/>
            <a:ext cx="6395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Либерия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3EDBA44-08DF-7940-9A99-37483861F706}"/>
              </a:ext>
            </a:extLst>
          </p:cNvPr>
          <p:cNvSpPr txBox="1"/>
          <p:nvPr/>
        </p:nvSpPr>
        <p:spPr>
          <a:xfrm>
            <a:off x="2296731" y="4988441"/>
            <a:ext cx="45685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Ливия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F0638AB-AB8C-4649-B1A6-9B06DC08E4D6}"/>
              </a:ext>
            </a:extLst>
          </p:cNvPr>
          <p:cNvSpPr txBox="1"/>
          <p:nvPr/>
        </p:nvSpPr>
        <p:spPr>
          <a:xfrm>
            <a:off x="3741834" y="4988441"/>
            <a:ext cx="43441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Литва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F934D58E-0C99-344D-AA73-4B827CDA7F4E}"/>
              </a:ext>
            </a:extLst>
          </p:cNvPr>
          <p:cNvSpPr txBox="1"/>
          <p:nvPr/>
        </p:nvSpPr>
        <p:spPr>
          <a:xfrm>
            <a:off x="4894389" y="4988441"/>
            <a:ext cx="97379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Лихтенштейн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DB46A4A-0636-BB4F-A2C8-78220F6BC391}"/>
              </a:ext>
            </a:extLst>
          </p:cNvPr>
          <p:cNvSpPr txBox="1"/>
          <p:nvPr/>
        </p:nvSpPr>
        <p:spPr>
          <a:xfrm>
            <a:off x="6358395" y="4988441"/>
            <a:ext cx="89787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Люксембург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931980C-981F-2C42-8E78-B2A35C42D8C5}"/>
              </a:ext>
            </a:extLst>
          </p:cNvPr>
          <p:cNvSpPr txBox="1"/>
          <p:nvPr/>
        </p:nvSpPr>
        <p:spPr>
          <a:xfrm>
            <a:off x="7879202" y="4988441"/>
            <a:ext cx="74539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аврикий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4ED8721-86A3-5B4F-B949-130831255FA0}"/>
              </a:ext>
            </a:extLst>
          </p:cNvPr>
          <p:cNvSpPr txBox="1"/>
          <p:nvPr/>
        </p:nvSpPr>
        <p:spPr>
          <a:xfrm>
            <a:off x="8989930" y="4988441"/>
            <a:ext cx="13602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Мавритания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B047FA4-CA1A-764E-B937-2A55046800CE}"/>
              </a:ext>
            </a:extLst>
          </p:cNvPr>
          <p:cNvSpPr txBox="1"/>
          <p:nvPr/>
        </p:nvSpPr>
        <p:spPr>
          <a:xfrm>
            <a:off x="10667259" y="4988441"/>
            <a:ext cx="9050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Мадагаскар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627A8D9-A5E9-3148-B7C4-A1636CA46E01}"/>
              </a:ext>
            </a:extLst>
          </p:cNvPr>
          <p:cNvSpPr txBox="1"/>
          <p:nvPr/>
        </p:nvSpPr>
        <p:spPr>
          <a:xfrm>
            <a:off x="2149234" y="6124059"/>
            <a:ext cx="71814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алайзия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BD605F6-590D-644A-A96B-12E527775000}"/>
              </a:ext>
            </a:extLst>
          </p:cNvPr>
          <p:cNvSpPr txBox="1"/>
          <p:nvPr/>
        </p:nvSpPr>
        <p:spPr>
          <a:xfrm>
            <a:off x="3745234" y="6124059"/>
            <a:ext cx="39434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али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8616C34-9C9C-1146-AA44-21FB5D2ED976}"/>
              </a:ext>
            </a:extLst>
          </p:cNvPr>
          <p:cNvSpPr txBox="1"/>
          <p:nvPr/>
        </p:nvSpPr>
        <p:spPr>
          <a:xfrm>
            <a:off x="5000717" y="6124059"/>
            <a:ext cx="73898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альдивы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00B1D61-42D3-4040-982E-DDAD39A6D1B5}"/>
              </a:ext>
            </a:extLst>
          </p:cNvPr>
          <p:cNvSpPr txBox="1"/>
          <p:nvPr/>
        </p:nvSpPr>
        <p:spPr>
          <a:xfrm>
            <a:off x="6536410" y="6124059"/>
            <a:ext cx="51969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альта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95F9EBC-97AC-FB46-9C8C-18323D15BA0C}"/>
              </a:ext>
            </a:extLst>
          </p:cNvPr>
          <p:cNvSpPr txBox="1"/>
          <p:nvPr/>
        </p:nvSpPr>
        <p:spPr>
          <a:xfrm>
            <a:off x="7914968" y="6124059"/>
            <a:ext cx="65171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арокко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45C21D9-75BC-284F-9A36-2D5851D54DD7}"/>
              </a:ext>
            </a:extLst>
          </p:cNvPr>
          <p:cNvSpPr txBox="1"/>
          <p:nvPr/>
        </p:nvSpPr>
        <p:spPr>
          <a:xfrm>
            <a:off x="9141360" y="6124059"/>
            <a:ext cx="105743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Маршалловы</a:t>
            </a:r>
            <a:br>
              <a:rPr lang="ru-RU" sz="1200" dirty="0"/>
            </a:br>
            <a:r>
              <a:rPr lang="ru-RU" sz="1200" dirty="0"/>
              <a:t>острова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47FE30F-EE12-C84A-8F88-1028154FF012}"/>
              </a:ext>
            </a:extLst>
          </p:cNvPr>
          <p:cNvSpPr txBox="1"/>
          <p:nvPr/>
        </p:nvSpPr>
        <p:spPr>
          <a:xfrm>
            <a:off x="10649007" y="6124059"/>
            <a:ext cx="9050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Мартини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57BC446-D524-7C4D-A575-ADAB8C6DC9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2230" y="973001"/>
            <a:ext cx="540000" cy="540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A430E7E-082A-4E4C-BDB5-DC6354689E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52129" y="973001"/>
            <a:ext cx="540000" cy="5400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88B83C20-0901-2441-B3B0-9FE01D41E2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82028" y="973001"/>
            <a:ext cx="540000" cy="54000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833ECC3-CAF0-414B-95C3-0A6BB12069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1927" y="973001"/>
            <a:ext cx="540000" cy="54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1B455DA6-4EAD-3244-ADD1-7C0B68AFB2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1826" y="973001"/>
            <a:ext cx="540000" cy="54000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DE11B8A9-E66F-6842-A677-E67F647D512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71725" y="973001"/>
            <a:ext cx="540000" cy="540000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E06C216A-AAE1-EA49-B5A0-B225C4291E7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01624" y="973001"/>
            <a:ext cx="540000" cy="54000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C218E424-30E1-7342-A4D1-1A28F710550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2230" y="2118724"/>
            <a:ext cx="540000" cy="5400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64DC30E8-6DDB-A24A-BD12-CB4C14ABA3B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52129" y="2118724"/>
            <a:ext cx="540000" cy="540000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8BDB68C1-77C8-FC4A-B8AE-8FF85277B8E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682028" y="2118724"/>
            <a:ext cx="540000" cy="5400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1D143529-4D8B-2D4C-AAE6-33ECCBCBB87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111927" y="2118724"/>
            <a:ext cx="540000" cy="540000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8C4DCB61-D17A-594B-8372-04462B5ED6C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541826" y="2118724"/>
            <a:ext cx="540000" cy="540000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20106E7F-0126-DF45-A7C5-40F5B509639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971725" y="2118724"/>
            <a:ext cx="540000" cy="540000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9A671581-B0A6-9A41-BD82-D5F5B7BFFB7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401624" y="2118724"/>
            <a:ext cx="540000" cy="540000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E28F8040-B805-7947-A0FA-5EEA5EF8472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831524" y="2118724"/>
            <a:ext cx="540000" cy="540000"/>
          </a:xfrm>
          <a:prstGeom prst="rect">
            <a:avLst/>
          </a:prstGeom>
        </p:spPr>
      </p:pic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EF8924E0-8E0C-8441-A111-A757B77B2A2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22230" y="3264447"/>
            <a:ext cx="540000" cy="540000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D6AB40DE-3963-C341-AC8B-0F9919B1B02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252129" y="3264447"/>
            <a:ext cx="540000" cy="540000"/>
          </a:xfrm>
          <a:prstGeom prst="rect">
            <a:avLst/>
          </a:prstGeom>
        </p:spPr>
      </p:pic>
      <p:pic>
        <p:nvPicPr>
          <p:cNvPr id="450" name="Рисунок 449">
            <a:extLst>
              <a:ext uri="{FF2B5EF4-FFF2-40B4-BE49-F238E27FC236}">
                <a16:creationId xmlns:a16="http://schemas.microsoft.com/office/drawing/2014/main" id="{C4F2C28A-F64A-9B46-8BEB-F33283F6C260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682028" y="3264447"/>
            <a:ext cx="540000" cy="540000"/>
          </a:xfrm>
          <a:prstGeom prst="rect">
            <a:avLst/>
          </a:prstGeom>
        </p:spPr>
      </p:pic>
      <p:pic>
        <p:nvPicPr>
          <p:cNvPr id="453" name="Рисунок 452">
            <a:extLst>
              <a:ext uri="{FF2B5EF4-FFF2-40B4-BE49-F238E27FC236}">
                <a16:creationId xmlns:a16="http://schemas.microsoft.com/office/drawing/2014/main" id="{7B36819D-185D-6145-81DD-0789E71EFDC1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111927" y="3264447"/>
            <a:ext cx="540000" cy="540000"/>
          </a:xfrm>
          <a:prstGeom prst="rect">
            <a:avLst/>
          </a:prstGeom>
        </p:spPr>
      </p:pic>
      <p:pic>
        <p:nvPicPr>
          <p:cNvPr id="457" name="Рисунок 456">
            <a:extLst>
              <a:ext uri="{FF2B5EF4-FFF2-40B4-BE49-F238E27FC236}">
                <a16:creationId xmlns:a16="http://schemas.microsoft.com/office/drawing/2014/main" id="{8A451019-3B3C-5944-AE09-A2326BAD6D2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541826" y="3264447"/>
            <a:ext cx="540000" cy="540000"/>
          </a:xfrm>
          <a:prstGeom prst="rect">
            <a:avLst/>
          </a:prstGeom>
        </p:spPr>
      </p:pic>
      <p:pic>
        <p:nvPicPr>
          <p:cNvPr id="461" name="Рисунок 460">
            <a:extLst>
              <a:ext uri="{FF2B5EF4-FFF2-40B4-BE49-F238E27FC236}">
                <a16:creationId xmlns:a16="http://schemas.microsoft.com/office/drawing/2014/main" id="{D4F2864D-C295-554C-AA36-464D0E583C76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971725" y="3264447"/>
            <a:ext cx="540000" cy="540000"/>
          </a:xfrm>
          <a:prstGeom prst="rect">
            <a:avLst/>
          </a:prstGeom>
        </p:spPr>
      </p:pic>
      <p:pic>
        <p:nvPicPr>
          <p:cNvPr id="465" name="Рисунок 464">
            <a:extLst>
              <a:ext uri="{FF2B5EF4-FFF2-40B4-BE49-F238E27FC236}">
                <a16:creationId xmlns:a16="http://schemas.microsoft.com/office/drawing/2014/main" id="{D26C3101-745F-B643-9049-C00414CF1D5A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9401624" y="3264447"/>
            <a:ext cx="540000" cy="540000"/>
          </a:xfrm>
          <a:prstGeom prst="rect">
            <a:avLst/>
          </a:prstGeom>
        </p:spPr>
      </p:pic>
      <p:pic>
        <p:nvPicPr>
          <p:cNvPr id="469" name="Рисунок 468">
            <a:extLst>
              <a:ext uri="{FF2B5EF4-FFF2-40B4-BE49-F238E27FC236}">
                <a16:creationId xmlns:a16="http://schemas.microsoft.com/office/drawing/2014/main" id="{0F5A7C17-435B-3F47-945D-62B10D924997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831524" y="3264447"/>
            <a:ext cx="540000" cy="540000"/>
          </a:xfrm>
          <a:prstGeom prst="rect">
            <a:avLst/>
          </a:prstGeom>
        </p:spPr>
      </p:pic>
      <p:pic>
        <p:nvPicPr>
          <p:cNvPr id="473" name="Рисунок 472">
            <a:extLst>
              <a:ext uri="{FF2B5EF4-FFF2-40B4-BE49-F238E27FC236}">
                <a16:creationId xmlns:a16="http://schemas.microsoft.com/office/drawing/2014/main" id="{25A62310-AAE9-7446-AB4B-15DC3B126125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22230" y="4410170"/>
            <a:ext cx="540000" cy="540000"/>
          </a:xfrm>
          <a:prstGeom prst="rect">
            <a:avLst/>
          </a:prstGeom>
        </p:spPr>
      </p:pic>
      <p:pic>
        <p:nvPicPr>
          <p:cNvPr id="477" name="Рисунок 476">
            <a:extLst>
              <a:ext uri="{FF2B5EF4-FFF2-40B4-BE49-F238E27FC236}">
                <a16:creationId xmlns:a16="http://schemas.microsoft.com/office/drawing/2014/main" id="{7B592394-0571-764E-AD9B-970083D87DF3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252129" y="4410170"/>
            <a:ext cx="540000" cy="540000"/>
          </a:xfrm>
          <a:prstGeom prst="rect">
            <a:avLst/>
          </a:prstGeom>
        </p:spPr>
      </p:pic>
      <p:pic>
        <p:nvPicPr>
          <p:cNvPr id="481" name="Рисунок 480">
            <a:extLst>
              <a:ext uri="{FF2B5EF4-FFF2-40B4-BE49-F238E27FC236}">
                <a16:creationId xmlns:a16="http://schemas.microsoft.com/office/drawing/2014/main" id="{91DB3902-1A50-D445-AE26-F17E5F0A905B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682028" y="4410170"/>
            <a:ext cx="540000" cy="540000"/>
          </a:xfrm>
          <a:prstGeom prst="rect">
            <a:avLst/>
          </a:prstGeom>
        </p:spPr>
      </p:pic>
      <p:pic>
        <p:nvPicPr>
          <p:cNvPr id="485" name="Рисунок 484">
            <a:extLst>
              <a:ext uri="{FF2B5EF4-FFF2-40B4-BE49-F238E27FC236}">
                <a16:creationId xmlns:a16="http://schemas.microsoft.com/office/drawing/2014/main" id="{79351CD9-22EE-F74C-A259-CEE55C3B0FEF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111927" y="4410170"/>
            <a:ext cx="540000" cy="540000"/>
          </a:xfrm>
          <a:prstGeom prst="rect">
            <a:avLst/>
          </a:prstGeom>
        </p:spPr>
      </p:pic>
      <p:pic>
        <p:nvPicPr>
          <p:cNvPr id="489" name="Рисунок 488">
            <a:extLst>
              <a:ext uri="{FF2B5EF4-FFF2-40B4-BE49-F238E27FC236}">
                <a16:creationId xmlns:a16="http://schemas.microsoft.com/office/drawing/2014/main" id="{91865FE9-1E01-2A47-87E5-388F9B687BC6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541826" y="4410170"/>
            <a:ext cx="540000" cy="540000"/>
          </a:xfrm>
          <a:prstGeom prst="rect">
            <a:avLst/>
          </a:prstGeom>
        </p:spPr>
      </p:pic>
      <p:pic>
        <p:nvPicPr>
          <p:cNvPr id="493" name="Рисунок 492">
            <a:extLst>
              <a:ext uri="{FF2B5EF4-FFF2-40B4-BE49-F238E27FC236}">
                <a16:creationId xmlns:a16="http://schemas.microsoft.com/office/drawing/2014/main" id="{E78256B3-9740-3C49-AD16-F6657B14C51B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971725" y="4410170"/>
            <a:ext cx="540000" cy="540000"/>
          </a:xfrm>
          <a:prstGeom prst="rect">
            <a:avLst/>
          </a:prstGeom>
        </p:spPr>
      </p:pic>
      <p:pic>
        <p:nvPicPr>
          <p:cNvPr id="497" name="Рисунок 496">
            <a:extLst>
              <a:ext uri="{FF2B5EF4-FFF2-40B4-BE49-F238E27FC236}">
                <a16:creationId xmlns:a16="http://schemas.microsoft.com/office/drawing/2014/main" id="{AF9F54B9-5619-5541-874F-98F05F966584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9401624" y="4410170"/>
            <a:ext cx="540000" cy="540000"/>
          </a:xfrm>
          <a:prstGeom prst="rect">
            <a:avLst/>
          </a:prstGeom>
        </p:spPr>
      </p:pic>
      <p:pic>
        <p:nvPicPr>
          <p:cNvPr id="501" name="Рисунок 500">
            <a:extLst>
              <a:ext uri="{FF2B5EF4-FFF2-40B4-BE49-F238E27FC236}">
                <a16:creationId xmlns:a16="http://schemas.microsoft.com/office/drawing/2014/main" id="{6C67BD45-44AE-F34D-8537-269980795CDE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0831524" y="4410170"/>
            <a:ext cx="540000" cy="540000"/>
          </a:xfrm>
          <a:prstGeom prst="rect">
            <a:avLst/>
          </a:prstGeom>
        </p:spPr>
      </p:pic>
      <p:pic>
        <p:nvPicPr>
          <p:cNvPr id="503" name="Рисунок 502">
            <a:extLst>
              <a:ext uri="{FF2B5EF4-FFF2-40B4-BE49-F238E27FC236}">
                <a16:creationId xmlns:a16="http://schemas.microsoft.com/office/drawing/2014/main" id="{E4ED4CE3-52FD-6441-9727-7E377C3FB3F6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822230" y="5555894"/>
            <a:ext cx="540000" cy="540000"/>
          </a:xfrm>
          <a:prstGeom prst="rect">
            <a:avLst/>
          </a:prstGeom>
        </p:spPr>
      </p:pic>
      <p:pic>
        <p:nvPicPr>
          <p:cNvPr id="505" name="Рисунок 504">
            <a:extLst>
              <a:ext uri="{FF2B5EF4-FFF2-40B4-BE49-F238E27FC236}">
                <a16:creationId xmlns:a16="http://schemas.microsoft.com/office/drawing/2014/main" id="{6E47EDED-D12D-CC4B-8580-94E6DA7D6D57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2252129" y="5555894"/>
            <a:ext cx="540000" cy="540000"/>
          </a:xfrm>
          <a:prstGeom prst="rect">
            <a:avLst/>
          </a:prstGeom>
        </p:spPr>
      </p:pic>
      <p:pic>
        <p:nvPicPr>
          <p:cNvPr id="507" name="Рисунок 506">
            <a:extLst>
              <a:ext uri="{FF2B5EF4-FFF2-40B4-BE49-F238E27FC236}">
                <a16:creationId xmlns:a16="http://schemas.microsoft.com/office/drawing/2014/main" id="{974A3B58-D236-2845-A327-75C061594AEC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3682028" y="5555894"/>
            <a:ext cx="540000" cy="540000"/>
          </a:xfrm>
          <a:prstGeom prst="rect">
            <a:avLst/>
          </a:prstGeom>
        </p:spPr>
      </p:pic>
      <p:pic>
        <p:nvPicPr>
          <p:cNvPr id="509" name="Рисунок 508">
            <a:extLst>
              <a:ext uri="{FF2B5EF4-FFF2-40B4-BE49-F238E27FC236}">
                <a16:creationId xmlns:a16="http://schemas.microsoft.com/office/drawing/2014/main" id="{FDE3D520-731F-3544-B077-D2A40016ED51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5111927" y="5555894"/>
            <a:ext cx="540000" cy="540000"/>
          </a:xfrm>
          <a:prstGeom prst="rect">
            <a:avLst/>
          </a:prstGeom>
        </p:spPr>
      </p:pic>
      <p:pic>
        <p:nvPicPr>
          <p:cNvPr id="511" name="Рисунок 510">
            <a:extLst>
              <a:ext uri="{FF2B5EF4-FFF2-40B4-BE49-F238E27FC236}">
                <a16:creationId xmlns:a16="http://schemas.microsoft.com/office/drawing/2014/main" id="{677BADD2-D157-2340-8133-BF718B5792A8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6541826" y="5555894"/>
            <a:ext cx="540000" cy="540000"/>
          </a:xfrm>
          <a:prstGeom prst="rect">
            <a:avLst/>
          </a:prstGeom>
        </p:spPr>
      </p:pic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856967FC-4BFB-C74D-86A6-812C7FC48DE8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7971725" y="5555894"/>
            <a:ext cx="540000" cy="540000"/>
          </a:xfrm>
          <a:prstGeom prst="rect">
            <a:avLst/>
          </a:prstGeom>
        </p:spPr>
      </p:pic>
      <p:pic>
        <p:nvPicPr>
          <p:cNvPr id="67" name="Рисунок 66">
            <a:extLst>
              <a:ext uri="{FF2B5EF4-FFF2-40B4-BE49-F238E27FC236}">
                <a16:creationId xmlns:a16="http://schemas.microsoft.com/office/drawing/2014/main" id="{2F99312A-0493-5F42-A81B-F31CD2F6F2D9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9401624" y="5555894"/>
            <a:ext cx="540000" cy="540000"/>
          </a:xfrm>
          <a:prstGeom prst="rect">
            <a:avLst/>
          </a:prstGeom>
        </p:spPr>
      </p:pic>
      <p:sp>
        <p:nvSpPr>
          <p:cNvPr id="103" name="Номер слайда 1">
            <a:extLst>
              <a:ext uri="{FF2B5EF4-FFF2-40B4-BE49-F238E27FC236}">
                <a16:creationId xmlns:a16="http://schemas.microsoft.com/office/drawing/2014/main" id="{9A0D0129-EC27-0346-B923-B65B0940F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2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08282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лаги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F649A9D-38BA-334D-AF10-14DC21C06FA9}"/>
              </a:ext>
            </a:extLst>
          </p:cNvPr>
          <p:cNvSpPr txBox="1"/>
          <p:nvPr/>
        </p:nvSpPr>
        <p:spPr>
          <a:xfrm>
            <a:off x="775194" y="1513001"/>
            <a:ext cx="63408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ексика</a:t>
            </a:r>
          </a:p>
        </p:txBody>
      </p:sp>
      <p:sp>
        <p:nvSpPr>
          <p:cNvPr id="606" name="TextBox 605">
            <a:extLst>
              <a:ext uri="{FF2B5EF4-FFF2-40B4-BE49-F238E27FC236}">
                <a16:creationId xmlns:a16="http://schemas.microsoft.com/office/drawing/2014/main" id="{4BB80CC2-23F7-F045-9A4E-6C3636540407}"/>
              </a:ext>
            </a:extLst>
          </p:cNvPr>
          <p:cNvSpPr txBox="1"/>
          <p:nvPr/>
        </p:nvSpPr>
        <p:spPr>
          <a:xfrm>
            <a:off x="867840" y="2657645"/>
            <a:ext cx="4456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Науру</a:t>
            </a:r>
            <a:endParaRPr lang="en-US" sz="1200" dirty="0"/>
          </a:p>
        </p:txBody>
      </p:sp>
      <p:sp>
        <p:nvSpPr>
          <p:cNvPr id="614" name="TextBox 613">
            <a:extLst>
              <a:ext uri="{FF2B5EF4-FFF2-40B4-BE49-F238E27FC236}">
                <a16:creationId xmlns:a16="http://schemas.microsoft.com/office/drawing/2014/main" id="{38F75EB7-167A-F549-A34E-1DDCE0D6A1FA}"/>
              </a:ext>
            </a:extLst>
          </p:cNvPr>
          <p:cNvSpPr txBox="1"/>
          <p:nvPr/>
        </p:nvSpPr>
        <p:spPr>
          <a:xfrm>
            <a:off x="738029" y="3830497"/>
            <a:ext cx="70532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Норвегия</a:t>
            </a:r>
          </a:p>
        </p:txBody>
      </p:sp>
      <p:sp>
        <p:nvSpPr>
          <p:cNvPr id="629" name="TextBox 628">
            <a:extLst>
              <a:ext uri="{FF2B5EF4-FFF2-40B4-BE49-F238E27FC236}">
                <a16:creationId xmlns:a16="http://schemas.microsoft.com/office/drawing/2014/main" id="{FF302672-03C1-8D4F-9804-92D42DCA4A9F}"/>
              </a:ext>
            </a:extLst>
          </p:cNvPr>
          <p:cNvSpPr txBox="1"/>
          <p:nvPr/>
        </p:nvSpPr>
        <p:spPr>
          <a:xfrm>
            <a:off x="588381" y="6124059"/>
            <a:ext cx="97937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О. Рождества</a:t>
            </a:r>
          </a:p>
        </p:txBody>
      </p:sp>
      <p:sp>
        <p:nvSpPr>
          <p:cNvPr id="630" name="TextBox 629">
            <a:extLst>
              <a:ext uri="{FF2B5EF4-FFF2-40B4-BE49-F238E27FC236}">
                <a16:creationId xmlns:a16="http://schemas.microsoft.com/office/drawing/2014/main" id="{79FB85C9-1779-9E4B-A8A2-E0E4B5A9E306}"/>
              </a:ext>
            </a:extLst>
          </p:cNvPr>
          <p:cNvSpPr txBox="1"/>
          <p:nvPr/>
        </p:nvSpPr>
        <p:spPr>
          <a:xfrm>
            <a:off x="607856" y="4988441"/>
            <a:ext cx="96019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Папуа-Новая</a:t>
            </a:r>
            <a:br>
              <a:rPr lang="ru-RU" sz="1200" dirty="0"/>
            </a:br>
            <a:r>
              <a:rPr lang="ru-RU" sz="1200" dirty="0"/>
              <a:t>Гвинея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B577B2E-47CD-D146-B7ED-73C6D462A4A2}"/>
              </a:ext>
            </a:extLst>
          </p:cNvPr>
          <p:cNvSpPr txBox="1"/>
          <p:nvPr/>
        </p:nvSpPr>
        <p:spPr>
          <a:xfrm>
            <a:off x="2149247" y="1513001"/>
            <a:ext cx="74385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озамбик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5268052-CF5E-1E49-9EE2-F45983670FAC}"/>
              </a:ext>
            </a:extLst>
          </p:cNvPr>
          <p:cNvSpPr txBox="1"/>
          <p:nvPr/>
        </p:nvSpPr>
        <p:spPr>
          <a:xfrm>
            <a:off x="3581672" y="1513001"/>
            <a:ext cx="73097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олдавия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A0845CD-836A-414B-B8B8-931FDA9B81B7}"/>
              </a:ext>
            </a:extLst>
          </p:cNvPr>
          <p:cNvSpPr txBox="1"/>
          <p:nvPr/>
        </p:nvSpPr>
        <p:spPr>
          <a:xfrm>
            <a:off x="5099452" y="1513001"/>
            <a:ext cx="56675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онако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D05C8FA-0F6B-4D4C-B29F-5603EC6C0906}"/>
              </a:ext>
            </a:extLst>
          </p:cNvPr>
          <p:cNvSpPr txBox="1"/>
          <p:nvPr/>
        </p:nvSpPr>
        <p:spPr>
          <a:xfrm>
            <a:off x="6444968" y="1513001"/>
            <a:ext cx="72782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онголия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6D2AF33-3273-AC45-9947-2859951C8B4C}"/>
              </a:ext>
            </a:extLst>
          </p:cNvPr>
          <p:cNvSpPr txBox="1"/>
          <p:nvPr/>
        </p:nvSpPr>
        <p:spPr>
          <a:xfrm>
            <a:off x="7810189" y="1513001"/>
            <a:ext cx="87293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 err="1"/>
              <a:t>Монтсеррат</a:t>
            </a:r>
            <a:endParaRPr lang="ru-RU" sz="1200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0A6DEE5-A5F2-D84C-8C47-C9517ED257F6}"/>
              </a:ext>
            </a:extLst>
          </p:cNvPr>
          <p:cNvSpPr txBox="1"/>
          <p:nvPr/>
        </p:nvSpPr>
        <p:spPr>
          <a:xfrm>
            <a:off x="9388697" y="1513001"/>
            <a:ext cx="56586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Мьянма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D5C5B51-2F05-9A4C-B81E-1F24C9DAD7DA}"/>
              </a:ext>
            </a:extLst>
          </p:cNvPr>
          <p:cNvSpPr txBox="1"/>
          <p:nvPr/>
        </p:nvSpPr>
        <p:spPr>
          <a:xfrm>
            <a:off x="10775313" y="1513001"/>
            <a:ext cx="65242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Намибия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4DFB0F7-88E6-9D40-A326-048F5FB85E90}"/>
              </a:ext>
            </a:extLst>
          </p:cNvPr>
          <p:cNvSpPr txBox="1"/>
          <p:nvPr/>
        </p:nvSpPr>
        <p:spPr>
          <a:xfrm>
            <a:off x="2290397" y="2657645"/>
            <a:ext cx="45846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Непал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9FAF357-E8D0-424D-85B7-BC3F3122D230}"/>
              </a:ext>
            </a:extLst>
          </p:cNvPr>
          <p:cNvSpPr txBox="1"/>
          <p:nvPr/>
        </p:nvSpPr>
        <p:spPr>
          <a:xfrm>
            <a:off x="3718759" y="2657645"/>
            <a:ext cx="45371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Нигер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1EEC428-B97B-8340-893F-6C693B5EF778}"/>
              </a:ext>
            </a:extLst>
          </p:cNvPr>
          <p:cNvSpPr txBox="1"/>
          <p:nvPr/>
        </p:nvSpPr>
        <p:spPr>
          <a:xfrm>
            <a:off x="5069471" y="2657645"/>
            <a:ext cx="62363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Нигерия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A0D234C-8B3F-DA49-BA2F-CBF25DFBFDDA}"/>
              </a:ext>
            </a:extLst>
          </p:cNvPr>
          <p:cNvSpPr txBox="1"/>
          <p:nvPr/>
        </p:nvSpPr>
        <p:spPr>
          <a:xfrm>
            <a:off x="6349678" y="2657645"/>
            <a:ext cx="91531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Нидерланды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9534EA0-0E41-7947-A6C7-FF2BF27E3C84}"/>
              </a:ext>
            </a:extLst>
          </p:cNvPr>
          <p:cNvSpPr txBox="1"/>
          <p:nvPr/>
        </p:nvSpPr>
        <p:spPr>
          <a:xfrm>
            <a:off x="7855552" y="2657645"/>
            <a:ext cx="7791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Никарагуа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5963FC7-C152-D549-BE9A-DD60EC3950A2}"/>
              </a:ext>
            </a:extLst>
          </p:cNvPr>
          <p:cNvSpPr txBox="1"/>
          <p:nvPr/>
        </p:nvSpPr>
        <p:spPr>
          <a:xfrm>
            <a:off x="9485769" y="2657645"/>
            <a:ext cx="36862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 err="1"/>
              <a:t>Ниуэ</a:t>
            </a:r>
            <a:endParaRPr lang="ru-RU" sz="12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6332F31-9BD2-084A-862B-18208464CA01}"/>
              </a:ext>
            </a:extLst>
          </p:cNvPr>
          <p:cNvSpPr txBox="1"/>
          <p:nvPr/>
        </p:nvSpPr>
        <p:spPr>
          <a:xfrm>
            <a:off x="10764539" y="2657645"/>
            <a:ext cx="69256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Новая </a:t>
            </a:r>
            <a:br>
              <a:rPr lang="ru-RU" sz="1200" dirty="0"/>
            </a:br>
            <a:r>
              <a:rPr lang="ru-RU" sz="1200" dirty="0"/>
              <a:t>Зеландия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06F1DFD-EEC4-6F43-A444-C36CE39B126A}"/>
              </a:ext>
            </a:extLst>
          </p:cNvPr>
          <p:cNvSpPr txBox="1"/>
          <p:nvPr/>
        </p:nvSpPr>
        <p:spPr>
          <a:xfrm>
            <a:off x="1952352" y="3830497"/>
            <a:ext cx="123341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Остров Норфолк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9359F08-8233-7F41-93BE-D4A4BAA9B7A9}"/>
              </a:ext>
            </a:extLst>
          </p:cNvPr>
          <p:cNvSpPr txBox="1"/>
          <p:nvPr/>
        </p:nvSpPr>
        <p:spPr>
          <a:xfrm>
            <a:off x="3278637" y="3830497"/>
            <a:ext cx="138339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Объединенные</a:t>
            </a:r>
            <a:br>
              <a:rPr lang="ru-RU" sz="1200" dirty="0"/>
            </a:br>
            <a:r>
              <a:rPr lang="ru-RU" sz="1200" dirty="0"/>
              <a:t>Арабские Эмираты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913AB69-A76A-7C47-AC3E-FF8817D255DE}"/>
              </a:ext>
            </a:extLst>
          </p:cNvPr>
          <p:cNvSpPr txBox="1"/>
          <p:nvPr/>
        </p:nvSpPr>
        <p:spPr>
          <a:xfrm>
            <a:off x="5183312" y="3830497"/>
            <a:ext cx="3959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Оман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57AD0C2-FD84-E048-A918-8BA7E39C7F73}"/>
              </a:ext>
            </a:extLst>
          </p:cNvPr>
          <p:cNvSpPr txBox="1"/>
          <p:nvPr/>
        </p:nvSpPr>
        <p:spPr>
          <a:xfrm>
            <a:off x="6500812" y="3830497"/>
            <a:ext cx="6130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Острова</a:t>
            </a:r>
            <a:br>
              <a:rPr lang="ru-RU" sz="1200" dirty="0"/>
            </a:br>
            <a:r>
              <a:rPr lang="ru-RU" sz="1200" dirty="0"/>
              <a:t>Кайман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5C2C7E2-085F-034F-B474-192D815A9EF0}"/>
              </a:ext>
            </a:extLst>
          </p:cNvPr>
          <p:cNvSpPr txBox="1"/>
          <p:nvPr/>
        </p:nvSpPr>
        <p:spPr>
          <a:xfrm>
            <a:off x="7900111" y="3830497"/>
            <a:ext cx="68999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Пакистан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6C73284-884C-9F4D-9E88-18C5E8910108}"/>
              </a:ext>
            </a:extLst>
          </p:cNvPr>
          <p:cNvSpPr txBox="1"/>
          <p:nvPr/>
        </p:nvSpPr>
        <p:spPr>
          <a:xfrm>
            <a:off x="9448864" y="3830497"/>
            <a:ext cx="44243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Палау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4B3B0C1-5206-E44B-BC86-EAD4129C4699}"/>
              </a:ext>
            </a:extLst>
          </p:cNvPr>
          <p:cNvSpPr txBox="1"/>
          <p:nvPr/>
        </p:nvSpPr>
        <p:spPr>
          <a:xfrm>
            <a:off x="10835100" y="3830497"/>
            <a:ext cx="55143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Панама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3EDBA44-08DF-7940-9A99-37483861F706}"/>
              </a:ext>
            </a:extLst>
          </p:cNvPr>
          <p:cNvSpPr txBox="1"/>
          <p:nvPr/>
        </p:nvSpPr>
        <p:spPr>
          <a:xfrm>
            <a:off x="2178913" y="4988441"/>
            <a:ext cx="69249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Парагвай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F0638AB-AB8C-4649-B1A6-9B06DC08E4D6}"/>
              </a:ext>
            </a:extLst>
          </p:cNvPr>
          <p:cNvSpPr txBox="1"/>
          <p:nvPr/>
        </p:nvSpPr>
        <p:spPr>
          <a:xfrm>
            <a:off x="3773862" y="4988441"/>
            <a:ext cx="37035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Перу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F934D58E-0C99-344D-AA73-4B827CDA7F4E}"/>
              </a:ext>
            </a:extLst>
          </p:cNvPr>
          <p:cNvSpPr txBox="1"/>
          <p:nvPr/>
        </p:nvSpPr>
        <p:spPr>
          <a:xfrm>
            <a:off x="5099959" y="4988441"/>
            <a:ext cx="56265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Польша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DB46A4A-0636-BB4F-A2C8-78220F6BC391}"/>
              </a:ext>
            </a:extLst>
          </p:cNvPr>
          <p:cNvSpPr txBox="1"/>
          <p:nvPr/>
        </p:nvSpPr>
        <p:spPr>
          <a:xfrm>
            <a:off x="6381642" y="4988441"/>
            <a:ext cx="85138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Португалия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931980C-981F-2C42-8E78-B2A35C42D8C5}"/>
              </a:ext>
            </a:extLst>
          </p:cNvPr>
          <p:cNvSpPr txBox="1"/>
          <p:nvPr/>
        </p:nvSpPr>
        <p:spPr>
          <a:xfrm>
            <a:off x="7778600" y="4988441"/>
            <a:ext cx="9466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Пуэрто-Рико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4ED8721-86A3-5B4F-B949-130831255FA0}"/>
              </a:ext>
            </a:extLst>
          </p:cNvPr>
          <p:cNvSpPr txBox="1"/>
          <p:nvPr/>
        </p:nvSpPr>
        <p:spPr>
          <a:xfrm>
            <a:off x="8989930" y="4988441"/>
            <a:ext cx="13602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Республика</a:t>
            </a:r>
            <a:br>
              <a:rPr lang="ru-RU" sz="1200" dirty="0"/>
            </a:br>
            <a:r>
              <a:rPr lang="ru-RU" sz="1200" dirty="0" err="1"/>
              <a:t>Ангилья</a:t>
            </a:r>
            <a:endParaRPr lang="ru-RU" sz="1200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B047FA4-CA1A-764E-B937-2A55046800CE}"/>
              </a:ext>
            </a:extLst>
          </p:cNvPr>
          <p:cNvSpPr txBox="1"/>
          <p:nvPr/>
        </p:nvSpPr>
        <p:spPr>
          <a:xfrm>
            <a:off x="10667259" y="4988441"/>
            <a:ext cx="90503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Республика Кипр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627A8D9-A5E9-3148-B7C4-A1636CA46E01}"/>
              </a:ext>
            </a:extLst>
          </p:cNvPr>
          <p:cNvSpPr txBox="1"/>
          <p:nvPr/>
        </p:nvSpPr>
        <p:spPr>
          <a:xfrm>
            <a:off x="2254136" y="6124059"/>
            <a:ext cx="50834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Россия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BD605F6-590D-644A-A96B-12E527775000}"/>
              </a:ext>
            </a:extLst>
          </p:cNvPr>
          <p:cNvSpPr txBox="1"/>
          <p:nvPr/>
        </p:nvSpPr>
        <p:spPr>
          <a:xfrm>
            <a:off x="3683745" y="6124059"/>
            <a:ext cx="51732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Руанда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8616C34-9C9C-1146-AA44-21FB5D2ED976}"/>
              </a:ext>
            </a:extLst>
          </p:cNvPr>
          <p:cNvSpPr txBox="1"/>
          <p:nvPr/>
        </p:nvSpPr>
        <p:spPr>
          <a:xfrm>
            <a:off x="5049033" y="6124059"/>
            <a:ext cx="64235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Румыния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00B1D61-42D3-4040-982E-DDAD39A6D1B5}"/>
              </a:ext>
            </a:extLst>
          </p:cNvPr>
          <p:cNvSpPr txBox="1"/>
          <p:nvPr/>
        </p:nvSpPr>
        <p:spPr>
          <a:xfrm>
            <a:off x="6408332" y="6124059"/>
            <a:ext cx="77585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альвадор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95F9EBC-97AC-FB46-9C8C-18323D15BA0C}"/>
              </a:ext>
            </a:extLst>
          </p:cNvPr>
          <p:cNvSpPr txBox="1"/>
          <p:nvPr/>
        </p:nvSpPr>
        <p:spPr>
          <a:xfrm>
            <a:off x="8012399" y="6124059"/>
            <a:ext cx="45685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амоа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45C21D9-75BC-284F-9A36-2D5851D54DD7}"/>
              </a:ext>
            </a:extLst>
          </p:cNvPr>
          <p:cNvSpPr txBox="1"/>
          <p:nvPr/>
        </p:nvSpPr>
        <p:spPr>
          <a:xfrm>
            <a:off x="9141360" y="6124059"/>
            <a:ext cx="10574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Сан-Марино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47FE30F-EE12-C84A-8F88-1028154FF012}"/>
              </a:ext>
            </a:extLst>
          </p:cNvPr>
          <p:cNvSpPr txBox="1"/>
          <p:nvPr/>
        </p:nvSpPr>
        <p:spPr>
          <a:xfrm>
            <a:off x="10649007" y="6124059"/>
            <a:ext cx="9050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Сан-Томе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82B3893-E83F-FA4D-ADDB-ACB8339F3E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731" y="973001"/>
            <a:ext cx="540000" cy="540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8174E54-69E0-E74B-A52B-CEC3A15ECD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7710" y="973001"/>
            <a:ext cx="540000" cy="5400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64F7072-6BAB-E544-B58F-A30B198920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8689" y="973001"/>
            <a:ext cx="540000" cy="54000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A20B319-729F-6D48-8814-3419929845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9668" y="973001"/>
            <a:ext cx="540000" cy="54000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58EB3461-9CFE-9E41-881F-4C4A13FEDA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80647" y="973001"/>
            <a:ext cx="540000" cy="540000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01386700-1B11-FD4F-9B67-B22BAD493D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01624" y="973001"/>
            <a:ext cx="540000" cy="540000"/>
          </a:xfrm>
          <a:prstGeom prst="rect">
            <a:avLst/>
          </a:prstGeom>
        </p:spPr>
      </p:pic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8D524D51-49E9-FF44-B7A7-14CF9689A7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2230" y="973001"/>
            <a:ext cx="540000" cy="540000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CF5FE9F6-A846-364C-8BDB-91624C00545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31524" y="973001"/>
            <a:ext cx="540000" cy="5400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FA442915-18FD-6440-B226-F257826EDA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2230" y="2118724"/>
            <a:ext cx="540000" cy="54000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032315EA-8966-DC47-92F3-95735360696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52129" y="2118724"/>
            <a:ext cx="540000" cy="54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1334D2B8-AF5E-B34B-A076-C1A362BD99E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82028" y="2118724"/>
            <a:ext cx="540000" cy="540000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EA116DFB-0EBA-D545-83C5-3CC0F7AF2B1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11927" y="2118724"/>
            <a:ext cx="540000" cy="54000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44B44EF1-8CD9-284A-88CF-610B12561EB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41826" y="2118724"/>
            <a:ext cx="540000" cy="540000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D03B2BBF-7FE7-4F42-A9F0-045E3FB4008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971725" y="2118724"/>
            <a:ext cx="540000" cy="540000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7D042ED4-E46E-E545-A055-CF39BB0E7C9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401624" y="2118724"/>
            <a:ext cx="540000" cy="540000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E1366668-3004-9C49-9BCD-9EB01AF7AC8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831524" y="2118724"/>
            <a:ext cx="540000" cy="540000"/>
          </a:xfrm>
          <a:prstGeom prst="rect">
            <a:avLst/>
          </a:prstGeom>
        </p:spPr>
      </p:pic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E300CEBD-B862-C24B-BF67-D621411EBB6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22230" y="3264447"/>
            <a:ext cx="540000" cy="540000"/>
          </a:xfrm>
          <a:prstGeom prst="rect">
            <a:avLst/>
          </a:prstGeom>
        </p:spPr>
      </p:pic>
      <p:pic>
        <p:nvPicPr>
          <p:cNvPr id="449" name="Рисунок 448">
            <a:extLst>
              <a:ext uri="{FF2B5EF4-FFF2-40B4-BE49-F238E27FC236}">
                <a16:creationId xmlns:a16="http://schemas.microsoft.com/office/drawing/2014/main" id="{1CC41EF3-DA6C-0F4A-9963-373ECD8F733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296731" y="3264447"/>
            <a:ext cx="540000" cy="540000"/>
          </a:xfrm>
          <a:prstGeom prst="rect">
            <a:avLst/>
          </a:prstGeom>
        </p:spPr>
      </p:pic>
      <p:pic>
        <p:nvPicPr>
          <p:cNvPr id="452" name="Рисунок 451">
            <a:extLst>
              <a:ext uri="{FF2B5EF4-FFF2-40B4-BE49-F238E27FC236}">
                <a16:creationId xmlns:a16="http://schemas.microsoft.com/office/drawing/2014/main" id="{142E0804-702C-1E42-9A52-19BA166CC1BB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711763" y="3264447"/>
            <a:ext cx="540000" cy="540000"/>
          </a:xfrm>
          <a:prstGeom prst="rect">
            <a:avLst/>
          </a:prstGeom>
        </p:spPr>
      </p:pic>
      <p:pic>
        <p:nvPicPr>
          <p:cNvPr id="455" name="Рисунок 454">
            <a:extLst>
              <a:ext uri="{FF2B5EF4-FFF2-40B4-BE49-F238E27FC236}">
                <a16:creationId xmlns:a16="http://schemas.microsoft.com/office/drawing/2014/main" id="{5F8B430F-026A-D840-9E44-D56622814B6B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126795" y="3264447"/>
            <a:ext cx="540000" cy="540000"/>
          </a:xfrm>
          <a:prstGeom prst="rect">
            <a:avLst/>
          </a:prstGeom>
        </p:spPr>
      </p:pic>
      <p:pic>
        <p:nvPicPr>
          <p:cNvPr id="458" name="Рисунок 457">
            <a:extLst>
              <a:ext uri="{FF2B5EF4-FFF2-40B4-BE49-F238E27FC236}">
                <a16:creationId xmlns:a16="http://schemas.microsoft.com/office/drawing/2014/main" id="{08518051-E916-9347-8FAB-314640724D53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541826" y="3264447"/>
            <a:ext cx="540000" cy="540000"/>
          </a:xfrm>
          <a:prstGeom prst="rect">
            <a:avLst/>
          </a:prstGeom>
        </p:spPr>
      </p:pic>
      <p:pic>
        <p:nvPicPr>
          <p:cNvPr id="460" name="Рисунок 459">
            <a:extLst>
              <a:ext uri="{FF2B5EF4-FFF2-40B4-BE49-F238E27FC236}">
                <a16:creationId xmlns:a16="http://schemas.microsoft.com/office/drawing/2014/main" id="{33BFF875-4220-824A-858D-6D7A9A1B2871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971725" y="3264447"/>
            <a:ext cx="540000" cy="540000"/>
          </a:xfrm>
          <a:prstGeom prst="rect">
            <a:avLst/>
          </a:prstGeom>
        </p:spPr>
      </p:pic>
      <p:pic>
        <p:nvPicPr>
          <p:cNvPr id="463" name="Рисунок 462">
            <a:extLst>
              <a:ext uri="{FF2B5EF4-FFF2-40B4-BE49-F238E27FC236}">
                <a16:creationId xmlns:a16="http://schemas.microsoft.com/office/drawing/2014/main" id="{3FD1F506-353D-D044-8F74-12C2A6AA79F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9401624" y="3264447"/>
            <a:ext cx="540000" cy="540000"/>
          </a:xfrm>
          <a:prstGeom prst="rect">
            <a:avLst/>
          </a:prstGeom>
        </p:spPr>
      </p:pic>
      <p:pic>
        <p:nvPicPr>
          <p:cNvPr id="466" name="Рисунок 465">
            <a:extLst>
              <a:ext uri="{FF2B5EF4-FFF2-40B4-BE49-F238E27FC236}">
                <a16:creationId xmlns:a16="http://schemas.microsoft.com/office/drawing/2014/main" id="{980D27AE-0793-1844-A4FF-E31A79984645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831524" y="3264447"/>
            <a:ext cx="540000" cy="540000"/>
          </a:xfrm>
          <a:prstGeom prst="rect">
            <a:avLst/>
          </a:prstGeom>
        </p:spPr>
      </p:pic>
      <p:pic>
        <p:nvPicPr>
          <p:cNvPr id="468" name="Рисунок 467">
            <a:extLst>
              <a:ext uri="{FF2B5EF4-FFF2-40B4-BE49-F238E27FC236}">
                <a16:creationId xmlns:a16="http://schemas.microsoft.com/office/drawing/2014/main" id="{2F64C76F-E9EA-AD49-9DF5-B995E79756AF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822230" y="4410170"/>
            <a:ext cx="540000" cy="540000"/>
          </a:xfrm>
          <a:prstGeom prst="rect">
            <a:avLst/>
          </a:prstGeom>
        </p:spPr>
      </p:pic>
      <p:pic>
        <p:nvPicPr>
          <p:cNvPr id="471" name="Рисунок 470">
            <a:extLst>
              <a:ext uri="{FF2B5EF4-FFF2-40B4-BE49-F238E27FC236}">
                <a16:creationId xmlns:a16="http://schemas.microsoft.com/office/drawing/2014/main" id="{D2D32DA2-5CDE-FE40-9578-2DB9532748A5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252129" y="4410170"/>
            <a:ext cx="540000" cy="540000"/>
          </a:xfrm>
          <a:prstGeom prst="rect">
            <a:avLst/>
          </a:prstGeom>
        </p:spPr>
      </p:pic>
      <p:pic>
        <p:nvPicPr>
          <p:cNvPr id="474" name="Рисунок 473">
            <a:extLst>
              <a:ext uri="{FF2B5EF4-FFF2-40B4-BE49-F238E27FC236}">
                <a16:creationId xmlns:a16="http://schemas.microsoft.com/office/drawing/2014/main" id="{F293D28C-8422-0948-9CEC-92DCDF39580A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3682028" y="4410170"/>
            <a:ext cx="540000" cy="540000"/>
          </a:xfrm>
          <a:prstGeom prst="rect">
            <a:avLst/>
          </a:prstGeom>
        </p:spPr>
      </p:pic>
      <p:pic>
        <p:nvPicPr>
          <p:cNvPr id="476" name="Рисунок 475">
            <a:extLst>
              <a:ext uri="{FF2B5EF4-FFF2-40B4-BE49-F238E27FC236}">
                <a16:creationId xmlns:a16="http://schemas.microsoft.com/office/drawing/2014/main" id="{EDB67AC1-E634-D249-9136-E515CD17A745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5111927" y="4410170"/>
            <a:ext cx="540000" cy="540000"/>
          </a:xfrm>
          <a:prstGeom prst="rect">
            <a:avLst/>
          </a:prstGeom>
        </p:spPr>
      </p:pic>
      <p:pic>
        <p:nvPicPr>
          <p:cNvPr id="479" name="Рисунок 478">
            <a:extLst>
              <a:ext uri="{FF2B5EF4-FFF2-40B4-BE49-F238E27FC236}">
                <a16:creationId xmlns:a16="http://schemas.microsoft.com/office/drawing/2014/main" id="{81FDC627-AB74-034D-998B-D98E5697A310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541826" y="4410170"/>
            <a:ext cx="540000" cy="540000"/>
          </a:xfrm>
          <a:prstGeom prst="rect">
            <a:avLst/>
          </a:prstGeom>
        </p:spPr>
      </p:pic>
      <p:pic>
        <p:nvPicPr>
          <p:cNvPr id="482" name="Рисунок 481">
            <a:extLst>
              <a:ext uri="{FF2B5EF4-FFF2-40B4-BE49-F238E27FC236}">
                <a16:creationId xmlns:a16="http://schemas.microsoft.com/office/drawing/2014/main" id="{BF84BF10-082B-0040-B806-BA3D95791E63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7971725" y="4410170"/>
            <a:ext cx="540000" cy="540000"/>
          </a:xfrm>
          <a:prstGeom prst="rect">
            <a:avLst/>
          </a:prstGeom>
        </p:spPr>
      </p:pic>
      <p:pic>
        <p:nvPicPr>
          <p:cNvPr id="484" name="Рисунок 483">
            <a:extLst>
              <a:ext uri="{FF2B5EF4-FFF2-40B4-BE49-F238E27FC236}">
                <a16:creationId xmlns:a16="http://schemas.microsoft.com/office/drawing/2014/main" id="{8FC5B81F-20D8-884B-BE88-B6C2E844EFF8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9401624" y="4410170"/>
            <a:ext cx="540000" cy="540000"/>
          </a:xfrm>
          <a:prstGeom prst="rect">
            <a:avLst/>
          </a:prstGeom>
        </p:spPr>
      </p:pic>
      <p:pic>
        <p:nvPicPr>
          <p:cNvPr id="487" name="Рисунок 486">
            <a:extLst>
              <a:ext uri="{FF2B5EF4-FFF2-40B4-BE49-F238E27FC236}">
                <a16:creationId xmlns:a16="http://schemas.microsoft.com/office/drawing/2014/main" id="{50C291DD-4B4A-5B45-BC4D-0F69DFB7EDC2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831524" y="4410170"/>
            <a:ext cx="540000" cy="540000"/>
          </a:xfrm>
          <a:prstGeom prst="rect">
            <a:avLst/>
          </a:prstGeom>
        </p:spPr>
      </p:pic>
      <p:pic>
        <p:nvPicPr>
          <p:cNvPr id="490" name="Рисунок 489">
            <a:extLst>
              <a:ext uri="{FF2B5EF4-FFF2-40B4-BE49-F238E27FC236}">
                <a16:creationId xmlns:a16="http://schemas.microsoft.com/office/drawing/2014/main" id="{8AEC18A9-3C13-C941-AE2E-02443F443801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22230" y="5555894"/>
            <a:ext cx="540000" cy="540000"/>
          </a:xfrm>
          <a:prstGeom prst="rect">
            <a:avLst/>
          </a:prstGeom>
        </p:spPr>
      </p:pic>
      <p:pic>
        <p:nvPicPr>
          <p:cNvPr id="492" name="Рисунок 491">
            <a:extLst>
              <a:ext uri="{FF2B5EF4-FFF2-40B4-BE49-F238E27FC236}">
                <a16:creationId xmlns:a16="http://schemas.microsoft.com/office/drawing/2014/main" id="{31AC1995-8587-394A-A4DA-5ADF7821C14B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2252129" y="5555894"/>
            <a:ext cx="540000" cy="540000"/>
          </a:xfrm>
          <a:prstGeom prst="rect">
            <a:avLst/>
          </a:prstGeom>
        </p:spPr>
      </p:pic>
      <p:pic>
        <p:nvPicPr>
          <p:cNvPr id="495" name="Рисунок 494">
            <a:extLst>
              <a:ext uri="{FF2B5EF4-FFF2-40B4-BE49-F238E27FC236}">
                <a16:creationId xmlns:a16="http://schemas.microsoft.com/office/drawing/2014/main" id="{A708FF9D-1BDE-0842-B286-93D225C51F1B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3682028" y="5555894"/>
            <a:ext cx="540000" cy="540000"/>
          </a:xfrm>
          <a:prstGeom prst="rect">
            <a:avLst/>
          </a:prstGeom>
        </p:spPr>
      </p:pic>
      <p:pic>
        <p:nvPicPr>
          <p:cNvPr id="498" name="Рисунок 497">
            <a:extLst>
              <a:ext uri="{FF2B5EF4-FFF2-40B4-BE49-F238E27FC236}">
                <a16:creationId xmlns:a16="http://schemas.microsoft.com/office/drawing/2014/main" id="{709D0407-BC21-E24F-BB56-1ECE4D4E92F6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5111927" y="5555894"/>
            <a:ext cx="540000" cy="540000"/>
          </a:xfrm>
          <a:prstGeom prst="rect">
            <a:avLst/>
          </a:prstGeom>
        </p:spPr>
      </p:pic>
      <p:pic>
        <p:nvPicPr>
          <p:cNvPr id="500" name="Рисунок 499">
            <a:extLst>
              <a:ext uri="{FF2B5EF4-FFF2-40B4-BE49-F238E27FC236}">
                <a16:creationId xmlns:a16="http://schemas.microsoft.com/office/drawing/2014/main" id="{A9372553-944A-CC45-BF81-F58DFD47F954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6541826" y="5555894"/>
            <a:ext cx="540000" cy="540000"/>
          </a:xfrm>
          <a:prstGeom prst="rect">
            <a:avLst/>
          </a:prstGeom>
        </p:spPr>
      </p:pic>
      <p:pic>
        <p:nvPicPr>
          <p:cNvPr id="504" name="Рисунок 503">
            <a:extLst>
              <a:ext uri="{FF2B5EF4-FFF2-40B4-BE49-F238E27FC236}">
                <a16:creationId xmlns:a16="http://schemas.microsoft.com/office/drawing/2014/main" id="{BC6ACB8F-D182-C64E-84C9-DE978ACC3DAF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7971725" y="5555894"/>
            <a:ext cx="540000" cy="540000"/>
          </a:xfrm>
          <a:prstGeom prst="rect">
            <a:avLst/>
          </a:prstGeom>
        </p:spPr>
      </p:pic>
      <p:pic>
        <p:nvPicPr>
          <p:cNvPr id="508" name="Рисунок 507">
            <a:extLst>
              <a:ext uri="{FF2B5EF4-FFF2-40B4-BE49-F238E27FC236}">
                <a16:creationId xmlns:a16="http://schemas.microsoft.com/office/drawing/2014/main" id="{642C473A-D140-6248-B61E-9462951FC2BF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9401624" y="5555894"/>
            <a:ext cx="540000" cy="540000"/>
          </a:xfrm>
          <a:prstGeom prst="rect">
            <a:avLst/>
          </a:prstGeom>
        </p:spPr>
      </p:pic>
      <p:pic>
        <p:nvPicPr>
          <p:cNvPr id="64" name="Рисунок 63">
            <a:extLst>
              <a:ext uri="{FF2B5EF4-FFF2-40B4-BE49-F238E27FC236}">
                <a16:creationId xmlns:a16="http://schemas.microsoft.com/office/drawing/2014/main" id="{61CA8D2D-C616-2549-B57B-34D8DF4A5955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10831524" y="5555894"/>
            <a:ext cx="540000" cy="540000"/>
          </a:xfrm>
          <a:prstGeom prst="rect">
            <a:avLst/>
          </a:prstGeom>
        </p:spPr>
      </p:pic>
      <p:sp>
        <p:nvSpPr>
          <p:cNvPr id="92" name="Номер слайда 1">
            <a:extLst>
              <a:ext uri="{FF2B5EF4-FFF2-40B4-BE49-F238E27FC236}">
                <a16:creationId xmlns:a16="http://schemas.microsoft.com/office/drawing/2014/main" id="{535C4F8F-EF99-DB45-91A4-E6D12B5FC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66917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лаги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F649A9D-38BA-334D-AF10-14DC21C06FA9}"/>
              </a:ext>
            </a:extLst>
          </p:cNvPr>
          <p:cNvSpPr txBox="1"/>
          <p:nvPr/>
        </p:nvSpPr>
        <p:spPr>
          <a:xfrm>
            <a:off x="672379" y="1513001"/>
            <a:ext cx="83971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аудовская</a:t>
            </a:r>
            <a:br>
              <a:rPr lang="ru-RU" sz="1200" dirty="0"/>
            </a:br>
            <a:r>
              <a:rPr lang="ru-RU" sz="1200" dirty="0"/>
              <a:t>Аравия</a:t>
            </a:r>
          </a:p>
        </p:txBody>
      </p:sp>
      <p:sp>
        <p:nvSpPr>
          <p:cNvPr id="606" name="TextBox 605">
            <a:extLst>
              <a:ext uri="{FF2B5EF4-FFF2-40B4-BE49-F238E27FC236}">
                <a16:creationId xmlns:a16="http://schemas.microsoft.com/office/drawing/2014/main" id="{4BB80CC2-23F7-F045-9A4E-6C3636540407}"/>
              </a:ext>
            </a:extLst>
          </p:cNvPr>
          <p:cNvSpPr txBox="1"/>
          <p:nvPr/>
        </p:nvSpPr>
        <p:spPr>
          <a:xfrm>
            <a:off x="820937" y="2657645"/>
            <a:ext cx="53950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ербия</a:t>
            </a:r>
            <a:endParaRPr lang="en-US" sz="1200" dirty="0"/>
          </a:p>
        </p:txBody>
      </p:sp>
      <p:sp>
        <p:nvSpPr>
          <p:cNvPr id="614" name="TextBox 613">
            <a:extLst>
              <a:ext uri="{FF2B5EF4-FFF2-40B4-BE49-F238E27FC236}">
                <a16:creationId xmlns:a16="http://schemas.microsoft.com/office/drawing/2014/main" id="{38F75EB7-167A-F549-A34E-1DDCE0D6A1FA}"/>
              </a:ext>
            </a:extLst>
          </p:cNvPr>
          <p:cNvSpPr txBox="1"/>
          <p:nvPr/>
        </p:nvSpPr>
        <p:spPr>
          <a:xfrm>
            <a:off x="774420" y="3830497"/>
            <a:ext cx="63254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уринам</a:t>
            </a:r>
          </a:p>
        </p:txBody>
      </p:sp>
      <p:sp>
        <p:nvSpPr>
          <p:cNvPr id="629" name="TextBox 628">
            <a:extLst>
              <a:ext uri="{FF2B5EF4-FFF2-40B4-BE49-F238E27FC236}">
                <a16:creationId xmlns:a16="http://schemas.microsoft.com/office/drawing/2014/main" id="{FF302672-03C1-8D4F-9804-92D42DCA4A9F}"/>
              </a:ext>
            </a:extLst>
          </p:cNvPr>
          <p:cNvSpPr txBox="1"/>
          <p:nvPr/>
        </p:nvSpPr>
        <p:spPr>
          <a:xfrm>
            <a:off x="770992" y="6124059"/>
            <a:ext cx="61414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Украина</a:t>
            </a:r>
          </a:p>
        </p:txBody>
      </p:sp>
      <p:sp>
        <p:nvSpPr>
          <p:cNvPr id="630" name="TextBox 629">
            <a:extLst>
              <a:ext uri="{FF2B5EF4-FFF2-40B4-BE49-F238E27FC236}">
                <a16:creationId xmlns:a16="http://schemas.microsoft.com/office/drawing/2014/main" id="{79FB85C9-1779-9E4B-A8A2-E0E4B5A9E306}"/>
              </a:ext>
            </a:extLst>
          </p:cNvPr>
          <p:cNvSpPr txBox="1"/>
          <p:nvPr/>
        </p:nvSpPr>
        <p:spPr>
          <a:xfrm>
            <a:off x="879309" y="4988441"/>
            <a:ext cx="41729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 err="1"/>
              <a:t>Тонго</a:t>
            </a:r>
            <a:endParaRPr lang="ru-RU" sz="12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B577B2E-47CD-D146-B7ED-73C6D462A4A2}"/>
              </a:ext>
            </a:extLst>
          </p:cNvPr>
          <p:cNvSpPr txBox="1"/>
          <p:nvPr/>
        </p:nvSpPr>
        <p:spPr>
          <a:xfrm>
            <a:off x="2132450" y="1513001"/>
            <a:ext cx="7774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вазиленд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5268052-CF5E-1E49-9EE2-F45983670FAC}"/>
              </a:ext>
            </a:extLst>
          </p:cNvPr>
          <p:cNvSpPr txBox="1"/>
          <p:nvPr/>
        </p:nvSpPr>
        <p:spPr>
          <a:xfrm>
            <a:off x="3538712" y="1513001"/>
            <a:ext cx="81689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еверная</a:t>
            </a:r>
            <a:br>
              <a:rPr lang="ru-RU" sz="1200" dirty="0"/>
            </a:br>
            <a:r>
              <a:rPr lang="ru-RU" sz="1200" dirty="0"/>
              <a:t>Македония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A0845CD-836A-414B-B8B8-931FDA9B81B7}"/>
              </a:ext>
            </a:extLst>
          </p:cNvPr>
          <p:cNvSpPr txBox="1"/>
          <p:nvPr/>
        </p:nvSpPr>
        <p:spPr>
          <a:xfrm>
            <a:off x="5052933" y="1513001"/>
            <a:ext cx="65979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ейшелы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D05C8FA-0F6B-4D4C-B29F-5603EC6C0906}"/>
              </a:ext>
            </a:extLst>
          </p:cNvPr>
          <p:cNvSpPr txBox="1"/>
          <p:nvPr/>
        </p:nvSpPr>
        <p:spPr>
          <a:xfrm>
            <a:off x="6511077" y="1513001"/>
            <a:ext cx="5956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енегал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6D2AF33-3273-AC45-9947-2859951C8B4C}"/>
              </a:ext>
            </a:extLst>
          </p:cNvPr>
          <p:cNvSpPr txBox="1"/>
          <p:nvPr/>
        </p:nvSpPr>
        <p:spPr>
          <a:xfrm>
            <a:off x="7742417" y="1513001"/>
            <a:ext cx="100848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ент-Винсент</a:t>
            </a:r>
            <a:br>
              <a:rPr lang="ru-RU" sz="1200" dirty="0"/>
            </a:br>
            <a:r>
              <a:rPr lang="ru-RU" sz="1200" dirty="0"/>
              <a:t>и Гренадины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0A6DEE5-A5F2-D84C-8C47-C9517ED257F6}"/>
              </a:ext>
            </a:extLst>
          </p:cNvPr>
          <p:cNvSpPr txBox="1"/>
          <p:nvPr/>
        </p:nvSpPr>
        <p:spPr>
          <a:xfrm>
            <a:off x="9296077" y="1513001"/>
            <a:ext cx="75110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 err="1"/>
              <a:t>Сент</a:t>
            </a:r>
            <a:r>
              <a:rPr lang="ru-RU" sz="1200" dirty="0"/>
              <a:t>-Китс</a:t>
            </a:r>
            <a:br>
              <a:rPr lang="ru-RU" sz="1200" dirty="0"/>
            </a:br>
            <a:r>
              <a:rPr lang="ru-RU" sz="1200" dirty="0"/>
              <a:t>и Невис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D5C5B51-2F05-9A4C-B81E-1F24C9DAD7DA}"/>
              </a:ext>
            </a:extLst>
          </p:cNvPr>
          <p:cNvSpPr txBox="1"/>
          <p:nvPr/>
        </p:nvSpPr>
        <p:spPr>
          <a:xfrm>
            <a:off x="10658647" y="1513001"/>
            <a:ext cx="88575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ент-Люсия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4DFB0F7-88E6-9D40-A326-048F5FB85E90}"/>
              </a:ext>
            </a:extLst>
          </p:cNvPr>
          <p:cNvSpPr txBox="1"/>
          <p:nvPr/>
        </p:nvSpPr>
        <p:spPr>
          <a:xfrm>
            <a:off x="2173380" y="2657645"/>
            <a:ext cx="69249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ингапур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9FAF357-E8D0-424D-85B7-BC3F3122D230}"/>
              </a:ext>
            </a:extLst>
          </p:cNvPr>
          <p:cNvSpPr txBox="1"/>
          <p:nvPr/>
        </p:nvSpPr>
        <p:spPr>
          <a:xfrm>
            <a:off x="3716388" y="2657645"/>
            <a:ext cx="45845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ирия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1EEC428-B97B-8340-893F-6C693B5EF778}"/>
              </a:ext>
            </a:extLst>
          </p:cNvPr>
          <p:cNvSpPr txBox="1"/>
          <p:nvPr/>
        </p:nvSpPr>
        <p:spPr>
          <a:xfrm>
            <a:off x="5032668" y="2657645"/>
            <a:ext cx="69724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ловакия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A0D234C-8B3F-DA49-BA2F-CBF25DFBFDDA}"/>
              </a:ext>
            </a:extLst>
          </p:cNvPr>
          <p:cNvSpPr txBox="1"/>
          <p:nvPr/>
        </p:nvSpPr>
        <p:spPr>
          <a:xfrm>
            <a:off x="6453906" y="2657645"/>
            <a:ext cx="70686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ловения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9534EA0-0E41-7947-A6C7-FF2BF27E3C84}"/>
              </a:ext>
            </a:extLst>
          </p:cNvPr>
          <p:cNvSpPr txBox="1"/>
          <p:nvPr/>
        </p:nvSpPr>
        <p:spPr>
          <a:xfrm>
            <a:off x="7766971" y="2657645"/>
            <a:ext cx="95628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оломоновы </a:t>
            </a:r>
            <a:br>
              <a:rPr lang="ru-RU" sz="1200" dirty="0"/>
            </a:br>
            <a:r>
              <a:rPr lang="ru-RU" sz="1200" dirty="0"/>
              <a:t>острова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5963FC7-C152-D549-BE9A-DD60EC3950A2}"/>
              </a:ext>
            </a:extLst>
          </p:cNvPr>
          <p:cNvSpPr txBox="1"/>
          <p:nvPr/>
        </p:nvSpPr>
        <p:spPr>
          <a:xfrm>
            <a:off x="9395521" y="2657645"/>
            <a:ext cx="54912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омали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6332F31-9BD2-084A-862B-18208464CA01}"/>
              </a:ext>
            </a:extLst>
          </p:cNvPr>
          <p:cNvSpPr txBox="1"/>
          <p:nvPr/>
        </p:nvSpPr>
        <p:spPr>
          <a:xfrm>
            <a:off x="10893262" y="2657645"/>
            <a:ext cx="43511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удан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06F1DFD-EEC4-6F43-A444-C36CE39B126A}"/>
              </a:ext>
            </a:extLst>
          </p:cNvPr>
          <p:cNvSpPr txBox="1"/>
          <p:nvPr/>
        </p:nvSpPr>
        <p:spPr>
          <a:xfrm>
            <a:off x="2328330" y="3830497"/>
            <a:ext cx="36869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ША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9359F08-8233-7F41-93BE-D4A4BAA9B7A9}"/>
              </a:ext>
            </a:extLst>
          </p:cNvPr>
          <p:cNvSpPr txBox="1"/>
          <p:nvPr/>
        </p:nvSpPr>
        <p:spPr>
          <a:xfrm>
            <a:off x="3444547" y="3830497"/>
            <a:ext cx="105157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Сьерра-Леоне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913AB69-A76A-7C47-AC3E-FF8817D255DE}"/>
              </a:ext>
            </a:extLst>
          </p:cNvPr>
          <p:cNvSpPr txBox="1"/>
          <p:nvPr/>
        </p:nvSpPr>
        <p:spPr>
          <a:xfrm>
            <a:off x="4908334" y="3830497"/>
            <a:ext cx="9459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Таджикистан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57AD0C2-FD84-E048-A918-8BA7E39C7F73}"/>
              </a:ext>
            </a:extLst>
          </p:cNvPr>
          <p:cNvSpPr txBox="1"/>
          <p:nvPr/>
        </p:nvSpPr>
        <p:spPr>
          <a:xfrm>
            <a:off x="6516202" y="3830497"/>
            <a:ext cx="58227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Тайвань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5C2C7E2-085F-034F-B474-192D815A9EF0}"/>
              </a:ext>
            </a:extLst>
          </p:cNvPr>
          <p:cNvSpPr txBox="1"/>
          <p:nvPr/>
        </p:nvSpPr>
        <p:spPr>
          <a:xfrm>
            <a:off x="7946759" y="3830497"/>
            <a:ext cx="59670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Таиланд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6C73284-884C-9F4D-9E88-18C5E8910108}"/>
              </a:ext>
            </a:extLst>
          </p:cNvPr>
          <p:cNvSpPr txBox="1"/>
          <p:nvPr/>
        </p:nvSpPr>
        <p:spPr>
          <a:xfrm>
            <a:off x="9335660" y="3830497"/>
            <a:ext cx="6688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Танзания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4B3B0C1-5206-E44B-BC86-EAD4129C4699}"/>
              </a:ext>
            </a:extLst>
          </p:cNvPr>
          <p:cNvSpPr txBox="1"/>
          <p:nvPr/>
        </p:nvSpPr>
        <p:spPr>
          <a:xfrm>
            <a:off x="10947054" y="3830497"/>
            <a:ext cx="32752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Того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3EDBA44-08DF-7940-9A99-37483861F706}"/>
              </a:ext>
            </a:extLst>
          </p:cNvPr>
          <p:cNvSpPr txBox="1"/>
          <p:nvPr/>
        </p:nvSpPr>
        <p:spPr>
          <a:xfrm>
            <a:off x="2176285" y="4988441"/>
            <a:ext cx="69775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Тринидад</a:t>
            </a:r>
            <a:br>
              <a:rPr lang="ru-RU" sz="1200" dirty="0"/>
            </a:br>
            <a:r>
              <a:rPr lang="ru-RU" sz="1200" dirty="0"/>
              <a:t>и Тобаго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F0638AB-AB8C-4649-B1A6-9B06DC08E4D6}"/>
              </a:ext>
            </a:extLst>
          </p:cNvPr>
          <p:cNvSpPr txBox="1"/>
          <p:nvPr/>
        </p:nvSpPr>
        <p:spPr>
          <a:xfrm>
            <a:off x="3716764" y="4988441"/>
            <a:ext cx="48455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Тувалу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F934D58E-0C99-344D-AA73-4B827CDA7F4E}"/>
              </a:ext>
            </a:extLst>
          </p:cNvPr>
          <p:cNvSpPr txBox="1"/>
          <p:nvPr/>
        </p:nvSpPr>
        <p:spPr>
          <a:xfrm>
            <a:off x="5172672" y="4988441"/>
            <a:ext cx="41723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Тунис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DB46A4A-0636-BB4F-A2C8-78220F6BC391}"/>
              </a:ext>
            </a:extLst>
          </p:cNvPr>
          <p:cNvSpPr txBox="1"/>
          <p:nvPr/>
        </p:nvSpPr>
        <p:spPr>
          <a:xfrm>
            <a:off x="6296203" y="4988441"/>
            <a:ext cx="102226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 err="1"/>
              <a:t>Туркминистан</a:t>
            </a:r>
            <a:endParaRPr lang="ru-RU" sz="120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931980C-981F-2C42-8E78-B2A35C42D8C5}"/>
              </a:ext>
            </a:extLst>
          </p:cNvPr>
          <p:cNvSpPr txBox="1"/>
          <p:nvPr/>
        </p:nvSpPr>
        <p:spPr>
          <a:xfrm>
            <a:off x="7996000" y="4988441"/>
            <a:ext cx="5118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Турция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4ED8721-86A3-5B4F-B949-130831255FA0}"/>
              </a:ext>
            </a:extLst>
          </p:cNvPr>
          <p:cNvSpPr txBox="1"/>
          <p:nvPr/>
        </p:nvSpPr>
        <p:spPr>
          <a:xfrm>
            <a:off x="8989930" y="4988441"/>
            <a:ext cx="13602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Уганда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B047FA4-CA1A-764E-B937-2A55046800CE}"/>
              </a:ext>
            </a:extLst>
          </p:cNvPr>
          <p:cNvSpPr txBox="1"/>
          <p:nvPr/>
        </p:nvSpPr>
        <p:spPr>
          <a:xfrm>
            <a:off x="10667259" y="4988441"/>
            <a:ext cx="9050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Узбекистан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627A8D9-A5E9-3148-B7C4-A1636CA46E01}"/>
              </a:ext>
            </a:extLst>
          </p:cNvPr>
          <p:cNvSpPr txBox="1"/>
          <p:nvPr/>
        </p:nvSpPr>
        <p:spPr>
          <a:xfrm>
            <a:off x="2214830" y="6124059"/>
            <a:ext cx="58695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Уругвай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BD605F6-590D-644A-A96B-12E527775000}"/>
              </a:ext>
            </a:extLst>
          </p:cNvPr>
          <p:cNvSpPr txBox="1"/>
          <p:nvPr/>
        </p:nvSpPr>
        <p:spPr>
          <a:xfrm>
            <a:off x="3679992" y="6124059"/>
            <a:ext cx="5248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Фиджи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8616C34-9C9C-1146-AA44-21FB5D2ED976}"/>
              </a:ext>
            </a:extLst>
          </p:cNvPr>
          <p:cNvSpPr txBox="1"/>
          <p:nvPr/>
        </p:nvSpPr>
        <p:spPr>
          <a:xfrm>
            <a:off x="4937398" y="6124059"/>
            <a:ext cx="86562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Филиппины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00B1D61-42D3-4040-982E-DDAD39A6D1B5}"/>
              </a:ext>
            </a:extLst>
          </p:cNvPr>
          <p:cNvSpPr txBox="1"/>
          <p:nvPr/>
        </p:nvSpPr>
        <p:spPr>
          <a:xfrm>
            <a:off x="6378675" y="6124059"/>
            <a:ext cx="83516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Финляндия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95F9EBC-97AC-FB46-9C8C-18323D15BA0C}"/>
              </a:ext>
            </a:extLst>
          </p:cNvPr>
          <p:cNvSpPr txBox="1"/>
          <p:nvPr/>
        </p:nvSpPr>
        <p:spPr>
          <a:xfrm>
            <a:off x="7908203" y="6124059"/>
            <a:ext cx="66524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Франция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45C21D9-75BC-284F-9A36-2D5851D54DD7}"/>
              </a:ext>
            </a:extLst>
          </p:cNvPr>
          <p:cNvSpPr txBox="1"/>
          <p:nvPr/>
        </p:nvSpPr>
        <p:spPr>
          <a:xfrm>
            <a:off x="9141360" y="6124059"/>
            <a:ext cx="10574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Хорватия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47FE30F-EE12-C84A-8F88-1028154FF012}"/>
              </a:ext>
            </a:extLst>
          </p:cNvPr>
          <p:cNvSpPr txBox="1"/>
          <p:nvPr/>
        </p:nvSpPr>
        <p:spPr>
          <a:xfrm>
            <a:off x="10572807" y="6124059"/>
            <a:ext cx="105743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Центральная Африканская</a:t>
            </a:r>
          </a:p>
        </p:txBody>
      </p:sp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B06CA5A0-1809-3143-B9A5-2C7F237418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230" y="973001"/>
            <a:ext cx="540000" cy="540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0BD4604-7F8C-A54A-A4AD-B179A5C69C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3913" y="973001"/>
            <a:ext cx="540000" cy="5400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90F5614-894D-A441-A275-A02A911BB6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85596" y="973001"/>
            <a:ext cx="540000" cy="54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B8EF3F2-8E43-9542-8CB8-8B6128732A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7279" y="973001"/>
            <a:ext cx="540000" cy="54000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D47B1FD-8E59-D544-BFFE-BE955048AD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8962" y="973001"/>
            <a:ext cx="540000" cy="54000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F297D735-80B6-E84A-9484-6B096286DB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01624" y="973001"/>
            <a:ext cx="540000" cy="5400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499DDE5-BCE7-2241-A24D-28EF74AF03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80647" y="973001"/>
            <a:ext cx="540000" cy="540000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CF41A618-E5B9-9446-A598-50FD4A2CFD1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31524" y="973001"/>
            <a:ext cx="540000" cy="54000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4F3D5118-9A3C-4D49-85F7-98B0F1CA058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2230" y="2118724"/>
            <a:ext cx="540000" cy="54000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F0A65652-910C-F340-8588-F66C90B6CBD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52129" y="2118724"/>
            <a:ext cx="540000" cy="5400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12AEC05D-7C79-784A-AA4D-AC8B3AE0C2C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82028" y="2118724"/>
            <a:ext cx="540000" cy="540000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9903BB6E-D2D2-D94C-8D26-5ACF15028C5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11927" y="2118724"/>
            <a:ext cx="540000" cy="540000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B84A8E2F-DD72-0545-86B0-3150468383A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41826" y="2118724"/>
            <a:ext cx="540000" cy="540000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4686B968-708F-1D4D-B366-91BD66C53B7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971725" y="2118724"/>
            <a:ext cx="540000" cy="540000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60D290C5-63AA-174B-9136-CC9380F063F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401624" y="2118724"/>
            <a:ext cx="540000" cy="540000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BCC229F5-D7FC-9C4D-BDEB-07105E1C4EC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831524" y="2118724"/>
            <a:ext cx="540000" cy="540000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B7B73568-A3F9-1645-B592-473438CF90F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22230" y="3264447"/>
            <a:ext cx="540000" cy="540000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AEFB083A-23D0-AE4A-B6D7-93943E25505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252129" y="3264447"/>
            <a:ext cx="540000" cy="540000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60A2511A-E1C7-554F-B2E8-BDB49B888F90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682028" y="3264447"/>
            <a:ext cx="540000" cy="540000"/>
          </a:xfrm>
          <a:prstGeom prst="rect">
            <a:avLst/>
          </a:prstGeom>
        </p:spPr>
      </p:pic>
      <p:pic>
        <p:nvPicPr>
          <p:cNvPr id="448" name="Рисунок 447">
            <a:extLst>
              <a:ext uri="{FF2B5EF4-FFF2-40B4-BE49-F238E27FC236}">
                <a16:creationId xmlns:a16="http://schemas.microsoft.com/office/drawing/2014/main" id="{9B737EF2-5057-A24F-8A74-606AC88BA7A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111927" y="3264447"/>
            <a:ext cx="540000" cy="540000"/>
          </a:xfrm>
          <a:prstGeom prst="rect">
            <a:avLst/>
          </a:prstGeom>
        </p:spPr>
      </p:pic>
      <p:pic>
        <p:nvPicPr>
          <p:cNvPr id="450" name="Рисунок 449">
            <a:extLst>
              <a:ext uri="{FF2B5EF4-FFF2-40B4-BE49-F238E27FC236}">
                <a16:creationId xmlns:a16="http://schemas.microsoft.com/office/drawing/2014/main" id="{18F3AD0C-0884-1E4A-BE26-58D6AE222945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541826" y="3264447"/>
            <a:ext cx="540000" cy="540000"/>
          </a:xfrm>
          <a:prstGeom prst="rect">
            <a:avLst/>
          </a:prstGeom>
        </p:spPr>
      </p:pic>
      <p:pic>
        <p:nvPicPr>
          <p:cNvPr id="452" name="Рисунок 451">
            <a:extLst>
              <a:ext uri="{FF2B5EF4-FFF2-40B4-BE49-F238E27FC236}">
                <a16:creationId xmlns:a16="http://schemas.microsoft.com/office/drawing/2014/main" id="{A130990C-9B1E-4240-B893-2DAFF020598E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971725" y="3264447"/>
            <a:ext cx="540000" cy="540000"/>
          </a:xfrm>
          <a:prstGeom prst="rect">
            <a:avLst/>
          </a:prstGeom>
        </p:spPr>
      </p:pic>
      <p:pic>
        <p:nvPicPr>
          <p:cNvPr id="454" name="Рисунок 453">
            <a:extLst>
              <a:ext uri="{FF2B5EF4-FFF2-40B4-BE49-F238E27FC236}">
                <a16:creationId xmlns:a16="http://schemas.microsoft.com/office/drawing/2014/main" id="{9C136A30-2F94-4145-B0B1-0980B8E437F5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9401624" y="3264447"/>
            <a:ext cx="540000" cy="540000"/>
          </a:xfrm>
          <a:prstGeom prst="rect">
            <a:avLst/>
          </a:prstGeom>
        </p:spPr>
      </p:pic>
      <p:pic>
        <p:nvPicPr>
          <p:cNvPr id="456" name="Рисунок 455">
            <a:extLst>
              <a:ext uri="{FF2B5EF4-FFF2-40B4-BE49-F238E27FC236}">
                <a16:creationId xmlns:a16="http://schemas.microsoft.com/office/drawing/2014/main" id="{50FB1344-539D-3B4D-8D4A-9F1483ED946C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831524" y="3264447"/>
            <a:ext cx="540000" cy="540000"/>
          </a:xfrm>
          <a:prstGeom prst="rect">
            <a:avLst/>
          </a:prstGeom>
        </p:spPr>
      </p:pic>
      <p:pic>
        <p:nvPicPr>
          <p:cNvPr id="458" name="Рисунок 457">
            <a:extLst>
              <a:ext uri="{FF2B5EF4-FFF2-40B4-BE49-F238E27FC236}">
                <a16:creationId xmlns:a16="http://schemas.microsoft.com/office/drawing/2014/main" id="{0BC04A1A-A354-7449-B567-0E1A9F41ABF9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22230" y="4410170"/>
            <a:ext cx="540000" cy="540000"/>
          </a:xfrm>
          <a:prstGeom prst="rect">
            <a:avLst/>
          </a:prstGeom>
        </p:spPr>
      </p:pic>
      <p:pic>
        <p:nvPicPr>
          <p:cNvPr id="460" name="Рисунок 459">
            <a:extLst>
              <a:ext uri="{FF2B5EF4-FFF2-40B4-BE49-F238E27FC236}">
                <a16:creationId xmlns:a16="http://schemas.microsoft.com/office/drawing/2014/main" id="{A49E124D-67A0-9047-96C5-95FD75EA1820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252129" y="4410170"/>
            <a:ext cx="540000" cy="540000"/>
          </a:xfrm>
          <a:prstGeom prst="rect">
            <a:avLst/>
          </a:prstGeom>
        </p:spPr>
      </p:pic>
      <p:pic>
        <p:nvPicPr>
          <p:cNvPr id="462" name="Рисунок 461">
            <a:extLst>
              <a:ext uri="{FF2B5EF4-FFF2-40B4-BE49-F238E27FC236}">
                <a16:creationId xmlns:a16="http://schemas.microsoft.com/office/drawing/2014/main" id="{A2B05CB4-7FD7-D546-8A4D-92054453B6F7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682028" y="4410170"/>
            <a:ext cx="540000" cy="540000"/>
          </a:xfrm>
          <a:prstGeom prst="rect">
            <a:avLst/>
          </a:prstGeom>
        </p:spPr>
      </p:pic>
      <p:pic>
        <p:nvPicPr>
          <p:cNvPr id="464" name="Рисунок 463">
            <a:extLst>
              <a:ext uri="{FF2B5EF4-FFF2-40B4-BE49-F238E27FC236}">
                <a16:creationId xmlns:a16="http://schemas.microsoft.com/office/drawing/2014/main" id="{48BF0CD5-4E5C-A64D-A8D1-714F6957F5DB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111927" y="4410170"/>
            <a:ext cx="540000" cy="540000"/>
          </a:xfrm>
          <a:prstGeom prst="rect">
            <a:avLst/>
          </a:prstGeom>
        </p:spPr>
      </p:pic>
      <p:pic>
        <p:nvPicPr>
          <p:cNvPr id="466" name="Рисунок 465">
            <a:extLst>
              <a:ext uri="{FF2B5EF4-FFF2-40B4-BE49-F238E27FC236}">
                <a16:creationId xmlns:a16="http://schemas.microsoft.com/office/drawing/2014/main" id="{D49295B4-17C4-1141-BEEE-5BFF8A51BA79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541826" y="4410170"/>
            <a:ext cx="540000" cy="540000"/>
          </a:xfrm>
          <a:prstGeom prst="rect">
            <a:avLst/>
          </a:prstGeom>
        </p:spPr>
      </p:pic>
      <p:pic>
        <p:nvPicPr>
          <p:cNvPr id="469" name="Рисунок 468">
            <a:extLst>
              <a:ext uri="{FF2B5EF4-FFF2-40B4-BE49-F238E27FC236}">
                <a16:creationId xmlns:a16="http://schemas.microsoft.com/office/drawing/2014/main" id="{7E347D6E-F6C4-4F4F-855B-5E3C1327341A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971725" y="4410170"/>
            <a:ext cx="540000" cy="540000"/>
          </a:xfrm>
          <a:prstGeom prst="rect">
            <a:avLst/>
          </a:prstGeom>
        </p:spPr>
      </p:pic>
      <p:pic>
        <p:nvPicPr>
          <p:cNvPr id="471" name="Рисунок 470">
            <a:extLst>
              <a:ext uri="{FF2B5EF4-FFF2-40B4-BE49-F238E27FC236}">
                <a16:creationId xmlns:a16="http://schemas.microsoft.com/office/drawing/2014/main" id="{443A20D0-9918-8F4C-A443-EE467ADB14D4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9401624" y="4410170"/>
            <a:ext cx="540000" cy="540000"/>
          </a:xfrm>
          <a:prstGeom prst="rect">
            <a:avLst/>
          </a:prstGeom>
        </p:spPr>
      </p:pic>
      <p:pic>
        <p:nvPicPr>
          <p:cNvPr id="473" name="Рисунок 472">
            <a:extLst>
              <a:ext uri="{FF2B5EF4-FFF2-40B4-BE49-F238E27FC236}">
                <a16:creationId xmlns:a16="http://schemas.microsoft.com/office/drawing/2014/main" id="{1FE512E9-2FD4-9C48-8D08-42A445D9FD4A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0831524" y="4410170"/>
            <a:ext cx="540000" cy="540000"/>
          </a:xfrm>
          <a:prstGeom prst="rect">
            <a:avLst/>
          </a:prstGeom>
        </p:spPr>
      </p:pic>
      <p:pic>
        <p:nvPicPr>
          <p:cNvPr id="475" name="Рисунок 474">
            <a:extLst>
              <a:ext uri="{FF2B5EF4-FFF2-40B4-BE49-F238E27FC236}">
                <a16:creationId xmlns:a16="http://schemas.microsoft.com/office/drawing/2014/main" id="{4D183C94-F99D-6748-9DC0-3FCB990C6336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822230" y="5555894"/>
            <a:ext cx="540000" cy="540000"/>
          </a:xfrm>
          <a:prstGeom prst="rect">
            <a:avLst/>
          </a:prstGeom>
        </p:spPr>
      </p:pic>
      <p:pic>
        <p:nvPicPr>
          <p:cNvPr id="477" name="Рисунок 476">
            <a:extLst>
              <a:ext uri="{FF2B5EF4-FFF2-40B4-BE49-F238E27FC236}">
                <a16:creationId xmlns:a16="http://schemas.microsoft.com/office/drawing/2014/main" id="{3FB0BA13-3E1D-6245-AB12-00BA89744DBB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2253913" y="5555894"/>
            <a:ext cx="540000" cy="540000"/>
          </a:xfrm>
          <a:prstGeom prst="rect">
            <a:avLst/>
          </a:prstGeom>
        </p:spPr>
      </p:pic>
      <p:pic>
        <p:nvPicPr>
          <p:cNvPr id="479" name="Рисунок 478">
            <a:extLst>
              <a:ext uri="{FF2B5EF4-FFF2-40B4-BE49-F238E27FC236}">
                <a16:creationId xmlns:a16="http://schemas.microsoft.com/office/drawing/2014/main" id="{FAE56EE1-73C6-314A-BEFB-2734CB96901B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3682028" y="5555894"/>
            <a:ext cx="540000" cy="540000"/>
          </a:xfrm>
          <a:prstGeom prst="rect">
            <a:avLst/>
          </a:prstGeom>
        </p:spPr>
      </p:pic>
      <p:pic>
        <p:nvPicPr>
          <p:cNvPr id="481" name="Рисунок 480">
            <a:extLst>
              <a:ext uri="{FF2B5EF4-FFF2-40B4-BE49-F238E27FC236}">
                <a16:creationId xmlns:a16="http://schemas.microsoft.com/office/drawing/2014/main" id="{C4BD07ED-372D-2647-89A7-13425E9B024E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5111927" y="5555894"/>
            <a:ext cx="540000" cy="540000"/>
          </a:xfrm>
          <a:prstGeom prst="rect">
            <a:avLst/>
          </a:prstGeom>
        </p:spPr>
      </p:pic>
      <p:pic>
        <p:nvPicPr>
          <p:cNvPr id="483" name="Рисунок 482">
            <a:extLst>
              <a:ext uri="{FF2B5EF4-FFF2-40B4-BE49-F238E27FC236}">
                <a16:creationId xmlns:a16="http://schemas.microsoft.com/office/drawing/2014/main" id="{6C6973C0-7A92-8242-BC18-08BD61F0F931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6541826" y="5555894"/>
            <a:ext cx="540000" cy="540000"/>
          </a:xfrm>
          <a:prstGeom prst="rect">
            <a:avLst/>
          </a:prstGeom>
        </p:spPr>
      </p:pic>
      <p:pic>
        <p:nvPicPr>
          <p:cNvPr id="485" name="Рисунок 484">
            <a:extLst>
              <a:ext uri="{FF2B5EF4-FFF2-40B4-BE49-F238E27FC236}">
                <a16:creationId xmlns:a16="http://schemas.microsoft.com/office/drawing/2014/main" id="{A1D68988-B13F-5440-8B0B-0F2EB8ECAAC8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7971725" y="5555894"/>
            <a:ext cx="540000" cy="540000"/>
          </a:xfrm>
          <a:prstGeom prst="rect">
            <a:avLst/>
          </a:prstGeom>
        </p:spPr>
      </p:pic>
      <p:pic>
        <p:nvPicPr>
          <p:cNvPr id="487" name="Рисунок 486">
            <a:extLst>
              <a:ext uri="{FF2B5EF4-FFF2-40B4-BE49-F238E27FC236}">
                <a16:creationId xmlns:a16="http://schemas.microsoft.com/office/drawing/2014/main" id="{B02D9ADD-F1CB-E84A-B305-B9B5F66C1C1A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9401624" y="5555894"/>
            <a:ext cx="540000" cy="540000"/>
          </a:xfrm>
          <a:prstGeom prst="rect">
            <a:avLst/>
          </a:prstGeom>
        </p:spPr>
      </p:pic>
      <p:pic>
        <p:nvPicPr>
          <p:cNvPr id="489" name="Рисунок 488">
            <a:extLst>
              <a:ext uri="{FF2B5EF4-FFF2-40B4-BE49-F238E27FC236}">
                <a16:creationId xmlns:a16="http://schemas.microsoft.com/office/drawing/2014/main" id="{DEF798A1-00D6-EE4E-AC78-D0E268B325AD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0831524" y="5555894"/>
            <a:ext cx="540000" cy="540000"/>
          </a:xfrm>
          <a:prstGeom prst="rect">
            <a:avLst/>
          </a:prstGeom>
        </p:spPr>
      </p:pic>
      <p:sp>
        <p:nvSpPr>
          <p:cNvPr id="92" name="Номер слайда 1">
            <a:extLst>
              <a:ext uri="{FF2B5EF4-FFF2-40B4-BE49-F238E27FC236}">
                <a16:creationId xmlns:a16="http://schemas.microsoft.com/office/drawing/2014/main" id="{E2CD1B97-BDC1-3049-97D4-990E2E7728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85766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F1CB19B-C758-F441-A061-BC0A7273EC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230" y="973001"/>
            <a:ext cx="540000" cy="54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лаги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F649A9D-38BA-334D-AF10-14DC21C06FA9}"/>
              </a:ext>
            </a:extLst>
          </p:cNvPr>
          <p:cNvSpPr txBox="1"/>
          <p:nvPr/>
        </p:nvSpPr>
        <p:spPr>
          <a:xfrm>
            <a:off x="955983" y="1513001"/>
            <a:ext cx="27251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Чад</a:t>
            </a:r>
          </a:p>
        </p:txBody>
      </p:sp>
      <p:sp>
        <p:nvSpPr>
          <p:cNvPr id="606" name="TextBox 605">
            <a:extLst>
              <a:ext uri="{FF2B5EF4-FFF2-40B4-BE49-F238E27FC236}">
                <a16:creationId xmlns:a16="http://schemas.microsoft.com/office/drawing/2014/main" id="{4BB80CC2-23F7-F045-9A4E-6C3636540407}"/>
              </a:ext>
            </a:extLst>
          </p:cNvPr>
          <p:cNvSpPr txBox="1"/>
          <p:nvPr/>
        </p:nvSpPr>
        <p:spPr>
          <a:xfrm>
            <a:off x="499185" y="2657645"/>
            <a:ext cx="118301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Экваториальная</a:t>
            </a:r>
            <a:br>
              <a:rPr lang="ru-RU" sz="1200" dirty="0"/>
            </a:br>
            <a:r>
              <a:rPr lang="ru-RU" sz="1200" dirty="0"/>
              <a:t>Гвинея</a:t>
            </a:r>
            <a:endParaRPr lang="en-US" sz="12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B577B2E-47CD-D146-B7ED-73C6D462A4A2}"/>
              </a:ext>
            </a:extLst>
          </p:cNvPr>
          <p:cNvSpPr txBox="1"/>
          <p:nvPr/>
        </p:nvSpPr>
        <p:spPr>
          <a:xfrm>
            <a:off x="2083527" y="1513001"/>
            <a:ext cx="87530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Черногория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5268052-CF5E-1E49-9EE2-F45983670FAC}"/>
              </a:ext>
            </a:extLst>
          </p:cNvPr>
          <p:cNvSpPr txBox="1"/>
          <p:nvPr/>
        </p:nvSpPr>
        <p:spPr>
          <a:xfrm>
            <a:off x="3731521" y="1513001"/>
            <a:ext cx="43127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Чехия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A0845CD-836A-414B-B8B8-931FDA9B81B7}"/>
              </a:ext>
            </a:extLst>
          </p:cNvPr>
          <p:cNvSpPr txBox="1"/>
          <p:nvPr/>
        </p:nvSpPr>
        <p:spPr>
          <a:xfrm>
            <a:off x="5197684" y="1513001"/>
            <a:ext cx="37029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Чили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D05C8FA-0F6B-4D4C-B29F-5603EC6C0906}"/>
              </a:ext>
            </a:extLst>
          </p:cNvPr>
          <p:cNvSpPr txBox="1"/>
          <p:nvPr/>
        </p:nvSpPr>
        <p:spPr>
          <a:xfrm>
            <a:off x="6388897" y="1513001"/>
            <a:ext cx="83997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Швейцария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6D2AF33-3273-AC45-9947-2859951C8B4C}"/>
              </a:ext>
            </a:extLst>
          </p:cNvPr>
          <p:cNvSpPr txBox="1"/>
          <p:nvPr/>
        </p:nvSpPr>
        <p:spPr>
          <a:xfrm>
            <a:off x="7957315" y="1513001"/>
            <a:ext cx="57868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Швеция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0A6DEE5-A5F2-D84C-8C47-C9517ED257F6}"/>
              </a:ext>
            </a:extLst>
          </p:cNvPr>
          <p:cNvSpPr txBox="1"/>
          <p:nvPr/>
        </p:nvSpPr>
        <p:spPr>
          <a:xfrm>
            <a:off x="9248436" y="1513001"/>
            <a:ext cx="84638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Шри-Ланка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D5C5B51-2F05-9A4C-B81E-1F24C9DAD7DA}"/>
              </a:ext>
            </a:extLst>
          </p:cNvPr>
          <p:cNvSpPr txBox="1"/>
          <p:nvPr/>
        </p:nvSpPr>
        <p:spPr>
          <a:xfrm>
            <a:off x="10790543" y="1513001"/>
            <a:ext cx="62196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Эквадор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4DFB0F7-88E6-9D40-A326-048F5FB85E90}"/>
              </a:ext>
            </a:extLst>
          </p:cNvPr>
          <p:cNvSpPr txBox="1"/>
          <p:nvPr/>
        </p:nvSpPr>
        <p:spPr>
          <a:xfrm>
            <a:off x="2212655" y="2657645"/>
            <a:ext cx="61395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Эритрея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9FAF357-E8D0-424D-85B7-BC3F3122D230}"/>
              </a:ext>
            </a:extLst>
          </p:cNvPr>
          <p:cNvSpPr txBox="1"/>
          <p:nvPr/>
        </p:nvSpPr>
        <p:spPr>
          <a:xfrm>
            <a:off x="3643100" y="2657645"/>
            <a:ext cx="60503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Эстония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1EEC428-B97B-8340-893F-6C693B5EF778}"/>
              </a:ext>
            </a:extLst>
          </p:cNvPr>
          <p:cNvSpPr txBox="1"/>
          <p:nvPr/>
        </p:nvSpPr>
        <p:spPr>
          <a:xfrm>
            <a:off x="5056682" y="2657645"/>
            <a:ext cx="64921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Эфиопия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A0D234C-8B3F-DA49-BA2F-CBF25DFBFDDA}"/>
              </a:ext>
            </a:extLst>
          </p:cNvPr>
          <p:cNvSpPr txBox="1"/>
          <p:nvPr/>
        </p:nvSpPr>
        <p:spPr>
          <a:xfrm>
            <a:off x="6622959" y="2657645"/>
            <a:ext cx="36875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ЮАР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9534EA0-0E41-7947-A6C7-FF2BF27E3C84}"/>
              </a:ext>
            </a:extLst>
          </p:cNvPr>
          <p:cNvSpPr txBox="1"/>
          <p:nvPr/>
        </p:nvSpPr>
        <p:spPr>
          <a:xfrm>
            <a:off x="7739303" y="2657645"/>
            <a:ext cx="10116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Южная Корея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5963FC7-C152-D549-BE9A-DD60EC3950A2}"/>
              </a:ext>
            </a:extLst>
          </p:cNvPr>
          <p:cNvSpPr txBox="1"/>
          <p:nvPr/>
        </p:nvSpPr>
        <p:spPr>
          <a:xfrm>
            <a:off x="9400780" y="2657645"/>
            <a:ext cx="53860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Ямайка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6332F31-9BD2-084A-862B-18208464CA01}"/>
              </a:ext>
            </a:extLst>
          </p:cNvPr>
          <p:cNvSpPr txBox="1"/>
          <p:nvPr/>
        </p:nvSpPr>
        <p:spPr>
          <a:xfrm>
            <a:off x="10840716" y="2657645"/>
            <a:ext cx="5402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200" dirty="0"/>
              <a:t>Япония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7D758FA-0F8C-9F42-825F-14B1FBC60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3913" y="973001"/>
            <a:ext cx="540000" cy="5400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B036EE6-A319-0547-B6CB-C41C8FBC63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85596" y="973001"/>
            <a:ext cx="540000" cy="54000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FAFDE50-C74F-7C46-8B4D-C6AFE402FC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7279" y="973001"/>
            <a:ext cx="540000" cy="54000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A77E06F-7A49-A841-8B02-6406251EE1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5394" y="973001"/>
            <a:ext cx="540000" cy="54000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AC40EAAB-EF46-4247-A7F0-5C3CBF6E4D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3509" y="973001"/>
            <a:ext cx="540000" cy="540000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A320BD5B-6DA8-2D4F-86A1-CD6A8323D96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01624" y="973001"/>
            <a:ext cx="540000" cy="54000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89F9728C-FDDB-0940-BA19-E53EDD5A30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31524" y="973001"/>
            <a:ext cx="540000" cy="540000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1EF4FEDE-6142-1C41-BA29-0978410B248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2230" y="2118724"/>
            <a:ext cx="540000" cy="5400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B2D81357-9FDF-744E-8378-BC42C81562F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52486" y="2118724"/>
            <a:ext cx="540000" cy="54000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F31C9263-C850-6E4A-BCA5-3C132077890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82742" y="2118724"/>
            <a:ext cx="540000" cy="54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850DFF7B-59AB-0548-BAB7-34F63431049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12998" y="2118724"/>
            <a:ext cx="540000" cy="540000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51BA9551-FDC6-3149-9449-C8684CA4FA2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43254" y="2118724"/>
            <a:ext cx="540000" cy="540000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5E66CCDC-00BE-0342-AB20-C99C36430A1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973509" y="2118724"/>
            <a:ext cx="540000" cy="540000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DFCA6409-A13B-D144-99AB-6D7FB853A7E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401624" y="2118724"/>
            <a:ext cx="540000" cy="540000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0089D97C-5971-B34E-BB89-60811BE525F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831524" y="2118724"/>
            <a:ext cx="540000" cy="540000"/>
          </a:xfrm>
          <a:prstGeom prst="rect">
            <a:avLst/>
          </a:prstGeom>
        </p:spPr>
      </p:pic>
      <p:sp>
        <p:nvSpPr>
          <p:cNvPr id="36" name="Номер слайда 1">
            <a:extLst>
              <a:ext uri="{FF2B5EF4-FFF2-40B4-BE49-F238E27FC236}">
                <a16:creationId xmlns:a16="http://schemas.microsoft.com/office/drawing/2014/main" id="{C4A146B6-2D4E-B849-BD6B-579A77DDD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99810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3DFA09-4DBB-8047-B97B-E2B7C55A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ck up</a:t>
            </a:r>
            <a:endParaRPr lang="ru-RU" dirty="0"/>
          </a:p>
        </p:txBody>
      </p:sp>
      <p:pic>
        <p:nvPicPr>
          <p:cNvPr id="480" name="Рисунок 479">
            <a:extLst>
              <a:ext uri="{FF2B5EF4-FFF2-40B4-BE49-F238E27FC236}">
                <a16:creationId xmlns:a16="http://schemas.microsoft.com/office/drawing/2014/main" id="{37D0E7C3-48C2-5B4C-BED1-65FB092319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17324" t="1618" r="17324" b="33028"/>
          <a:stretch/>
        </p:blipFill>
        <p:spPr>
          <a:xfrm>
            <a:off x="3960110" y="0"/>
            <a:ext cx="8231890" cy="6173918"/>
          </a:xfrm>
          <a:prstGeom prst="rect">
            <a:avLst/>
          </a:prstGeom>
        </p:spPr>
      </p:pic>
      <p:pic>
        <p:nvPicPr>
          <p:cNvPr id="481" name="Рисунок 480">
            <a:extLst>
              <a:ext uri="{FF2B5EF4-FFF2-40B4-BE49-F238E27FC236}">
                <a16:creationId xmlns:a16="http://schemas.microsoft.com/office/drawing/2014/main" id="{ACCAF40A-4445-864D-8745-5AAF0360102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289691" y="797153"/>
            <a:ext cx="7090356" cy="5511572"/>
          </a:xfrm>
          <a:prstGeom prst="rect">
            <a:avLst/>
          </a:prstGeom>
        </p:spPr>
      </p:pic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15EE3ACB-51EC-6A4B-B8CF-28BD8AACE3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2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01344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A8CDB37-EEC7-F64F-BF4D-E491DBF3C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235AF-954E-5044-BAF0-991FD76FF994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4AB43B1D-D927-314C-A7D7-8F7410AB2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63782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AF91A43-2991-3146-B68E-C258D1810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235AF-954E-5044-BAF0-991FD76FF994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9B5D0E2-6468-5A4D-8E2C-522F49DB4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02062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A8CDB37-EEC7-F64F-BF4D-E491DBF3C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235AF-954E-5044-BAF0-991FD76FF994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4AB43B1D-D927-314C-A7D7-8F7410AB2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sp>
        <p:nvSpPr>
          <p:cNvPr id="4" name="Прямоугольник: скругленные углы 13">
            <a:extLst>
              <a:ext uri="{FF2B5EF4-FFF2-40B4-BE49-F238E27FC236}">
                <a16:creationId xmlns:a16="http://schemas.microsoft.com/office/drawing/2014/main" id="{D9ECEB8D-31A5-444E-BE63-5E6AC6EC1EAB}"/>
              </a:ext>
            </a:extLst>
          </p:cNvPr>
          <p:cNvSpPr/>
          <p:nvPr/>
        </p:nvSpPr>
        <p:spPr>
          <a:xfrm>
            <a:off x="6314130" y="1089025"/>
            <a:ext cx="5327424" cy="5219700"/>
          </a:xfrm>
          <a:prstGeom prst="roundRect">
            <a:avLst>
              <a:gd name="adj" fmla="val 2978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35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075B6F62-40F8-B74A-9D26-D54053C65F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6539786"/>
              </p:ext>
            </p:extLst>
          </p:nvPr>
        </p:nvGraphicFramePr>
        <p:xfrm>
          <a:off x="6314130" y="1089025"/>
          <a:ext cx="5327424" cy="52081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422">
                  <a:extLst>
                    <a:ext uri="{9D8B030D-6E8A-4147-A177-3AD203B41FA5}">
                      <a16:colId xmlns:a16="http://schemas.microsoft.com/office/drawing/2014/main" val="3288249964"/>
                    </a:ext>
                  </a:extLst>
                </a:gridCol>
                <a:gridCol w="4572002">
                  <a:extLst>
                    <a:ext uri="{9D8B030D-6E8A-4147-A177-3AD203B41FA5}">
                      <a16:colId xmlns:a16="http://schemas.microsoft.com/office/drawing/2014/main" val="2529020169"/>
                    </a:ext>
                  </a:extLst>
                </a:gridCol>
              </a:tblGrid>
              <a:tr h="1212851"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>
                          <a:solidFill>
                            <a:schemeClr val="bg1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r>
                        <a:rPr kumimoji="0" lang="en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596448"/>
                  </a:ext>
                </a:extLst>
              </a:tr>
              <a:tr h="1212851"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>
                          <a:solidFill>
                            <a:schemeClr val="bg1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r>
                        <a:rPr kumimoji="0" lang="en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4097639"/>
                  </a:ext>
                </a:extLst>
              </a:tr>
              <a:tr h="1569572"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>
                          <a:solidFill>
                            <a:schemeClr val="bg1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kumimoji="0" lang="en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kumimoji="0" lang="ru-RU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400" marR="0" lvl="0" indent="-17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kumimoji="0" lang="ru-RU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400" marR="0" lvl="0" indent="-17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kumimoji="0" lang="ru-RU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554436"/>
                  </a:ext>
                </a:extLst>
              </a:tr>
              <a:tr h="1212851">
                <a:tc>
                  <a:txBody>
                    <a:bodyPr/>
                    <a:lstStyle/>
                    <a:p>
                      <a:pPr algn="ctr"/>
                      <a:r>
                        <a:rPr lang="ru-RU" sz="2800" b="0" dirty="0">
                          <a:solidFill>
                            <a:schemeClr val="bg1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r>
                        <a:rPr kumimoji="0" lang="en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17008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35952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B6DFF4D8-8645-A94A-96A9-EE2B6ED49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235AF-954E-5044-BAF0-991FD76FF994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E19F8BB-4185-7C47-9B37-5B726508A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4869" y="473865"/>
            <a:ext cx="10945813" cy="398571"/>
          </a:xfrm>
        </p:spPr>
        <p:txBody>
          <a:bodyPr/>
          <a:lstStyle/>
          <a:p>
            <a:r>
              <a:rPr lang="en" dirty="0"/>
              <a:t>Vox exchange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50BF4C6-2B74-0949-8086-53C713BED0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539" b="62745"/>
          <a:stretch/>
        </p:blipFill>
        <p:spPr>
          <a:xfrm>
            <a:off x="550864" y="430623"/>
            <a:ext cx="931428" cy="377248"/>
          </a:xfrm>
          <a:prstGeom prst="roundRect">
            <a:avLst/>
          </a:prstGeom>
        </p:spPr>
      </p:pic>
      <p:sp>
        <p:nvSpPr>
          <p:cNvPr id="6" name="Прямоугольник: скругленные углы 13">
            <a:extLst>
              <a:ext uri="{FF2B5EF4-FFF2-40B4-BE49-F238E27FC236}">
                <a16:creationId xmlns:a16="http://schemas.microsoft.com/office/drawing/2014/main" id="{3B1E4639-00B6-5F40-AEAF-95F38F902A0E}"/>
              </a:ext>
            </a:extLst>
          </p:cNvPr>
          <p:cNvSpPr/>
          <p:nvPr/>
        </p:nvSpPr>
        <p:spPr>
          <a:xfrm>
            <a:off x="6502842" y="1764125"/>
            <a:ext cx="5138711" cy="4544600"/>
          </a:xfrm>
          <a:prstGeom prst="roundRect">
            <a:avLst>
              <a:gd name="adj" fmla="val 2978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35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: скругленные углы 13">
            <a:extLst>
              <a:ext uri="{FF2B5EF4-FFF2-40B4-BE49-F238E27FC236}">
                <a16:creationId xmlns:a16="http://schemas.microsoft.com/office/drawing/2014/main" id="{77F05C11-68BA-C844-8F21-C993CE697898}"/>
              </a:ext>
            </a:extLst>
          </p:cNvPr>
          <p:cNvSpPr/>
          <p:nvPr/>
        </p:nvSpPr>
        <p:spPr>
          <a:xfrm>
            <a:off x="550862" y="1764126"/>
            <a:ext cx="6418102" cy="4544600"/>
          </a:xfrm>
          <a:prstGeom prst="roundRect">
            <a:avLst>
              <a:gd name="adj" fmla="val 2408"/>
            </a:avLst>
          </a:prstGeom>
          <a:solidFill>
            <a:schemeClr val="bg1"/>
          </a:solidFill>
          <a:ln w="9525">
            <a:gradFill>
              <a:gsLst>
                <a:gs pos="69000">
                  <a:schemeClr val="bg1">
                    <a:lumMod val="75000"/>
                  </a:schemeClr>
                </a:gs>
                <a:gs pos="100000">
                  <a:schemeClr val="accent2"/>
                </a:gs>
              </a:gsLst>
              <a:lin ang="2700000" scaled="0"/>
            </a:gradFill>
          </a:ln>
          <a:effectLst>
            <a:outerShdw blurRad="114300" dist="63500" dir="27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43012302-48FD-974C-ADE9-3551024BA0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4690937"/>
              </p:ext>
            </p:extLst>
          </p:nvPr>
        </p:nvGraphicFramePr>
        <p:xfrm>
          <a:off x="559178" y="1764126"/>
          <a:ext cx="6409786" cy="4544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4000">
                  <a:extLst>
                    <a:ext uri="{9D8B030D-6E8A-4147-A177-3AD203B41FA5}">
                      <a16:colId xmlns:a16="http://schemas.microsoft.com/office/drawing/2014/main" val="1634866800"/>
                    </a:ext>
                  </a:extLst>
                </a:gridCol>
                <a:gridCol w="4465786">
                  <a:extLst>
                    <a:ext uri="{9D8B030D-6E8A-4147-A177-3AD203B41FA5}">
                      <a16:colId xmlns:a16="http://schemas.microsoft.com/office/drawing/2014/main" val="3605043241"/>
                    </a:ext>
                  </a:extLst>
                </a:gridCol>
              </a:tblGrid>
              <a:tr h="3787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Сегмент</a:t>
                      </a:r>
                    </a:p>
                  </a:txBody>
                  <a:tcPr marL="50399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</a:rPr>
                        <a:t>рекламная сеть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6467943"/>
                  </a:ext>
                </a:extLst>
              </a:tr>
              <a:tr h="3787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Дата основания</a:t>
                      </a:r>
                    </a:p>
                  </a:txBody>
                  <a:tcPr marL="50399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</a:rPr>
                        <a:t>2014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150641"/>
                  </a:ext>
                </a:extLst>
              </a:tr>
              <a:tr h="5358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Количество сотрудников: </a:t>
                      </a:r>
                    </a:p>
                  </a:txBody>
                  <a:tcPr marL="50399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51-20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6984"/>
                  </a:ext>
                </a:extLst>
              </a:tr>
              <a:tr h="5358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Количество реклам. площадок: </a:t>
                      </a:r>
                    </a:p>
                  </a:txBody>
                  <a:tcPr marL="50399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</a:rPr>
                        <a:t>200+ площадок 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рунета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</a:rPr>
                        <a:t>, 300+ для размещения видео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502566"/>
                  </a:ext>
                </a:extLst>
              </a:tr>
              <a:tr h="5358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Количество реклам. кампаний</a:t>
                      </a:r>
                    </a:p>
                  </a:txBody>
                  <a:tcPr marL="50399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n\a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7609059"/>
                  </a:ext>
                </a:extLst>
              </a:tr>
              <a:tr h="5358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Форматы: </a:t>
                      </a:r>
                    </a:p>
                  </a:txBody>
                  <a:tcPr marL="50399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+mn-lt"/>
                        </a:rPr>
                        <a:t>AIO: Fullscreen, In-Text, Rollup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</a:rPr>
                        <a:t>; 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Multiroll</a:t>
                      </a:r>
                      <a:r>
                        <a:rPr lang="en" sz="1200" dirty="0">
                          <a:solidFill>
                            <a:schemeClr val="tx1"/>
                          </a:solidFill>
                          <a:latin typeface="+mn-lt"/>
                        </a:rPr>
                        <a:t>: </a:t>
                      </a:r>
                      <a:r>
                        <a:rPr lang="en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Preroll</a:t>
                      </a:r>
                      <a:r>
                        <a:rPr lang="en" sz="1200" dirty="0">
                          <a:solidFill>
                            <a:schemeClr val="tx1"/>
                          </a:solidFill>
                          <a:latin typeface="+mn-lt"/>
                        </a:rPr>
                        <a:t>, Midroll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</a:rPr>
                        <a:t>и </a:t>
                      </a:r>
                      <a:r>
                        <a:rPr lang="en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Postroll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856270"/>
                  </a:ext>
                </a:extLst>
              </a:tr>
              <a:tr h="3787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Чистая прибыль </a:t>
                      </a:r>
                    </a:p>
                  </a:txBody>
                  <a:tcPr marL="50399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</a:rPr>
                        <a:t>(20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21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</a:rPr>
                        <a:t> г)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: n\a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6050753"/>
                  </a:ext>
                </a:extLst>
              </a:tr>
              <a:tr h="3787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Руководитель: </a:t>
                      </a:r>
                    </a:p>
                  </a:txBody>
                  <a:tcPr marL="50399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</a:rPr>
                        <a:t>Аркадий Граф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1521351"/>
                  </a:ext>
                </a:extLst>
              </a:tr>
              <a:tr h="3787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LinkedIn/c</a:t>
                      </a:r>
                      <a:r>
                        <a:rPr lang="ru-RU" sz="1100" b="1" i="0" kern="1200" dirty="0" err="1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оц.сеть</a:t>
                      </a:r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: </a:t>
                      </a:r>
                      <a:endParaRPr lang="ru-RU" sz="1100" b="1" i="0" kern="1200" dirty="0">
                        <a:solidFill>
                          <a:schemeClr val="tx1"/>
                        </a:solidFill>
                        <a:latin typeface="SB Sans Display Semibold" panose="020B0503040504020204" pitchFamily="34" charset="0"/>
                        <a:ea typeface="+mn-ea"/>
                        <a:cs typeface="SB Sans Display Semibold" panose="020B0503040504020204" pitchFamily="34" charset="0"/>
                      </a:endParaRPr>
                    </a:p>
                  </a:txBody>
                  <a:tcPr marL="50399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+mn-lt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www.linkedin.com/mwlite/company/allinone-media</a:t>
                      </a:r>
                      <a:endParaRPr lang="en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545419"/>
                  </a:ext>
                </a:extLst>
              </a:tr>
              <a:tr h="5073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Адрес: </a:t>
                      </a:r>
                    </a:p>
                  </a:txBody>
                  <a:tcPr marL="50399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</a:rPr>
                        <a:t>Тверская ул., 9, стр. 7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;</a:t>
                      </a:r>
                    </a:p>
                    <a:p>
                      <a:r>
                        <a:rPr lang="en" sz="1200" dirty="0">
                          <a:solidFill>
                            <a:schemeClr val="tx1"/>
                          </a:solidFill>
                          <a:latin typeface="+mn-lt"/>
                        </a:rPr>
                        <a:t>Covent Garden 90 Long Acre, London, WC2E 9RA, UK.</a:t>
                      </a:r>
                      <a:endParaRPr lang="ru-RU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4098720"/>
                  </a:ext>
                </a:extLst>
              </a:tr>
            </a:tbl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12D3173-A55F-5840-92EC-BF627C554B97}"/>
              </a:ext>
            </a:extLst>
          </p:cNvPr>
          <p:cNvSpPr txBox="1">
            <a:spLocks/>
          </p:cNvSpPr>
          <p:nvPr/>
        </p:nvSpPr>
        <p:spPr>
          <a:xfrm>
            <a:off x="550863" y="1098483"/>
            <a:ext cx="5951980" cy="4493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en-US" sz="1600" dirty="0">
                <a:solidFill>
                  <a:schemeClr val="tx2"/>
                </a:solidFill>
                <a:latin typeface="+mn-lt"/>
              </a:rPr>
              <a:t>AI-vision </a:t>
            </a:r>
            <a:r>
              <a:rPr lang="ru-RU" sz="1600" dirty="0">
                <a:solidFill>
                  <a:schemeClr val="tx2"/>
                </a:solidFill>
                <a:latin typeface="+mn-lt"/>
              </a:rPr>
              <a:t>платформа</a:t>
            </a:r>
            <a:r>
              <a:rPr lang="en-US" sz="160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600" dirty="0">
                <a:solidFill>
                  <a:schemeClr val="tx2"/>
                </a:solidFill>
                <a:latin typeface="+mn-lt"/>
              </a:rPr>
              <a:t>специализирующаяся </a:t>
            </a:r>
            <a:br>
              <a:rPr lang="en-US" sz="1600" dirty="0">
                <a:solidFill>
                  <a:schemeClr val="tx2"/>
                </a:solidFill>
                <a:latin typeface="+mn-lt"/>
              </a:rPr>
            </a:br>
            <a:r>
              <a:rPr lang="ru-RU" sz="1600" dirty="0">
                <a:solidFill>
                  <a:schemeClr val="tx2"/>
                </a:solidFill>
                <a:latin typeface="+mn-lt"/>
              </a:rPr>
              <a:t>на форматах </a:t>
            </a:r>
            <a:r>
              <a:rPr lang="en-US" sz="1600" dirty="0">
                <a:solidFill>
                  <a:schemeClr val="tx2"/>
                </a:solidFill>
                <a:latin typeface="+mn-lt"/>
              </a:rPr>
              <a:t>in-image. </a:t>
            </a:r>
            <a:r>
              <a:rPr lang="ru-RU" sz="1600" dirty="0">
                <a:solidFill>
                  <a:schemeClr val="tx2"/>
                </a:solidFill>
                <a:latin typeface="+mn-lt"/>
              </a:rPr>
              <a:t>Входит в холдинг </a:t>
            </a:r>
            <a:r>
              <a:rPr lang="en-US" sz="1600" dirty="0" err="1">
                <a:solidFill>
                  <a:schemeClr val="tx2"/>
                </a:solidFill>
                <a:latin typeface="+mn-lt"/>
              </a:rPr>
              <a:t>hybrid.ai</a:t>
            </a:r>
            <a:r>
              <a:rPr lang="ru-RU" sz="1600" dirty="0">
                <a:solidFill>
                  <a:schemeClr val="tx2"/>
                </a:solidFill>
                <a:latin typeface="+mn-lt"/>
              </a:rPr>
              <a:t>.</a:t>
            </a:r>
          </a:p>
        </p:txBody>
      </p:sp>
      <p:grpSp>
        <p:nvGrpSpPr>
          <p:cNvPr id="10" name="Рисунок 180">
            <a:extLst>
              <a:ext uri="{FF2B5EF4-FFF2-40B4-BE49-F238E27FC236}">
                <a16:creationId xmlns:a16="http://schemas.microsoft.com/office/drawing/2014/main" id="{DE082C61-0338-0D42-A3FA-662F6CC1001E}"/>
              </a:ext>
            </a:extLst>
          </p:cNvPr>
          <p:cNvGrpSpPr>
            <a:grpSpLocks noChangeAspect="1"/>
          </p:cNvGrpSpPr>
          <p:nvPr/>
        </p:nvGrpSpPr>
        <p:grpSpPr>
          <a:xfrm>
            <a:off x="648013" y="1828320"/>
            <a:ext cx="252000" cy="252000"/>
            <a:chOff x="695324" y="1412875"/>
            <a:chExt cx="360000" cy="360000"/>
          </a:xfrm>
        </p:grpSpPr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4FAB7384-E656-4F41-BD60-909789B66B75}"/>
                </a:ext>
              </a:extLst>
            </p:cNvPr>
            <p:cNvSpPr/>
            <p:nvPr/>
          </p:nvSpPr>
          <p:spPr>
            <a:xfrm>
              <a:off x="69532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2849268A-91F3-1742-A909-5147C98A7439}"/>
                </a:ext>
              </a:extLst>
            </p:cNvPr>
            <p:cNvSpPr/>
            <p:nvPr/>
          </p:nvSpPr>
          <p:spPr>
            <a:xfrm>
              <a:off x="740324" y="1472875"/>
              <a:ext cx="255000" cy="255000"/>
            </a:xfrm>
            <a:custGeom>
              <a:avLst/>
              <a:gdLst>
                <a:gd name="connsiteX0" fmla="*/ 45000 w 255000"/>
                <a:gd name="connsiteY0" fmla="*/ 75000 h 255000"/>
                <a:gd name="connsiteX1" fmla="*/ 45000 w 255000"/>
                <a:gd name="connsiteY1" fmla="*/ 165000 h 255000"/>
                <a:gd name="connsiteX2" fmla="*/ 90000 w 255000"/>
                <a:gd name="connsiteY2" fmla="*/ 210000 h 255000"/>
                <a:gd name="connsiteX3" fmla="*/ 180000 w 255000"/>
                <a:gd name="connsiteY3" fmla="*/ 210000 h 255000"/>
                <a:gd name="connsiteX4" fmla="*/ 180000 w 255000"/>
                <a:gd name="connsiteY4" fmla="*/ 222273 h 255000"/>
                <a:gd name="connsiteX5" fmla="*/ 147273 w 255000"/>
                <a:gd name="connsiteY5" fmla="*/ 255000 h 255000"/>
                <a:gd name="connsiteX6" fmla="*/ 32727 w 255000"/>
                <a:gd name="connsiteY6" fmla="*/ 255000 h 255000"/>
                <a:gd name="connsiteX7" fmla="*/ 0 w 255000"/>
                <a:gd name="connsiteY7" fmla="*/ 222273 h 255000"/>
                <a:gd name="connsiteX8" fmla="*/ 0 w 255000"/>
                <a:gd name="connsiteY8" fmla="*/ 107727 h 255000"/>
                <a:gd name="connsiteX9" fmla="*/ 32727 w 255000"/>
                <a:gd name="connsiteY9" fmla="*/ 75000 h 255000"/>
                <a:gd name="connsiteX10" fmla="*/ 45000 w 255000"/>
                <a:gd name="connsiteY10" fmla="*/ 75000 h 255000"/>
                <a:gd name="connsiteX11" fmla="*/ 210000 w 255000"/>
                <a:gd name="connsiteY11" fmla="*/ 180000 h 255000"/>
                <a:gd name="connsiteX12" fmla="*/ 210000 w 255000"/>
                <a:gd name="connsiteY12" fmla="*/ 90000 h 255000"/>
                <a:gd name="connsiteX13" fmla="*/ 165000 w 255000"/>
                <a:gd name="connsiteY13" fmla="*/ 45000 h 255000"/>
                <a:gd name="connsiteX14" fmla="*/ 75000 w 255000"/>
                <a:gd name="connsiteY14" fmla="*/ 45000 h 255000"/>
                <a:gd name="connsiteX15" fmla="*/ 75000 w 255000"/>
                <a:gd name="connsiteY15" fmla="*/ 32727 h 255000"/>
                <a:gd name="connsiteX16" fmla="*/ 107727 w 255000"/>
                <a:gd name="connsiteY16" fmla="*/ 0 h 255000"/>
                <a:gd name="connsiteX17" fmla="*/ 222273 w 255000"/>
                <a:gd name="connsiteY17" fmla="*/ 0 h 255000"/>
                <a:gd name="connsiteX18" fmla="*/ 255000 w 255000"/>
                <a:gd name="connsiteY18" fmla="*/ 32727 h 255000"/>
                <a:gd name="connsiteX19" fmla="*/ 255000 w 255000"/>
                <a:gd name="connsiteY19" fmla="*/ 147273 h 255000"/>
                <a:gd name="connsiteX20" fmla="*/ 222273 w 255000"/>
                <a:gd name="connsiteY20" fmla="*/ 180000 h 255000"/>
                <a:gd name="connsiteX21" fmla="*/ 210000 w 255000"/>
                <a:gd name="connsiteY21" fmla="*/ 180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5000" h="255000">
                  <a:moveTo>
                    <a:pt x="45000" y="75000"/>
                  </a:moveTo>
                  <a:lnTo>
                    <a:pt x="45000" y="165000"/>
                  </a:lnTo>
                  <a:cubicBezTo>
                    <a:pt x="45000" y="189854"/>
                    <a:pt x="65147" y="210000"/>
                    <a:pt x="90000" y="210000"/>
                  </a:cubicBezTo>
                  <a:lnTo>
                    <a:pt x="180000" y="210000"/>
                  </a:lnTo>
                  <a:lnTo>
                    <a:pt x="180000" y="222273"/>
                  </a:lnTo>
                  <a:cubicBezTo>
                    <a:pt x="180000" y="243488"/>
                    <a:pt x="168488" y="255000"/>
                    <a:pt x="147273" y="255000"/>
                  </a:cubicBezTo>
                  <a:lnTo>
                    <a:pt x="32727" y="255000"/>
                  </a:lnTo>
                  <a:cubicBezTo>
                    <a:pt x="11513" y="255000"/>
                    <a:pt x="0" y="243488"/>
                    <a:pt x="0" y="222273"/>
                  </a:cubicBezTo>
                  <a:lnTo>
                    <a:pt x="0" y="107727"/>
                  </a:lnTo>
                  <a:cubicBezTo>
                    <a:pt x="0" y="86513"/>
                    <a:pt x="11513" y="75000"/>
                    <a:pt x="32727" y="75000"/>
                  </a:cubicBezTo>
                  <a:lnTo>
                    <a:pt x="45000" y="75000"/>
                  </a:lnTo>
                  <a:close/>
                  <a:moveTo>
                    <a:pt x="210000" y="180000"/>
                  </a:moveTo>
                  <a:lnTo>
                    <a:pt x="210000" y="90000"/>
                  </a:lnTo>
                  <a:cubicBezTo>
                    <a:pt x="210000" y="65147"/>
                    <a:pt x="189854" y="45000"/>
                    <a:pt x="165000" y="45000"/>
                  </a:cubicBezTo>
                  <a:lnTo>
                    <a:pt x="75000" y="45000"/>
                  </a:lnTo>
                  <a:lnTo>
                    <a:pt x="75000" y="32727"/>
                  </a:lnTo>
                  <a:cubicBezTo>
                    <a:pt x="75000" y="11513"/>
                    <a:pt x="86513" y="0"/>
                    <a:pt x="107727" y="0"/>
                  </a:cubicBezTo>
                  <a:lnTo>
                    <a:pt x="222273" y="0"/>
                  </a:lnTo>
                  <a:cubicBezTo>
                    <a:pt x="243488" y="0"/>
                    <a:pt x="255000" y="11513"/>
                    <a:pt x="255000" y="32727"/>
                  </a:cubicBezTo>
                  <a:lnTo>
                    <a:pt x="255000" y="147273"/>
                  </a:lnTo>
                  <a:cubicBezTo>
                    <a:pt x="255000" y="168488"/>
                    <a:pt x="243488" y="180000"/>
                    <a:pt x="222273" y="180000"/>
                  </a:cubicBezTo>
                  <a:lnTo>
                    <a:pt x="210000" y="18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6AC5F562-0436-3043-904D-7624A09FADE4}"/>
                </a:ext>
              </a:extLst>
            </p:cNvPr>
            <p:cNvSpPr/>
            <p:nvPr/>
          </p:nvSpPr>
          <p:spPr>
            <a:xfrm>
              <a:off x="815324" y="1547875"/>
              <a:ext cx="105000" cy="105000"/>
            </a:xfrm>
            <a:custGeom>
              <a:avLst/>
              <a:gdLst>
                <a:gd name="connsiteX0" fmla="*/ 19091 w 105000"/>
                <a:gd name="connsiteY0" fmla="*/ 0 h 105000"/>
                <a:gd name="connsiteX1" fmla="*/ 85909 w 105000"/>
                <a:gd name="connsiteY1" fmla="*/ 0 h 105000"/>
                <a:gd name="connsiteX2" fmla="*/ 105000 w 105000"/>
                <a:gd name="connsiteY2" fmla="*/ 19091 h 105000"/>
                <a:gd name="connsiteX3" fmla="*/ 105000 w 105000"/>
                <a:gd name="connsiteY3" fmla="*/ 85909 h 105000"/>
                <a:gd name="connsiteX4" fmla="*/ 85909 w 105000"/>
                <a:gd name="connsiteY4" fmla="*/ 105000 h 105000"/>
                <a:gd name="connsiteX5" fmla="*/ 19091 w 105000"/>
                <a:gd name="connsiteY5" fmla="*/ 105000 h 105000"/>
                <a:gd name="connsiteX6" fmla="*/ 0 w 105000"/>
                <a:gd name="connsiteY6" fmla="*/ 85909 h 105000"/>
                <a:gd name="connsiteX7" fmla="*/ 0 w 105000"/>
                <a:gd name="connsiteY7" fmla="*/ 19091 h 105000"/>
                <a:gd name="connsiteX8" fmla="*/ 19091 w 105000"/>
                <a:gd name="connsiteY8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000" h="105000">
                  <a:moveTo>
                    <a:pt x="19091" y="0"/>
                  </a:moveTo>
                  <a:lnTo>
                    <a:pt x="85909" y="0"/>
                  </a:lnTo>
                  <a:cubicBezTo>
                    <a:pt x="98285" y="0"/>
                    <a:pt x="105000" y="6716"/>
                    <a:pt x="105000" y="19091"/>
                  </a:cubicBezTo>
                  <a:lnTo>
                    <a:pt x="105000" y="85909"/>
                  </a:lnTo>
                  <a:cubicBezTo>
                    <a:pt x="105000" y="98285"/>
                    <a:pt x="98285" y="105000"/>
                    <a:pt x="85909" y="105000"/>
                  </a:cubicBezTo>
                  <a:lnTo>
                    <a:pt x="19091" y="105000"/>
                  </a:lnTo>
                  <a:cubicBezTo>
                    <a:pt x="6716" y="105000"/>
                    <a:pt x="0" y="98285"/>
                    <a:pt x="0" y="85909"/>
                  </a:cubicBezTo>
                  <a:lnTo>
                    <a:pt x="0" y="19091"/>
                  </a:lnTo>
                  <a:cubicBezTo>
                    <a:pt x="0" y="6716"/>
                    <a:pt x="6716" y="0"/>
                    <a:pt x="19091" y="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4" name="Рисунок 255">
            <a:extLst>
              <a:ext uri="{FF2B5EF4-FFF2-40B4-BE49-F238E27FC236}">
                <a16:creationId xmlns:a16="http://schemas.microsoft.com/office/drawing/2014/main" id="{8AFCB0C1-D7E5-314A-94E0-C50D56C6F96C}"/>
              </a:ext>
            </a:extLst>
          </p:cNvPr>
          <p:cNvGrpSpPr>
            <a:grpSpLocks noChangeAspect="1"/>
          </p:cNvGrpSpPr>
          <p:nvPr/>
        </p:nvGrpSpPr>
        <p:grpSpPr>
          <a:xfrm>
            <a:off x="648013" y="2663961"/>
            <a:ext cx="252000" cy="252000"/>
            <a:chOff x="3715855" y="5451199"/>
            <a:chExt cx="360000" cy="360000"/>
          </a:xfrm>
        </p:grpSpPr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id="{334E22CE-EA62-564D-BDCC-C9662BFC2CD6}"/>
                </a:ext>
              </a:extLst>
            </p:cNvPr>
            <p:cNvSpPr/>
            <p:nvPr/>
          </p:nvSpPr>
          <p:spPr>
            <a:xfrm>
              <a:off x="3715856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CE32D389-B1F3-E342-8AA3-37D43FEF0AA2}"/>
                </a:ext>
              </a:extLst>
            </p:cNvPr>
            <p:cNvSpPr/>
            <p:nvPr/>
          </p:nvSpPr>
          <p:spPr>
            <a:xfrm>
              <a:off x="3790856" y="5496199"/>
              <a:ext cx="240000" cy="165000"/>
            </a:xfrm>
            <a:custGeom>
              <a:avLst/>
              <a:gdLst>
                <a:gd name="connsiteX0" fmla="*/ 195000 w 240000"/>
                <a:gd name="connsiteY0" fmla="*/ 165000 h 165000"/>
                <a:gd name="connsiteX1" fmla="*/ 150000 w 240000"/>
                <a:gd name="connsiteY1" fmla="*/ 120000 h 165000"/>
                <a:gd name="connsiteX2" fmla="*/ 195000 w 240000"/>
                <a:gd name="connsiteY2" fmla="*/ 75000 h 165000"/>
                <a:gd name="connsiteX3" fmla="*/ 240000 w 240000"/>
                <a:gd name="connsiteY3" fmla="*/ 120000 h 165000"/>
                <a:gd name="connsiteX4" fmla="*/ 195000 w 240000"/>
                <a:gd name="connsiteY4" fmla="*/ 165000 h 165000"/>
                <a:gd name="connsiteX5" fmla="*/ 60000 w 240000"/>
                <a:gd name="connsiteY5" fmla="*/ 120000 h 165000"/>
                <a:gd name="connsiteX6" fmla="*/ 0 w 240000"/>
                <a:gd name="connsiteY6" fmla="*/ 60000 h 165000"/>
                <a:gd name="connsiteX7" fmla="*/ 60000 w 240000"/>
                <a:gd name="connsiteY7" fmla="*/ 0 h 165000"/>
                <a:gd name="connsiteX8" fmla="*/ 120000 w 240000"/>
                <a:gd name="connsiteY8" fmla="*/ 60000 h 165000"/>
                <a:gd name="connsiteX9" fmla="*/ 60000 w 240000"/>
                <a:gd name="connsiteY9" fmla="*/ 120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0000" h="165000">
                  <a:moveTo>
                    <a:pt x="195000" y="165000"/>
                  </a:moveTo>
                  <a:cubicBezTo>
                    <a:pt x="170147" y="165000"/>
                    <a:pt x="150000" y="144854"/>
                    <a:pt x="150000" y="120000"/>
                  </a:cubicBezTo>
                  <a:cubicBezTo>
                    <a:pt x="150000" y="95147"/>
                    <a:pt x="170147" y="75000"/>
                    <a:pt x="195000" y="75000"/>
                  </a:cubicBezTo>
                  <a:cubicBezTo>
                    <a:pt x="219854" y="75000"/>
                    <a:pt x="240000" y="95147"/>
                    <a:pt x="240000" y="120000"/>
                  </a:cubicBezTo>
                  <a:cubicBezTo>
                    <a:pt x="240000" y="144854"/>
                    <a:pt x="219854" y="165000"/>
                    <a:pt x="195000" y="165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015D49DC-D3B9-E94D-90B0-C3D4ED8E1A24}"/>
                </a:ext>
              </a:extLst>
            </p:cNvPr>
            <p:cNvSpPr/>
            <p:nvPr/>
          </p:nvSpPr>
          <p:spPr>
            <a:xfrm>
              <a:off x="3715855" y="5646199"/>
              <a:ext cx="359999" cy="120000"/>
            </a:xfrm>
            <a:custGeom>
              <a:avLst/>
              <a:gdLst>
                <a:gd name="connsiteX0" fmla="*/ 264018 w 359999"/>
                <a:gd name="connsiteY0" fmla="*/ 30009 h 120000"/>
                <a:gd name="connsiteX1" fmla="*/ 359978 w 359999"/>
                <a:gd name="connsiteY1" fmla="*/ 111000 h 120000"/>
                <a:gd name="connsiteX2" fmla="*/ 351839 w 359999"/>
                <a:gd name="connsiteY2" fmla="*/ 120000 h 120000"/>
                <a:gd name="connsiteX3" fmla="*/ 294000 w 359999"/>
                <a:gd name="connsiteY3" fmla="*/ 120000 h 120000"/>
                <a:gd name="connsiteX4" fmla="*/ 264018 w 359999"/>
                <a:gd name="connsiteY4" fmla="*/ 30009 h 120000"/>
                <a:gd name="connsiteX5" fmla="*/ 10 w 359999"/>
                <a:gd name="connsiteY5" fmla="*/ 107988 h 120000"/>
                <a:gd name="connsiteX6" fmla="*/ 134750 w 359999"/>
                <a:gd name="connsiteY6" fmla="*/ 0 h 120000"/>
                <a:gd name="connsiteX7" fmla="*/ 269969 w 359999"/>
                <a:gd name="connsiteY7" fmla="*/ 108000 h 120000"/>
                <a:gd name="connsiteX8" fmla="*/ 258701 w 359999"/>
                <a:gd name="connsiteY8" fmla="*/ 120000 h 120000"/>
                <a:gd name="connsiteX9" fmla="*/ 10913 w 359999"/>
                <a:gd name="connsiteY9" fmla="*/ 120000 h 120000"/>
                <a:gd name="connsiteX10" fmla="*/ 10 w 359999"/>
                <a:gd name="connsiteY10" fmla="*/ 107988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9999" h="120000">
                  <a:moveTo>
                    <a:pt x="264018" y="30009"/>
                  </a:moveTo>
                  <a:cubicBezTo>
                    <a:pt x="315116" y="30569"/>
                    <a:pt x="356838" y="56401"/>
                    <a:pt x="359978" y="111000"/>
                  </a:cubicBezTo>
                  <a:cubicBezTo>
                    <a:pt x="360104" y="113199"/>
                    <a:pt x="359978" y="120000"/>
                    <a:pt x="351839" y="120000"/>
                  </a:cubicBezTo>
                  <a:lnTo>
                    <a:pt x="294000" y="120000"/>
                  </a:lnTo>
                  <a:cubicBezTo>
                    <a:pt x="294000" y="86236"/>
                    <a:pt x="282845" y="55077"/>
                    <a:pt x="264018" y="30009"/>
                  </a:cubicBezTo>
                  <a:close/>
                  <a:moveTo>
                    <a:pt x="10" y="107988"/>
                  </a:moveTo>
                  <a:cubicBezTo>
                    <a:pt x="5824" y="36398"/>
                    <a:pt x="63929" y="0"/>
                    <a:pt x="134750" y="0"/>
                  </a:cubicBezTo>
                  <a:cubicBezTo>
                    <a:pt x="206568" y="0"/>
                    <a:pt x="265574" y="34398"/>
                    <a:pt x="269969" y="108000"/>
                  </a:cubicBezTo>
                  <a:cubicBezTo>
                    <a:pt x="270144" y="110933"/>
                    <a:pt x="269969" y="120000"/>
                    <a:pt x="258701" y="120000"/>
                  </a:cubicBezTo>
                  <a:cubicBezTo>
                    <a:pt x="203117" y="120000"/>
                    <a:pt x="120521" y="120000"/>
                    <a:pt x="10913" y="120000"/>
                  </a:cubicBezTo>
                  <a:cubicBezTo>
                    <a:pt x="7151" y="120000"/>
                    <a:pt x="-307" y="111888"/>
                    <a:pt x="10" y="107988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8" name="Рисунок 320">
            <a:extLst>
              <a:ext uri="{FF2B5EF4-FFF2-40B4-BE49-F238E27FC236}">
                <a16:creationId xmlns:a16="http://schemas.microsoft.com/office/drawing/2014/main" id="{71573175-AE42-7043-B04D-3D91C5EE3C64}"/>
              </a:ext>
            </a:extLst>
          </p:cNvPr>
          <p:cNvGrpSpPr>
            <a:grpSpLocks noChangeAspect="1"/>
          </p:cNvGrpSpPr>
          <p:nvPr/>
        </p:nvGrpSpPr>
        <p:grpSpPr>
          <a:xfrm>
            <a:off x="648013" y="5096478"/>
            <a:ext cx="252000" cy="252000"/>
            <a:chOff x="8246654" y="2085929"/>
            <a:chExt cx="360000" cy="360000"/>
          </a:xfrm>
        </p:grpSpPr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B0119F95-89E8-F84B-9B8B-2F3841FFFC8B}"/>
                </a:ext>
              </a:extLst>
            </p:cNvPr>
            <p:cNvSpPr/>
            <p:nvPr/>
          </p:nvSpPr>
          <p:spPr>
            <a:xfrm>
              <a:off x="8246654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B5DF5424-6924-E949-B71D-FEFDAB5D2A9C}"/>
                </a:ext>
              </a:extLst>
            </p:cNvPr>
            <p:cNvSpPr/>
            <p:nvPr/>
          </p:nvSpPr>
          <p:spPr>
            <a:xfrm>
              <a:off x="8366654" y="2130929"/>
              <a:ext cx="120000" cy="120000"/>
            </a:xfrm>
            <a:custGeom>
              <a:avLst/>
              <a:gdLst>
                <a:gd name="connsiteX0" fmla="*/ 60000 w 120000"/>
                <a:gd name="connsiteY0" fmla="*/ 120000 h 120000"/>
                <a:gd name="connsiteX1" fmla="*/ 0 w 120000"/>
                <a:gd name="connsiteY1" fmla="*/ 60000 h 120000"/>
                <a:gd name="connsiteX2" fmla="*/ 60000 w 120000"/>
                <a:gd name="connsiteY2" fmla="*/ 0 h 120000"/>
                <a:gd name="connsiteX3" fmla="*/ 120000 w 120000"/>
                <a:gd name="connsiteY3" fmla="*/ 60000 h 120000"/>
                <a:gd name="connsiteX4" fmla="*/ 60000 w 120000"/>
                <a:gd name="connsiteY4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00" h="120000"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62C2EC01-B8F4-BB44-86C3-43128C59E449}"/>
                </a:ext>
              </a:extLst>
            </p:cNvPr>
            <p:cNvSpPr/>
            <p:nvPr/>
          </p:nvSpPr>
          <p:spPr>
            <a:xfrm>
              <a:off x="8291653" y="2280929"/>
              <a:ext cx="269999" cy="120000"/>
            </a:xfrm>
            <a:custGeom>
              <a:avLst/>
              <a:gdLst>
                <a:gd name="connsiteX0" fmla="*/ 10 w 269999"/>
                <a:gd name="connsiteY0" fmla="*/ 107988 h 120000"/>
                <a:gd name="connsiteX1" fmla="*/ 134750 w 269999"/>
                <a:gd name="connsiteY1" fmla="*/ 0 h 120000"/>
                <a:gd name="connsiteX2" fmla="*/ 269969 w 269999"/>
                <a:gd name="connsiteY2" fmla="*/ 108000 h 120000"/>
                <a:gd name="connsiteX3" fmla="*/ 258701 w 269999"/>
                <a:gd name="connsiteY3" fmla="*/ 120000 h 120000"/>
                <a:gd name="connsiteX4" fmla="*/ 10913 w 269999"/>
                <a:gd name="connsiteY4" fmla="*/ 120000 h 120000"/>
                <a:gd name="connsiteX5" fmla="*/ 10 w 269999"/>
                <a:gd name="connsiteY5" fmla="*/ 107988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999" h="120000">
                  <a:moveTo>
                    <a:pt x="10" y="107988"/>
                  </a:moveTo>
                  <a:cubicBezTo>
                    <a:pt x="5824" y="36398"/>
                    <a:pt x="63929" y="0"/>
                    <a:pt x="134750" y="0"/>
                  </a:cubicBezTo>
                  <a:cubicBezTo>
                    <a:pt x="206568" y="0"/>
                    <a:pt x="265574" y="34398"/>
                    <a:pt x="269969" y="108000"/>
                  </a:cubicBezTo>
                  <a:cubicBezTo>
                    <a:pt x="270144" y="110933"/>
                    <a:pt x="269969" y="120000"/>
                    <a:pt x="258701" y="120000"/>
                  </a:cubicBezTo>
                  <a:cubicBezTo>
                    <a:pt x="203117" y="120000"/>
                    <a:pt x="120521" y="120000"/>
                    <a:pt x="10913" y="120000"/>
                  </a:cubicBezTo>
                  <a:cubicBezTo>
                    <a:pt x="7151" y="120000"/>
                    <a:pt x="-307" y="111888"/>
                    <a:pt x="10" y="107988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2" name="Рисунок 85">
            <a:extLst>
              <a:ext uri="{FF2B5EF4-FFF2-40B4-BE49-F238E27FC236}">
                <a16:creationId xmlns:a16="http://schemas.microsoft.com/office/drawing/2014/main" id="{EDB5E3AE-6D34-DE4A-9866-6708C7149277}"/>
              </a:ext>
            </a:extLst>
          </p:cNvPr>
          <p:cNvGrpSpPr>
            <a:grpSpLocks noChangeAspect="1"/>
          </p:cNvGrpSpPr>
          <p:nvPr/>
        </p:nvGrpSpPr>
        <p:grpSpPr>
          <a:xfrm>
            <a:off x="648013" y="2204034"/>
            <a:ext cx="252000" cy="252000"/>
            <a:chOff x="9021681" y="5451199"/>
            <a:chExt cx="360000" cy="360000"/>
          </a:xfrm>
        </p:grpSpPr>
        <p:sp>
          <p:nvSpPr>
            <p:cNvPr id="23" name="Полилиния 22">
              <a:extLst>
                <a:ext uri="{FF2B5EF4-FFF2-40B4-BE49-F238E27FC236}">
                  <a16:creationId xmlns:a16="http://schemas.microsoft.com/office/drawing/2014/main" id="{F135E204-6CB4-9041-A02E-F0DA4A0530AD}"/>
                </a:ext>
              </a:extLst>
            </p:cNvPr>
            <p:cNvSpPr/>
            <p:nvPr/>
          </p:nvSpPr>
          <p:spPr>
            <a:xfrm>
              <a:off x="9021681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 23">
              <a:extLst>
                <a:ext uri="{FF2B5EF4-FFF2-40B4-BE49-F238E27FC236}">
                  <a16:creationId xmlns:a16="http://schemas.microsoft.com/office/drawing/2014/main" id="{2385BD4D-35E9-364A-AE31-66D3A4E72A40}"/>
                </a:ext>
              </a:extLst>
            </p:cNvPr>
            <p:cNvSpPr/>
            <p:nvPr/>
          </p:nvSpPr>
          <p:spPr>
            <a:xfrm>
              <a:off x="9216681" y="5526293"/>
              <a:ext cx="135000" cy="206063"/>
            </a:xfrm>
            <a:custGeom>
              <a:avLst/>
              <a:gdLst>
                <a:gd name="connsiteX0" fmla="*/ 10283 w 135000"/>
                <a:gd name="connsiteY0" fmla="*/ 205528 h 206063"/>
                <a:gd name="connsiteX1" fmla="*/ 135000 w 135000"/>
                <a:gd name="connsiteY1" fmla="*/ 179905 h 206063"/>
                <a:gd name="connsiteX2" fmla="*/ 135000 w 135000"/>
                <a:gd name="connsiteY2" fmla="*/ 7500 h 206063"/>
                <a:gd name="connsiteX3" fmla="*/ 135000 w 135000"/>
                <a:gd name="connsiteY3" fmla="*/ 7500 h 206063"/>
                <a:gd name="connsiteX4" fmla="*/ 127500 w 135000"/>
                <a:gd name="connsiteY4" fmla="*/ 0 h 206063"/>
                <a:gd name="connsiteX5" fmla="*/ 127310 w 135000"/>
                <a:gd name="connsiteY5" fmla="*/ 2 h 206063"/>
                <a:gd name="connsiteX6" fmla="*/ 0 w 135000"/>
                <a:gd name="connsiteY6" fmla="*/ 29905 h 206063"/>
                <a:gd name="connsiteX7" fmla="*/ 0 w 135000"/>
                <a:gd name="connsiteY7" fmla="*/ 198564 h 206063"/>
                <a:gd name="connsiteX8" fmla="*/ 0 w 135000"/>
                <a:gd name="connsiteY8" fmla="*/ 198564 h 206063"/>
                <a:gd name="connsiteX9" fmla="*/ 7500 w 135000"/>
                <a:gd name="connsiteY9" fmla="*/ 206064 h 206063"/>
                <a:gd name="connsiteX10" fmla="*/ 10283 w 135000"/>
                <a:gd name="connsiteY10" fmla="*/ 205528 h 206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000" h="206063">
                  <a:moveTo>
                    <a:pt x="10283" y="205528"/>
                  </a:moveTo>
                  <a:cubicBezTo>
                    <a:pt x="43671" y="192190"/>
                    <a:pt x="85243" y="183649"/>
                    <a:pt x="135000" y="179905"/>
                  </a:cubicBezTo>
                  <a:cubicBezTo>
                    <a:pt x="135000" y="178893"/>
                    <a:pt x="135000" y="121425"/>
                    <a:pt x="135000" y="7500"/>
                  </a:cubicBezTo>
                  <a:lnTo>
                    <a:pt x="135000" y="7500"/>
                  </a:lnTo>
                  <a:cubicBezTo>
                    <a:pt x="135000" y="3358"/>
                    <a:pt x="131642" y="0"/>
                    <a:pt x="127500" y="0"/>
                  </a:cubicBezTo>
                  <a:cubicBezTo>
                    <a:pt x="127437" y="0"/>
                    <a:pt x="127374" y="1"/>
                    <a:pt x="127310" y="2"/>
                  </a:cubicBezTo>
                  <a:cubicBezTo>
                    <a:pt x="84873" y="1077"/>
                    <a:pt x="42436" y="11044"/>
                    <a:pt x="0" y="29905"/>
                  </a:cubicBezTo>
                  <a:cubicBezTo>
                    <a:pt x="0" y="30573"/>
                    <a:pt x="0" y="86793"/>
                    <a:pt x="0" y="198564"/>
                  </a:cubicBezTo>
                  <a:lnTo>
                    <a:pt x="0" y="198564"/>
                  </a:lnTo>
                  <a:cubicBezTo>
                    <a:pt x="0" y="202705"/>
                    <a:pt x="3357" y="206064"/>
                    <a:pt x="7500" y="206064"/>
                  </a:cubicBezTo>
                  <a:cubicBezTo>
                    <a:pt x="8453" y="206064"/>
                    <a:pt x="9398" y="205882"/>
                    <a:pt x="10283" y="205528"/>
                  </a:cubicBez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70415122-2645-BB44-A05F-59AD3DB60D1F}"/>
                </a:ext>
              </a:extLst>
            </p:cNvPr>
            <p:cNvSpPr/>
            <p:nvPr/>
          </p:nvSpPr>
          <p:spPr>
            <a:xfrm>
              <a:off x="9051680" y="5526293"/>
              <a:ext cx="135000" cy="206063"/>
            </a:xfrm>
            <a:custGeom>
              <a:avLst/>
              <a:gdLst>
                <a:gd name="connsiteX0" fmla="*/ 124718 w 135000"/>
                <a:gd name="connsiteY0" fmla="*/ 205528 h 206063"/>
                <a:gd name="connsiteX1" fmla="*/ 0 w 135000"/>
                <a:gd name="connsiteY1" fmla="*/ 179905 h 206063"/>
                <a:gd name="connsiteX2" fmla="*/ 0 w 135000"/>
                <a:gd name="connsiteY2" fmla="*/ 7500 h 206063"/>
                <a:gd name="connsiteX3" fmla="*/ 0 w 135000"/>
                <a:gd name="connsiteY3" fmla="*/ 7500 h 206063"/>
                <a:gd name="connsiteX4" fmla="*/ 7500 w 135000"/>
                <a:gd name="connsiteY4" fmla="*/ 0 h 206063"/>
                <a:gd name="connsiteX5" fmla="*/ 7690 w 135000"/>
                <a:gd name="connsiteY5" fmla="*/ 2 h 206063"/>
                <a:gd name="connsiteX6" fmla="*/ 135000 w 135000"/>
                <a:gd name="connsiteY6" fmla="*/ 29905 h 206063"/>
                <a:gd name="connsiteX7" fmla="*/ 135000 w 135000"/>
                <a:gd name="connsiteY7" fmla="*/ 198564 h 206063"/>
                <a:gd name="connsiteX8" fmla="*/ 135000 w 135000"/>
                <a:gd name="connsiteY8" fmla="*/ 198564 h 206063"/>
                <a:gd name="connsiteX9" fmla="*/ 127500 w 135000"/>
                <a:gd name="connsiteY9" fmla="*/ 206064 h 206063"/>
                <a:gd name="connsiteX10" fmla="*/ 124718 w 135000"/>
                <a:gd name="connsiteY10" fmla="*/ 205528 h 206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000" h="206063">
                  <a:moveTo>
                    <a:pt x="124718" y="205528"/>
                  </a:moveTo>
                  <a:cubicBezTo>
                    <a:pt x="91329" y="192190"/>
                    <a:pt x="49757" y="183649"/>
                    <a:pt x="0" y="179905"/>
                  </a:cubicBezTo>
                  <a:cubicBezTo>
                    <a:pt x="0" y="178893"/>
                    <a:pt x="0" y="121425"/>
                    <a:pt x="0" y="7500"/>
                  </a:cubicBezTo>
                  <a:lnTo>
                    <a:pt x="0" y="7500"/>
                  </a:lnTo>
                  <a:cubicBezTo>
                    <a:pt x="0" y="3358"/>
                    <a:pt x="3358" y="0"/>
                    <a:pt x="7500" y="0"/>
                  </a:cubicBezTo>
                  <a:cubicBezTo>
                    <a:pt x="7563" y="0"/>
                    <a:pt x="7626" y="1"/>
                    <a:pt x="7690" y="2"/>
                  </a:cubicBezTo>
                  <a:cubicBezTo>
                    <a:pt x="50126" y="1077"/>
                    <a:pt x="92563" y="11044"/>
                    <a:pt x="135000" y="29905"/>
                  </a:cubicBezTo>
                  <a:cubicBezTo>
                    <a:pt x="135000" y="30573"/>
                    <a:pt x="135000" y="86793"/>
                    <a:pt x="135000" y="198564"/>
                  </a:cubicBezTo>
                  <a:lnTo>
                    <a:pt x="135000" y="198564"/>
                  </a:lnTo>
                  <a:cubicBezTo>
                    <a:pt x="135000" y="202705"/>
                    <a:pt x="131642" y="206064"/>
                    <a:pt x="127500" y="206064"/>
                  </a:cubicBezTo>
                  <a:cubicBezTo>
                    <a:pt x="126546" y="206064"/>
                    <a:pt x="125603" y="205882"/>
                    <a:pt x="124718" y="205528"/>
                  </a:cubicBez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" name="Рисунок 89">
            <a:extLst>
              <a:ext uri="{FF2B5EF4-FFF2-40B4-BE49-F238E27FC236}">
                <a16:creationId xmlns:a16="http://schemas.microsoft.com/office/drawing/2014/main" id="{84F5755E-2F34-574B-997A-AEB3C57E2C6C}"/>
              </a:ext>
            </a:extLst>
          </p:cNvPr>
          <p:cNvGrpSpPr>
            <a:grpSpLocks noChangeAspect="1"/>
          </p:cNvGrpSpPr>
          <p:nvPr/>
        </p:nvGrpSpPr>
        <p:grpSpPr>
          <a:xfrm>
            <a:off x="648013" y="4268712"/>
            <a:ext cx="252000" cy="252000"/>
            <a:chOff x="2243313" y="5451199"/>
            <a:chExt cx="360000" cy="360000"/>
          </a:xfrm>
        </p:grpSpPr>
        <p:sp>
          <p:nvSpPr>
            <p:cNvPr id="27" name="Полилиния 26">
              <a:extLst>
                <a:ext uri="{FF2B5EF4-FFF2-40B4-BE49-F238E27FC236}">
                  <a16:creationId xmlns:a16="http://schemas.microsoft.com/office/drawing/2014/main" id="{E37D9042-10D4-0B4A-830C-B05B87D3893D}"/>
                </a:ext>
              </a:extLst>
            </p:cNvPr>
            <p:cNvSpPr/>
            <p:nvPr/>
          </p:nvSpPr>
          <p:spPr>
            <a:xfrm>
              <a:off x="2243313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 27">
              <a:extLst>
                <a:ext uri="{FF2B5EF4-FFF2-40B4-BE49-F238E27FC236}">
                  <a16:creationId xmlns:a16="http://schemas.microsoft.com/office/drawing/2014/main" id="{D50F3539-8684-2E4C-A31C-82A1340E1353}"/>
                </a:ext>
              </a:extLst>
            </p:cNvPr>
            <p:cNvSpPr/>
            <p:nvPr/>
          </p:nvSpPr>
          <p:spPr>
            <a:xfrm>
              <a:off x="2303313" y="5594735"/>
              <a:ext cx="240000" cy="178129"/>
            </a:xfrm>
            <a:custGeom>
              <a:avLst/>
              <a:gdLst>
                <a:gd name="connsiteX0" fmla="*/ 0 w 240000"/>
                <a:gd name="connsiteY0" fmla="*/ 1584 h 178129"/>
                <a:gd name="connsiteX1" fmla="*/ 103204 w 240000"/>
                <a:gd name="connsiteY1" fmla="*/ 61168 h 178129"/>
                <a:gd name="connsiteX2" fmla="*/ 106667 w 240000"/>
                <a:gd name="connsiteY2" fmla="*/ 62568 h 178129"/>
                <a:gd name="connsiteX3" fmla="*/ 106667 w 240000"/>
                <a:gd name="connsiteY3" fmla="*/ 178129 h 178129"/>
                <a:gd name="connsiteX4" fmla="*/ 7360 w 240000"/>
                <a:gd name="connsiteY4" fmla="*/ 119361 h 178129"/>
                <a:gd name="connsiteX5" fmla="*/ 0 w 240000"/>
                <a:gd name="connsiteY5" fmla="*/ 106452 h 178129"/>
                <a:gd name="connsiteX6" fmla="*/ 0 w 240000"/>
                <a:gd name="connsiteY6" fmla="*/ 1584 h 178129"/>
                <a:gd name="connsiteX7" fmla="*/ 240000 w 240000"/>
                <a:gd name="connsiteY7" fmla="*/ 0 h 178129"/>
                <a:gd name="connsiteX8" fmla="*/ 240000 w 240000"/>
                <a:gd name="connsiteY8" fmla="*/ 106452 h 178129"/>
                <a:gd name="connsiteX9" fmla="*/ 232640 w 240000"/>
                <a:gd name="connsiteY9" fmla="*/ 119361 h 178129"/>
                <a:gd name="connsiteX10" fmla="*/ 133334 w 240000"/>
                <a:gd name="connsiteY10" fmla="*/ 178129 h 178129"/>
                <a:gd name="connsiteX11" fmla="*/ 133334 w 240000"/>
                <a:gd name="connsiteY11" fmla="*/ 61555 h 178129"/>
                <a:gd name="connsiteX12" fmla="*/ 134052 w 240000"/>
                <a:gd name="connsiteY12" fmla="*/ 61168 h 178129"/>
                <a:gd name="connsiteX13" fmla="*/ 240000 w 240000"/>
                <a:gd name="connsiteY13" fmla="*/ 0 h 17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178129">
                  <a:moveTo>
                    <a:pt x="0" y="1584"/>
                  </a:moveTo>
                  <a:lnTo>
                    <a:pt x="103204" y="61168"/>
                  </a:lnTo>
                  <a:cubicBezTo>
                    <a:pt x="104315" y="61810"/>
                    <a:pt x="105480" y="62274"/>
                    <a:pt x="106667" y="62568"/>
                  </a:cubicBezTo>
                  <a:lnTo>
                    <a:pt x="106667" y="178129"/>
                  </a:lnTo>
                  <a:lnTo>
                    <a:pt x="7360" y="119361"/>
                  </a:lnTo>
                  <a:cubicBezTo>
                    <a:pt x="2798" y="116661"/>
                    <a:pt x="0" y="111753"/>
                    <a:pt x="0" y="106452"/>
                  </a:cubicBezTo>
                  <a:lnTo>
                    <a:pt x="0" y="1584"/>
                  </a:lnTo>
                  <a:close/>
                  <a:moveTo>
                    <a:pt x="240000" y="0"/>
                  </a:moveTo>
                  <a:lnTo>
                    <a:pt x="240000" y="106452"/>
                  </a:lnTo>
                  <a:cubicBezTo>
                    <a:pt x="240000" y="111753"/>
                    <a:pt x="237201" y="116661"/>
                    <a:pt x="232640" y="119361"/>
                  </a:cubicBezTo>
                  <a:lnTo>
                    <a:pt x="133334" y="178129"/>
                  </a:lnTo>
                  <a:lnTo>
                    <a:pt x="133334" y="61555"/>
                  </a:lnTo>
                  <a:cubicBezTo>
                    <a:pt x="133575" y="61435"/>
                    <a:pt x="133815" y="61306"/>
                    <a:pt x="134052" y="61168"/>
                  </a:cubicBezTo>
                  <a:lnTo>
                    <a:pt x="240000" y="0"/>
                  </a:lnTo>
                  <a:close/>
                </a:path>
              </a:pathLst>
            </a:custGeom>
            <a:solidFill>
              <a:schemeClr val="accent2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9" name="Полилиния 28">
              <a:extLst>
                <a:ext uri="{FF2B5EF4-FFF2-40B4-BE49-F238E27FC236}">
                  <a16:creationId xmlns:a16="http://schemas.microsoft.com/office/drawing/2014/main" id="{2CD31579-5A62-604D-91E4-301059428028}"/>
                </a:ext>
              </a:extLst>
            </p:cNvPr>
            <p:cNvSpPr/>
            <p:nvPr/>
          </p:nvSpPr>
          <p:spPr>
            <a:xfrm>
              <a:off x="2306554" y="5505788"/>
              <a:ext cx="232598" cy="128512"/>
            </a:xfrm>
            <a:custGeom>
              <a:avLst/>
              <a:gdLst>
                <a:gd name="connsiteX0" fmla="*/ 0 w 232598"/>
                <a:gd name="connsiteY0" fmla="*/ 61611 h 128512"/>
                <a:gd name="connsiteX1" fmla="*/ 4707 w 232598"/>
                <a:gd name="connsiteY1" fmla="*/ 57686 h 128512"/>
                <a:gd name="connsiteX2" fmla="*/ 109707 w 232598"/>
                <a:gd name="connsiteY2" fmla="*/ 1761 h 128512"/>
                <a:gd name="connsiteX3" fmla="*/ 123810 w 232598"/>
                <a:gd name="connsiteY3" fmla="*/ 1761 h 128512"/>
                <a:gd name="connsiteX4" fmla="*/ 228810 w 232598"/>
                <a:gd name="connsiteY4" fmla="*/ 57686 h 128512"/>
                <a:gd name="connsiteX5" fmla="*/ 232599 w 232598"/>
                <a:gd name="connsiteY5" fmla="*/ 60557 h 128512"/>
                <a:gd name="connsiteX6" fmla="*/ 117477 w 232598"/>
                <a:gd name="connsiteY6" fmla="*/ 127022 h 128512"/>
                <a:gd name="connsiteX7" fmla="*/ 115386 w 232598"/>
                <a:gd name="connsiteY7" fmla="*/ 128513 h 128512"/>
                <a:gd name="connsiteX8" fmla="*/ 113296 w 232598"/>
                <a:gd name="connsiteY8" fmla="*/ 127022 h 128512"/>
                <a:gd name="connsiteX9" fmla="*/ 0 w 232598"/>
                <a:gd name="connsiteY9" fmla="*/ 61611 h 128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2598" h="128512">
                  <a:moveTo>
                    <a:pt x="0" y="61611"/>
                  </a:moveTo>
                  <a:cubicBezTo>
                    <a:pt x="1261" y="60020"/>
                    <a:pt x="2852" y="58674"/>
                    <a:pt x="4707" y="57686"/>
                  </a:cubicBezTo>
                  <a:lnTo>
                    <a:pt x="109707" y="1761"/>
                  </a:lnTo>
                  <a:cubicBezTo>
                    <a:pt x="114115" y="-587"/>
                    <a:pt x="119401" y="-587"/>
                    <a:pt x="123810" y="1761"/>
                  </a:cubicBezTo>
                  <a:lnTo>
                    <a:pt x="228810" y="57686"/>
                  </a:lnTo>
                  <a:cubicBezTo>
                    <a:pt x="230239" y="58448"/>
                    <a:pt x="231513" y="59422"/>
                    <a:pt x="232599" y="60557"/>
                  </a:cubicBezTo>
                  <a:lnTo>
                    <a:pt x="117477" y="127022"/>
                  </a:lnTo>
                  <a:cubicBezTo>
                    <a:pt x="116721" y="127460"/>
                    <a:pt x="116022" y="127959"/>
                    <a:pt x="115386" y="128513"/>
                  </a:cubicBezTo>
                  <a:cubicBezTo>
                    <a:pt x="114750" y="127959"/>
                    <a:pt x="114052" y="127460"/>
                    <a:pt x="113296" y="127022"/>
                  </a:cubicBezTo>
                  <a:lnTo>
                    <a:pt x="0" y="61611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0" name="Рисунок 256">
            <a:extLst>
              <a:ext uri="{FF2B5EF4-FFF2-40B4-BE49-F238E27FC236}">
                <a16:creationId xmlns:a16="http://schemas.microsoft.com/office/drawing/2014/main" id="{6F84AE3B-D027-6344-99C8-55B11938F3DF}"/>
              </a:ext>
            </a:extLst>
          </p:cNvPr>
          <p:cNvGrpSpPr>
            <a:grpSpLocks noChangeAspect="1"/>
          </p:cNvGrpSpPr>
          <p:nvPr/>
        </p:nvGrpSpPr>
        <p:grpSpPr>
          <a:xfrm>
            <a:off x="648013" y="3204302"/>
            <a:ext cx="252000" cy="252000"/>
            <a:chOff x="695324" y="5451199"/>
            <a:chExt cx="360000" cy="360000"/>
          </a:xfrm>
        </p:grpSpPr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B5F8CA4E-6476-1F4C-8EA2-0138DD92E66F}"/>
                </a:ext>
              </a:extLst>
            </p:cNvPr>
            <p:cNvSpPr/>
            <p:nvPr/>
          </p:nvSpPr>
          <p:spPr>
            <a:xfrm>
              <a:off x="695324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1D1BB24F-8BE2-0D47-884A-4A3227CE07F9}"/>
                </a:ext>
              </a:extLst>
            </p:cNvPr>
            <p:cNvSpPr/>
            <p:nvPr/>
          </p:nvSpPr>
          <p:spPr>
            <a:xfrm>
              <a:off x="787751" y="5496199"/>
              <a:ext cx="252881" cy="229329"/>
            </a:xfrm>
            <a:custGeom>
              <a:avLst/>
              <a:gdLst>
                <a:gd name="connsiteX0" fmla="*/ 147573 w 252881"/>
                <a:gd name="connsiteY0" fmla="*/ 189474 h 229329"/>
                <a:gd name="connsiteX1" fmla="*/ 147573 w 252881"/>
                <a:gd name="connsiteY1" fmla="*/ 135000 h 229329"/>
                <a:gd name="connsiteX2" fmla="*/ 102573 w 252881"/>
                <a:gd name="connsiteY2" fmla="*/ 90000 h 229329"/>
                <a:gd name="connsiteX3" fmla="*/ 0 w 252881"/>
                <a:gd name="connsiteY3" fmla="*/ 90000 h 229329"/>
                <a:gd name="connsiteX4" fmla="*/ 0 w 252881"/>
                <a:gd name="connsiteY4" fmla="*/ 37895 h 229329"/>
                <a:gd name="connsiteX5" fmla="*/ 37895 w 252881"/>
                <a:gd name="connsiteY5" fmla="*/ 0 h 229329"/>
                <a:gd name="connsiteX6" fmla="*/ 214737 w 252881"/>
                <a:gd name="connsiteY6" fmla="*/ 0 h 229329"/>
                <a:gd name="connsiteX7" fmla="*/ 252631 w 252881"/>
                <a:gd name="connsiteY7" fmla="*/ 37895 h 229329"/>
                <a:gd name="connsiteX8" fmla="*/ 252631 w 252881"/>
                <a:gd name="connsiteY8" fmla="*/ 151580 h 229329"/>
                <a:gd name="connsiteX9" fmla="*/ 252882 w 252881"/>
                <a:gd name="connsiteY9" fmla="*/ 221802 h 229329"/>
                <a:gd name="connsiteX10" fmla="*/ 245409 w 252881"/>
                <a:gd name="connsiteY10" fmla="*/ 229329 h 229329"/>
                <a:gd name="connsiteX11" fmla="*/ 240079 w 252881"/>
                <a:gd name="connsiteY11" fmla="*/ 227131 h 229329"/>
                <a:gd name="connsiteX12" fmla="*/ 202420 w 252881"/>
                <a:gd name="connsiteY12" fmla="*/ 189474 h 229329"/>
                <a:gd name="connsiteX13" fmla="*/ 147573 w 252881"/>
                <a:gd name="connsiteY13" fmla="*/ 189474 h 229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2881" h="229329">
                  <a:moveTo>
                    <a:pt x="147573" y="189474"/>
                  </a:moveTo>
                  <a:lnTo>
                    <a:pt x="147573" y="135000"/>
                  </a:lnTo>
                  <a:cubicBezTo>
                    <a:pt x="147573" y="110146"/>
                    <a:pt x="127426" y="90000"/>
                    <a:pt x="102573" y="90000"/>
                  </a:cubicBezTo>
                  <a:lnTo>
                    <a:pt x="0" y="90000"/>
                  </a:lnTo>
                  <a:lnTo>
                    <a:pt x="0" y="37895"/>
                  </a:lnTo>
                  <a:cubicBezTo>
                    <a:pt x="0" y="16966"/>
                    <a:pt x="16966" y="0"/>
                    <a:pt x="37895" y="0"/>
                  </a:cubicBezTo>
                  <a:lnTo>
                    <a:pt x="214737" y="0"/>
                  </a:lnTo>
                  <a:cubicBezTo>
                    <a:pt x="235666" y="0"/>
                    <a:pt x="252631" y="16966"/>
                    <a:pt x="252631" y="37895"/>
                  </a:cubicBezTo>
                  <a:lnTo>
                    <a:pt x="252631" y="151580"/>
                  </a:lnTo>
                  <a:lnTo>
                    <a:pt x="252882" y="221802"/>
                  </a:lnTo>
                  <a:cubicBezTo>
                    <a:pt x="252897" y="225944"/>
                    <a:pt x="249550" y="229314"/>
                    <a:pt x="245409" y="229329"/>
                  </a:cubicBezTo>
                  <a:cubicBezTo>
                    <a:pt x="243411" y="229335"/>
                    <a:pt x="241492" y="228545"/>
                    <a:pt x="240079" y="227131"/>
                  </a:cubicBezTo>
                  <a:lnTo>
                    <a:pt x="202420" y="189474"/>
                  </a:lnTo>
                  <a:lnTo>
                    <a:pt x="147573" y="189474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D48A4F23-80A5-5C4D-B52C-9AD34731CE59}"/>
                </a:ext>
              </a:extLst>
            </p:cNvPr>
            <p:cNvSpPr/>
            <p:nvPr/>
          </p:nvSpPr>
          <p:spPr>
            <a:xfrm>
              <a:off x="725099" y="5616199"/>
              <a:ext cx="180000" cy="154939"/>
            </a:xfrm>
            <a:custGeom>
              <a:avLst/>
              <a:gdLst>
                <a:gd name="connsiteX0" fmla="*/ 0 w 180000"/>
                <a:gd name="connsiteY0" fmla="*/ 105000 h 154939"/>
                <a:gd name="connsiteX1" fmla="*/ 0 w 180000"/>
                <a:gd name="connsiteY1" fmla="*/ 30000 h 154939"/>
                <a:gd name="connsiteX2" fmla="*/ 30000 w 180000"/>
                <a:gd name="connsiteY2" fmla="*/ 0 h 154939"/>
                <a:gd name="connsiteX3" fmla="*/ 150001 w 180000"/>
                <a:gd name="connsiteY3" fmla="*/ 0 h 154939"/>
                <a:gd name="connsiteX4" fmla="*/ 180001 w 180000"/>
                <a:gd name="connsiteY4" fmla="*/ 30000 h 154939"/>
                <a:gd name="connsiteX5" fmla="*/ 180001 w 180000"/>
                <a:gd name="connsiteY5" fmla="*/ 105000 h 154939"/>
                <a:gd name="connsiteX6" fmla="*/ 150001 w 180000"/>
                <a:gd name="connsiteY6" fmla="*/ 135000 h 154939"/>
                <a:gd name="connsiteX7" fmla="*/ 31736 w 180000"/>
                <a:gd name="connsiteY7" fmla="*/ 135000 h 154939"/>
                <a:gd name="connsiteX8" fmla="*/ 13078 w 180000"/>
                <a:gd name="connsiteY8" fmla="*/ 152858 h 154939"/>
                <a:gd name="connsiteX9" fmla="*/ 2474 w 180000"/>
                <a:gd name="connsiteY9" fmla="*/ 152625 h 154939"/>
                <a:gd name="connsiteX10" fmla="*/ 392 w 180000"/>
                <a:gd name="connsiteY10" fmla="*/ 147440 h 154939"/>
                <a:gd name="connsiteX11" fmla="*/ 392 w 180000"/>
                <a:gd name="connsiteY11" fmla="*/ 109865 h 154939"/>
                <a:gd name="connsiteX12" fmla="*/ 0 w 180000"/>
                <a:gd name="connsiteY12" fmla="*/ 105000 h 154939"/>
                <a:gd name="connsiteX13" fmla="*/ 67724 w 180000"/>
                <a:gd name="connsiteY13" fmla="*/ 45000 h 154939"/>
                <a:gd name="connsiteX14" fmla="*/ 60224 w 180000"/>
                <a:gd name="connsiteY14" fmla="*/ 52500 h 154939"/>
                <a:gd name="connsiteX15" fmla="*/ 67724 w 180000"/>
                <a:gd name="connsiteY15" fmla="*/ 60000 h 154939"/>
                <a:gd name="connsiteX16" fmla="*/ 142724 w 180000"/>
                <a:gd name="connsiteY16" fmla="*/ 60000 h 154939"/>
                <a:gd name="connsiteX17" fmla="*/ 150224 w 180000"/>
                <a:gd name="connsiteY17" fmla="*/ 52500 h 154939"/>
                <a:gd name="connsiteX18" fmla="*/ 142724 w 180000"/>
                <a:gd name="connsiteY18" fmla="*/ 45000 h 154939"/>
                <a:gd name="connsiteX19" fmla="*/ 67724 w 180000"/>
                <a:gd name="connsiteY19" fmla="*/ 45000 h 154939"/>
                <a:gd name="connsiteX20" fmla="*/ 112724 w 180000"/>
                <a:gd name="connsiteY20" fmla="*/ 75000 h 154939"/>
                <a:gd name="connsiteX21" fmla="*/ 105224 w 180000"/>
                <a:gd name="connsiteY21" fmla="*/ 82500 h 154939"/>
                <a:gd name="connsiteX22" fmla="*/ 112724 w 180000"/>
                <a:gd name="connsiteY22" fmla="*/ 90000 h 154939"/>
                <a:gd name="connsiteX23" fmla="*/ 142724 w 180000"/>
                <a:gd name="connsiteY23" fmla="*/ 90000 h 154939"/>
                <a:gd name="connsiteX24" fmla="*/ 150224 w 180000"/>
                <a:gd name="connsiteY24" fmla="*/ 82500 h 154939"/>
                <a:gd name="connsiteX25" fmla="*/ 142724 w 180000"/>
                <a:gd name="connsiteY25" fmla="*/ 75000 h 154939"/>
                <a:gd name="connsiteX26" fmla="*/ 112724 w 180000"/>
                <a:gd name="connsiteY26" fmla="*/ 75000 h 15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0000" h="154939">
                  <a:moveTo>
                    <a:pt x="0" y="105000"/>
                  </a:move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150001" y="0"/>
                  </a:lnTo>
                  <a:cubicBezTo>
                    <a:pt x="166568" y="0"/>
                    <a:pt x="180001" y="13431"/>
                    <a:pt x="180001" y="30000"/>
                  </a:cubicBezTo>
                  <a:lnTo>
                    <a:pt x="180001" y="105000"/>
                  </a:lnTo>
                  <a:cubicBezTo>
                    <a:pt x="180001" y="121569"/>
                    <a:pt x="166568" y="135000"/>
                    <a:pt x="150001" y="135000"/>
                  </a:cubicBezTo>
                  <a:lnTo>
                    <a:pt x="31736" y="135000"/>
                  </a:lnTo>
                  <a:lnTo>
                    <a:pt x="13078" y="152858"/>
                  </a:lnTo>
                  <a:cubicBezTo>
                    <a:pt x="10086" y="155723"/>
                    <a:pt x="5338" y="155618"/>
                    <a:pt x="2474" y="152625"/>
                  </a:cubicBezTo>
                  <a:cubicBezTo>
                    <a:pt x="1138" y="151230"/>
                    <a:pt x="392" y="149371"/>
                    <a:pt x="392" y="147440"/>
                  </a:cubicBezTo>
                  <a:lnTo>
                    <a:pt x="392" y="109865"/>
                  </a:lnTo>
                  <a:cubicBezTo>
                    <a:pt x="134" y="108281"/>
                    <a:pt x="0" y="106656"/>
                    <a:pt x="0" y="105000"/>
                  </a:cubicBezTo>
                  <a:close/>
                  <a:moveTo>
                    <a:pt x="67724" y="45000"/>
                  </a:moveTo>
                  <a:cubicBezTo>
                    <a:pt x="63582" y="45000"/>
                    <a:pt x="60224" y="48358"/>
                    <a:pt x="60224" y="52500"/>
                  </a:cubicBezTo>
                  <a:cubicBezTo>
                    <a:pt x="60224" y="56642"/>
                    <a:pt x="63582" y="60000"/>
                    <a:pt x="67724" y="60000"/>
                  </a:cubicBezTo>
                  <a:lnTo>
                    <a:pt x="142724" y="60000"/>
                  </a:lnTo>
                  <a:cubicBezTo>
                    <a:pt x="146866" y="60000"/>
                    <a:pt x="150224" y="56642"/>
                    <a:pt x="150224" y="52500"/>
                  </a:cubicBezTo>
                  <a:cubicBezTo>
                    <a:pt x="150224" y="48358"/>
                    <a:pt x="146866" y="45000"/>
                    <a:pt x="142724" y="45000"/>
                  </a:cubicBezTo>
                  <a:lnTo>
                    <a:pt x="67724" y="45000"/>
                  </a:lnTo>
                  <a:close/>
                  <a:moveTo>
                    <a:pt x="112724" y="75000"/>
                  </a:moveTo>
                  <a:cubicBezTo>
                    <a:pt x="108582" y="75000"/>
                    <a:pt x="105224" y="78359"/>
                    <a:pt x="105224" y="82500"/>
                  </a:cubicBezTo>
                  <a:cubicBezTo>
                    <a:pt x="105224" y="86642"/>
                    <a:pt x="108582" y="90000"/>
                    <a:pt x="112724" y="90000"/>
                  </a:cubicBezTo>
                  <a:lnTo>
                    <a:pt x="142724" y="90000"/>
                  </a:lnTo>
                  <a:cubicBezTo>
                    <a:pt x="146866" y="90000"/>
                    <a:pt x="150224" y="86642"/>
                    <a:pt x="150224" y="82500"/>
                  </a:cubicBezTo>
                  <a:cubicBezTo>
                    <a:pt x="150224" y="78359"/>
                    <a:pt x="146866" y="75000"/>
                    <a:pt x="142724" y="75000"/>
                  </a:cubicBezTo>
                  <a:lnTo>
                    <a:pt x="112724" y="7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4" name="Рисунок 349">
            <a:extLst>
              <a:ext uri="{FF2B5EF4-FFF2-40B4-BE49-F238E27FC236}">
                <a16:creationId xmlns:a16="http://schemas.microsoft.com/office/drawing/2014/main" id="{713DA022-2AA0-3345-B128-F65A256A606C}"/>
              </a:ext>
            </a:extLst>
          </p:cNvPr>
          <p:cNvGrpSpPr>
            <a:grpSpLocks noChangeAspect="1"/>
          </p:cNvGrpSpPr>
          <p:nvPr/>
        </p:nvGrpSpPr>
        <p:grpSpPr>
          <a:xfrm>
            <a:off x="648013" y="5919875"/>
            <a:ext cx="252000" cy="252000"/>
            <a:chOff x="2982515" y="6124256"/>
            <a:chExt cx="360000" cy="360000"/>
          </a:xfrm>
        </p:grpSpPr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09F3D0A0-6AAA-BA4A-85EF-0859F0B6CFE7}"/>
                </a:ext>
              </a:extLst>
            </p:cNvPr>
            <p:cNvSpPr/>
            <p:nvPr/>
          </p:nvSpPr>
          <p:spPr>
            <a:xfrm>
              <a:off x="2982515" y="6124256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 35">
              <a:extLst>
                <a:ext uri="{FF2B5EF4-FFF2-40B4-BE49-F238E27FC236}">
                  <a16:creationId xmlns:a16="http://schemas.microsoft.com/office/drawing/2014/main" id="{270C67B5-1E3B-DE45-9D58-34631324755A}"/>
                </a:ext>
              </a:extLst>
            </p:cNvPr>
            <p:cNvSpPr/>
            <p:nvPr/>
          </p:nvSpPr>
          <p:spPr>
            <a:xfrm>
              <a:off x="3057515" y="6169256"/>
              <a:ext cx="225000" cy="262711"/>
            </a:xfrm>
            <a:custGeom>
              <a:avLst/>
              <a:gdLst>
                <a:gd name="connsiteX0" fmla="*/ 0 w 225000"/>
                <a:gd name="connsiteY0" fmla="*/ 112500 h 262711"/>
                <a:gd name="connsiteX1" fmla="*/ 112500 w 225000"/>
                <a:gd name="connsiteY1" fmla="*/ 0 h 262711"/>
                <a:gd name="connsiteX2" fmla="*/ 225000 w 225000"/>
                <a:gd name="connsiteY2" fmla="*/ 112500 h 262711"/>
                <a:gd name="connsiteX3" fmla="*/ 127065 w 225000"/>
                <a:gd name="connsiteY3" fmla="*/ 256640 h 262711"/>
                <a:gd name="connsiteX4" fmla="*/ 97163 w 225000"/>
                <a:gd name="connsiteY4" fmla="*/ 257393 h 262711"/>
                <a:gd name="connsiteX5" fmla="*/ 0 w 225000"/>
                <a:gd name="connsiteY5" fmla="*/ 112500 h 262711"/>
                <a:gd name="connsiteX6" fmla="*/ 112500 w 225000"/>
                <a:gd name="connsiteY6" fmla="*/ 135000 h 262711"/>
                <a:gd name="connsiteX7" fmla="*/ 150000 w 225000"/>
                <a:gd name="connsiteY7" fmla="*/ 97500 h 262711"/>
                <a:gd name="connsiteX8" fmla="*/ 112500 w 225000"/>
                <a:gd name="connsiteY8" fmla="*/ 60000 h 262711"/>
                <a:gd name="connsiteX9" fmla="*/ 75000 w 225000"/>
                <a:gd name="connsiteY9" fmla="*/ 97500 h 262711"/>
                <a:gd name="connsiteX10" fmla="*/ 112500 w 225000"/>
                <a:gd name="connsiteY10" fmla="*/ 135000 h 26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5000" h="262711">
                  <a:moveTo>
                    <a:pt x="0" y="112500"/>
                  </a:moveTo>
                  <a:cubicBezTo>
                    <a:pt x="0" y="45000"/>
                    <a:pt x="45000" y="0"/>
                    <a:pt x="112500" y="0"/>
                  </a:cubicBezTo>
                  <a:cubicBezTo>
                    <a:pt x="180000" y="0"/>
                    <a:pt x="225000" y="56250"/>
                    <a:pt x="225000" y="112500"/>
                  </a:cubicBezTo>
                  <a:cubicBezTo>
                    <a:pt x="225000" y="147489"/>
                    <a:pt x="192356" y="195536"/>
                    <a:pt x="127065" y="256640"/>
                  </a:cubicBezTo>
                  <a:cubicBezTo>
                    <a:pt x="118731" y="264440"/>
                    <a:pt x="105878" y="264762"/>
                    <a:pt x="97163" y="257393"/>
                  </a:cubicBezTo>
                  <a:cubicBezTo>
                    <a:pt x="32387" y="202617"/>
                    <a:pt x="0" y="154320"/>
                    <a:pt x="0" y="112500"/>
                  </a:cubicBezTo>
                  <a:close/>
                  <a:moveTo>
                    <a:pt x="112500" y="135000"/>
                  </a:moveTo>
                  <a:cubicBezTo>
                    <a:pt x="133211" y="135000"/>
                    <a:pt x="150000" y="118211"/>
                    <a:pt x="150000" y="97500"/>
                  </a:cubicBezTo>
                  <a:cubicBezTo>
                    <a:pt x="150000" y="76789"/>
                    <a:pt x="133211" y="60000"/>
                    <a:pt x="112500" y="60000"/>
                  </a:cubicBezTo>
                  <a:cubicBezTo>
                    <a:pt x="91790" y="60000"/>
                    <a:pt x="75000" y="76789"/>
                    <a:pt x="75000" y="97500"/>
                  </a:cubicBezTo>
                  <a:cubicBezTo>
                    <a:pt x="75000" y="118211"/>
                    <a:pt x="91790" y="135000"/>
                    <a:pt x="112500" y="135000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7" name="Рисунок 137">
            <a:extLst>
              <a:ext uri="{FF2B5EF4-FFF2-40B4-BE49-F238E27FC236}">
                <a16:creationId xmlns:a16="http://schemas.microsoft.com/office/drawing/2014/main" id="{CF17B709-32DE-D243-B064-201DE74610B1}"/>
              </a:ext>
            </a:extLst>
          </p:cNvPr>
          <p:cNvGrpSpPr>
            <a:grpSpLocks noChangeAspect="1"/>
          </p:cNvGrpSpPr>
          <p:nvPr/>
        </p:nvGrpSpPr>
        <p:grpSpPr>
          <a:xfrm>
            <a:off x="648013" y="5483686"/>
            <a:ext cx="252000" cy="252000"/>
            <a:chOff x="11267188" y="2758983"/>
            <a:chExt cx="360000" cy="360000"/>
          </a:xfrm>
        </p:grpSpPr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C6D0EE79-E7A5-A84D-B826-D69190D2B2A2}"/>
                </a:ext>
              </a:extLst>
            </p:cNvPr>
            <p:cNvSpPr/>
            <p:nvPr/>
          </p:nvSpPr>
          <p:spPr>
            <a:xfrm>
              <a:off x="11267188" y="2758983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1F199E35-F95F-5E42-96B5-60471F45041F}"/>
                </a:ext>
              </a:extLst>
            </p:cNvPr>
            <p:cNvSpPr/>
            <p:nvPr/>
          </p:nvSpPr>
          <p:spPr>
            <a:xfrm rot="2700000">
              <a:off x="11372187" y="2788983"/>
              <a:ext cx="165000" cy="315000"/>
            </a:xfrm>
            <a:custGeom>
              <a:avLst/>
              <a:gdLst>
                <a:gd name="connsiteX0" fmla="*/ 105000 w 165000"/>
                <a:gd name="connsiteY0" fmla="*/ 210000 h 315000"/>
                <a:gd name="connsiteX1" fmla="*/ 75000 w 165000"/>
                <a:gd name="connsiteY1" fmla="*/ 210000 h 315000"/>
                <a:gd name="connsiteX2" fmla="*/ 75000 w 165000"/>
                <a:gd name="connsiteY2" fmla="*/ 157500 h 315000"/>
                <a:gd name="connsiteX3" fmla="*/ 52500 w 165000"/>
                <a:gd name="connsiteY3" fmla="*/ 135000 h 315000"/>
                <a:gd name="connsiteX4" fmla="*/ 30000 w 165000"/>
                <a:gd name="connsiteY4" fmla="*/ 157500 h 315000"/>
                <a:gd name="connsiteX5" fmla="*/ 30000 w 165000"/>
                <a:gd name="connsiteY5" fmla="*/ 232500 h 315000"/>
                <a:gd name="connsiteX6" fmla="*/ 82500 w 165000"/>
                <a:gd name="connsiteY6" fmla="*/ 285000 h 315000"/>
                <a:gd name="connsiteX7" fmla="*/ 135000 w 165000"/>
                <a:gd name="connsiteY7" fmla="*/ 232500 h 315000"/>
                <a:gd name="connsiteX8" fmla="*/ 135000 w 165000"/>
                <a:gd name="connsiteY8" fmla="*/ 82500 h 315000"/>
                <a:gd name="connsiteX9" fmla="*/ 82500 w 165000"/>
                <a:gd name="connsiteY9" fmla="*/ 30000 h 315000"/>
                <a:gd name="connsiteX10" fmla="*/ 75000 w 165000"/>
                <a:gd name="connsiteY10" fmla="*/ 30000 h 315000"/>
                <a:gd name="connsiteX11" fmla="*/ 30000 w 165000"/>
                <a:gd name="connsiteY11" fmla="*/ 75000 h 315000"/>
                <a:gd name="connsiteX12" fmla="*/ 0 w 165000"/>
                <a:gd name="connsiteY12" fmla="*/ 75000 h 315000"/>
                <a:gd name="connsiteX13" fmla="*/ 75000 w 165000"/>
                <a:gd name="connsiteY13" fmla="*/ 0 h 315000"/>
                <a:gd name="connsiteX14" fmla="*/ 82500 w 165000"/>
                <a:gd name="connsiteY14" fmla="*/ 0 h 315000"/>
                <a:gd name="connsiteX15" fmla="*/ 165000 w 165000"/>
                <a:gd name="connsiteY15" fmla="*/ 82500 h 315000"/>
                <a:gd name="connsiteX16" fmla="*/ 165000 w 165000"/>
                <a:gd name="connsiteY16" fmla="*/ 232500 h 315000"/>
                <a:gd name="connsiteX17" fmla="*/ 82500 w 165000"/>
                <a:gd name="connsiteY17" fmla="*/ 315000 h 315000"/>
                <a:gd name="connsiteX18" fmla="*/ 0 w 165000"/>
                <a:gd name="connsiteY18" fmla="*/ 232500 h 315000"/>
                <a:gd name="connsiteX19" fmla="*/ 0 w 165000"/>
                <a:gd name="connsiteY19" fmla="*/ 157500 h 315000"/>
                <a:gd name="connsiteX20" fmla="*/ 52500 w 165000"/>
                <a:gd name="connsiteY20" fmla="*/ 105000 h 315000"/>
                <a:gd name="connsiteX21" fmla="*/ 105000 w 165000"/>
                <a:gd name="connsiteY21" fmla="*/ 157500 h 315000"/>
                <a:gd name="connsiteX22" fmla="*/ 105000 w 165000"/>
                <a:gd name="connsiteY22" fmla="*/ 210000 h 3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5000" h="315000">
                  <a:moveTo>
                    <a:pt x="105000" y="210000"/>
                  </a:moveTo>
                  <a:lnTo>
                    <a:pt x="75000" y="210000"/>
                  </a:lnTo>
                  <a:lnTo>
                    <a:pt x="75000" y="157500"/>
                  </a:lnTo>
                  <a:cubicBezTo>
                    <a:pt x="75000" y="145074"/>
                    <a:pt x="64926" y="135000"/>
                    <a:pt x="52500" y="135000"/>
                  </a:cubicBezTo>
                  <a:cubicBezTo>
                    <a:pt x="40074" y="135000"/>
                    <a:pt x="30000" y="145074"/>
                    <a:pt x="30000" y="157500"/>
                  </a:cubicBezTo>
                  <a:lnTo>
                    <a:pt x="30000" y="232500"/>
                  </a:lnTo>
                  <a:cubicBezTo>
                    <a:pt x="30000" y="261495"/>
                    <a:pt x="53505" y="285000"/>
                    <a:pt x="82500" y="285000"/>
                  </a:cubicBezTo>
                  <a:cubicBezTo>
                    <a:pt x="111495" y="285000"/>
                    <a:pt x="135000" y="261495"/>
                    <a:pt x="135000" y="232500"/>
                  </a:cubicBezTo>
                  <a:lnTo>
                    <a:pt x="135000" y="82500"/>
                  </a:lnTo>
                  <a:cubicBezTo>
                    <a:pt x="135000" y="53505"/>
                    <a:pt x="111495" y="30000"/>
                    <a:pt x="82500" y="30000"/>
                  </a:cubicBezTo>
                  <a:lnTo>
                    <a:pt x="75000" y="30000"/>
                  </a:lnTo>
                  <a:cubicBezTo>
                    <a:pt x="50147" y="30000"/>
                    <a:pt x="30000" y="50147"/>
                    <a:pt x="30000" y="75000"/>
                  </a:cubicBezTo>
                  <a:lnTo>
                    <a:pt x="0" y="75000"/>
                  </a:lnTo>
                  <a:cubicBezTo>
                    <a:pt x="0" y="33579"/>
                    <a:pt x="33579" y="0"/>
                    <a:pt x="75000" y="0"/>
                  </a:cubicBezTo>
                  <a:lnTo>
                    <a:pt x="82500" y="0"/>
                  </a:lnTo>
                  <a:cubicBezTo>
                    <a:pt x="128064" y="0"/>
                    <a:pt x="165000" y="36936"/>
                    <a:pt x="165000" y="82500"/>
                  </a:cubicBezTo>
                  <a:lnTo>
                    <a:pt x="165000" y="232500"/>
                  </a:lnTo>
                  <a:cubicBezTo>
                    <a:pt x="165000" y="278064"/>
                    <a:pt x="128064" y="315000"/>
                    <a:pt x="82500" y="315000"/>
                  </a:cubicBezTo>
                  <a:cubicBezTo>
                    <a:pt x="36936" y="315000"/>
                    <a:pt x="0" y="278064"/>
                    <a:pt x="0" y="232500"/>
                  </a:cubicBezTo>
                  <a:lnTo>
                    <a:pt x="0" y="157500"/>
                  </a:lnTo>
                  <a:cubicBezTo>
                    <a:pt x="0" y="128505"/>
                    <a:pt x="23505" y="105000"/>
                    <a:pt x="52500" y="105000"/>
                  </a:cubicBezTo>
                  <a:cubicBezTo>
                    <a:pt x="81495" y="105000"/>
                    <a:pt x="105000" y="128505"/>
                    <a:pt x="105000" y="157500"/>
                  </a:cubicBezTo>
                  <a:lnTo>
                    <a:pt x="105000" y="21000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F89F6689-E197-C341-ACCF-BE2CA61195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7165" y="4444000"/>
            <a:ext cx="3207359" cy="1770002"/>
          </a:xfrm>
          <a:prstGeom prst="roundRect">
            <a:avLst>
              <a:gd name="adj" fmla="val 4223"/>
            </a:avLst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DB84C46C-F333-7D4D-A786-242B2EEAE7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21118" y="1890368"/>
            <a:ext cx="4548824" cy="2435954"/>
          </a:xfrm>
          <a:prstGeom prst="roundRect">
            <a:avLst>
              <a:gd name="adj" fmla="val 4882"/>
            </a:avLst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9685D18A-8FA4-ED49-9A9A-9748BBE2FD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539" b="62745"/>
          <a:stretch/>
        </p:blipFill>
        <p:spPr>
          <a:xfrm>
            <a:off x="10314283" y="5687203"/>
            <a:ext cx="1255440" cy="508480"/>
          </a:xfrm>
          <a:prstGeom prst="round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E311A9D8-9EDF-8142-8294-5A231C62763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0745"/>
          <a:stretch/>
        </p:blipFill>
        <p:spPr>
          <a:xfrm>
            <a:off x="10309041" y="4452565"/>
            <a:ext cx="1255440" cy="1134598"/>
          </a:xfrm>
          <a:prstGeom prst="roundRect">
            <a:avLst>
              <a:gd name="adj" fmla="val 4882"/>
            </a:avLst>
          </a:prstGeom>
        </p:spPr>
      </p:pic>
      <p:grpSp>
        <p:nvGrpSpPr>
          <p:cNvPr id="44" name="Рисунок 246">
            <a:extLst>
              <a:ext uri="{FF2B5EF4-FFF2-40B4-BE49-F238E27FC236}">
                <a16:creationId xmlns:a16="http://schemas.microsoft.com/office/drawing/2014/main" id="{FD51DC26-2491-0647-A95F-7AC2895407BA}"/>
              </a:ext>
            </a:extLst>
          </p:cNvPr>
          <p:cNvGrpSpPr>
            <a:grpSpLocks noChangeAspect="1"/>
          </p:cNvGrpSpPr>
          <p:nvPr/>
        </p:nvGrpSpPr>
        <p:grpSpPr>
          <a:xfrm>
            <a:off x="648013" y="4721327"/>
            <a:ext cx="252000" cy="252000"/>
            <a:chOff x="7491521" y="5451199"/>
            <a:chExt cx="360000" cy="360000"/>
          </a:xfrm>
        </p:grpSpPr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8C3F40EB-1A0A-544C-8C94-8DD8E19AB74E}"/>
                </a:ext>
              </a:extLst>
            </p:cNvPr>
            <p:cNvSpPr/>
            <p:nvPr/>
          </p:nvSpPr>
          <p:spPr>
            <a:xfrm>
              <a:off x="7491521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4E4D879F-3F69-8A43-B5A4-61DE19A34F49}"/>
                </a:ext>
              </a:extLst>
            </p:cNvPr>
            <p:cNvSpPr/>
            <p:nvPr/>
          </p:nvSpPr>
          <p:spPr>
            <a:xfrm>
              <a:off x="7506521" y="5496199"/>
              <a:ext cx="330000" cy="75000"/>
            </a:xfrm>
            <a:custGeom>
              <a:avLst/>
              <a:gdLst>
                <a:gd name="connsiteX0" fmla="*/ 60000 w 330000"/>
                <a:gd name="connsiteY0" fmla="*/ 0 h 75000"/>
                <a:gd name="connsiteX1" fmla="*/ 270000 w 330000"/>
                <a:gd name="connsiteY1" fmla="*/ 0 h 75000"/>
                <a:gd name="connsiteX2" fmla="*/ 330000 w 330000"/>
                <a:gd name="connsiteY2" fmla="*/ 75000 h 75000"/>
                <a:gd name="connsiteX3" fmla="*/ 0 w 330000"/>
                <a:gd name="connsiteY3" fmla="*/ 750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000" h="75000">
                  <a:moveTo>
                    <a:pt x="60000" y="0"/>
                  </a:moveTo>
                  <a:lnTo>
                    <a:pt x="270000" y="0"/>
                  </a:lnTo>
                  <a:lnTo>
                    <a:pt x="330000" y="75000"/>
                  </a:lnTo>
                  <a:lnTo>
                    <a:pt x="0" y="7500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B53F3153-506C-0544-9793-1199AC44646D}"/>
                </a:ext>
              </a:extLst>
            </p:cNvPr>
            <p:cNvSpPr/>
            <p:nvPr/>
          </p:nvSpPr>
          <p:spPr>
            <a:xfrm>
              <a:off x="7506521" y="5571199"/>
              <a:ext cx="330000" cy="180000"/>
            </a:xfrm>
            <a:custGeom>
              <a:avLst/>
              <a:gdLst>
                <a:gd name="connsiteX0" fmla="*/ 330000 w 330000"/>
                <a:gd name="connsiteY0" fmla="*/ 0 h 180000"/>
                <a:gd name="connsiteX1" fmla="*/ 165000 w 330000"/>
                <a:gd name="connsiteY1" fmla="*/ 180000 h 180000"/>
                <a:gd name="connsiteX2" fmla="*/ 0 w 330000"/>
                <a:gd name="connsiteY2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000" h="180000">
                  <a:moveTo>
                    <a:pt x="330000" y="0"/>
                  </a:moveTo>
                  <a:lnTo>
                    <a:pt x="16500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8" name="Рисунок 287">
            <a:extLst>
              <a:ext uri="{FF2B5EF4-FFF2-40B4-BE49-F238E27FC236}">
                <a16:creationId xmlns:a16="http://schemas.microsoft.com/office/drawing/2014/main" id="{B940E093-CF40-5D46-A045-318F4FBD48E2}"/>
              </a:ext>
            </a:extLst>
          </p:cNvPr>
          <p:cNvGrpSpPr>
            <a:grpSpLocks noChangeAspect="1"/>
          </p:cNvGrpSpPr>
          <p:nvPr/>
        </p:nvGrpSpPr>
        <p:grpSpPr>
          <a:xfrm>
            <a:off x="648013" y="3736713"/>
            <a:ext cx="252000" cy="252000"/>
            <a:chOff x="11267188" y="3432037"/>
            <a:chExt cx="360000" cy="360000"/>
          </a:xfrm>
        </p:grpSpPr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6E79C3D2-79DA-A440-8F0B-2AB261713C8A}"/>
                </a:ext>
              </a:extLst>
            </p:cNvPr>
            <p:cNvSpPr/>
            <p:nvPr/>
          </p:nvSpPr>
          <p:spPr>
            <a:xfrm>
              <a:off x="11267188" y="34320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F56F8195-9D85-7A45-903E-1639A53D9CD1}"/>
                </a:ext>
              </a:extLst>
            </p:cNvPr>
            <p:cNvSpPr/>
            <p:nvPr/>
          </p:nvSpPr>
          <p:spPr>
            <a:xfrm>
              <a:off x="11338109" y="3463544"/>
              <a:ext cx="272570" cy="272572"/>
            </a:xfrm>
            <a:custGeom>
              <a:avLst/>
              <a:gdLst>
                <a:gd name="connsiteX0" fmla="*/ 104181 w 272570"/>
                <a:gd name="connsiteY0" fmla="*/ 93454 h 272572"/>
                <a:gd name="connsiteX1" fmla="*/ 154068 w 272570"/>
                <a:gd name="connsiteY1" fmla="*/ 59989 h 272572"/>
                <a:gd name="connsiteX2" fmla="*/ 140898 w 272570"/>
                <a:gd name="connsiteY2" fmla="*/ 46820 h 272572"/>
                <a:gd name="connsiteX3" fmla="*/ 140898 w 272570"/>
                <a:gd name="connsiteY3" fmla="*/ 25607 h 272572"/>
                <a:gd name="connsiteX4" fmla="*/ 162111 w 272570"/>
                <a:gd name="connsiteY4" fmla="*/ 4393 h 272572"/>
                <a:gd name="connsiteX5" fmla="*/ 183325 w 272570"/>
                <a:gd name="connsiteY5" fmla="*/ 4393 h 272572"/>
                <a:gd name="connsiteX6" fmla="*/ 268177 w 272570"/>
                <a:gd name="connsiteY6" fmla="*/ 89246 h 272572"/>
                <a:gd name="connsiteX7" fmla="*/ 268177 w 272570"/>
                <a:gd name="connsiteY7" fmla="*/ 110459 h 272572"/>
                <a:gd name="connsiteX8" fmla="*/ 246964 w 272570"/>
                <a:gd name="connsiteY8" fmla="*/ 131673 h 272572"/>
                <a:gd name="connsiteX9" fmla="*/ 225751 w 272570"/>
                <a:gd name="connsiteY9" fmla="*/ 131673 h 272572"/>
                <a:gd name="connsiteX10" fmla="*/ 212581 w 272570"/>
                <a:gd name="connsiteY10" fmla="*/ 118503 h 272572"/>
                <a:gd name="connsiteX11" fmla="*/ 179116 w 272570"/>
                <a:gd name="connsiteY11" fmla="*/ 168392 h 272572"/>
                <a:gd name="connsiteX12" fmla="*/ 182074 w 272570"/>
                <a:gd name="connsiteY12" fmla="*/ 211631 h 272572"/>
                <a:gd name="connsiteX13" fmla="*/ 175596 w 272570"/>
                <a:gd name="connsiteY13" fmla="*/ 259580 h 272572"/>
                <a:gd name="connsiteX14" fmla="*/ 158722 w 272570"/>
                <a:gd name="connsiteY14" fmla="*/ 272436 h 272572"/>
                <a:gd name="connsiteX15" fmla="*/ 150124 w 272570"/>
                <a:gd name="connsiteY15" fmla="*/ 268178 h 272572"/>
                <a:gd name="connsiteX16" fmla="*/ 4393 w 272570"/>
                <a:gd name="connsiteY16" fmla="*/ 122447 h 272572"/>
                <a:gd name="connsiteX17" fmla="*/ 4393 w 272570"/>
                <a:gd name="connsiteY17" fmla="*/ 101234 h 272572"/>
                <a:gd name="connsiteX18" fmla="*/ 12991 w 272570"/>
                <a:gd name="connsiteY18" fmla="*/ 96975 h 272572"/>
                <a:gd name="connsiteX19" fmla="*/ 60940 w 272570"/>
                <a:gd name="connsiteY19" fmla="*/ 90496 h 272572"/>
                <a:gd name="connsiteX20" fmla="*/ 104181 w 272570"/>
                <a:gd name="connsiteY20" fmla="*/ 93454 h 27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2570" h="272572">
                  <a:moveTo>
                    <a:pt x="104181" y="93454"/>
                  </a:moveTo>
                  <a:lnTo>
                    <a:pt x="154068" y="59989"/>
                  </a:lnTo>
                  <a:lnTo>
                    <a:pt x="140898" y="46820"/>
                  </a:lnTo>
                  <a:cubicBezTo>
                    <a:pt x="135040" y="40962"/>
                    <a:pt x="135040" y="31464"/>
                    <a:pt x="140898" y="25607"/>
                  </a:cubicBezTo>
                  <a:lnTo>
                    <a:pt x="162111" y="4393"/>
                  </a:lnTo>
                  <a:cubicBezTo>
                    <a:pt x="167970" y="-1464"/>
                    <a:pt x="177466" y="-1464"/>
                    <a:pt x="183325" y="4393"/>
                  </a:cubicBezTo>
                  <a:lnTo>
                    <a:pt x="268177" y="89246"/>
                  </a:lnTo>
                  <a:cubicBezTo>
                    <a:pt x="274035" y="95104"/>
                    <a:pt x="274035" y="104602"/>
                    <a:pt x="268177" y="110459"/>
                  </a:cubicBezTo>
                  <a:lnTo>
                    <a:pt x="246964" y="131673"/>
                  </a:lnTo>
                  <a:cubicBezTo>
                    <a:pt x="241107" y="137531"/>
                    <a:pt x="231609" y="137531"/>
                    <a:pt x="225751" y="131673"/>
                  </a:cubicBezTo>
                  <a:lnTo>
                    <a:pt x="212581" y="118503"/>
                  </a:lnTo>
                  <a:lnTo>
                    <a:pt x="179116" y="168392"/>
                  </a:lnTo>
                  <a:cubicBezTo>
                    <a:pt x="182974" y="182277"/>
                    <a:pt x="184056" y="196973"/>
                    <a:pt x="182074" y="211631"/>
                  </a:cubicBezTo>
                  <a:lnTo>
                    <a:pt x="175596" y="259580"/>
                  </a:lnTo>
                  <a:cubicBezTo>
                    <a:pt x="174486" y="267789"/>
                    <a:pt x="166932" y="273545"/>
                    <a:pt x="158722" y="272436"/>
                  </a:cubicBezTo>
                  <a:cubicBezTo>
                    <a:pt x="155467" y="271997"/>
                    <a:pt x="152446" y="270500"/>
                    <a:pt x="150124" y="268178"/>
                  </a:cubicBezTo>
                  <a:lnTo>
                    <a:pt x="4393" y="122447"/>
                  </a:lnTo>
                  <a:cubicBezTo>
                    <a:pt x="-1464" y="116589"/>
                    <a:pt x="-1464" y="107092"/>
                    <a:pt x="4393" y="101234"/>
                  </a:cubicBezTo>
                  <a:cubicBezTo>
                    <a:pt x="6716" y="98911"/>
                    <a:pt x="9736" y="97415"/>
                    <a:pt x="12991" y="96975"/>
                  </a:cubicBezTo>
                  <a:lnTo>
                    <a:pt x="60940" y="90496"/>
                  </a:lnTo>
                  <a:cubicBezTo>
                    <a:pt x="75598" y="88515"/>
                    <a:pt x="90294" y="89596"/>
                    <a:pt x="104181" y="93454"/>
                  </a:cubicBezTo>
                  <a:close/>
                </a:path>
              </a:pathLst>
            </a:custGeom>
            <a:solidFill>
              <a:schemeClr val="accent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 50">
              <a:extLst>
                <a:ext uri="{FF2B5EF4-FFF2-40B4-BE49-F238E27FC236}">
                  <a16:creationId xmlns:a16="http://schemas.microsoft.com/office/drawing/2014/main" id="{08A605ED-E951-6141-B2F7-7E2AEA0967B9}"/>
                </a:ext>
              </a:extLst>
            </p:cNvPr>
            <p:cNvSpPr/>
            <p:nvPr/>
          </p:nvSpPr>
          <p:spPr>
            <a:xfrm rot="2700000">
              <a:off x="11350442" y="3641282"/>
              <a:ext cx="45000" cy="120000"/>
            </a:xfrm>
            <a:custGeom>
              <a:avLst/>
              <a:gdLst>
                <a:gd name="connsiteX0" fmla="*/ 0 w 45000"/>
                <a:gd name="connsiteY0" fmla="*/ 0 h 120000"/>
                <a:gd name="connsiteX1" fmla="*/ 0 w 45000"/>
                <a:gd name="connsiteY1" fmla="*/ 85715 h 120000"/>
                <a:gd name="connsiteX2" fmla="*/ 22500 w 45000"/>
                <a:gd name="connsiteY2" fmla="*/ 120000 h 120000"/>
                <a:gd name="connsiteX3" fmla="*/ 45000 w 45000"/>
                <a:gd name="connsiteY3" fmla="*/ 85715 h 120000"/>
                <a:gd name="connsiteX4" fmla="*/ 45000 w 45000"/>
                <a:gd name="connsiteY4" fmla="*/ 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00" h="120000">
                  <a:moveTo>
                    <a:pt x="0" y="0"/>
                  </a:moveTo>
                  <a:lnTo>
                    <a:pt x="0" y="85715"/>
                  </a:lnTo>
                  <a:lnTo>
                    <a:pt x="22500" y="120000"/>
                  </a:lnTo>
                  <a:lnTo>
                    <a:pt x="45000" y="85715"/>
                  </a:lnTo>
                  <a:lnTo>
                    <a:pt x="45000" y="0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9269888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1FD08FE-411B-3542-AADF-5507ED4F13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358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99FCD972-3641-9D49-A683-638E324E9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лиенты</a:t>
            </a:r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14DDF751-5C88-6847-A061-F9A8D4F5E910}"/>
              </a:ext>
            </a:extLst>
          </p:cNvPr>
          <p:cNvSpPr txBox="1">
            <a:spLocks/>
          </p:cNvSpPr>
          <p:nvPr/>
        </p:nvSpPr>
        <p:spPr>
          <a:xfrm>
            <a:off x="547533" y="3429000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Кейсы</a:t>
            </a:r>
          </a:p>
        </p:txBody>
      </p:sp>
    </p:spTree>
    <p:extLst>
      <p:ext uri="{BB962C8B-B14F-4D97-AF65-F5344CB8AC3E}">
        <p14:creationId xmlns:p14="http://schemas.microsoft.com/office/powerpoint/2010/main" val="28546936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CF615A4-DD7E-9746-A860-D856B3AE2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377CB75-E58D-F74B-9635-CEBBDC1C6F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534" y="473865"/>
            <a:ext cx="1600566" cy="398571"/>
          </a:xfrm>
        </p:spPr>
        <p:txBody>
          <a:bodyPr wrap="none"/>
          <a:lstStyle/>
          <a:p>
            <a:r>
              <a:rPr lang="ru-RU" dirty="0"/>
              <a:t>Клиенты</a:t>
            </a:r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883BAAF1-879A-4141-AABF-ABFD79C92641}"/>
              </a:ext>
            </a:extLst>
          </p:cNvPr>
          <p:cNvSpPr txBox="1">
            <a:spLocks/>
          </p:cNvSpPr>
          <p:nvPr/>
        </p:nvSpPr>
        <p:spPr>
          <a:xfrm>
            <a:off x="4651449" y="473865"/>
            <a:ext cx="1150187" cy="39857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Кейсы</a:t>
            </a:r>
          </a:p>
        </p:txBody>
      </p:sp>
    </p:spTree>
    <p:extLst>
      <p:ext uri="{BB962C8B-B14F-4D97-AF65-F5344CB8AC3E}">
        <p14:creationId xmlns:p14="http://schemas.microsoft.com/office/powerpoint/2010/main" val="42269751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: скругленные углы 13">
            <a:extLst>
              <a:ext uri="{FF2B5EF4-FFF2-40B4-BE49-F238E27FC236}">
                <a16:creationId xmlns:a16="http://schemas.microsoft.com/office/drawing/2014/main" id="{1082FCE7-0262-6242-BA97-458CC003F857}"/>
              </a:ext>
            </a:extLst>
          </p:cNvPr>
          <p:cNvSpPr/>
          <p:nvPr/>
        </p:nvSpPr>
        <p:spPr>
          <a:xfrm>
            <a:off x="7672576" y="2069260"/>
            <a:ext cx="3968562" cy="4239465"/>
          </a:xfrm>
          <a:prstGeom prst="roundRect">
            <a:avLst>
              <a:gd name="adj" fmla="val 2154"/>
            </a:avLst>
          </a:prstGeom>
          <a:solidFill>
            <a:schemeClr val="bg1"/>
          </a:solidFill>
          <a:ln w="9525">
            <a:gradFill>
              <a:gsLst>
                <a:gs pos="69000">
                  <a:schemeClr val="bg1">
                    <a:lumMod val="75000"/>
                  </a:schemeClr>
                </a:gs>
                <a:gs pos="100000">
                  <a:schemeClr val="accent2"/>
                </a:gs>
              </a:gsLst>
              <a:lin ang="2700000" scaled="0"/>
            </a:gradFill>
          </a:ln>
          <a:effectLst>
            <a:outerShdw blurRad="114300" dist="63500" dir="27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A6A54CF-8FFC-104D-8D23-8A24703645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084" y="473865"/>
            <a:ext cx="10945813" cy="398571"/>
          </a:xfrm>
          <a:prstGeom prst="rect">
            <a:avLst/>
          </a:prstGeom>
        </p:spPr>
        <p:txBody>
          <a:bodyPr/>
          <a:lstStyle/>
          <a:p>
            <a:r>
              <a:rPr lang="en" dirty="0"/>
              <a:t>Quicken</a:t>
            </a:r>
            <a:r>
              <a:rPr lang="ru-RU" dirty="0"/>
              <a:t> _ 1 вариант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56FC3DF-03D5-F149-A01B-1300214E880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/>
          <a:srcRect t="166" b="166"/>
          <a:stretch/>
        </p:blipFill>
        <p:spPr/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5695FCC-81AA-0342-831C-3EEA1BF4FBBD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/>
          <a:srcRect l="3775" r="3775"/>
          <a:stretch/>
        </p:blipFill>
        <p:spPr/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6AA984A7-08D8-0C45-B78E-3B6A2549236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3B22EC2-7B2E-624F-84C7-80A90D294A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302" y="405406"/>
            <a:ext cx="724081" cy="453175"/>
          </a:xfrm>
          <a:prstGeom prst="rect">
            <a:avLst/>
          </a:prstGeom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6049683D-0725-2946-8D9B-91CD6FDC2458}"/>
              </a:ext>
            </a:extLst>
          </p:cNvPr>
          <p:cNvSpPr txBox="1">
            <a:spLocks/>
          </p:cNvSpPr>
          <p:nvPr/>
        </p:nvSpPr>
        <p:spPr>
          <a:xfrm>
            <a:off x="7848554" y="2505211"/>
            <a:ext cx="3708163" cy="19697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sz="1200" dirty="0">
                <a:solidFill>
                  <a:schemeClr val="accent1"/>
                </a:solidFill>
              </a:rPr>
              <a:t>Функции: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Подключение аккаунтов банков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Финансовые цели 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Аналитика расходов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История транзакций 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Прогноз бюджета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Разделение по категориям</a:t>
            </a:r>
            <a:endParaRPr lang="en-US" sz="1200" dirty="0">
              <a:solidFill>
                <a:schemeClr val="tx2"/>
              </a:solidFill>
              <a:latin typeface="+mn-lt"/>
            </a:endParaRP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Автоматическая отписка от платных услуг 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Общие советы по управлению финансами</a:t>
            </a: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03F9271E-3B3F-3744-B1C8-38025CEA190B}"/>
              </a:ext>
            </a:extLst>
          </p:cNvPr>
          <p:cNvSpPr txBox="1">
            <a:spLocks/>
          </p:cNvSpPr>
          <p:nvPr/>
        </p:nvSpPr>
        <p:spPr>
          <a:xfrm>
            <a:off x="7848554" y="4891442"/>
            <a:ext cx="3708163" cy="12234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sz="1200" b="1" dirty="0">
                <a:solidFill>
                  <a:schemeClr val="accent1"/>
                </a:solidFill>
              </a:rPr>
              <a:t>Дополнительно:</a:t>
            </a:r>
            <a:endParaRPr lang="en-US" sz="1200" dirty="0">
              <a:solidFill>
                <a:schemeClr val="accent1"/>
              </a:solidFill>
            </a:endParaRP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Продвинутая аналитика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Find Savings</a:t>
            </a:r>
            <a:r>
              <a:rPr lang="ru-RU" sz="1200" dirty="0">
                <a:solidFill>
                  <a:schemeClr val="tx2"/>
                </a:solidFill>
                <a:latin typeface="+mn-lt"/>
              </a:rPr>
              <a:t> – портал </a:t>
            </a:r>
            <a:br>
              <a:rPr lang="en-US" sz="1200" dirty="0">
                <a:solidFill>
                  <a:schemeClr val="tx2"/>
                </a:solidFill>
                <a:latin typeface="+mn-lt"/>
              </a:rPr>
            </a:br>
            <a:r>
              <a:rPr lang="ru-RU" sz="1200" dirty="0">
                <a:solidFill>
                  <a:schemeClr val="tx2"/>
                </a:solidFill>
                <a:latin typeface="+mn-lt"/>
              </a:rPr>
              <a:t>по расчету экономии сбережений</a:t>
            </a:r>
            <a:endParaRPr lang="en-US" sz="1200" dirty="0">
              <a:solidFill>
                <a:schemeClr val="tx2"/>
              </a:solidFill>
              <a:latin typeface="+mn-lt"/>
            </a:endParaRP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Bill Negotiation – </a:t>
            </a:r>
            <a:r>
              <a:rPr lang="ru-RU" sz="1200" dirty="0">
                <a:solidFill>
                  <a:schemeClr val="tx2"/>
                </a:solidFill>
                <a:latin typeface="+mn-lt"/>
              </a:rPr>
              <a:t>услуга по контролю </a:t>
            </a:r>
            <a:br>
              <a:rPr lang="en-US" sz="1200" dirty="0">
                <a:solidFill>
                  <a:schemeClr val="tx2"/>
                </a:solidFill>
                <a:latin typeface="+mn-lt"/>
              </a:rPr>
            </a:br>
            <a:r>
              <a:rPr lang="ru-RU" sz="1200" dirty="0">
                <a:solidFill>
                  <a:schemeClr val="tx2"/>
                </a:solidFill>
                <a:latin typeface="+mn-lt"/>
              </a:rPr>
              <a:t>подписок и платежей </a:t>
            </a:r>
          </a:p>
        </p:txBody>
      </p:sp>
      <p:sp>
        <p:nvSpPr>
          <p:cNvPr id="18" name="Прямоугольник: скругленные углы 5">
            <a:extLst>
              <a:ext uri="{FF2B5EF4-FFF2-40B4-BE49-F238E27FC236}">
                <a16:creationId xmlns:a16="http://schemas.microsoft.com/office/drawing/2014/main" id="{EE76F1CB-099A-F944-B44D-B02E743317F4}"/>
              </a:ext>
            </a:extLst>
          </p:cNvPr>
          <p:cNvSpPr/>
          <p:nvPr/>
        </p:nvSpPr>
        <p:spPr>
          <a:xfrm>
            <a:off x="7672576" y="1067252"/>
            <a:ext cx="3968562" cy="1223412"/>
          </a:xfrm>
          <a:prstGeom prst="roundRect">
            <a:avLst>
              <a:gd name="adj" fmla="val 8289"/>
            </a:avLst>
          </a:prstGeom>
          <a:solidFill>
            <a:schemeClr val="bg1"/>
          </a:solidFill>
          <a:ln w="9525">
            <a:gradFill>
              <a:gsLst>
                <a:gs pos="69000">
                  <a:schemeClr val="bg1">
                    <a:lumMod val="75000"/>
                  </a:schemeClr>
                </a:gs>
                <a:gs pos="100000">
                  <a:schemeClr val="accent2"/>
                </a:gs>
              </a:gsLst>
              <a:lin ang="2700000" scaled="0"/>
            </a:gradFill>
          </a:ln>
          <a:effectLst>
            <a:outerShdw blurRad="114300" dist="63500" dir="27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DBA2FD31-7A68-B049-AC52-19EA876432AB}"/>
              </a:ext>
            </a:extLst>
          </p:cNvPr>
          <p:cNvCxnSpPr/>
          <p:nvPr/>
        </p:nvCxnSpPr>
        <p:spPr>
          <a:xfrm>
            <a:off x="7672576" y="4683211"/>
            <a:ext cx="3968562" cy="0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344F1CEF-6FAA-4041-B006-0E8403390905}"/>
              </a:ext>
            </a:extLst>
          </p:cNvPr>
          <p:cNvSpPr txBox="1">
            <a:spLocks/>
          </p:cNvSpPr>
          <p:nvPr/>
        </p:nvSpPr>
        <p:spPr>
          <a:xfrm>
            <a:off x="7826474" y="1227527"/>
            <a:ext cx="516167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C</a:t>
            </a:r>
            <a:r>
              <a:rPr lang="ru-RU" sz="1200" dirty="0" err="1">
                <a:solidFill>
                  <a:schemeClr val="tx2"/>
                </a:solidFill>
                <a:latin typeface="+mn-lt"/>
              </a:rPr>
              <a:t>трана</a:t>
            </a:r>
            <a:endParaRPr lang="en-US" sz="12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2FD9F2A8-9708-8649-A3C4-A267F07208A2}"/>
              </a:ext>
            </a:extLst>
          </p:cNvPr>
          <p:cNvSpPr txBox="1">
            <a:spLocks/>
          </p:cNvSpPr>
          <p:nvPr/>
        </p:nvSpPr>
        <p:spPr>
          <a:xfrm>
            <a:off x="8987798" y="1227527"/>
            <a:ext cx="804707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Год </a:t>
            </a:r>
            <a:br>
              <a:rPr lang="en-US" sz="1200" dirty="0">
                <a:solidFill>
                  <a:schemeClr val="tx2"/>
                </a:solidFill>
                <a:latin typeface="+mn-lt"/>
              </a:rPr>
            </a:br>
            <a:r>
              <a:rPr lang="ru-RU" sz="1200" dirty="0">
                <a:solidFill>
                  <a:schemeClr val="tx2"/>
                </a:solidFill>
                <a:latin typeface="+mn-lt"/>
              </a:rPr>
              <a:t>основания:</a:t>
            </a:r>
            <a:endParaRPr lang="en-US" sz="12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3033E2A3-00D4-1A49-A83D-B908BB19CF93}"/>
              </a:ext>
            </a:extLst>
          </p:cNvPr>
          <p:cNvSpPr txBox="1">
            <a:spLocks/>
          </p:cNvSpPr>
          <p:nvPr/>
        </p:nvSpPr>
        <p:spPr>
          <a:xfrm>
            <a:off x="10304941" y="1227527"/>
            <a:ext cx="1107739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chemeClr val="tx2"/>
                </a:solidFill>
                <a:latin typeface="+mn-lt"/>
              </a:rPr>
              <a:t>Кол-во </a:t>
            </a:r>
            <a:br>
              <a:rPr lang="en-US" sz="1200" dirty="0">
                <a:solidFill>
                  <a:schemeClr val="tx2"/>
                </a:solidFill>
                <a:latin typeface="+mn-lt"/>
              </a:rPr>
            </a:br>
            <a:r>
              <a:rPr lang="ru-RU" sz="1200" dirty="0">
                <a:solidFill>
                  <a:schemeClr val="tx2"/>
                </a:solidFill>
                <a:latin typeface="+mn-lt"/>
              </a:rPr>
              <a:t>пользователей</a:t>
            </a:r>
            <a:endParaRPr lang="en-US" sz="12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8" name="Заголовок 1">
            <a:extLst>
              <a:ext uri="{FF2B5EF4-FFF2-40B4-BE49-F238E27FC236}">
                <a16:creationId xmlns:a16="http://schemas.microsoft.com/office/drawing/2014/main" id="{3D75698B-7A09-6E4D-B9B4-6151EFDC1A5C}"/>
              </a:ext>
            </a:extLst>
          </p:cNvPr>
          <p:cNvSpPr txBox="1">
            <a:spLocks/>
          </p:cNvSpPr>
          <p:nvPr/>
        </p:nvSpPr>
        <p:spPr>
          <a:xfrm>
            <a:off x="8987798" y="1789356"/>
            <a:ext cx="891270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>
                <a:solidFill>
                  <a:schemeClr val="accent2"/>
                </a:solidFill>
              </a:rPr>
              <a:t>2009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59331B51-8457-BF40-8902-A87208B81528}"/>
              </a:ext>
            </a:extLst>
          </p:cNvPr>
          <p:cNvSpPr txBox="1">
            <a:spLocks/>
          </p:cNvSpPr>
          <p:nvPr/>
        </p:nvSpPr>
        <p:spPr>
          <a:xfrm>
            <a:off x="10304941" y="1771782"/>
            <a:ext cx="908903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>
                <a:solidFill>
                  <a:schemeClr val="accent2"/>
                </a:solidFill>
              </a:rPr>
              <a:t>25 </a:t>
            </a:r>
            <a:r>
              <a:rPr lang="ru-RU" sz="1600" dirty="0">
                <a:solidFill>
                  <a:schemeClr val="accent2"/>
                </a:solidFill>
              </a:rPr>
              <a:t>млн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63A0CFBC-C0A6-2C49-9299-581EC85957E3}"/>
              </a:ext>
            </a:extLst>
          </p:cNvPr>
          <p:cNvSpPr txBox="1">
            <a:spLocks/>
          </p:cNvSpPr>
          <p:nvPr/>
        </p:nvSpPr>
        <p:spPr>
          <a:xfrm>
            <a:off x="7848554" y="1952505"/>
            <a:ext cx="537648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200" b="1" dirty="0">
                <a:solidFill>
                  <a:schemeClr val="accent2"/>
                </a:solidFill>
              </a:rPr>
              <a:t>Россия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13E78BFC-868A-FF44-944B-557F7AA4A5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55220" y="1481461"/>
            <a:ext cx="468000" cy="468000"/>
          </a:xfrm>
          <a:prstGeom prst="rect">
            <a:avLst/>
          </a:prstGeom>
        </p:spPr>
      </p:pic>
      <p:sp>
        <p:nvSpPr>
          <p:cNvPr id="22" name="Номер слайда 1">
            <a:extLst>
              <a:ext uri="{FF2B5EF4-FFF2-40B4-BE49-F238E27FC236}">
                <a16:creationId xmlns:a16="http://schemas.microsoft.com/office/drawing/2014/main" id="{433A6728-F064-9D48-BBFE-21B4A024B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25" y="304624"/>
            <a:ext cx="302002" cy="184666"/>
          </a:xfrm>
          <a:prstGeom prst="rect">
            <a:avLst/>
          </a:prstGeom>
        </p:spPr>
        <p:txBody>
          <a:bodyPr/>
          <a:lstStyle/>
          <a:p>
            <a:fld id="{2CF235AF-954E-5044-BAF0-991FD76FF994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48303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Тема Office">
  <a:themeElements>
    <a:clrScheme name="Пользовательские 20">
      <a:dk1>
        <a:srgbClr val="222B41"/>
      </a:dk1>
      <a:lt1>
        <a:srgbClr val="FFFFFF"/>
      </a:lt1>
      <a:dk2>
        <a:srgbClr val="222B41"/>
      </a:dk2>
      <a:lt2>
        <a:srgbClr val="FFFFFF"/>
      </a:lt2>
      <a:accent1>
        <a:srgbClr val="222B41"/>
      </a:accent1>
      <a:accent2>
        <a:srgbClr val="6FC1B2"/>
      </a:accent2>
      <a:accent3>
        <a:srgbClr val="247B9F"/>
      </a:accent3>
      <a:accent4>
        <a:srgbClr val="E29477"/>
      </a:accent4>
      <a:accent5>
        <a:srgbClr val="387266"/>
      </a:accent5>
      <a:accent6>
        <a:srgbClr val="738CAA"/>
      </a:accent6>
      <a:hlink>
        <a:srgbClr val="879DB3"/>
      </a:hlink>
      <a:folHlink>
        <a:srgbClr val="3B6487"/>
      </a:folHlink>
    </a:clrScheme>
    <a:fontScheme name="Другая 242">
      <a:majorFont>
        <a:latin typeface="SB Sans Display Bold"/>
        <a:ea typeface=""/>
        <a:cs typeface=""/>
      </a:majorFont>
      <a:minorFont>
        <a:latin typeface="SB Sans Display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600"/>
          </a:spcAft>
          <a:defRPr sz="12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414</TotalTime>
  <Words>1241</Words>
  <Application>Microsoft Macintosh PowerPoint</Application>
  <PresentationFormat>Широкоэкранный</PresentationFormat>
  <Paragraphs>506</Paragraphs>
  <Slides>2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38" baseType="lpstr">
      <vt:lpstr>Arial</vt:lpstr>
      <vt:lpstr>Calibri</vt:lpstr>
      <vt:lpstr>SB Sans Display</vt:lpstr>
      <vt:lpstr>SB Sans Display Bold</vt:lpstr>
      <vt:lpstr>SB Sans Display Light</vt:lpstr>
      <vt:lpstr>SB Sans Display Semibold</vt:lpstr>
      <vt:lpstr>SB Sans Text Light</vt:lpstr>
      <vt:lpstr>3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Содержание</vt:lpstr>
      <vt:lpstr>Vox exchange</vt:lpstr>
      <vt:lpstr>Клиенты</vt:lpstr>
      <vt:lpstr>Клиенты</vt:lpstr>
      <vt:lpstr>Quicken _ 1 вариант</vt:lpstr>
      <vt:lpstr>Quicken _ 1 вариант</vt:lpstr>
      <vt:lpstr>Таблица №1</vt:lpstr>
      <vt:lpstr>Таблица №2</vt:lpstr>
      <vt:lpstr>Выводы</vt:lpstr>
      <vt:lpstr>Таймлайн</vt:lpstr>
      <vt:lpstr>6 плашек</vt:lpstr>
      <vt:lpstr>5 плашек (с одной акцентной)</vt:lpstr>
      <vt:lpstr>3 плашки (с одной акцентной)</vt:lpstr>
      <vt:lpstr>Залитые иконки</vt:lpstr>
      <vt:lpstr>Залитые иконки</vt:lpstr>
      <vt:lpstr>Залитые иконки</vt:lpstr>
      <vt:lpstr>Залитые иконки</vt:lpstr>
      <vt:lpstr>Залитые иконки</vt:lpstr>
      <vt:lpstr>Флаги</vt:lpstr>
      <vt:lpstr>Флаги</vt:lpstr>
      <vt:lpstr>Флаги</vt:lpstr>
      <vt:lpstr>Флаги</vt:lpstr>
      <vt:lpstr>Флаги</vt:lpstr>
      <vt:lpstr>Флаги</vt:lpstr>
      <vt:lpstr>Mock u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Microsoft Office User</cp:lastModifiedBy>
  <cp:revision>395</cp:revision>
  <dcterms:created xsi:type="dcterms:W3CDTF">2022-04-21T07:10:33Z</dcterms:created>
  <dcterms:modified xsi:type="dcterms:W3CDTF">2023-04-03T11:17:34Z</dcterms:modified>
</cp:coreProperties>
</file>